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2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4.xml" ContentType="application/vnd.openxmlformats-officedocument.theme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5.xml" ContentType="application/vnd.openxmlformats-officedocument.theme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6.xml" ContentType="application/vnd.openxmlformats-officedocument.theme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7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8.xml" ContentType="application/vnd.openxmlformats-officedocument.drawingml.chart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notesSlides/notesSlide11.xml" ContentType="application/vnd.openxmlformats-officedocument.presentationml.notesSlide+xml"/>
  <Override PartName="/ppt/tags/tag18.xml" ContentType="application/vnd.openxmlformats-officedocument.presentationml.tags+xml"/>
  <Override PartName="/ppt/notesSlides/notesSlide12.xml" ContentType="application/vnd.openxmlformats-officedocument.presentationml.notesSlide+xml"/>
  <Override PartName="/ppt/tags/tag19.xml" ContentType="application/vnd.openxmlformats-officedocument.presentationml.tags+xml"/>
  <Override PartName="/ppt/notesSlides/notesSlide13.xml" ContentType="application/vnd.openxmlformats-officedocument.presentationml.notesSlide+xml"/>
  <Override PartName="/ppt/tags/tag20.xml" ContentType="application/vnd.openxmlformats-officedocument.presentationml.tags+xml"/>
  <Override PartName="/ppt/notesSlides/notesSlide14.xml" ContentType="application/vnd.openxmlformats-officedocument.presentationml.notesSlide+xml"/>
  <Override PartName="/ppt/tags/tag21.xml" ContentType="application/vnd.openxmlformats-officedocument.presentationml.tags+xml"/>
  <Override PartName="/ppt/notesSlides/notesSlide15.xml" ContentType="application/vnd.openxmlformats-officedocument.presentationml.notesSlide+xml"/>
  <Override PartName="/ppt/comments/modernComment_7FFFFD3C_5C901F55.xml" ContentType="application/vnd.ms-powerpoint.comments+xml"/>
  <Override PartName="/ppt/tags/tag22.xml" ContentType="application/vnd.openxmlformats-officedocument.presentationml.tags+xml"/>
  <Override PartName="/ppt/notesSlides/notesSlide16.xml" ContentType="application/vnd.openxmlformats-officedocument.presentationml.notesSlide+xml"/>
  <Override PartName="/ppt/tags/tag23.xml" ContentType="application/vnd.openxmlformats-officedocument.presentationml.tags+xml"/>
  <Override PartName="/ppt/notesSlides/notesSlide17.xml" ContentType="application/vnd.openxmlformats-officedocument.presentationml.notesSlide+xml"/>
  <Override PartName="/ppt/tags/tag24.xml" ContentType="application/vnd.openxmlformats-officedocument.presentationml.tags+xml"/>
  <Override PartName="/ppt/notesSlides/notesSlide1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5.xml" ContentType="application/vnd.openxmlformats-officedocument.presentationml.tags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171" r:id="rId4"/>
    <p:sldMasterId id="2147484214" r:id="rId5"/>
    <p:sldMasterId id="2147484264" r:id="rId6"/>
    <p:sldMasterId id="2147484285" r:id="rId7"/>
    <p:sldMasterId id="2147484368" r:id="rId8"/>
    <p:sldMasterId id="2147483816" r:id="rId9"/>
    <p:sldMasterId id="2147484633" r:id="rId10"/>
  </p:sldMasterIdLst>
  <p:notesMasterIdLst>
    <p:notesMasterId r:id="rId35"/>
  </p:notesMasterIdLst>
  <p:handoutMasterIdLst>
    <p:handoutMasterId r:id="rId36"/>
  </p:handoutMasterIdLst>
  <p:sldIdLst>
    <p:sldId id="2147482800" r:id="rId11"/>
    <p:sldId id="2147480549" r:id="rId12"/>
    <p:sldId id="2147482920" r:id="rId13"/>
    <p:sldId id="2147482936" r:id="rId14"/>
    <p:sldId id="2147482937" r:id="rId15"/>
    <p:sldId id="2147480186" r:id="rId16"/>
    <p:sldId id="2147482925" r:id="rId17"/>
    <p:sldId id="2147482926" r:id="rId18"/>
    <p:sldId id="2146848406" r:id="rId19"/>
    <p:sldId id="2147482938" r:id="rId20"/>
    <p:sldId id="889" r:id="rId21"/>
    <p:sldId id="2134804482" r:id="rId22"/>
    <p:sldId id="2147482927" r:id="rId23"/>
    <p:sldId id="2147482928" r:id="rId24"/>
    <p:sldId id="2147482929" r:id="rId25"/>
    <p:sldId id="2147482923" r:id="rId26"/>
    <p:sldId id="2147482930" r:id="rId27"/>
    <p:sldId id="2147482935" r:id="rId28"/>
    <p:sldId id="2147482931" r:id="rId29"/>
    <p:sldId id="2147482940" r:id="rId30"/>
    <p:sldId id="2147482932" r:id="rId31"/>
    <p:sldId id="2147482939" r:id="rId32"/>
    <p:sldId id="2147482933" r:id="rId33"/>
    <p:sldId id="2147482934" r:id="rId34"/>
  </p:sldIdLst>
  <p:sldSz cx="12192000" cy="6858000"/>
  <p:notesSz cx="6858000" cy="9144000"/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EF4F59C-D340-41DE-BE9C-43479749543B}">
          <p14:sldIdLst>
            <p14:sldId id="2147482800"/>
            <p14:sldId id="2147480549"/>
            <p14:sldId id="2147482920"/>
            <p14:sldId id="2147482936"/>
            <p14:sldId id="2147482937"/>
            <p14:sldId id="2147480186"/>
            <p14:sldId id="2147482925"/>
            <p14:sldId id="2147482926"/>
            <p14:sldId id="2146848406"/>
            <p14:sldId id="2147482938"/>
            <p14:sldId id="889"/>
            <p14:sldId id="2134804482"/>
            <p14:sldId id="2147482927"/>
            <p14:sldId id="2147482928"/>
            <p14:sldId id="2147482929"/>
            <p14:sldId id="2147482923"/>
            <p14:sldId id="2147482930"/>
            <p14:sldId id="2147482935"/>
            <p14:sldId id="2147482931"/>
            <p14:sldId id="2147482940"/>
            <p14:sldId id="2147482932"/>
            <p14:sldId id="2147482939"/>
            <p14:sldId id="2147482933"/>
            <p14:sldId id="214748293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997693B-B16B-CDB0-8AE4-11549FC39807}" name="Szablewska, Sabina" initials="SS" userId="S::sabina.szablewska@accenture.com::c95a8be2-792e-4971-9c58-8a39a3ce23c5" providerId="AD"/>
  <p188:author id="{F85A7041-C1C0-B339-2366-69B2DAB3C3B1}" name="Parol, Dariusz" initials="" userId="S::dariusz.parol@accenture.com::cc06662d-a6b4-4211-9222-1a2bd36ad8d6" providerId="AD"/>
  <p188:author id="{51B14442-2879-BEF7-5559-D03CFC51BA89}" name="Mioduszewska, Joanna" initials="MJ" userId="S::joanna.mioduszewska@accenture.com::81ce7990-eaad-4e2f-8cfd-9d7aecd250dd" providerId="AD"/>
  <p188:author id="{2E899C43-4F86-D5D2-42CA-5B292439320A}" name="Pacuszka, Bartosz" initials="PB" userId="S::bartosz.pacuszka@accenture.com::d6edcbc8-9826-4433-929d-94d463085251" providerId="AD"/>
  <p188:author id="{6C8DDF4F-C392-1B7D-A425-79EBC3A69467}" name="Miller, Natasha" initials="MN" userId="S::natasha.miller@accenture.com::53a4ef07-22b7-476a-846e-be3e38b40390" providerId="AD"/>
  <p188:author id="{386A2D73-55ED-C6F0-3BC8-3750011337FB}" name="Nasilowska, Gosia" initials="NG" userId="S::gosia.nasilowska@accenture.com::2eca86ea-c607-4f5a-b155-2aa9e3065e4b" providerId="AD"/>
  <p188:author id="{9359BFA1-B8BF-509A-FF34-5828DAD6B635}" name="Jach, Agnieszka" initials="" userId="S::agnieszka.jach@accenture.com::366b1e26-79c5-4729-9a9f-9e1f21bd2899" providerId="AD"/>
  <p188:author id="{3B96C9C4-7447-315B-7046-FE8958A9154B}" name="Makuch, Monika" initials="MM" userId="S::monika.makuch@accenture.com::5f32b3e3-5b05-4c85-90fd-1c5e60f186a0" providerId="AD"/>
  <p188:author id="{1999C7DB-5249-7B3D-CDB7-211119008AA6}" name="Santomé, Fernanda" initials="SF" userId="S::fernanda.santome@accenture.com::378010b1-fea7-4e60-bd80-bc6963b3cbe2" providerId="AD"/>
  <p188:author id="{256310EA-8231-C288-D6FA-4D85DAD13B4B}" name="Janczewski, Piotr" initials="JP" userId="S::piotr.janczewski@accenture.com::2467fbf0-2ef4-434e-b40e-471cd3a495c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09B2"/>
    <a:srgbClr val="F0AAEB"/>
    <a:srgbClr val="EA86E3"/>
    <a:srgbClr val="E569DC"/>
    <a:srgbClr val="E151D7"/>
    <a:srgbClr val="D425C8"/>
    <a:srgbClr val="C20CE6"/>
    <a:srgbClr val="F0B7FB"/>
    <a:srgbClr val="E274F8"/>
    <a:srgbClr val="EF88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59" d="100"/>
          <a:sy n="59" d="100"/>
        </p:scale>
        <p:origin x="94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theme" Target="theme/theme1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microsoft.com/office/2018/10/relationships/authors" Target="author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notesMaster" Target="notesMasters/notesMaster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ruchnicki, Marcin" userId="13b4f2f6-3869-479e-8e4b-3ca75520da77" providerId="ADAL" clId="{65C04F68-2C4D-44AC-BDEF-049BCB8FCC62}"/>
    <pc:docChg chg="undo custSel addSld delSld modSld sldOrd modSection">
      <pc:chgData name="Pruchnicki, Marcin" userId="13b4f2f6-3869-479e-8e4b-3ca75520da77" providerId="ADAL" clId="{65C04F68-2C4D-44AC-BDEF-049BCB8FCC62}" dt="2024-02-14T09:59:49.595" v="422" actId="255"/>
      <pc:docMkLst>
        <pc:docMk/>
      </pc:docMkLst>
      <pc:sldChg chg="ord">
        <pc:chgData name="Pruchnicki, Marcin" userId="13b4f2f6-3869-479e-8e4b-3ca75520da77" providerId="ADAL" clId="{65C04F68-2C4D-44AC-BDEF-049BCB8FCC62}" dt="2024-02-07T09:58:34.351" v="1"/>
        <pc:sldMkLst>
          <pc:docMk/>
          <pc:sldMk cId="3167764417" sldId="3004"/>
        </pc:sldMkLst>
      </pc:sldChg>
      <pc:sldChg chg="addSp delSp modSp mod modNotesTx">
        <pc:chgData name="Pruchnicki, Marcin" userId="13b4f2f6-3869-479e-8e4b-3ca75520da77" providerId="ADAL" clId="{65C04F68-2C4D-44AC-BDEF-049BCB8FCC62}" dt="2024-02-14T09:59:49.595" v="422" actId="255"/>
        <pc:sldMkLst>
          <pc:docMk/>
          <pc:sldMk cId="819725515" sldId="2147482928"/>
        </pc:sldMkLst>
        <pc:spChg chg="add mod">
          <ac:chgData name="Pruchnicki, Marcin" userId="13b4f2f6-3869-479e-8e4b-3ca75520da77" providerId="ADAL" clId="{65C04F68-2C4D-44AC-BDEF-049BCB8FCC62}" dt="2024-02-09T12:14:43.896" v="266" actId="1037"/>
          <ac:spMkLst>
            <pc:docMk/>
            <pc:sldMk cId="819725515" sldId="2147482928"/>
            <ac:spMk id="2" creationId="{D9421F53-72AE-8ABD-ED39-F3E40738E59C}"/>
          </ac:spMkLst>
        </pc:spChg>
        <pc:spChg chg="add mod">
          <ac:chgData name="Pruchnicki, Marcin" userId="13b4f2f6-3869-479e-8e4b-3ca75520da77" providerId="ADAL" clId="{65C04F68-2C4D-44AC-BDEF-049BCB8FCC62}" dt="2024-02-09T12:14:38.127" v="245" actId="1038"/>
          <ac:spMkLst>
            <pc:docMk/>
            <pc:sldMk cId="819725515" sldId="2147482928"/>
            <ac:spMk id="3" creationId="{2A9AD5BC-FC75-B1BA-FBD9-54327DA50A0E}"/>
          </ac:spMkLst>
        </pc:spChg>
        <pc:spChg chg="add mod">
          <ac:chgData name="Pruchnicki, Marcin" userId="13b4f2f6-3869-479e-8e4b-3ca75520da77" providerId="ADAL" clId="{65C04F68-2C4D-44AC-BDEF-049BCB8FCC62}" dt="2024-02-09T12:13:42.475" v="110" actId="14100"/>
          <ac:spMkLst>
            <pc:docMk/>
            <pc:sldMk cId="819725515" sldId="2147482928"/>
            <ac:spMk id="6" creationId="{3A233C42-E7DE-2856-C0F4-7476EB0F849A}"/>
          </ac:spMkLst>
        </pc:spChg>
        <pc:spChg chg="add mod">
          <ac:chgData name="Pruchnicki, Marcin" userId="13b4f2f6-3869-479e-8e4b-3ca75520da77" providerId="ADAL" clId="{65C04F68-2C4D-44AC-BDEF-049BCB8FCC62}" dt="2024-02-09T12:14:43.896" v="266" actId="1037"/>
          <ac:spMkLst>
            <pc:docMk/>
            <pc:sldMk cId="819725515" sldId="2147482928"/>
            <ac:spMk id="7" creationId="{A2938A8D-B95F-5450-3587-5BB0C915674D}"/>
          </ac:spMkLst>
        </pc:spChg>
        <pc:spChg chg="add mod">
          <ac:chgData name="Pruchnicki, Marcin" userId="13b4f2f6-3869-479e-8e4b-3ca75520da77" providerId="ADAL" clId="{65C04F68-2C4D-44AC-BDEF-049BCB8FCC62}" dt="2024-02-09T12:14:38.127" v="245" actId="1038"/>
          <ac:spMkLst>
            <pc:docMk/>
            <pc:sldMk cId="819725515" sldId="2147482928"/>
            <ac:spMk id="8" creationId="{0B2C89C0-2FCD-6820-9B6C-41EBDC333489}"/>
          </ac:spMkLst>
        </pc:spChg>
        <pc:spChg chg="add mod">
          <ac:chgData name="Pruchnicki, Marcin" userId="13b4f2f6-3869-479e-8e4b-3ca75520da77" providerId="ADAL" clId="{65C04F68-2C4D-44AC-BDEF-049BCB8FCC62}" dt="2024-02-09T12:13:42.475" v="110" actId="14100"/>
          <ac:spMkLst>
            <pc:docMk/>
            <pc:sldMk cId="819725515" sldId="2147482928"/>
            <ac:spMk id="9" creationId="{64E64974-9918-D352-2A9D-0C3CECEAD047}"/>
          </ac:spMkLst>
        </pc:spChg>
        <pc:spChg chg="add mod">
          <ac:chgData name="Pruchnicki, Marcin" userId="13b4f2f6-3869-479e-8e4b-3ca75520da77" providerId="ADAL" clId="{65C04F68-2C4D-44AC-BDEF-049BCB8FCC62}" dt="2024-02-09T12:25:03.617" v="368" actId="404"/>
          <ac:spMkLst>
            <pc:docMk/>
            <pc:sldMk cId="819725515" sldId="2147482928"/>
            <ac:spMk id="10" creationId="{1F35959B-E5BF-3A76-4160-8FA6F5115DA5}"/>
          </ac:spMkLst>
        </pc:spChg>
        <pc:spChg chg="add mod">
          <ac:chgData name="Pruchnicki, Marcin" userId="13b4f2f6-3869-479e-8e4b-3ca75520da77" providerId="ADAL" clId="{65C04F68-2C4D-44AC-BDEF-049BCB8FCC62}" dt="2024-02-09T12:25:09.221" v="370" actId="20577"/>
          <ac:spMkLst>
            <pc:docMk/>
            <pc:sldMk cId="819725515" sldId="2147482928"/>
            <ac:spMk id="11" creationId="{48538990-38BE-5942-2A6B-B75DCA903ABD}"/>
          </ac:spMkLst>
        </pc:spChg>
        <pc:spChg chg="add mod">
          <ac:chgData name="Pruchnicki, Marcin" userId="13b4f2f6-3869-479e-8e4b-3ca75520da77" providerId="ADAL" clId="{65C04F68-2C4D-44AC-BDEF-049BCB8FCC62}" dt="2024-02-14T09:59:49.595" v="422" actId="255"/>
          <ac:spMkLst>
            <pc:docMk/>
            <pc:sldMk cId="819725515" sldId="2147482928"/>
            <ac:spMk id="12" creationId="{B88D425D-2A40-C6DF-BB38-E4BD1ECD1A0C}"/>
          </ac:spMkLst>
        </pc:spChg>
        <pc:spChg chg="add mod">
          <ac:chgData name="Pruchnicki, Marcin" userId="13b4f2f6-3869-479e-8e4b-3ca75520da77" providerId="ADAL" clId="{65C04F68-2C4D-44AC-BDEF-049BCB8FCC62}" dt="2024-02-14T09:54:45.373" v="402" actId="20577"/>
          <ac:spMkLst>
            <pc:docMk/>
            <pc:sldMk cId="819725515" sldId="2147482928"/>
            <ac:spMk id="13" creationId="{64BA6AA6-2479-50DB-CBFE-28512D14DD0B}"/>
          </ac:spMkLst>
        </pc:spChg>
        <pc:spChg chg="add mod">
          <ac:chgData name="Pruchnicki, Marcin" userId="13b4f2f6-3869-479e-8e4b-3ca75520da77" providerId="ADAL" clId="{65C04F68-2C4D-44AC-BDEF-049BCB8FCC62}" dt="2024-02-14T09:56:34.211" v="406" actId="20577"/>
          <ac:spMkLst>
            <pc:docMk/>
            <pc:sldMk cId="819725515" sldId="2147482928"/>
            <ac:spMk id="14" creationId="{93C152F8-629E-9034-6AB6-81697E143EDE}"/>
          </ac:spMkLst>
        </pc:spChg>
        <pc:spChg chg="add mod">
          <ac:chgData name="Pruchnicki, Marcin" userId="13b4f2f6-3869-479e-8e4b-3ca75520da77" providerId="ADAL" clId="{65C04F68-2C4D-44AC-BDEF-049BCB8FCC62}" dt="2024-02-14T09:59:11.223" v="412"/>
          <ac:spMkLst>
            <pc:docMk/>
            <pc:sldMk cId="819725515" sldId="2147482928"/>
            <ac:spMk id="15" creationId="{0D2AF40E-C699-884A-7002-086C666AE5D9}"/>
          </ac:spMkLst>
        </pc:spChg>
        <pc:spChg chg="add mod">
          <ac:chgData name="Pruchnicki, Marcin" userId="13b4f2f6-3869-479e-8e4b-3ca75520da77" providerId="ADAL" clId="{65C04F68-2C4D-44AC-BDEF-049BCB8FCC62}" dt="2024-02-09T12:14:43.896" v="266" actId="1037"/>
          <ac:spMkLst>
            <pc:docMk/>
            <pc:sldMk cId="819725515" sldId="2147482928"/>
            <ac:spMk id="16" creationId="{6E460956-655E-0420-93B6-FC2B58CE49EA}"/>
          </ac:spMkLst>
        </pc:spChg>
        <pc:spChg chg="add del mod">
          <ac:chgData name="Pruchnicki, Marcin" userId="13b4f2f6-3869-479e-8e4b-3ca75520da77" providerId="ADAL" clId="{65C04F68-2C4D-44AC-BDEF-049BCB8FCC62}" dt="2024-02-09T12:15:05.036" v="268"/>
          <ac:spMkLst>
            <pc:docMk/>
            <pc:sldMk cId="819725515" sldId="2147482928"/>
            <ac:spMk id="17" creationId="{F9C31058-EE73-8326-8B1D-E0628E1596A4}"/>
          </ac:spMkLst>
        </pc:spChg>
        <pc:spChg chg="add del mod">
          <ac:chgData name="Pruchnicki, Marcin" userId="13b4f2f6-3869-479e-8e4b-3ca75520da77" providerId="ADAL" clId="{65C04F68-2C4D-44AC-BDEF-049BCB8FCC62}" dt="2024-02-09T12:15:05.036" v="268"/>
          <ac:spMkLst>
            <pc:docMk/>
            <pc:sldMk cId="819725515" sldId="2147482928"/>
            <ac:spMk id="18" creationId="{91C4005F-00F4-EE48-B846-3D76F7AD09D8}"/>
          </ac:spMkLst>
        </pc:spChg>
        <pc:spChg chg="add del mod">
          <ac:chgData name="Pruchnicki, Marcin" userId="13b4f2f6-3869-479e-8e4b-3ca75520da77" providerId="ADAL" clId="{65C04F68-2C4D-44AC-BDEF-049BCB8FCC62}" dt="2024-02-09T12:15:05.036" v="268"/>
          <ac:spMkLst>
            <pc:docMk/>
            <pc:sldMk cId="819725515" sldId="2147482928"/>
            <ac:spMk id="19" creationId="{D02D9B2D-549F-CAD6-DBD8-A1F014D975B3}"/>
          </ac:spMkLst>
        </pc:spChg>
        <pc:spChg chg="add del mod">
          <ac:chgData name="Pruchnicki, Marcin" userId="13b4f2f6-3869-479e-8e4b-3ca75520da77" providerId="ADAL" clId="{65C04F68-2C4D-44AC-BDEF-049BCB8FCC62}" dt="2024-02-09T12:20:53.278" v="277" actId="478"/>
          <ac:spMkLst>
            <pc:docMk/>
            <pc:sldMk cId="819725515" sldId="2147482928"/>
            <ac:spMk id="20" creationId="{1AEDCB6D-2E51-E9A6-3072-85BE2E71356F}"/>
          </ac:spMkLst>
        </pc:spChg>
        <pc:spChg chg="add del mod">
          <ac:chgData name="Pruchnicki, Marcin" userId="13b4f2f6-3869-479e-8e4b-3ca75520da77" providerId="ADAL" clId="{65C04F68-2C4D-44AC-BDEF-049BCB8FCC62}" dt="2024-02-09T12:21:15.892" v="279"/>
          <ac:spMkLst>
            <pc:docMk/>
            <pc:sldMk cId="819725515" sldId="2147482928"/>
            <ac:spMk id="22" creationId="{5922934E-C0AA-C652-3E5E-2FB3A6251360}"/>
          </ac:spMkLst>
        </pc:spChg>
        <pc:spChg chg="add mod">
          <ac:chgData name="Pruchnicki, Marcin" userId="13b4f2f6-3869-479e-8e4b-3ca75520da77" providerId="ADAL" clId="{65C04F68-2C4D-44AC-BDEF-049BCB8FCC62}" dt="2024-02-09T12:26:13.423" v="379" actId="14100"/>
          <ac:spMkLst>
            <pc:docMk/>
            <pc:sldMk cId="819725515" sldId="2147482928"/>
            <ac:spMk id="24" creationId="{2D758423-85E2-6A0A-DD74-8D3B6F3C0C8A}"/>
          </ac:spMkLst>
        </pc:spChg>
        <pc:spChg chg="add mod">
          <ac:chgData name="Pruchnicki, Marcin" userId="13b4f2f6-3869-479e-8e4b-3ca75520da77" providerId="ADAL" clId="{65C04F68-2C4D-44AC-BDEF-049BCB8FCC62}" dt="2024-02-09T12:26:17.829" v="385" actId="20577"/>
          <ac:spMkLst>
            <pc:docMk/>
            <pc:sldMk cId="819725515" sldId="2147482928"/>
            <ac:spMk id="25" creationId="{9A5EE5D9-03BC-C420-53AF-AD6EF4921A04}"/>
          </ac:spMkLst>
        </pc:spChg>
        <pc:spChg chg="add del mod">
          <ac:chgData name="Pruchnicki, Marcin" userId="13b4f2f6-3869-479e-8e4b-3ca75520da77" providerId="ADAL" clId="{65C04F68-2C4D-44AC-BDEF-049BCB8FCC62}" dt="2024-02-09T12:23:54.307" v="301" actId="478"/>
          <ac:spMkLst>
            <pc:docMk/>
            <pc:sldMk cId="819725515" sldId="2147482928"/>
            <ac:spMk id="26" creationId="{667327E5-E9E6-5BE8-7D06-CE4C12AD30DD}"/>
          </ac:spMkLst>
        </pc:spChg>
        <pc:spChg chg="add del mod">
          <ac:chgData name="Pruchnicki, Marcin" userId="13b4f2f6-3869-479e-8e4b-3ca75520da77" providerId="ADAL" clId="{65C04F68-2C4D-44AC-BDEF-049BCB8FCC62}" dt="2024-02-09T12:23:51.073" v="300" actId="478"/>
          <ac:spMkLst>
            <pc:docMk/>
            <pc:sldMk cId="819725515" sldId="2147482928"/>
            <ac:spMk id="27" creationId="{F7902AB9-FBB8-288F-2DA3-209EDBBA9910}"/>
          </ac:spMkLst>
        </pc:spChg>
        <pc:spChg chg="mod">
          <ac:chgData name="Pruchnicki, Marcin" userId="13b4f2f6-3869-479e-8e4b-3ca75520da77" providerId="ADAL" clId="{65C04F68-2C4D-44AC-BDEF-049BCB8FCC62}" dt="2024-02-09T12:14:22.356" v="175" actId="20577"/>
          <ac:spMkLst>
            <pc:docMk/>
            <pc:sldMk cId="819725515" sldId="2147482928"/>
            <ac:spMk id="62" creationId="{49AF690D-26F3-1CDB-6F4D-838976866FF7}"/>
          </ac:spMkLst>
        </pc:spChg>
        <pc:spChg chg="del">
          <ac:chgData name="Pruchnicki, Marcin" userId="13b4f2f6-3869-479e-8e4b-3ca75520da77" providerId="ADAL" clId="{65C04F68-2C4D-44AC-BDEF-049BCB8FCC62}" dt="2024-02-09T12:15:53.853" v="270" actId="478"/>
          <ac:spMkLst>
            <pc:docMk/>
            <pc:sldMk cId="819725515" sldId="2147482928"/>
            <ac:spMk id="68" creationId="{2558906F-C64F-EF33-2CE7-EE97543099D3}"/>
          </ac:spMkLst>
        </pc:spChg>
        <pc:spChg chg="del">
          <ac:chgData name="Pruchnicki, Marcin" userId="13b4f2f6-3869-479e-8e4b-3ca75520da77" providerId="ADAL" clId="{65C04F68-2C4D-44AC-BDEF-049BCB8FCC62}" dt="2024-02-09T12:15:53.853" v="270" actId="478"/>
          <ac:spMkLst>
            <pc:docMk/>
            <pc:sldMk cId="819725515" sldId="2147482928"/>
            <ac:spMk id="72" creationId="{CCCFAC07-3EB2-FA6A-3A82-2958ED1F5B27}"/>
          </ac:spMkLst>
        </pc:spChg>
        <pc:spChg chg="del">
          <ac:chgData name="Pruchnicki, Marcin" userId="13b4f2f6-3869-479e-8e4b-3ca75520da77" providerId="ADAL" clId="{65C04F68-2C4D-44AC-BDEF-049BCB8FCC62}" dt="2024-02-09T12:15:59.171" v="272" actId="478"/>
          <ac:spMkLst>
            <pc:docMk/>
            <pc:sldMk cId="819725515" sldId="2147482928"/>
            <ac:spMk id="73" creationId="{07F84233-924F-17DC-8C7F-2B01BAB0267E}"/>
          </ac:spMkLst>
        </pc:spChg>
        <pc:spChg chg="del">
          <ac:chgData name="Pruchnicki, Marcin" userId="13b4f2f6-3869-479e-8e4b-3ca75520da77" providerId="ADAL" clId="{65C04F68-2C4D-44AC-BDEF-049BCB8FCC62}" dt="2024-02-09T12:15:59.171" v="272" actId="478"/>
          <ac:spMkLst>
            <pc:docMk/>
            <pc:sldMk cId="819725515" sldId="2147482928"/>
            <ac:spMk id="355" creationId="{520DE371-5AF1-F8FF-8707-45EE4454FB90}"/>
          </ac:spMkLst>
        </pc:spChg>
        <pc:spChg chg="del">
          <ac:chgData name="Pruchnicki, Marcin" userId="13b4f2f6-3869-479e-8e4b-3ca75520da77" providerId="ADAL" clId="{65C04F68-2C4D-44AC-BDEF-049BCB8FCC62}" dt="2024-02-09T12:15:59.171" v="272" actId="478"/>
          <ac:spMkLst>
            <pc:docMk/>
            <pc:sldMk cId="819725515" sldId="2147482928"/>
            <ac:spMk id="356" creationId="{45893D60-F6F4-C53C-3A02-E32909DD2E69}"/>
          </ac:spMkLst>
        </pc:spChg>
        <pc:spChg chg="del">
          <ac:chgData name="Pruchnicki, Marcin" userId="13b4f2f6-3869-479e-8e4b-3ca75520da77" providerId="ADAL" clId="{65C04F68-2C4D-44AC-BDEF-049BCB8FCC62}" dt="2024-02-09T12:16:06.069" v="273" actId="478"/>
          <ac:spMkLst>
            <pc:docMk/>
            <pc:sldMk cId="819725515" sldId="2147482928"/>
            <ac:spMk id="357" creationId="{E15DB0F8-FBE2-D8CC-A4FB-F6A6E1AAAE0A}"/>
          </ac:spMkLst>
        </pc:spChg>
        <pc:spChg chg="del">
          <ac:chgData name="Pruchnicki, Marcin" userId="13b4f2f6-3869-479e-8e4b-3ca75520da77" providerId="ADAL" clId="{65C04F68-2C4D-44AC-BDEF-049BCB8FCC62}" dt="2024-02-09T12:16:08.199" v="274" actId="478"/>
          <ac:spMkLst>
            <pc:docMk/>
            <pc:sldMk cId="819725515" sldId="2147482928"/>
            <ac:spMk id="358" creationId="{DDA5DDE7-3083-CDF4-FE22-D3B32B014AAD}"/>
          </ac:spMkLst>
        </pc:spChg>
        <pc:spChg chg="del">
          <ac:chgData name="Pruchnicki, Marcin" userId="13b4f2f6-3869-479e-8e4b-3ca75520da77" providerId="ADAL" clId="{65C04F68-2C4D-44AC-BDEF-049BCB8FCC62}" dt="2024-02-09T12:15:51.710" v="269" actId="478"/>
          <ac:spMkLst>
            <pc:docMk/>
            <pc:sldMk cId="819725515" sldId="2147482928"/>
            <ac:spMk id="365" creationId="{EE782C3F-C94F-3415-05E2-30C77D58C065}"/>
          </ac:spMkLst>
        </pc:spChg>
        <pc:grpChg chg="del">
          <ac:chgData name="Pruchnicki, Marcin" userId="13b4f2f6-3869-479e-8e4b-3ca75520da77" providerId="ADAL" clId="{65C04F68-2C4D-44AC-BDEF-049BCB8FCC62}" dt="2024-02-09T12:15:59.171" v="272" actId="478"/>
          <ac:grpSpMkLst>
            <pc:docMk/>
            <pc:sldMk cId="819725515" sldId="2147482928"/>
            <ac:grpSpMk id="47" creationId="{00B02FCB-7E30-92CF-CD77-808E9C6C0E12}"/>
          </ac:grpSpMkLst>
        </pc:grpChg>
        <pc:grpChg chg="del">
          <ac:chgData name="Pruchnicki, Marcin" userId="13b4f2f6-3869-479e-8e4b-3ca75520da77" providerId="ADAL" clId="{65C04F68-2C4D-44AC-BDEF-049BCB8FCC62}" dt="2024-02-09T12:15:55.629" v="271" actId="478"/>
          <ac:grpSpMkLst>
            <pc:docMk/>
            <pc:sldMk cId="819725515" sldId="2147482928"/>
            <ac:grpSpMk id="285" creationId="{C592E709-2024-BDF5-944E-3A75936A21EB}"/>
          </ac:grpSpMkLst>
        </pc:grpChg>
        <pc:grpChg chg="del">
          <ac:chgData name="Pruchnicki, Marcin" userId="13b4f2f6-3869-479e-8e4b-3ca75520da77" providerId="ADAL" clId="{65C04F68-2C4D-44AC-BDEF-049BCB8FCC62}" dt="2024-02-09T12:16:06.069" v="273" actId="478"/>
          <ac:grpSpMkLst>
            <pc:docMk/>
            <pc:sldMk cId="819725515" sldId="2147482928"/>
            <ac:grpSpMk id="322" creationId="{04B734C9-8C10-BD6D-1466-D4E1DCCD4817}"/>
          </ac:grpSpMkLst>
        </pc:grpChg>
        <pc:picChg chg="add del mod">
          <ac:chgData name="Pruchnicki, Marcin" userId="13b4f2f6-3869-479e-8e4b-3ca75520da77" providerId="ADAL" clId="{65C04F68-2C4D-44AC-BDEF-049BCB8FCC62}" dt="2024-02-09T12:21:15.892" v="279"/>
          <ac:picMkLst>
            <pc:docMk/>
            <pc:sldMk cId="819725515" sldId="2147482928"/>
            <ac:picMk id="21" creationId="{A960C49C-5DF4-D870-7939-5624E64A5E9C}"/>
          </ac:picMkLst>
        </pc:picChg>
        <pc:picChg chg="add del mod">
          <ac:chgData name="Pruchnicki, Marcin" userId="13b4f2f6-3869-479e-8e4b-3ca75520da77" providerId="ADAL" clId="{65C04F68-2C4D-44AC-BDEF-049BCB8FCC62}" dt="2024-02-09T12:26:13.829" v="380" actId="478"/>
          <ac:picMkLst>
            <pc:docMk/>
            <pc:sldMk cId="819725515" sldId="2147482928"/>
            <ac:picMk id="23" creationId="{974896C9-6AAE-335F-AD9D-370ED778E62E}"/>
          </ac:picMkLst>
        </pc:picChg>
        <pc:picChg chg="del">
          <ac:chgData name="Pruchnicki, Marcin" userId="13b4f2f6-3869-479e-8e4b-3ca75520da77" providerId="ADAL" clId="{65C04F68-2C4D-44AC-BDEF-049BCB8FCC62}" dt="2024-02-09T12:16:06.069" v="273" actId="478"/>
          <ac:picMkLst>
            <pc:docMk/>
            <pc:sldMk cId="819725515" sldId="2147482928"/>
            <ac:picMk id="290" creationId="{A92FE2FC-13DD-475A-F953-02B5245EEFFB}"/>
          </ac:picMkLst>
        </pc:picChg>
        <pc:picChg chg="del">
          <ac:chgData name="Pruchnicki, Marcin" userId="13b4f2f6-3869-479e-8e4b-3ca75520da77" providerId="ADAL" clId="{65C04F68-2C4D-44AC-BDEF-049BCB8FCC62}" dt="2024-02-09T12:15:59.171" v="272" actId="478"/>
          <ac:picMkLst>
            <pc:docMk/>
            <pc:sldMk cId="819725515" sldId="2147482928"/>
            <ac:picMk id="292" creationId="{071ED58D-8075-DC35-A51C-0A966E4EEB3E}"/>
          </ac:picMkLst>
        </pc:picChg>
      </pc:sldChg>
      <pc:sldChg chg="addSp delSp modSp mod">
        <pc:chgData name="Pruchnicki, Marcin" userId="13b4f2f6-3869-479e-8e4b-3ca75520da77" providerId="ADAL" clId="{65C04F68-2C4D-44AC-BDEF-049BCB8FCC62}" dt="2024-02-09T11:50:45.985" v="55" actId="478"/>
        <pc:sldMkLst>
          <pc:docMk/>
          <pc:sldMk cId="2607985387" sldId="2147482929"/>
        </pc:sldMkLst>
        <pc:spChg chg="add del mod">
          <ac:chgData name="Pruchnicki, Marcin" userId="13b4f2f6-3869-479e-8e4b-3ca75520da77" providerId="ADAL" clId="{65C04F68-2C4D-44AC-BDEF-049BCB8FCC62}" dt="2024-02-09T11:50:45.985" v="55" actId="478"/>
          <ac:spMkLst>
            <pc:docMk/>
            <pc:sldMk cId="2607985387" sldId="2147482929"/>
            <ac:spMk id="2" creationId="{77C7FE80-DE07-3E61-E5BB-B0FF397035B1}"/>
          </ac:spMkLst>
        </pc:spChg>
        <pc:spChg chg="add del mod">
          <ac:chgData name="Pruchnicki, Marcin" userId="13b4f2f6-3869-479e-8e4b-3ca75520da77" providerId="ADAL" clId="{65C04F68-2C4D-44AC-BDEF-049BCB8FCC62}" dt="2024-02-09T11:50:45.985" v="55" actId="478"/>
          <ac:spMkLst>
            <pc:docMk/>
            <pc:sldMk cId="2607985387" sldId="2147482929"/>
            <ac:spMk id="3" creationId="{2992E9D8-F201-D16C-EDA9-FAB7588E0101}"/>
          </ac:spMkLst>
        </pc:spChg>
        <pc:spChg chg="add del mod">
          <ac:chgData name="Pruchnicki, Marcin" userId="13b4f2f6-3869-479e-8e4b-3ca75520da77" providerId="ADAL" clId="{65C04F68-2C4D-44AC-BDEF-049BCB8FCC62}" dt="2024-02-09T11:50:45.985" v="55" actId="478"/>
          <ac:spMkLst>
            <pc:docMk/>
            <pc:sldMk cId="2607985387" sldId="2147482929"/>
            <ac:spMk id="6" creationId="{BB3E1768-7869-3439-4B53-903AD9DBF5BC}"/>
          </ac:spMkLst>
        </pc:spChg>
        <pc:spChg chg="add del mod">
          <ac:chgData name="Pruchnicki, Marcin" userId="13b4f2f6-3869-479e-8e4b-3ca75520da77" providerId="ADAL" clId="{65C04F68-2C4D-44AC-BDEF-049BCB8FCC62}" dt="2024-02-09T11:50:45.985" v="55" actId="478"/>
          <ac:spMkLst>
            <pc:docMk/>
            <pc:sldMk cId="2607985387" sldId="2147482929"/>
            <ac:spMk id="7" creationId="{38B8DDE0-25CD-AE06-6A07-1064937B5750}"/>
          </ac:spMkLst>
        </pc:spChg>
        <pc:spChg chg="add del mod">
          <ac:chgData name="Pruchnicki, Marcin" userId="13b4f2f6-3869-479e-8e4b-3ca75520da77" providerId="ADAL" clId="{65C04F68-2C4D-44AC-BDEF-049BCB8FCC62}" dt="2024-02-09T11:50:45.985" v="55" actId="478"/>
          <ac:spMkLst>
            <pc:docMk/>
            <pc:sldMk cId="2607985387" sldId="2147482929"/>
            <ac:spMk id="8" creationId="{9583EAAF-72D2-E7D7-D829-35854EB72ECC}"/>
          </ac:spMkLst>
        </pc:spChg>
        <pc:spChg chg="add del mod">
          <ac:chgData name="Pruchnicki, Marcin" userId="13b4f2f6-3869-479e-8e4b-3ca75520da77" providerId="ADAL" clId="{65C04F68-2C4D-44AC-BDEF-049BCB8FCC62}" dt="2024-02-09T11:50:45.985" v="55" actId="478"/>
          <ac:spMkLst>
            <pc:docMk/>
            <pc:sldMk cId="2607985387" sldId="2147482929"/>
            <ac:spMk id="9" creationId="{54430C35-0FAB-E9DC-5E79-70E3916B94B6}"/>
          </ac:spMkLst>
        </pc:spChg>
        <pc:spChg chg="add del mod">
          <ac:chgData name="Pruchnicki, Marcin" userId="13b4f2f6-3869-479e-8e4b-3ca75520da77" providerId="ADAL" clId="{65C04F68-2C4D-44AC-BDEF-049BCB8FCC62}" dt="2024-02-09T11:50:45.985" v="55" actId="478"/>
          <ac:spMkLst>
            <pc:docMk/>
            <pc:sldMk cId="2607985387" sldId="2147482929"/>
            <ac:spMk id="19" creationId="{CD89A73C-CBCA-93AF-9EA1-32C14505DFCE}"/>
          </ac:spMkLst>
        </pc:spChg>
        <pc:spChg chg="add del mod">
          <ac:chgData name="Pruchnicki, Marcin" userId="13b4f2f6-3869-479e-8e4b-3ca75520da77" providerId="ADAL" clId="{65C04F68-2C4D-44AC-BDEF-049BCB8FCC62}" dt="2024-02-09T11:50:45.985" v="55" actId="478"/>
          <ac:spMkLst>
            <pc:docMk/>
            <pc:sldMk cId="2607985387" sldId="2147482929"/>
            <ac:spMk id="20" creationId="{EE91C616-A802-2FA4-B4EA-84D3A96B1787}"/>
          </ac:spMkLst>
        </pc:spChg>
        <pc:spChg chg="add del mod">
          <ac:chgData name="Pruchnicki, Marcin" userId="13b4f2f6-3869-479e-8e4b-3ca75520da77" providerId="ADAL" clId="{65C04F68-2C4D-44AC-BDEF-049BCB8FCC62}" dt="2024-02-09T11:50:45.985" v="55" actId="478"/>
          <ac:spMkLst>
            <pc:docMk/>
            <pc:sldMk cId="2607985387" sldId="2147482929"/>
            <ac:spMk id="21" creationId="{8676B276-8F92-5692-39F6-DF3126D565AB}"/>
          </ac:spMkLst>
        </pc:spChg>
        <pc:spChg chg="add del mod">
          <ac:chgData name="Pruchnicki, Marcin" userId="13b4f2f6-3869-479e-8e4b-3ca75520da77" providerId="ADAL" clId="{65C04F68-2C4D-44AC-BDEF-049BCB8FCC62}" dt="2024-02-09T11:50:45.985" v="55" actId="478"/>
          <ac:spMkLst>
            <pc:docMk/>
            <pc:sldMk cId="2607985387" sldId="2147482929"/>
            <ac:spMk id="22" creationId="{DA3981A4-FBBB-B58C-7450-0CD6C0FCFC45}"/>
          </ac:spMkLst>
        </pc:spChg>
        <pc:spChg chg="add del mod">
          <ac:chgData name="Pruchnicki, Marcin" userId="13b4f2f6-3869-479e-8e4b-3ca75520da77" providerId="ADAL" clId="{65C04F68-2C4D-44AC-BDEF-049BCB8FCC62}" dt="2024-02-09T11:50:45.985" v="55" actId="478"/>
          <ac:spMkLst>
            <pc:docMk/>
            <pc:sldMk cId="2607985387" sldId="2147482929"/>
            <ac:spMk id="23" creationId="{E795AA3F-C9A3-4862-7F35-A65E87294CC1}"/>
          </ac:spMkLst>
        </pc:spChg>
        <pc:spChg chg="add del mod">
          <ac:chgData name="Pruchnicki, Marcin" userId="13b4f2f6-3869-479e-8e4b-3ca75520da77" providerId="ADAL" clId="{65C04F68-2C4D-44AC-BDEF-049BCB8FCC62}" dt="2024-02-09T11:50:45.985" v="55" actId="478"/>
          <ac:spMkLst>
            <pc:docMk/>
            <pc:sldMk cId="2607985387" sldId="2147482929"/>
            <ac:spMk id="24" creationId="{76F45FBC-AD2F-EA2E-B71A-127BC2B07864}"/>
          </ac:spMkLst>
        </pc:spChg>
        <pc:spChg chg="add del mod">
          <ac:chgData name="Pruchnicki, Marcin" userId="13b4f2f6-3869-479e-8e4b-3ca75520da77" providerId="ADAL" clId="{65C04F68-2C4D-44AC-BDEF-049BCB8FCC62}" dt="2024-02-09T11:50:45.985" v="55" actId="478"/>
          <ac:spMkLst>
            <pc:docMk/>
            <pc:sldMk cId="2607985387" sldId="2147482929"/>
            <ac:spMk id="25" creationId="{70B9EF77-B29F-0CE3-897D-9AB0F9E7538C}"/>
          </ac:spMkLst>
        </pc:spChg>
        <pc:spChg chg="del">
          <ac:chgData name="Pruchnicki, Marcin" userId="13b4f2f6-3869-479e-8e4b-3ca75520da77" providerId="ADAL" clId="{65C04F68-2C4D-44AC-BDEF-049BCB8FCC62}" dt="2024-02-09T11:50:23.542" v="52" actId="478"/>
          <ac:spMkLst>
            <pc:docMk/>
            <pc:sldMk cId="2607985387" sldId="2147482929"/>
            <ac:spMk id="62" creationId="{49AF690D-26F3-1CDB-6F4D-838976866FF7}"/>
          </ac:spMkLst>
        </pc:spChg>
        <pc:spChg chg="del">
          <ac:chgData name="Pruchnicki, Marcin" userId="13b4f2f6-3869-479e-8e4b-3ca75520da77" providerId="ADAL" clId="{65C04F68-2C4D-44AC-BDEF-049BCB8FCC62}" dt="2024-02-09T11:49:53.835" v="47" actId="478"/>
          <ac:spMkLst>
            <pc:docMk/>
            <pc:sldMk cId="2607985387" sldId="2147482929"/>
            <ac:spMk id="68" creationId="{2558906F-C64F-EF33-2CE7-EE97543099D3}"/>
          </ac:spMkLst>
        </pc:spChg>
        <pc:spChg chg="del">
          <ac:chgData name="Pruchnicki, Marcin" userId="13b4f2f6-3869-479e-8e4b-3ca75520da77" providerId="ADAL" clId="{65C04F68-2C4D-44AC-BDEF-049BCB8FCC62}" dt="2024-02-09T11:49:53.835" v="47" actId="478"/>
          <ac:spMkLst>
            <pc:docMk/>
            <pc:sldMk cId="2607985387" sldId="2147482929"/>
            <ac:spMk id="72" creationId="{CCCFAC07-3EB2-FA6A-3A82-2958ED1F5B27}"/>
          </ac:spMkLst>
        </pc:spChg>
        <pc:spChg chg="del">
          <ac:chgData name="Pruchnicki, Marcin" userId="13b4f2f6-3869-479e-8e4b-3ca75520da77" providerId="ADAL" clId="{65C04F68-2C4D-44AC-BDEF-049BCB8FCC62}" dt="2024-02-09T11:49:57.395" v="48" actId="478"/>
          <ac:spMkLst>
            <pc:docMk/>
            <pc:sldMk cId="2607985387" sldId="2147482929"/>
            <ac:spMk id="73" creationId="{07F84233-924F-17DC-8C7F-2B01BAB0267E}"/>
          </ac:spMkLst>
        </pc:spChg>
        <pc:spChg chg="del">
          <ac:chgData name="Pruchnicki, Marcin" userId="13b4f2f6-3869-479e-8e4b-3ca75520da77" providerId="ADAL" clId="{65C04F68-2C4D-44AC-BDEF-049BCB8FCC62}" dt="2024-02-09T11:49:57.395" v="48" actId="478"/>
          <ac:spMkLst>
            <pc:docMk/>
            <pc:sldMk cId="2607985387" sldId="2147482929"/>
            <ac:spMk id="355" creationId="{520DE371-5AF1-F8FF-8707-45EE4454FB90}"/>
          </ac:spMkLst>
        </pc:spChg>
        <pc:spChg chg="del">
          <ac:chgData name="Pruchnicki, Marcin" userId="13b4f2f6-3869-479e-8e4b-3ca75520da77" providerId="ADAL" clId="{65C04F68-2C4D-44AC-BDEF-049BCB8FCC62}" dt="2024-02-09T11:50:03.248" v="51" actId="478"/>
          <ac:spMkLst>
            <pc:docMk/>
            <pc:sldMk cId="2607985387" sldId="2147482929"/>
            <ac:spMk id="356" creationId="{45893D60-F6F4-C53C-3A02-E32909DD2E69}"/>
          </ac:spMkLst>
        </pc:spChg>
        <pc:spChg chg="del">
          <ac:chgData name="Pruchnicki, Marcin" userId="13b4f2f6-3869-479e-8e4b-3ca75520da77" providerId="ADAL" clId="{65C04F68-2C4D-44AC-BDEF-049BCB8FCC62}" dt="2024-02-09T11:49:57.395" v="48" actId="478"/>
          <ac:spMkLst>
            <pc:docMk/>
            <pc:sldMk cId="2607985387" sldId="2147482929"/>
            <ac:spMk id="357" creationId="{E15DB0F8-FBE2-D8CC-A4FB-F6A6E1AAAE0A}"/>
          </ac:spMkLst>
        </pc:spChg>
        <pc:spChg chg="del mod">
          <ac:chgData name="Pruchnicki, Marcin" userId="13b4f2f6-3869-479e-8e4b-3ca75520da77" providerId="ADAL" clId="{65C04F68-2C4D-44AC-BDEF-049BCB8FCC62}" dt="2024-02-09T11:50:01.942" v="50" actId="478"/>
          <ac:spMkLst>
            <pc:docMk/>
            <pc:sldMk cId="2607985387" sldId="2147482929"/>
            <ac:spMk id="358" creationId="{DDA5DDE7-3083-CDF4-FE22-D3B32B014AAD}"/>
          </ac:spMkLst>
        </pc:spChg>
        <pc:spChg chg="del">
          <ac:chgData name="Pruchnicki, Marcin" userId="13b4f2f6-3869-479e-8e4b-3ca75520da77" providerId="ADAL" clId="{65C04F68-2C4D-44AC-BDEF-049BCB8FCC62}" dt="2024-02-09T11:49:48.484" v="46" actId="478"/>
          <ac:spMkLst>
            <pc:docMk/>
            <pc:sldMk cId="2607985387" sldId="2147482929"/>
            <ac:spMk id="365" creationId="{EE782C3F-C94F-3415-05E2-30C77D58C065}"/>
          </ac:spMkLst>
        </pc:spChg>
        <pc:grpChg chg="del">
          <ac:chgData name="Pruchnicki, Marcin" userId="13b4f2f6-3869-479e-8e4b-3ca75520da77" providerId="ADAL" clId="{65C04F68-2C4D-44AC-BDEF-049BCB8FCC62}" dt="2024-02-09T11:49:57.395" v="48" actId="478"/>
          <ac:grpSpMkLst>
            <pc:docMk/>
            <pc:sldMk cId="2607985387" sldId="2147482929"/>
            <ac:grpSpMk id="47" creationId="{00B02FCB-7E30-92CF-CD77-808E9C6C0E12}"/>
          </ac:grpSpMkLst>
        </pc:grpChg>
        <pc:grpChg chg="del">
          <ac:chgData name="Pruchnicki, Marcin" userId="13b4f2f6-3869-479e-8e4b-3ca75520da77" providerId="ADAL" clId="{65C04F68-2C4D-44AC-BDEF-049BCB8FCC62}" dt="2024-02-09T11:49:53.835" v="47" actId="478"/>
          <ac:grpSpMkLst>
            <pc:docMk/>
            <pc:sldMk cId="2607985387" sldId="2147482929"/>
            <ac:grpSpMk id="285" creationId="{C592E709-2024-BDF5-944E-3A75936A21EB}"/>
          </ac:grpSpMkLst>
        </pc:grpChg>
        <pc:grpChg chg="del">
          <ac:chgData name="Pruchnicki, Marcin" userId="13b4f2f6-3869-479e-8e4b-3ca75520da77" providerId="ADAL" clId="{65C04F68-2C4D-44AC-BDEF-049BCB8FCC62}" dt="2024-02-09T11:49:57.395" v="48" actId="478"/>
          <ac:grpSpMkLst>
            <pc:docMk/>
            <pc:sldMk cId="2607985387" sldId="2147482929"/>
            <ac:grpSpMk id="322" creationId="{04B734C9-8C10-BD6D-1466-D4E1DCCD4817}"/>
          </ac:grpSpMkLst>
        </pc:grpChg>
        <pc:picChg chg="add del mod">
          <ac:chgData name="Pruchnicki, Marcin" userId="13b4f2f6-3869-479e-8e4b-3ca75520da77" providerId="ADAL" clId="{65C04F68-2C4D-44AC-BDEF-049BCB8FCC62}" dt="2024-02-09T11:49:00.632" v="5" actId="478"/>
          <ac:picMkLst>
            <pc:docMk/>
            <pc:sldMk cId="2607985387" sldId="2147482929"/>
            <ac:picMk id="10" creationId="{67CC6FB8-AF41-D49B-C5CD-27E2651F2D8C}"/>
          </ac:picMkLst>
        </pc:picChg>
        <pc:picChg chg="add del mod">
          <ac:chgData name="Pruchnicki, Marcin" userId="13b4f2f6-3869-479e-8e4b-3ca75520da77" providerId="ADAL" clId="{65C04F68-2C4D-44AC-BDEF-049BCB8FCC62}" dt="2024-02-09T11:49:05.741" v="13" actId="478"/>
          <ac:picMkLst>
            <pc:docMk/>
            <pc:sldMk cId="2607985387" sldId="2147482929"/>
            <ac:picMk id="11" creationId="{71509421-3CA5-A3D3-54FF-DE361A6FAA1B}"/>
          </ac:picMkLst>
        </pc:picChg>
        <pc:picChg chg="add del mod">
          <ac:chgData name="Pruchnicki, Marcin" userId="13b4f2f6-3869-479e-8e4b-3ca75520da77" providerId="ADAL" clId="{65C04F68-2C4D-44AC-BDEF-049BCB8FCC62}" dt="2024-02-09T11:49:01.834" v="6" actId="478"/>
          <ac:picMkLst>
            <pc:docMk/>
            <pc:sldMk cId="2607985387" sldId="2147482929"/>
            <ac:picMk id="12" creationId="{63BF2B8D-EC0E-ADF7-0C6B-848C51277312}"/>
          </ac:picMkLst>
        </pc:picChg>
        <pc:picChg chg="add del mod">
          <ac:chgData name="Pruchnicki, Marcin" userId="13b4f2f6-3869-479e-8e4b-3ca75520da77" providerId="ADAL" clId="{65C04F68-2C4D-44AC-BDEF-049BCB8FCC62}" dt="2024-02-09T11:49:02.450" v="7" actId="478"/>
          <ac:picMkLst>
            <pc:docMk/>
            <pc:sldMk cId="2607985387" sldId="2147482929"/>
            <ac:picMk id="13" creationId="{F12BB716-B100-FCBE-02C6-0B3F75282D2D}"/>
          </ac:picMkLst>
        </pc:picChg>
        <pc:picChg chg="add del mod">
          <ac:chgData name="Pruchnicki, Marcin" userId="13b4f2f6-3869-479e-8e4b-3ca75520da77" providerId="ADAL" clId="{65C04F68-2C4D-44AC-BDEF-049BCB8FCC62}" dt="2024-02-09T11:49:03.710" v="9" actId="478"/>
          <ac:picMkLst>
            <pc:docMk/>
            <pc:sldMk cId="2607985387" sldId="2147482929"/>
            <ac:picMk id="14" creationId="{D182863E-381A-22F3-6B9C-D27F386C280A}"/>
          </ac:picMkLst>
        </pc:picChg>
        <pc:picChg chg="add del mod">
          <ac:chgData name="Pruchnicki, Marcin" userId="13b4f2f6-3869-479e-8e4b-3ca75520da77" providerId="ADAL" clId="{65C04F68-2C4D-44AC-BDEF-049BCB8FCC62}" dt="2024-02-09T11:49:05.168" v="12" actId="478"/>
          <ac:picMkLst>
            <pc:docMk/>
            <pc:sldMk cId="2607985387" sldId="2147482929"/>
            <ac:picMk id="15" creationId="{272DAB6B-2EEB-D787-DC82-635F3AED891E}"/>
          </ac:picMkLst>
        </pc:picChg>
        <pc:picChg chg="add del mod">
          <ac:chgData name="Pruchnicki, Marcin" userId="13b4f2f6-3869-479e-8e4b-3ca75520da77" providerId="ADAL" clId="{65C04F68-2C4D-44AC-BDEF-049BCB8FCC62}" dt="2024-02-09T11:49:04.118" v="10" actId="478"/>
          <ac:picMkLst>
            <pc:docMk/>
            <pc:sldMk cId="2607985387" sldId="2147482929"/>
            <ac:picMk id="16" creationId="{96F04335-85C5-58D1-F4AD-08E924012447}"/>
          </ac:picMkLst>
        </pc:picChg>
        <pc:picChg chg="add del mod">
          <ac:chgData name="Pruchnicki, Marcin" userId="13b4f2f6-3869-479e-8e4b-3ca75520da77" providerId="ADAL" clId="{65C04F68-2C4D-44AC-BDEF-049BCB8FCC62}" dt="2024-02-09T11:49:02.887" v="8" actId="478"/>
          <ac:picMkLst>
            <pc:docMk/>
            <pc:sldMk cId="2607985387" sldId="2147482929"/>
            <ac:picMk id="17" creationId="{0CC1423C-7C32-5194-8FF6-57D93D4F88FE}"/>
          </ac:picMkLst>
        </pc:picChg>
        <pc:picChg chg="add del mod">
          <ac:chgData name="Pruchnicki, Marcin" userId="13b4f2f6-3869-479e-8e4b-3ca75520da77" providerId="ADAL" clId="{65C04F68-2C4D-44AC-BDEF-049BCB8FCC62}" dt="2024-02-09T11:49:04.843" v="11" actId="478"/>
          <ac:picMkLst>
            <pc:docMk/>
            <pc:sldMk cId="2607985387" sldId="2147482929"/>
            <ac:picMk id="18" creationId="{F9F24C12-6618-C401-5DBF-276628FDB864}"/>
          </ac:picMkLst>
        </pc:picChg>
        <pc:picChg chg="del">
          <ac:chgData name="Pruchnicki, Marcin" userId="13b4f2f6-3869-479e-8e4b-3ca75520da77" providerId="ADAL" clId="{65C04F68-2C4D-44AC-BDEF-049BCB8FCC62}" dt="2024-02-09T11:49:57.395" v="48" actId="478"/>
          <ac:picMkLst>
            <pc:docMk/>
            <pc:sldMk cId="2607985387" sldId="2147482929"/>
            <ac:picMk id="290" creationId="{A92FE2FC-13DD-475A-F953-02B5245EEFFB}"/>
          </ac:picMkLst>
        </pc:picChg>
        <pc:picChg chg="del">
          <ac:chgData name="Pruchnicki, Marcin" userId="13b4f2f6-3869-479e-8e4b-3ca75520da77" providerId="ADAL" clId="{65C04F68-2C4D-44AC-BDEF-049BCB8FCC62}" dt="2024-02-09T11:49:57.395" v="48" actId="478"/>
          <ac:picMkLst>
            <pc:docMk/>
            <pc:sldMk cId="2607985387" sldId="2147482929"/>
            <ac:picMk id="292" creationId="{071ED58D-8075-DC35-A51C-0A966E4EEB3E}"/>
          </ac:picMkLst>
        </pc:picChg>
        <pc:cxnChg chg="del">
          <ac:chgData name="Pruchnicki, Marcin" userId="13b4f2f6-3869-479e-8e4b-3ca75520da77" providerId="ADAL" clId="{65C04F68-2C4D-44AC-BDEF-049BCB8FCC62}" dt="2024-02-09T11:50:24.585" v="53" actId="478"/>
          <ac:cxnSpMkLst>
            <pc:docMk/>
            <pc:sldMk cId="2607985387" sldId="2147482929"/>
            <ac:cxnSpMk id="63" creationId="{6A63BB6E-9EAD-115F-0A81-2D2042F29EFF}"/>
          </ac:cxnSpMkLst>
        </pc:cxnChg>
      </pc:sldChg>
      <pc:sldChg chg="addSp delSp modSp add mod">
        <pc:chgData name="Pruchnicki, Marcin" userId="13b4f2f6-3869-479e-8e4b-3ca75520da77" providerId="ADAL" clId="{65C04F68-2C4D-44AC-BDEF-049BCB8FCC62}" dt="2024-02-09T11:59:58.183" v="108" actId="478"/>
        <pc:sldMkLst>
          <pc:docMk/>
          <pc:sldMk cId="2809035076" sldId="2147482935"/>
        </pc:sldMkLst>
        <pc:spChg chg="add 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2" creationId="{0477C2BD-7B4E-FC44-439B-073177D7AB7E}"/>
          </ac:spMkLst>
        </pc:spChg>
        <pc:spChg chg="add 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3" creationId="{7F8B50DE-4F9B-293A-6613-0734D91D45E1}"/>
          </ac:spMkLst>
        </pc:spChg>
        <pc:spChg chg="add 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6" creationId="{847CC879-919F-14AD-E012-1B690BCC2068}"/>
          </ac:spMkLst>
        </pc:spChg>
        <pc:spChg chg="add 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7" creationId="{56D7BCE9-C507-6CF2-65FA-957198BE0530}"/>
          </ac:spMkLst>
        </pc:spChg>
        <pc:spChg chg="add 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8" creationId="{A79D26D6-3EA2-1F69-3297-328156904CC5}"/>
          </ac:spMkLst>
        </pc:spChg>
        <pc:spChg chg="add 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9" creationId="{7457F280-F0F0-8466-5B16-26F9426AA9DE}"/>
          </ac:spMkLst>
        </pc:spChg>
        <pc:spChg chg="add 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10" creationId="{4CCD09C1-BF04-DA0E-316D-2CFEECD976C5}"/>
          </ac:spMkLst>
        </pc:spChg>
        <pc:spChg chg="add 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11" creationId="{DAEDC3F3-D298-E34D-5E7B-1D1EC46CC99E}"/>
          </ac:spMkLst>
        </pc:spChg>
        <pc:spChg chg="add 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12" creationId="{955839A3-248F-CE54-D215-2A50F84A582A}"/>
          </ac:spMkLst>
        </pc:spChg>
        <pc:spChg chg="add 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13" creationId="{B5A36451-D96B-0375-3B97-471BA11DAE58}"/>
          </ac:spMkLst>
        </pc:spChg>
        <pc:spChg chg="add 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15" creationId="{B77F55FE-17D0-E762-F1E3-A8631CB35DD1}"/>
          </ac:spMkLst>
        </pc:spChg>
        <pc:spChg chg="add 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16" creationId="{8588F45A-F417-11BA-AAFD-5A11069727BC}"/>
          </ac:spMkLst>
        </pc:spChg>
        <pc:spChg chg="add 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17" creationId="{0B7E249A-7FDA-6623-0963-B5ADFC04B387}"/>
          </ac:spMkLst>
        </pc:spChg>
        <pc:spChg chg="add 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18" creationId="{0705A5DD-F5C7-2325-1E20-A8DE74FED3D4}"/>
          </ac:spMkLst>
        </pc:spChg>
        <pc:spChg chg="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20" creationId="{695B6D80-6F6D-A68C-DB87-976058FE07CB}"/>
          </ac:spMkLst>
        </pc:spChg>
        <pc:spChg chg="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21" creationId="{3608F8DF-2DCD-DEC9-13B9-EF851EB331C4}"/>
          </ac:spMkLst>
        </pc:spChg>
        <pc:spChg chg="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22" creationId="{F0722AFC-B5BB-955F-C5B3-2E63C22635F8}"/>
          </ac:spMkLst>
        </pc:spChg>
        <pc:spChg chg="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23" creationId="{C88D2155-2B4E-F5D8-4AF1-8335065CD7B4}"/>
          </ac:spMkLst>
        </pc:spChg>
        <pc:spChg chg="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24" creationId="{DE854B88-C172-3339-528C-5E84307D1372}"/>
          </ac:spMkLst>
        </pc:spChg>
        <pc:spChg chg="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25" creationId="{C937C0F9-D622-FE81-02D5-AF46901EA88A}"/>
          </ac:spMkLst>
        </pc:spChg>
        <pc:spChg chg="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27" creationId="{124E073B-78CE-A02F-1CEA-2EA73FE18029}"/>
          </ac:spMkLst>
        </pc:spChg>
        <pc:spChg chg="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28" creationId="{4CF453CE-3EE8-103B-73CF-7C2B47FEF1E5}"/>
          </ac:spMkLst>
        </pc:spChg>
        <pc:spChg chg="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31" creationId="{0A3AC9EA-DC10-29A8-632A-FE67F773652F}"/>
          </ac:spMkLst>
        </pc:spChg>
        <pc:spChg chg="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48" creationId="{E9A423F5-6AD4-852E-9929-E13F7DDF8A4E}"/>
          </ac:spMkLst>
        </pc:spChg>
        <pc:spChg chg="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49" creationId="{4AA80433-A854-FDDB-DE0A-AC11C6D87FD9}"/>
          </ac:spMkLst>
        </pc:spChg>
        <pc:spChg chg="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50" creationId="{B9095408-6C3C-7D50-33A9-48B37D6BEF78}"/>
          </ac:spMkLst>
        </pc:spChg>
        <pc:spChg chg="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51" creationId="{39E45AAE-1C81-33DE-9AE5-AA152A035016}"/>
          </ac:spMkLst>
        </pc:spChg>
        <pc:spChg chg="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52" creationId="{2B1BF147-ED0E-2D2C-AA24-50D71EC90484}"/>
          </ac:spMkLst>
        </pc:spChg>
        <pc:spChg chg="add 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53" creationId="{EBEB6245-E8BA-CD30-E200-4292F8E0AC42}"/>
          </ac:spMkLst>
        </pc:spChg>
        <pc:spChg chg="add 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54" creationId="{C91D529E-98E7-A7A9-B677-A47EB153F2D3}"/>
          </ac:spMkLst>
        </pc:spChg>
        <pc:spChg chg="add 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55" creationId="{4CCE45B8-6FAC-E619-0E42-BA748902A352}"/>
          </ac:spMkLst>
        </pc:spChg>
        <pc:spChg chg="add 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56" creationId="{2E663531-9ED4-18FA-D4DD-6C26BB3BE7D6}"/>
          </ac:spMkLst>
        </pc:spChg>
        <pc:spChg chg="add 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57" creationId="{75F1FDBB-BF42-325C-D16A-8644A762D5B6}"/>
          </ac:spMkLst>
        </pc:spChg>
        <pc:spChg chg="add mod">
          <ac:chgData name="Pruchnicki, Marcin" userId="13b4f2f6-3869-479e-8e4b-3ca75520da77" providerId="ADAL" clId="{65C04F68-2C4D-44AC-BDEF-049BCB8FCC62}" dt="2024-02-09T11:55:26.731" v="106" actId="1035"/>
          <ac:spMkLst>
            <pc:docMk/>
            <pc:sldMk cId="2809035076" sldId="2147482935"/>
            <ac:spMk id="58" creationId="{64AC522F-4490-FB64-C359-132AB493FB84}"/>
          </ac:spMkLst>
        </pc:spChg>
        <pc:spChg chg="del">
          <ac:chgData name="Pruchnicki, Marcin" userId="13b4f2f6-3869-479e-8e4b-3ca75520da77" providerId="ADAL" clId="{65C04F68-2C4D-44AC-BDEF-049BCB8FCC62}" dt="2024-02-09T11:55:02.368" v="104" actId="478"/>
          <ac:spMkLst>
            <pc:docMk/>
            <pc:sldMk cId="2809035076" sldId="2147482935"/>
            <ac:spMk id="62" creationId="{49AF690D-26F3-1CDB-6F4D-838976866FF7}"/>
          </ac:spMkLst>
        </pc:spChg>
        <pc:spChg chg="del">
          <ac:chgData name="Pruchnicki, Marcin" userId="13b4f2f6-3869-479e-8e4b-3ca75520da77" providerId="ADAL" clId="{65C04F68-2C4D-44AC-BDEF-049BCB8FCC62}" dt="2024-02-09T11:59:58.183" v="108" actId="478"/>
          <ac:spMkLst>
            <pc:docMk/>
            <pc:sldMk cId="2809035076" sldId="2147482935"/>
            <ac:spMk id="68" creationId="{2558906F-C64F-EF33-2CE7-EE97543099D3}"/>
          </ac:spMkLst>
        </pc:spChg>
        <pc:spChg chg="del">
          <ac:chgData name="Pruchnicki, Marcin" userId="13b4f2f6-3869-479e-8e4b-3ca75520da77" providerId="ADAL" clId="{65C04F68-2C4D-44AC-BDEF-049BCB8FCC62}" dt="2024-02-09T11:59:58.183" v="108" actId="478"/>
          <ac:spMkLst>
            <pc:docMk/>
            <pc:sldMk cId="2809035076" sldId="2147482935"/>
            <ac:spMk id="72" creationId="{CCCFAC07-3EB2-FA6A-3A82-2958ED1F5B27}"/>
          </ac:spMkLst>
        </pc:spChg>
        <pc:spChg chg="mod">
          <ac:chgData name="Pruchnicki, Marcin" userId="13b4f2f6-3869-479e-8e4b-3ca75520da77" providerId="ADAL" clId="{65C04F68-2C4D-44AC-BDEF-049BCB8FCC62}" dt="2024-02-09T11:54:57.399" v="103" actId="20577"/>
          <ac:spMkLst>
            <pc:docMk/>
            <pc:sldMk cId="2809035076" sldId="2147482935"/>
            <ac:spMk id="223" creationId="{D59545F7-0203-C7F3-1C53-BE4FF3E604E7}"/>
          </ac:spMkLst>
        </pc:spChg>
        <pc:spChg chg="del">
          <ac:chgData name="Pruchnicki, Marcin" userId="13b4f2f6-3869-479e-8e4b-3ca75520da77" providerId="ADAL" clId="{65C04F68-2C4D-44AC-BDEF-049BCB8FCC62}" dt="2024-02-09T11:59:53.835" v="107" actId="478"/>
          <ac:spMkLst>
            <pc:docMk/>
            <pc:sldMk cId="2809035076" sldId="2147482935"/>
            <ac:spMk id="365" creationId="{EE782C3F-C94F-3415-05E2-30C77D58C065}"/>
          </ac:spMkLst>
        </pc:spChg>
        <pc:grpChg chg="add mod">
          <ac:chgData name="Pruchnicki, Marcin" userId="13b4f2f6-3869-479e-8e4b-3ca75520da77" providerId="ADAL" clId="{65C04F68-2C4D-44AC-BDEF-049BCB8FCC62}" dt="2024-02-09T11:55:26.731" v="106" actId="1035"/>
          <ac:grpSpMkLst>
            <pc:docMk/>
            <pc:sldMk cId="2809035076" sldId="2147482935"/>
            <ac:grpSpMk id="19" creationId="{FCBE998F-D1EA-C510-51E6-42CA96364AA2}"/>
          </ac:grpSpMkLst>
        </pc:grpChg>
        <pc:grpChg chg="add mod">
          <ac:chgData name="Pruchnicki, Marcin" userId="13b4f2f6-3869-479e-8e4b-3ca75520da77" providerId="ADAL" clId="{65C04F68-2C4D-44AC-BDEF-049BCB8FCC62}" dt="2024-02-09T11:55:26.731" v="106" actId="1035"/>
          <ac:grpSpMkLst>
            <pc:docMk/>
            <pc:sldMk cId="2809035076" sldId="2147482935"/>
            <ac:grpSpMk id="26" creationId="{877D3981-F032-30FF-717D-1F768813C3C2}"/>
          </ac:grpSpMkLst>
        </pc:grpChg>
        <pc:grpChg chg="add mod">
          <ac:chgData name="Pruchnicki, Marcin" userId="13b4f2f6-3869-479e-8e4b-3ca75520da77" providerId="ADAL" clId="{65C04F68-2C4D-44AC-BDEF-049BCB8FCC62}" dt="2024-02-09T11:55:26.731" v="106" actId="1035"/>
          <ac:grpSpMkLst>
            <pc:docMk/>
            <pc:sldMk cId="2809035076" sldId="2147482935"/>
            <ac:grpSpMk id="46" creationId="{C980BD72-F799-A5F2-44D5-4C00A89D8A72}"/>
          </ac:grpSpMkLst>
        </pc:grpChg>
        <pc:grpChg chg="del">
          <ac:chgData name="Pruchnicki, Marcin" userId="13b4f2f6-3869-479e-8e4b-3ca75520da77" providerId="ADAL" clId="{65C04F68-2C4D-44AC-BDEF-049BCB8FCC62}" dt="2024-02-09T11:59:58.183" v="108" actId="478"/>
          <ac:grpSpMkLst>
            <pc:docMk/>
            <pc:sldMk cId="2809035076" sldId="2147482935"/>
            <ac:grpSpMk id="285" creationId="{C592E709-2024-BDF5-944E-3A75936A21EB}"/>
          </ac:grpSpMkLst>
        </pc:grpChg>
        <pc:picChg chg="add mod">
          <ac:chgData name="Pruchnicki, Marcin" userId="13b4f2f6-3869-479e-8e4b-3ca75520da77" providerId="ADAL" clId="{65C04F68-2C4D-44AC-BDEF-049BCB8FCC62}" dt="2024-02-09T11:55:26.731" v="106" actId="1035"/>
          <ac:picMkLst>
            <pc:docMk/>
            <pc:sldMk cId="2809035076" sldId="2147482935"/>
            <ac:picMk id="59" creationId="{6D51EC00-FEA5-B7F7-6933-ABBE1CF3343E}"/>
          </ac:picMkLst>
        </pc:picChg>
        <pc:picChg chg="add mod">
          <ac:chgData name="Pruchnicki, Marcin" userId="13b4f2f6-3869-479e-8e4b-3ca75520da77" providerId="ADAL" clId="{65C04F68-2C4D-44AC-BDEF-049BCB8FCC62}" dt="2024-02-09T11:55:26.731" v="106" actId="1035"/>
          <ac:picMkLst>
            <pc:docMk/>
            <pc:sldMk cId="2809035076" sldId="2147482935"/>
            <ac:picMk id="60" creationId="{8B58E9FF-14C8-E58E-0947-6E9B1E2BAAAA}"/>
          </ac:picMkLst>
        </pc:picChg>
        <pc:picChg chg="add mod">
          <ac:chgData name="Pruchnicki, Marcin" userId="13b4f2f6-3869-479e-8e4b-3ca75520da77" providerId="ADAL" clId="{65C04F68-2C4D-44AC-BDEF-049BCB8FCC62}" dt="2024-02-09T11:55:26.731" v="106" actId="1035"/>
          <ac:picMkLst>
            <pc:docMk/>
            <pc:sldMk cId="2809035076" sldId="2147482935"/>
            <ac:picMk id="61" creationId="{6CB08B27-7163-F276-FF0A-BDFD040E952D}"/>
          </ac:picMkLst>
        </pc:picChg>
        <pc:picChg chg="add mod">
          <ac:chgData name="Pruchnicki, Marcin" userId="13b4f2f6-3869-479e-8e4b-3ca75520da77" providerId="ADAL" clId="{65C04F68-2C4D-44AC-BDEF-049BCB8FCC62}" dt="2024-02-09T11:55:26.731" v="106" actId="1035"/>
          <ac:picMkLst>
            <pc:docMk/>
            <pc:sldMk cId="2809035076" sldId="2147482935"/>
            <ac:picMk id="64" creationId="{3C54E145-F2A0-73EE-7711-E553DBE50BA1}"/>
          </ac:picMkLst>
        </pc:picChg>
        <pc:picChg chg="add mod">
          <ac:chgData name="Pruchnicki, Marcin" userId="13b4f2f6-3869-479e-8e4b-3ca75520da77" providerId="ADAL" clId="{65C04F68-2C4D-44AC-BDEF-049BCB8FCC62}" dt="2024-02-09T11:55:26.731" v="106" actId="1035"/>
          <ac:picMkLst>
            <pc:docMk/>
            <pc:sldMk cId="2809035076" sldId="2147482935"/>
            <ac:picMk id="65" creationId="{217AD313-C207-C408-4421-166522D19AD3}"/>
          </ac:picMkLst>
        </pc:picChg>
        <pc:picChg chg="add mod">
          <ac:chgData name="Pruchnicki, Marcin" userId="13b4f2f6-3869-479e-8e4b-3ca75520da77" providerId="ADAL" clId="{65C04F68-2C4D-44AC-BDEF-049BCB8FCC62}" dt="2024-02-09T11:55:26.731" v="106" actId="1035"/>
          <ac:picMkLst>
            <pc:docMk/>
            <pc:sldMk cId="2809035076" sldId="2147482935"/>
            <ac:picMk id="66" creationId="{B148756D-3A4C-869C-EDBA-791097FE8A57}"/>
          </ac:picMkLst>
        </pc:picChg>
        <pc:picChg chg="add mod">
          <ac:chgData name="Pruchnicki, Marcin" userId="13b4f2f6-3869-479e-8e4b-3ca75520da77" providerId="ADAL" clId="{65C04F68-2C4D-44AC-BDEF-049BCB8FCC62}" dt="2024-02-09T11:55:26.731" v="106" actId="1035"/>
          <ac:picMkLst>
            <pc:docMk/>
            <pc:sldMk cId="2809035076" sldId="2147482935"/>
            <ac:picMk id="67" creationId="{4D295B68-EE3B-3A0B-8C48-78A324FD9A33}"/>
          </ac:picMkLst>
        </pc:picChg>
        <pc:picChg chg="add mod">
          <ac:chgData name="Pruchnicki, Marcin" userId="13b4f2f6-3869-479e-8e4b-3ca75520da77" providerId="ADAL" clId="{65C04F68-2C4D-44AC-BDEF-049BCB8FCC62}" dt="2024-02-09T11:55:26.731" v="106" actId="1035"/>
          <ac:picMkLst>
            <pc:docMk/>
            <pc:sldMk cId="2809035076" sldId="2147482935"/>
            <ac:picMk id="69" creationId="{599E8E1B-BA13-0430-0527-9E8E6CFACAB8}"/>
          </ac:picMkLst>
        </pc:picChg>
        <pc:picChg chg="add mod">
          <ac:chgData name="Pruchnicki, Marcin" userId="13b4f2f6-3869-479e-8e4b-3ca75520da77" providerId="ADAL" clId="{65C04F68-2C4D-44AC-BDEF-049BCB8FCC62}" dt="2024-02-09T11:55:26.731" v="106" actId="1035"/>
          <ac:picMkLst>
            <pc:docMk/>
            <pc:sldMk cId="2809035076" sldId="2147482935"/>
            <ac:picMk id="70" creationId="{F1944B3C-FA7B-8DC0-7894-0B13884179A3}"/>
          </ac:picMkLst>
        </pc:picChg>
        <pc:picChg chg="add mod">
          <ac:chgData name="Pruchnicki, Marcin" userId="13b4f2f6-3869-479e-8e4b-3ca75520da77" providerId="ADAL" clId="{65C04F68-2C4D-44AC-BDEF-049BCB8FCC62}" dt="2024-02-09T11:55:26.731" v="106" actId="1035"/>
          <ac:picMkLst>
            <pc:docMk/>
            <pc:sldMk cId="2809035076" sldId="2147482935"/>
            <ac:picMk id="71" creationId="{FE29083B-61FB-CBB9-936A-60F72E0C88D1}"/>
          </ac:picMkLst>
        </pc:picChg>
        <pc:picChg chg="add mod">
          <ac:chgData name="Pruchnicki, Marcin" userId="13b4f2f6-3869-479e-8e4b-3ca75520da77" providerId="ADAL" clId="{65C04F68-2C4D-44AC-BDEF-049BCB8FCC62}" dt="2024-02-09T11:55:26.731" v="106" actId="1035"/>
          <ac:picMkLst>
            <pc:docMk/>
            <pc:sldMk cId="2809035076" sldId="2147482935"/>
            <ac:picMk id="74" creationId="{7D21D5E5-5F66-2AC4-6A42-BE0572B20771}"/>
          </ac:picMkLst>
        </pc:picChg>
        <pc:picChg chg="add mod">
          <ac:chgData name="Pruchnicki, Marcin" userId="13b4f2f6-3869-479e-8e4b-3ca75520da77" providerId="ADAL" clId="{65C04F68-2C4D-44AC-BDEF-049BCB8FCC62}" dt="2024-02-09T11:55:26.731" v="106" actId="1035"/>
          <ac:picMkLst>
            <pc:docMk/>
            <pc:sldMk cId="2809035076" sldId="2147482935"/>
            <ac:picMk id="75" creationId="{457E934A-03A3-6A66-DCF4-37E6661E36B4}"/>
          </ac:picMkLst>
        </pc:picChg>
        <pc:picChg chg="add mod">
          <ac:chgData name="Pruchnicki, Marcin" userId="13b4f2f6-3869-479e-8e4b-3ca75520da77" providerId="ADAL" clId="{65C04F68-2C4D-44AC-BDEF-049BCB8FCC62}" dt="2024-02-09T11:55:26.731" v="106" actId="1035"/>
          <ac:picMkLst>
            <pc:docMk/>
            <pc:sldMk cId="2809035076" sldId="2147482935"/>
            <ac:picMk id="76" creationId="{A64A97B5-E7C9-3E23-282E-7F9499BCC8D2}"/>
          </ac:picMkLst>
        </pc:picChg>
        <pc:picChg chg="add mod">
          <ac:chgData name="Pruchnicki, Marcin" userId="13b4f2f6-3869-479e-8e4b-3ca75520da77" providerId="ADAL" clId="{65C04F68-2C4D-44AC-BDEF-049BCB8FCC62}" dt="2024-02-09T11:55:26.731" v="106" actId="1035"/>
          <ac:picMkLst>
            <pc:docMk/>
            <pc:sldMk cId="2809035076" sldId="2147482935"/>
            <ac:picMk id="77" creationId="{929F05DC-CFD0-CFA2-7DBC-9B055E9E1E01}"/>
          </ac:picMkLst>
        </pc:picChg>
        <pc:picChg chg="add mod">
          <ac:chgData name="Pruchnicki, Marcin" userId="13b4f2f6-3869-479e-8e4b-3ca75520da77" providerId="ADAL" clId="{65C04F68-2C4D-44AC-BDEF-049BCB8FCC62}" dt="2024-02-09T11:55:26.731" v="106" actId="1035"/>
          <ac:picMkLst>
            <pc:docMk/>
            <pc:sldMk cId="2809035076" sldId="2147482935"/>
            <ac:picMk id="78" creationId="{775AA2EF-CFC3-2147-B5ED-3E947F281E06}"/>
          </ac:picMkLst>
        </pc:picChg>
        <pc:picChg chg="add mod">
          <ac:chgData name="Pruchnicki, Marcin" userId="13b4f2f6-3869-479e-8e4b-3ca75520da77" providerId="ADAL" clId="{65C04F68-2C4D-44AC-BDEF-049BCB8FCC62}" dt="2024-02-09T11:55:26.731" v="106" actId="1035"/>
          <ac:picMkLst>
            <pc:docMk/>
            <pc:sldMk cId="2809035076" sldId="2147482935"/>
            <ac:picMk id="79" creationId="{DF222CC9-8EBB-94EB-4156-FAFCD5638D10}"/>
          </ac:picMkLst>
        </pc:picChg>
        <pc:picChg chg="add mod">
          <ac:chgData name="Pruchnicki, Marcin" userId="13b4f2f6-3869-479e-8e4b-3ca75520da77" providerId="ADAL" clId="{65C04F68-2C4D-44AC-BDEF-049BCB8FCC62}" dt="2024-02-09T11:55:26.731" v="106" actId="1035"/>
          <ac:picMkLst>
            <pc:docMk/>
            <pc:sldMk cId="2809035076" sldId="2147482935"/>
            <ac:picMk id="80" creationId="{833F3650-0E7A-8EF9-ABE6-8387555AE76E}"/>
          </ac:picMkLst>
        </pc:picChg>
        <pc:cxnChg chg="add mod">
          <ac:chgData name="Pruchnicki, Marcin" userId="13b4f2f6-3869-479e-8e4b-3ca75520da77" providerId="ADAL" clId="{65C04F68-2C4D-44AC-BDEF-049BCB8FCC62}" dt="2024-02-09T11:55:26.731" v="106" actId="1035"/>
          <ac:cxnSpMkLst>
            <pc:docMk/>
            <pc:sldMk cId="2809035076" sldId="2147482935"/>
            <ac:cxnSpMk id="14" creationId="{6839EEE4-6200-E874-E58B-D96E5FB49404}"/>
          </ac:cxnSpMkLst>
        </pc:cxnChg>
        <pc:cxnChg chg="del">
          <ac:chgData name="Pruchnicki, Marcin" userId="13b4f2f6-3869-479e-8e4b-3ca75520da77" providerId="ADAL" clId="{65C04F68-2C4D-44AC-BDEF-049BCB8FCC62}" dt="2024-02-09T11:55:02.368" v="104" actId="478"/>
          <ac:cxnSpMkLst>
            <pc:docMk/>
            <pc:sldMk cId="2809035076" sldId="2147482935"/>
            <ac:cxnSpMk id="63" creationId="{6A63BB6E-9EAD-115F-0A81-2D2042F29EFF}"/>
          </ac:cxnSpMkLst>
        </pc:cxnChg>
      </pc:sldChg>
      <pc:sldChg chg="add del">
        <pc:chgData name="Pruchnicki, Marcin" userId="13b4f2f6-3869-479e-8e4b-3ca75520da77" providerId="ADAL" clId="{65C04F68-2C4D-44AC-BDEF-049BCB8FCC62}" dt="2024-02-09T11:48:45.839" v="3" actId="47"/>
        <pc:sldMkLst>
          <pc:docMk/>
          <pc:sldMk cId="3904492641" sldId="2147482935"/>
        </pc:sldMkLst>
      </pc:sldChg>
    </pc:docChg>
  </pc:docChgLst>
  <pc:docChgLst>
    <pc:chgData clId="Web-{F3FDED61-7B79-A0E7-03B5-D67DDDAC1FE0}"/>
    <pc:docChg chg="modSld">
      <pc:chgData name="" userId="" providerId="" clId="Web-{F3FDED61-7B79-A0E7-03B5-D67DDDAC1FE0}" dt="2024-02-12T10:12:53.187" v="0" actId="20577"/>
      <pc:docMkLst>
        <pc:docMk/>
      </pc:docMkLst>
      <pc:sldChg chg="modSp">
        <pc:chgData name="" userId="" providerId="" clId="Web-{F3FDED61-7B79-A0E7-03B5-D67DDDAC1FE0}" dt="2024-02-12T10:12:53.187" v="0" actId="20577"/>
        <pc:sldMkLst>
          <pc:docMk/>
          <pc:sldMk cId="3875264409" sldId="2147482920"/>
        </pc:sldMkLst>
        <pc:spChg chg="mod">
          <ac:chgData name="" userId="" providerId="" clId="Web-{F3FDED61-7B79-A0E7-03B5-D67DDDAC1FE0}" dt="2024-02-12T10:12:53.187" v="0" actId="20577"/>
          <ac:spMkLst>
            <pc:docMk/>
            <pc:sldMk cId="3875264409" sldId="2147482920"/>
            <ac:spMk id="10" creationId="{021F06AC-44A8-FFE2-F2DB-459CA67EA039}"/>
          </ac:spMkLst>
        </pc:spChg>
      </pc:sldChg>
    </pc:docChg>
  </pc:docChgLst>
  <pc:docChgLst>
    <pc:chgData name="Janczewski, Piotr" userId="2467fbf0-2ef4-434e-b40e-471cd3a495c7" providerId="ADAL" clId="{FC6CD8D5-3861-4CA4-BA31-72924B4FB4E0}"/>
    <pc:docChg chg="undo custSel addSld delSld modSld sldOrd modSection">
      <pc:chgData name="Janczewski, Piotr" userId="2467fbf0-2ef4-434e-b40e-471cd3a495c7" providerId="ADAL" clId="{FC6CD8D5-3861-4CA4-BA31-72924B4FB4E0}" dt="2024-03-04T13:46:51.719" v="1434"/>
      <pc:docMkLst>
        <pc:docMk/>
      </pc:docMkLst>
      <pc:sldChg chg="modSp mod modShow">
        <pc:chgData name="Janczewski, Piotr" userId="2467fbf0-2ef4-434e-b40e-471cd3a495c7" providerId="ADAL" clId="{FC6CD8D5-3861-4CA4-BA31-72924B4FB4E0}" dt="2024-02-12T10:59:42.444" v="394" actId="207"/>
        <pc:sldMkLst>
          <pc:docMk/>
          <pc:sldMk cId="1793113665" sldId="889"/>
        </pc:sldMkLst>
        <pc:spChg chg="mod">
          <ac:chgData name="Janczewski, Piotr" userId="2467fbf0-2ef4-434e-b40e-471cd3a495c7" providerId="ADAL" clId="{FC6CD8D5-3861-4CA4-BA31-72924B4FB4E0}" dt="2024-02-12T10:59:42.444" v="394" actId="207"/>
          <ac:spMkLst>
            <pc:docMk/>
            <pc:sldMk cId="1793113665" sldId="889"/>
            <ac:spMk id="71" creationId="{00000000-0000-0000-0000-000000000000}"/>
          </ac:spMkLst>
        </pc:spChg>
      </pc:sldChg>
      <pc:sldChg chg="modSp del mod">
        <pc:chgData name="Janczewski, Piotr" userId="2467fbf0-2ef4-434e-b40e-471cd3a495c7" providerId="ADAL" clId="{FC6CD8D5-3861-4CA4-BA31-72924B4FB4E0}" dt="2024-02-12T10:49:56.307" v="260" actId="47"/>
        <pc:sldMkLst>
          <pc:docMk/>
          <pc:sldMk cId="3167764417" sldId="3004"/>
        </pc:sldMkLst>
        <pc:spChg chg="mod">
          <ac:chgData name="Janczewski, Piotr" userId="2467fbf0-2ef4-434e-b40e-471cd3a495c7" providerId="ADAL" clId="{FC6CD8D5-3861-4CA4-BA31-72924B4FB4E0}" dt="2024-02-12T10:47:35.065" v="168" actId="14100"/>
          <ac:spMkLst>
            <pc:docMk/>
            <pc:sldMk cId="3167764417" sldId="3004"/>
            <ac:spMk id="10" creationId="{EF572D25-3A90-4302-9AC8-0C5228C909D2}"/>
          </ac:spMkLst>
        </pc:spChg>
        <pc:spChg chg="mod">
          <ac:chgData name="Janczewski, Piotr" userId="2467fbf0-2ef4-434e-b40e-471cd3a495c7" providerId="ADAL" clId="{FC6CD8D5-3861-4CA4-BA31-72924B4FB4E0}" dt="2024-02-12T10:49:24.459" v="240" actId="21"/>
          <ac:spMkLst>
            <pc:docMk/>
            <pc:sldMk cId="3167764417" sldId="3004"/>
            <ac:spMk id="71" creationId="{00000000-0000-0000-0000-000000000000}"/>
          </ac:spMkLst>
        </pc:spChg>
        <pc:spChg chg="mod">
          <ac:chgData name="Janczewski, Piotr" userId="2467fbf0-2ef4-434e-b40e-471cd3a495c7" providerId="ADAL" clId="{FC6CD8D5-3861-4CA4-BA31-72924B4FB4E0}" dt="2024-02-12T10:47:40.804" v="178" actId="1035"/>
          <ac:spMkLst>
            <pc:docMk/>
            <pc:sldMk cId="3167764417" sldId="3004"/>
            <ac:spMk id="149" creationId="{483390F0-9ACA-4EBD-81EE-71A144284E9A}"/>
          </ac:spMkLst>
        </pc:spChg>
        <pc:spChg chg="mod">
          <ac:chgData name="Janczewski, Piotr" userId="2467fbf0-2ef4-434e-b40e-471cd3a495c7" providerId="ADAL" clId="{FC6CD8D5-3861-4CA4-BA31-72924B4FB4E0}" dt="2024-02-12T10:41:03.132" v="143" actId="14100"/>
          <ac:spMkLst>
            <pc:docMk/>
            <pc:sldMk cId="3167764417" sldId="3004"/>
            <ac:spMk id="154" creationId="{7BF7BB68-8D56-4785-B135-8E65383D748E}"/>
          </ac:spMkLst>
        </pc:spChg>
        <pc:spChg chg="mod">
          <ac:chgData name="Janczewski, Piotr" userId="2467fbf0-2ef4-434e-b40e-471cd3a495c7" providerId="ADAL" clId="{FC6CD8D5-3861-4CA4-BA31-72924B4FB4E0}" dt="2024-02-12T10:41:14.690" v="144" actId="14100"/>
          <ac:spMkLst>
            <pc:docMk/>
            <pc:sldMk cId="3167764417" sldId="3004"/>
            <ac:spMk id="159" creationId="{C3D9067C-8757-4F1A-9ECD-0B0D1416A4DE}"/>
          </ac:spMkLst>
        </pc:spChg>
        <pc:grpChg chg="mod">
          <ac:chgData name="Janczewski, Piotr" userId="2467fbf0-2ef4-434e-b40e-471cd3a495c7" providerId="ADAL" clId="{FC6CD8D5-3861-4CA4-BA31-72924B4FB4E0}" dt="2024-02-12T10:47:50.055" v="199" actId="1037"/>
          <ac:grpSpMkLst>
            <pc:docMk/>
            <pc:sldMk cId="3167764417" sldId="3004"/>
            <ac:grpSpMk id="148" creationId="{2A45B6D3-C74D-4520-BC20-A1BB9D7CF000}"/>
          </ac:grpSpMkLst>
        </pc:grpChg>
        <pc:grpChg chg="mod">
          <ac:chgData name="Janczewski, Piotr" userId="2467fbf0-2ef4-434e-b40e-471cd3a495c7" providerId="ADAL" clId="{FC6CD8D5-3861-4CA4-BA31-72924B4FB4E0}" dt="2024-02-12T10:41:00.408" v="142" actId="1076"/>
          <ac:grpSpMkLst>
            <pc:docMk/>
            <pc:sldMk cId="3167764417" sldId="3004"/>
            <ac:grpSpMk id="153" creationId="{B9CF67D6-A77F-4EA6-8F8C-2CA87477CADD}"/>
          </ac:grpSpMkLst>
        </pc:grpChg>
        <pc:grpChg chg="mod">
          <ac:chgData name="Janczewski, Piotr" userId="2467fbf0-2ef4-434e-b40e-471cd3a495c7" providerId="ADAL" clId="{FC6CD8D5-3861-4CA4-BA31-72924B4FB4E0}" dt="2024-02-12T10:41:38.135" v="146" actId="1076"/>
          <ac:grpSpMkLst>
            <pc:docMk/>
            <pc:sldMk cId="3167764417" sldId="3004"/>
            <ac:grpSpMk id="158" creationId="{A5A2651C-A1F1-4DD0-B29E-CB96F4B6CCDB}"/>
          </ac:grpSpMkLst>
        </pc:grpChg>
        <pc:grpChg chg="mod">
          <ac:chgData name="Janczewski, Piotr" userId="2467fbf0-2ef4-434e-b40e-471cd3a495c7" providerId="ADAL" clId="{FC6CD8D5-3861-4CA4-BA31-72924B4FB4E0}" dt="2024-02-12T10:48:02.104" v="211" actId="1076"/>
          <ac:grpSpMkLst>
            <pc:docMk/>
            <pc:sldMk cId="3167764417" sldId="3004"/>
            <ac:grpSpMk id="163" creationId="{4CADC506-6BAF-4375-8645-4E0B9EF13B9A}"/>
          </ac:grpSpMkLst>
        </pc:grpChg>
        <pc:graphicFrameChg chg="mod">
          <ac:chgData name="Janczewski, Piotr" userId="2467fbf0-2ef4-434e-b40e-471cd3a495c7" providerId="ADAL" clId="{FC6CD8D5-3861-4CA4-BA31-72924B4FB4E0}" dt="2024-02-12T10:47:58.247" v="210" actId="1076"/>
          <ac:graphicFrameMkLst>
            <pc:docMk/>
            <pc:sldMk cId="3167764417" sldId="3004"/>
            <ac:graphicFrameMk id="115" creationId="{F4A59C64-269F-45BA-B3B4-6FDA0594BD5D}"/>
          </ac:graphicFrameMkLst>
        </pc:graphicFrameChg>
        <pc:picChg chg="mod">
          <ac:chgData name="Janczewski, Piotr" userId="2467fbf0-2ef4-434e-b40e-471cd3a495c7" providerId="ADAL" clId="{FC6CD8D5-3861-4CA4-BA31-72924B4FB4E0}" dt="2024-02-12T10:47:40.804" v="178" actId="1035"/>
          <ac:picMkLst>
            <pc:docMk/>
            <pc:sldMk cId="3167764417" sldId="3004"/>
            <ac:picMk id="152" creationId="{3D108AC7-0B63-4243-8820-534BC9FD6DC0}"/>
          </ac:picMkLst>
        </pc:picChg>
      </pc:sldChg>
      <pc:sldChg chg="modSp mod modShow">
        <pc:chgData name="Janczewski, Piotr" userId="2467fbf0-2ef4-434e-b40e-471cd3a495c7" providerId="ADAL" clId="{FC6CD8D5-3861-4CA4-BA31-72924B4FB4E0}" dt="2024-02-12T10:59:25.004" v="392" actId="207"/>
        <pc:sldMkLst>
          <pc:docMk/>
          <pc:sldMk cId="1453358053" sldId="2134804482"/>
        </pc:sldMkLst>
        <pc:spChg chg="mod">
          <ac:chgData name="Janczewski, Piotr" userId="2467fbf0-2ef4-434e-b40e-471cd3a495c7" providerId="ADAL" clId="{FC6CD8D5-3861-4CA4-BA31-72924B4FB4E0}" dt="2024-02-12T10:59:25.004" v="392" actId="207"/>
          <ac:spMkLst>
            <pc:docMk/>
            <pc:sldMk cId="1453358053" sldId="2134804482"/>
            <ac:spMk id="16" creationId="{A2AD61CE-9FDB-4F62-9AD2-A7DEB3E14762}"/>
          </ac:spMkLst>
        </pc:spChg>
      </pc:sldChg>
      <pc:sldChg chg="modSp mod modShow">
        <pc:chgData name="Janczewski, Piotr" userId="2467fbf0-2ef4-434e-b40e-471cd3a495c7" providerId="ADAL" clId="{FC6CD8D5-3861-4CA4-BA31-72924B4FB4E0}" dt="2024-02-12T10:59:56.062" v="396" actId="20577"/>
        <pc:sldMkLst>
          <pc:docMk/>
          <pc:sldMk cId="2824017514" sldId="2146848406"/>
        </pc:sldMkLst>
        <pc:spChg chg="mod">
          <ac:chgData name="Janczewski, Piotr" userId="2467fbf0-2ef4-434e-b40e-471cd3a495c7" providerId="ADAL" clId="{FC6CD8D5-3861-4CA4-BA31-72924B4FB4E0}" dt="2024-02-12T10:59:56.062" v="396" actId="20577"/>
          <ac:spMkLst>
            <pc:docMk/>
            <pc:sldMk cId="2824017514" sldId="2146848406"/>
            <ac:spMk id="2" creationId="{7397AB4B-C513-47BD-8475-E6A7AC19119A}"/>
          </ac:spMkLst>
        </pc:spChg>
      </pc:sldChg>
      <pc:sldChg chg="addSp delSp modSp del mod modShow">
        <pc:chgData name="Janczewski, Piotr" userId="2467fbf0-2ef4-434e-b40e-471cd3a495c7" providerId="ADAL" clId="{FC6CD8D5-3861-4CA4-BA31-72924B4FB4E0}" dt="2024-02-12T10:51:44.636" v="316" actId="47"/>
        <pc:sldMkLst>
          <pc:docMk/>
          <pc:sldMk cId="3358390338" sldId="2146848450"/>
        </pc:sldMkLst>
        <pc:spChg chg="add mod">
          <ac:chgData name="Janczewski, Piotr" userId="2467fbf0-2ef4-434e-b40e-471cd3a495c7" providerId="ADAL" clId="{FC6CD8D5-3861-4CA4-BA31-72924B4FB4E0}" dt="2024-02-12T10:51:19.460" v="270" actId="21"/>
          <ac:spMkLst>
            <pc:docMk/>
            <pc:sldMk cId="3358390338" sldId="2146848450"/>
            <ac:spMk id="5" creationId="{DFE0C4DA-090C-ADF5-CB7F-74625BFDADB7}"/>
          </ac:spMkLst>
        </pc:spChg>
        <pc:spChg chg="del">
          <ac:chgData name="Janczewski, Piotr" userId="2467fbf0-2ef4-434e-b40e-471cd3a495c7" providerId="ADAL" clId="{FC6CD8D5-3861-4CA4-BA31-72924B4FB4E0}" dt="2024-02-12T10:51:19.460" v="270" actId="21"/>
          <ac:spMkLst>
            <pc:docMk/>
            <pc:sldMk cId="3358390338" sldId="2146848450"/>
            <ac:spMk id="6" creationId="{FDA8DABD-0897-43A1-B6E8-A9C8797EAA31}"/>
          </ac:spMkLst>
        </pc:spChg>
        <pc:spChg chg="del">
          <ac:chgData name="Janczewski, Piotr" userId="2467fbf0-2ef4-434e-b40e-471cd3a495c7" providerId="ADAL" clId="{FC6CD8D5-3861-4CA4-BA31-72924B4FB4E0}" dt="2024-02-12T10:51:19.460" v="270" actId="21"/>
          <ac:spMkLst>
            <pc:docMk/>
            <pc:sldMk cId="3358390338" sldId="2146848450"/>
            <ac:spMk id="7" creationId="{4B99C1C1-D3BD-43DB-B3A3-6E74A62F8B8D}"/>
          </ac:spMkLst>
        </pc:spChg>
        <pc:spChg chg="del">
          <ac:chgData name="Janczewski, Piotr" userId="2467fbf0-2ef4-434e-b40e-471cd3a495c7" providerId="ADAL" clId="{FC6CD8D5-3861-4CA4-BA31-72924B4FB4E0}" dt="2024-02-12T10:51:19.460" v="270" actId="21"/>
          <ac:spMkLst>
            <pc:docMk/>
            <pc:sldMk cId="3358390338" sldId="2146848450"/>
            <ac:spMk id="8" creationId="{2CBB7860-3EBA-41B9-B812-F393F6F835BE}"/>
          </ac:spMkLst>
        </pc:spChg>
        <pc:spChg chg="del">
          <ac:chgData name="Janczewski, Piotr" userId="2467fbf0-2ef4-434e-b40e-471cd3a495c7" providerId="ADAL" clId="{FC6CD8D5-3861-4CA4-BA31-72924B4FB4E0}" dt="2024-02-12T10:51:19.460" v="270" actId="21"/>
          <ac:spMkLst>
            <pc:docMk/>
            <pc:sldMk cId="3358390338" sldId="2146848450"/>
            <ac:spMk id="9" creationId="{1FA4E8C3-6620-424F-8B86-F3996A1CB8A3}"/>
          </ac:spMkLst>
        </pc:spChg>
        <pc:spChg chg="del">
          <ac:chgData name="Janczewski, Piotr" userId="2467fbf0-2ef4-434e-b40e-471cd3a495c7" providerId="ADAL" clId="{FC6CD8D5-3861-4CA4-BA31-72924B4FB4E0}" dt="2024-02-12T10:51:19.460" v="270" actId="21"/>
          <ac:spMkLst>
            <pc:docMk/>
            <pc:sldMk cId="3358390338" sldId="2146848450"/>
            <ac:spMk id="10" creationId="{02453EE2-9D8F-4BA6-A545-D9CADBE2653A}"/>
          </ac:spMkLst>
        </pc:spChg>
        <pc:spChg chg="del">
          <ac:chgData name="Janczewski, Piotr" userId="2467fbf0-2ef4-434e-b40e-471cd3a495c7" providerId="ADAL" clId="{FC6CD8D5-3861-4CA4-BA31-72924B4FB4E0}" dt="2024-02-12T10:51:19.460" v="270" actId="21"/>
          <ac:spMkLst>
            <pc:docMk/>
            <pc:sldMk cId="3358390338" sldId="2146848450"/>
            <ac:spMk id="11" creationId="{9BE1255D-74A6-404E-9BB8-7E542AAC3DA6}"/>
          </ac:spMkLst>
        </pc:spChg>
        <pc:spChg chg="add mod">
          <ac:chgData name="Janczewski, Piotr" userId="2467fbf0-2ef4-434e-b40e-471cd3a495c7" providerId="ADAL" clId="{FC6CD8D5-3861-4CA4-BA31-72924B4FB4E0}" dt="2024-02-12T10:51:19.460" v="270" actId="21"/>
          <ac:spMkLst>
            <pc:docMk/>
            <pc:sldMk cId="3358390338" sldId="2146848450"/>
            <ac:spMk id="14" creationId="{FC3B53CD-E3F1-3EA5-89AE-BB2E8153166E}"/>
          </ac:spMkLst>
        </pc:spChg>
        <pc:spChg chg="add mod">
          <ac:chgData name="Janczewski, Piotr" userId="2467fbf0-2ef4-434e-b40e-471cd3a495c7" providerId="ADAL" clId="{FC6CD8D5-3861-4CA4-BA31-72924B4FB4E0}" dt="2024-02-12T10:51:19.460" v="270" actId="21"/>
          <ac:spMkLst>
            <pc:docMk/>
            <pc:sldMk cId="3358390338" sldId="2146848450"/>
            <ac:spMk id="18" creationId="{6CC2E060-4BB8-1ADA-996F-6D37447A486A}"/>
          </ac:spMkLst>
        </pc:spChg>
        <pc:spChg chg="add mod">
          <ac:chgData name="Janczewski, Piotr" userId="2467fbf0-2ef4-434e-b40e-471cd3a495c7" providerId="ADAL" clId="{FC6CD8D5-3861-4CA4-BA31-72924B4FB4E0}" dt="2024-02-12T10:51:19.460" v="270" actId="21"/>
          <ac:spMkLst>
            <pc:docMk/>
            <pc:sldMk cId="3358390338" sldId="2146848450"/>
            <ac:spMk id="22" creationId="{2F4F5549-8D8B-C5A7-BB0F-C8E20DB13484}"/>
          </ac:spMkLst>
        </pc:spChg>
        <pc:spChg chg="add mod">
          <ac:chgData name="Janczewski, Piotr" userId="2467fbf0-2ef4-434e-b40e-471cd3a495c7" providerId="ADAL" clId="{FC6CD8D5-3861-4CA4-BA31-72924B4FB4E0}" dt="2024-02-12T10:51:19.460" v="270" actId="21"/>
          <ac:spMkLst>
            <pc:docMk/>
            <pc:sldMk cId="3358390338" sldId="2146848450"/>
            <ac:spMk id="25" creationId="{4EC2323A-BC89-9B42-DCAC-2B8D2807B22F}"/>
          </ac:spMkLst>
        </pc:spChg>
        <pc:spChg chg="add mod">
          <ac:chgData name="Janczewski, Piotr" userId="2467fbf0-2ef4-434e-b40e-471cd3a495c7" providerId="ADAL" clId="{FC6CD8D5-3861-4CA4-BA31-72924B4FB4E0}" dt="2024-02-12T10:51:19.460" v="270" actId="21"/>
          <ac:spMkLst>
            <pc:docMk/>
            <pc:sldMk cId="3358390338" sldId="2146848450"/>
            <ac:spMk id="27" creationId="{4A422987-26E2-AABE-CF5F-5BB76CE5F047}"/>
          </ac:spMkLst>
        </pc:spChg>
        <pc:picChg chg="del">
          <ac:chgData name="Janczewski, Piotr" userId="2467fbf0-2ef4-434e-b40e-471cd3a495c7" providerId="ADAL" clId="{FC6CD8D5-3861-4CA4-BA31-72924B4FB4E0}" dt="2024-02-12T10:51:19.460" v="270" actId="21"/>
          <ac:picMkLst>
            <pc:docMk/>
            <pc:sldMk cId="3358390338" sldId="2146848450"/>
            <ac:picMk id="13" creationId="{35E777E9-B157-24F8-77FC-85182C60F998}"/>
          </ac:picMkLst>
        </pc:picChg>
        <pc:picChg chg="del">
          <ac:chgData name="Janczewski, Piotr" userId="2467fbf0-2ef4-434e-b40e-471cd3a495c7" providerId="ADAL" clId="{FC6CD8D5-3861-4CA4-BA31-72924B4FB4E0}" dt="2024-02-12T10:51:19.460" v="270" actId="21"/>
          <ac:picMkLst>
            <pc:docMk/>
            <pc:sldMk cId="3358390338" sldId="2146848450"/>
            <ac:picMk id="15" creationId="{2A47250E-F81E-F9FF-7A9F-EBB7E338A954}"/>
          </ac:picMkLst>
        </pc:picChg>
        <pc:picChg chg="del">
          <ac:chgData name="Janczewski, Piotr" userId="2467fbf0-2ef4-434e-b40e-471cd3a495c7" providerId="ADAL" clId="{FC6CD8D5-3861-4CA4-BA31-72924B4FB4E0}" dt="2024-02-12T10:51:19.460" v="270" actId="21"/>
          <ac:picMkLst>
            <pc:docMk/>
            <pc:sldMk cId="3358390338" sldId="2146848450"/>
            <ac:picMk id="17" creationId="{2958F2EB-C4D2-7457-2499-88FA9597753B}"/>
          </ac:picMkLst>
        </pc:picChg>
        <pc:picChg chg="del">
          <ac:chgData name="Janczewski, Piotr" userId="2467fbf0-2ef4-434e-b40e-471cd3a495c7" providerId="ADAL" clId="{FC6CD8D5-3861-4CA4-BA31-72924B4FB4E0}" dt="2024-02-12T10:51:19.460" v="270" actId="21"/>
          <ac:picMkLst>
            <pc:docMk/>
            <pc:sldMk cId="3358390338" sldId="2146848450"/>
            <ac:picMk id="19" creationId="{20635374-3197-B7CA-1FC7-75EA9EF03B5A}"/>
          </ac:picMkLst>
        </pc:picChg>
        <pc:picChg chg="del">
          <ac:chgData name="Janczewski, Piotr" userId="2467fbf0-2ef4-434e-b40e-471cd3a495c7" providerId="ADAL" clId="{FC6CD8D5-3861-4CA4-BA31-72924B4FB4E0}" dt="2024-02-12T10:51:19.460" v="270" actId="21"/>
          <ac:picMkLst>
            <pc:docMk/>
            <pc:sldMk cId="3358390338" sldId="2146848450"/>
            <ac:picMk id="21" creationId="{4A14C192-FD46-EF31-C123-06FD523AABB2}"/>
          </ac:picMkLst>
        </pc:picChg>
        <pc:picChg chg="del">
          <ac:chgData name="Janczewski, Piotr" userId="2467fbf0-2ef4-434e-b40e-471cd3a495c7" providerId="ADAL" clId="{FC6CD8D5-3861-4CA4-BA31-72924B4FB4E0}" dt="2024-02-12T10:51:19.460" v="270" actId="21"/>
          <ac:picMkLst>
            <pc:docMk/>
            <pc:sldMk cId="3358390338" sldId="2146848450"/>
            <ac:picMk id="23" creationId="{00637D8F-936E-DE9F-E7C2-D1147713B114}"/>
          </ac:picMkLst>
        </pc:picChg>
        <pc:picChg chg="del">
          <ac:chgData name="Janczewski, Piotr" userId="2467fbf0-2ef4-434e-b40e-471cd3a495c7" providerId="ADAL" clId="{FC6CD8D5-3861-4CA4-BA31-72924B4FB4E0}" dt="2024-02-12T10:51:19.460" v="270" actId="21"/>
          <ac:picMkLst>
            <pc:docMk/>
            <pc:sldMk cId="3358390338" sldId="2146848450"/>
            <ac:picMk id="30" creationId="{BE7A8CB1-3C9B-F6E1-FC3C-30C1E7532484}"/>
          </ac:picMkLst>
        </pc:picChg>
      </pc:sldChg>
      <pc:sldChg chg="addSp delSp del mod">
        <pc:chgData name="Janczewski, Piotr" userId="2467fbf0-2ef4-434e-b40e-471cd3a495c7" providerId="ADAL" clId="{FC6CD8D5-3861-4CA4-BA31-72924B4FB4E0}" dt="2024-02-12T10:49:17.686" v="236" actId="47"/>
        <pc:sldMkLst>
          <pc:docMk/>
          <pc:sldMk cId="65895056" sldId="2147138070"/>
        </pc:sldMkLst>
        <pc:spChg chg="add del">
          <ac:chgData name="Janczewski, Piotr" userId="2467fbf0-2ef4-434e-b40e-471cd3a495c7" providerId="ADAL" clId="{FC6CD8D5-3861-4CA4-BA31-72924B4FB4E0}" dt="2024-02-12T10:49:12.331" v="234" actId="21"/>
          <ac:spMkLst>
            <pc:docMk/>
            <pc:sldMk cId="65895056" sldId="2147138070"/>
            <ac:spMk id="5" creationId="{338350BB-2EBA-48EC-9775-22A1AFA97CF4}"/>
          </ac:spMkLst>
        </pc:spChg>
        <pc:spChg chg="add del">
          <ac:chgData name="Janczewski, Piotr" userId="2467fbf0-2ef4-434e-b40e-471cd3a495c7" providerId="ADAL" clId="{FC6CD8D5-3861-4CA4-BA31-72924B4FB4E0}" dt="2024-02-12T10:49:12.331" v="234" actId="21"/>
          <ac:spMkLst>
            <pc:docMk/>
            <pc:sldMk cId="65895056" sldId="2147138070"/>
            <ac:spMk id="8" creationId="{29E93EF6-2262-4EC7-9327-B3FD53DF8760}"/>
          </ac:spMkLst>
        </pc:spChg>
        <pc:spChg chg="add del">
          <ac:chgData name="Janczewski, Piotr" userId="2467fbf0-2ef4-434e-b40e-471cd3a495c7" providerId="ADAL" clId="{FC6CD8D5-3861-4CA4-BA31-72924B4FB4E0}" dt="2024-02-12T10:49:12.331" v="234" actId="21"/>
          <ac:spMkLst>
            <pc:docMk/>
            <pc:sldMk cId="65895056" sldId="2147138070"/>
            <ac:spMk id="9" creationId="{E969E7E3-B890-4C33-BAC3-E3DB28584A4D}"/>
          </ac:spMkLst>
        </pc:spChg>
        <pc:spChg chg="add del">
          <ac:chgData name="Janczewski, Piotr" userId="2467fbf0-2ef4-434e-b40e-471cd3a495c7" providerId="ADAL" clId="{FC6CD8D5-3861-4CA4-BA31-72924B4FB4E0}" dt="2024-02-12T10:49:12.331" v="234" actId="21"/>
          <ac:spMkLst>
            <pc:docMk/>
            <pc:sldMk cId="65895056" sldId="2147138070"/>
            <ac:spMk id="10" creationId="{FC59B799-F4D3-4E2F-BE8C-0A0E0B5B60C4}"/>
          </ac:spMkLst>
        </pc:spChg>
        <pc:spChg chg="add del">
          <ac:chgData name="Janczewski, Piotr" userId="2467fbf0-2ef4-434e-b40e-471cd3a495c7" providerId="ADAL" clId="{FC6CD8D5-3861-4CA4-BA31-72924B4FB4E0}" dt="2024-02-12T10:49:12.331" v="234" actId="21"/>
          <ac:spMkLst>
            <pc:docMk/>
            <pc:sldMk cId="65895056" sldId="2147138070"/>
            <ac:spMk id="11" creationId="{F1DB7423-94A3-4225-A188-89F680D0BC56}"/>
          </ac:spMkLst>
        </pc:spChg>
        <pc:spChg chg="add del">
          <ac:chgData name="Janczewski, Piotr" userId="2467fbf0-2ef4-434e-b40e-471cd3a495c7" providerId="ADAL" clId="{FC6CD8D5-3861-4CA4-BA31-72924B4FB4E0}" dt="2024-02-12T10:49:12.331" v="234" actId="21"/>
          <ac:spMkLst>
            <pc:docMk/>
            <pc:sldMk cId="65895056" sldId="2147138070"/>
            <ac:spMk id="15" creationId="{767EF03F-726C-E608-31F4-33B9259ED795}"/>
          </ac:spMkLst>
        </pc:spChg>
        <pc:spChg chg="add del">
          <ac:chgData name="Janczewski, Piotr" userId="2467fbf0-2ef4-434e-b40e-471cd3a495c7" providerId="ADAL" clId="{FC6CD8D5-3861-4CA4-BA31-72924B4FB4E0}" dt="2024-02-12T10:49:12.331" v="234" actId="21"/>
          <ac:spMkLst>
            <pc:docMk/>
            <pc:sldMk cId="65895056" sldId="2147138070"/>
            <ac:spMk id="36" creationId="{E8C89ECE-F2E6-599C-51B2-F5C157D09BE5}"/>
          </ac:spMkLst>
        </pc:spChg>
        <pc:spChg chg="add del">
          <ac:chgData name="Janczewski, Piotr" userId="2467fbf0-2ef4-434e-b40e-471cd3a495c7" providerId="ADAL" clId="{FC6CD8D5-3861-4CA4-BA31-72924B4FB4E0}" dt="2024-02-12T10:49:12.331" v="234" actId="21"/>
          <ac:spMkLst>
            <pc:docMk/>
            <pc:sldMk cId="65895056" sldId="2147138070"/>
            <ac:spMk id="57" creationId="{73BBECB7-D94E-47F2-A34B-2105B9AA4739}"/>
          </ac:spMkLst>
        </pc:spChg>
        <pc:spChg chg="add del">
          <ac:chgData name="Janczewski, Piotr" userId="2467fbf0-2ef4-434e-b40e-471cd3a495c7" providerId="ADAL" clId="{FC6CD8D5-3861-4CA4-BA31-72924B4FB4E0}" dt="2024-02-12T10:49:12.331" v="234" actId="21"/>
          <ac:spMkLst>
            <pc:docMk/>
            <pc:sldMk cId="65895056" sldId="2147138070"/>
            <ac:spMk id="65" creationId="{EFB5B945-88E5-4747-BC6D-872BCBB84315}"/>
          </ac:spMkLst>
        </pc:spChg>
        <pc:spChg chg="add del">
          <ac:chgData name="Janczewski, Piotr" userId="2467fbf0-2ef4-434e-b40e-471cd3a495c7" providerId="ADAL" clId="{FC6CD8D5-3861-4CA4-BA31-72924B4FB4E0}" dt="2024-02-12T10:49:12.331" v="234" actId="21"/>
          <ac:spMkLst>
            <pc:docMk/>
            <pc:sldMk cId="65895056" sldId="2147138070"/>
            <ac:spMk id="70" creationId="{15BD2B04-58F3-4EC9-97F1-8732F3BED5E1}"/>
          </ac:spMkLst>
        </pc:spChg>
        <pc:spChg chg="add del">
          <ac:chgData name="Janczewski, Piotr" userId="2467fbf0-2ef4-434e-b40e-471cd3a495c7" providerId="ADAL" clId="{FC6CD8D5-3861-4CA4-BA31-72924B4FB4E0}" dt="2024-02-12T10:49:12.331" v="234" actId="21"/>
          <ac:spMkLst>
            <pc:docMk/>
            <pc:sldMk cId="65895056" sldId="2147138070"/>
            <ac:spMk id="71" creationId="{DF78ACC1-CFC7-48D9-B6BE-0A68613AEEDB}"/>
          </ac:spMkLst>
        </pc:spChg>
        <pc:spChg chg="add del">
          <ac:chgData name="Janczewski, Piotr" userId="2467fbf0-2ef4-434e-b40e-471cd3a495c7" providerId="ADAL" clId="{FC6CD8D5-3861-4CA4-BA31-72924B4FB4E0}" dt="2024-02-12T10:49:12.331" v="234" actId="21"/>
          <ac:spMkLst>
            <pc:docMk/>
            <pc:sldMk cId="65895056" sldId="2147138070"/>
            <ac:spMk id="72" creationId="{7E4140F7-72A5-4EFD-85FB-C163AE743F61}"/>
          </ac:spMkLst>
        </pc:spChg>
        <pc:spChg chg="add del">
          <ac:chgData name="Janczewski, Piotr" userId="2467fbf0-2ef4-434e-b40e-471cd3a495c7" providerId="ADAL" clId="{FC6CD8D5-3861-4CA4-BA31-72924B4FB4E0}" dt="2024-02-12T10:49:12.331" v="234" actId="21"/>
          <ac:spMkLst>
            <pc:docMk/>
            <pc:sldMk cId="65895056" sldId="2147138070"/>
            <ac:spMk id="78" creationId="{44A9B245-575C-496C-BBF8-AD0A54ECEFB2}"/>
          </ac:spMkLst>
        </pc:spChg>
        <pc:grpChg chg="add del">
          <ac:chgData name="Janczewski, Piotr" userId="2467fbf0-2ef4-434e-b40e-471cd3a495c7" providerId="ADAL" clId="{FC6CD8D5-3861-4CA4-BA31-72924B4FB4E0}" dt="2024-02-12T10:49:12.331" v="234" actId="21"/>
          <ac:grpSpMkLst>
            <pc:docMk/>
            <pc:sldMk cId="65895056" sldId="2147138070"/>
            <ac:grpSpMk id="6" creationId="{D113FCDD-7C4C-4635-6868-324659AC9416}"/>
          </ac:grpSpMkLst>
        </pc:grpChg>
        <pc:grpChg chg="add del">
          <ac:chgData name="Janczewski, Piotr" userId="2467fbf0-2ef4-434e-b40e-471cd3a495c7" providerId="ADAL" clId="{FC6CD8D5-3861-4CA4-BA31-72924B4FB4E0}" dt="2024-02-12T10:49:12.331" v="234" actId="21"/>
          <ac:grpSpMkLst>
            <pc:docMk/>
            <pc:sldMk cId="65895056" sldId="2147138070"/>
            <ac:grpSpMk id="25" creationId="{D22A134A-FFE0-4D03-A686-5D1BFB53F1D6}"/>
          </ac:grpSpMkLst>
        </pc:grpChg>
        <pc:grpChg chg="add del">
          <ac:chgData name="Janczewski, Piotr" userId="2467fbf0-2ef4-434e-b40e-471cd3a495c7" providerId="ADAL" clId="{FC6CD8D5-3861-4CA4-BA31-72924B4FB4E0}" dt="2024-02-12T10:49:12.331" v="234" actId="21"/>
          <ac:grpSpMkLst>
            <pc:docMk/>
            <pc:sldMk cId="65895056" sldId="2147138070"/>
            <ac:grpSpMk id="33" creationId="{53325EF7-4F2C-415C-920E-B501B6152C0F}"/>
          </ac:grpSpMkLst>
        </pc:grpChg>
        <pc:grpChg chg="add del">
          <ac:chgData name="Janczewski, Piotr" userId="2467fbf0-2ef4-434e-b40e-471cd3a495c7" providerId="ADAL" clId="{FC6CD8D5-3861-4CA4-BA31-72924B4FB4E0}" dt="2024-02-12T10:49:12.331" v="234" actId="21"/>
          <ac:grpSpMkLst>
            <pc:docMk/>
            <pc:sldMk cId="65895056" sldId="2147138070"/>
            <ac:grpSpMk id="42" creationId="{3E4F6F7E-9FCD-4506-B449-3A1609541DDB}"/>
          </ac:grpSpMkLst>
        </pc:grpChg>
        <pc:grpChg chg="add del">
          <ac:chgData name="Janczewski, Piotr" userId="2467fbf0-2ef4-434e-b40e-471cd3a495c7" providerId="ADAL" clId="{FC6CD8D5-3861-4CA4-BA31-72924B4FB4E0}" dt="2024-02-12T10:49:12.331" v="234" actId="21"/>
          <ac:grpSpMkLst>
            <pc:docMk/>
            <pc:sldMk cId="65895056" sldId="2147138070"/>
            <ac:grpSpMk id="46" creationId="{07EEA677-B602-49DB-A391-DBAF99CAF5FC}"/>
          </ac:grpSpMkLst>
        </pc:grpChg>
        <pc:grpChg chg="add del">
          <ac:chgData name="Janczewski, Piotr" userId="2467fbf0-2ef4-434e-b40e-471cd3a495c7" providerId="ADAL" clId="{FC6CD8D5-3861-4CA4-BA31-72924B4FB4E0}" dt="2024-02-12T10:49:12.331" v="234" actId="21"/>
          <ac:grpSpMkLst>
            <pc:docMk/>
            <pc:sldMk cId="65895056" sldId="2147138070"/>
            <ac:grpSpMk id="85" creationId="{6D845791-7BDC-4C04-9F59-C029EC709A5F}"/>
          </ac:grpSpMkLst>
        </pc:grp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2" creationId="{6E7CAE8C-E8B6-5A62-2605-33F6F3007A06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4" creationId="{76B927EC-BD27-5E91-5329-4F6ACCDF69CF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7" creationId="{CBC239B0-9E13-3634-FF36-0536C1DA9E55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16" creationId="{0850DFC7-FE75-E73D-A75F-B21BC0C78756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17" creationId="{C0C9AEF0-E115-5529-EB87-DF6A5BD698D7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18" creationId="{41C47B7B-1217-9BA0-7ABE-632EBF44F321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19" creationId="{248FA84C-08AC-0480-082A-D6DB49B78DAC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20" creationId="{7FAFEA0A-1C88-9F33-68A5-75CF4359DC55}"/>
          </ac:picMkLst>
        </pc:picChg>
        <pc:picChg chg="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21" creationId="{6871E088-F57D-3B65-B31C-D893DC179C2B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22" creationId="{687A2060-D532-3B95-BB9D-46BDAD5E6F1D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23" creationId="{F69682CB-1AAF-DCB1-E124-2539E15585C6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24" creationId="{7D1DB3B6-C489-EE0C-03B5-5FF2A95284FC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29" creationId="{31C38450-04EA-4A2D-2838-8D399C0A83AB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34" creationId="{0349146A-4CC8-2392-6458-36AA14932A1D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35" creationId="{F1192BC6-981D-CA83-4B62-82982EB7462F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37" creationId="{48AF6D4A-9CE2-13CE-514F-CB2387DBB2D6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48" creationId="{ACEE1F1A-DD11-F340-556C-3655FDB3E69B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50" creationId="{01F10708-F03D-B142-E46F-354A8F32543E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51" creationId="{93269992-E3F7-F6E3-E1F5-7E566234D8BE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52" creationId="{968DEF07-A0C2-1C47-9426-E48BC217F160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53" creationId="{067A90DB-552F-3C87-0102-778C63196A27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54" creationId="{D425DCB7-930E-4AC8-65D8-56F825E93DAE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55" creationId="{D33B7718-8283-B661-6983-9E22A13A0485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56" creationId="{F213F427-C72D-4EE0-8F4F-40B0C979DDB9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64" creationId="{6CA34C9C-688E-4BB5-9BDD-DB401592AD54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82" creationId="{D7F88B7E-9026-42C3-B854-A5943B0597AF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83" creationId="{A025524D-F784-4B74-9650-B89053380FC0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84" creationId="{11323354-295A-4A98-9EDD-5AC8CB1D89D9}"/>
          </ac:picMkLst>
        </pc:picChg>
        <pc:picChg chg="add del">
          <ac:chgData name="Janczewski, Piotr" userId="2467fbf0-2ef4-434e-b40e-471cd3a495c7" providerId="ADAL" clId="{FC6CD8D5-3861-4CA4-BA31-72924B4FB4E0}" dt="2024-02-12T10:49:12.331" v="234" actId="21"/>
          <ac:picMkLst>
            <pc:docMk/>
            <pc:sldMk cId="65895056" sldId="2147138070"/>
            <ac:picMk id="1026" creationId="{EAE8F506-B6B5-CDBD-1CB6-3DAEE3560826}"/>
          </ac:picMkLst>
        </pc:picChg>
      </pc:sldChg>
      <pc:sldChg chg="delSp del">
        <pc:chgData name="Janczewski, Piotr" userId="2467fbf0-2ef4-434e-b40e-471cd3a495c7" providerId="ADAL" clId="{FC6CD8D5-3861-4CA4-BA31-72924B4FB4E0}" dt="2024-02-12T10:57:31.773" v="353" actId="47"/>
        <pc:sldMkLst>
          <pc:docMk/>
          <pc:sldMk cId="2766295601" sldId="2147471991"/>
        </pc:sldMkLst>
        <pc:spChg chg="del">
          <ac:chgData name="Janczewski, Piotr" userId="2467fbf0-2ef4-434e-b40e-471cd3a495c7" providerId="ADAL" clId="{FC6CD8D5-3861-4CA4-BA31-72924B4FB4E0}" dt="2024-02-12T10:57:24.742" v="350" actId="21"/>
          <ac:spMkLst>
            <pc:docMk/>
            <pc:sldMk cId="2766295601" sldId="2147471991"/>
            <ac:spMk id="5" creationId="{A90D1870-99C0-8266-7C78-97538763B3D0}"/>
          </ac:spMkLst>
        </pc:spChg>
        <pc:spChg chg="del">
          <ac:chgData name="Janczewski, Piotr" userId="2467fbf0-2ef4-434e-b40e-471cd3a495c7" providerId="ADAL" clId="{FC6CD8D5-3861-4CA4-BA31-72924B4FB4E0}" dt="2024-02-12T10:57:24.742" v="350" actId="21"/>
          <ac:spMkLst>
            <pc:docMk/>
            <pc:sldMk cId="2766295601" sldId="2147471991"/>
            <ac:spMk id="6" creationId="{4280E6B3-B04C-67F6-E65E-067B247203EF}"/>
          </ac:spMkLst>
        </pc:spChg>
        <pc:spChg chg="del">
          <ac:chgData name="Janczewski, Piotr" userId="2467fbf0-2ef4-434e-b40e-471cd3a495c7" providerId="ADAL" clId="{FC6CD8D5-3861-4CA4-BA31-72924B4FB4E0}" dt="2024-02-12T10:57:24.742" v="350" actId="21"/>
          <ac:spMkLst>
            <pc:docMk/>
            <pc:sldMk cId="2766295601" sldId="2147471991"/>
            <ac:spMk id="20" creationId="{83AA153A-D921-F824-6C24-F9EBBDDDE448}"/>
          </ac:spMkLst>
        </pc:spChg>
        <pc:spChg chg="del">
          <ac:chgData name="Janczewski, Piotr" userId="2467fbf0-2ef4-434e-b40e-471cd3a495c7" providerId="ADAL" clId="{FC6CD8D5-3861-4CA4-BA31-72924B4FB4E0}" dt="2024-02-12T10:57:24.742" v="350" actId="21"/>
          <ac:spMkLst>
            <pc:docMk/>
            <pc:sldMk cId="2766295601" sldId="2147471991"/>
            <ac:spMk id="23" creationId="{2810CC3A-52CF-CAD2-DD58-188B845B6976}"/>
          </ac:spMkLst>
        </pc:spChg>
        <pc:spChg chg="del">
          <ac:chgData name="Janczewski, Piotr" userId="2467fbf0-2ef4-434e-b40e-471cd3a495c7" providerId="ADAL" clId="{FC6CD8D5-3861-4CA4-BA31-72924B4FB4E0}" dt="2024-02-12T10:57:24.742" v="350" actId="21"/>
          <ac:spMkLst>
            <pc:docMk/>
            <pc:sldMk cId="2766295601" sldId="2147471991"/>
            <ac:spMk id="34" creationId="{7E5D5BF2-0203-D985-D1E7-1ED57D4D15F8}"/>
          </ac:spMkLst>
        </pc:spChg>
        <pc:spChg chg="del">
          <ac:chgData name="Janczewski, Piotr" userId="2467fbf0-2ef4-434e-b40e-471cd3a495c7" providerId="ADAL" clId="{FC6CD8D5-3861-4CA4-BA31-72924B4FB4E0}" dt="2024-02-12T10:57:24.742" v="350" actId="21"/>
          <ac:spMkLst>
            <pc:docMk/>
            <pc:sldMk cId="2766295601" sldId="2147471991"/>
            <ac:spMk id="40" creationId="{6719E6C5-76EC-FD27-27F8-92CEC896646D}"/>
          </ac:spMkLst>
        </pc:spChg>
        <pc:spChg chg="del">
          <ac:chgData name="Janczewski, Piotr" userId="2467fbf0-2ef4-434e-b40e-471cd3a495c7" providerId="ADAL" clId="{FC6CD8D5-3861-4CA4-BA31-72924B4FB4E0}" dt="2024-02-12T10:57:24.742" v="350" actId="21"/>
          <ac:spMkLst>
            <pc:docMk/>
            <pc:sldMk cId="2766295601" sldId="2147471991"/>
            <ac:spMk id="44" creationId="{E1826DED-8EE6-84C2-4D60-0EAFB8837FB9}"/>
          </ac:spMkLst>
        </pc:spChg>
        <pc:spChg chg="del">
          <ac:chgData name="Janczewski, Piotr" userId="2467fbf0-2ef4-434e-b40e-471cd3a495c7" providerId="ADAL" clId="{FC6CD8D5-3861-4CA4-BA31-72924B4FB4E0}" dt="2024-02-12T10:57:24.742" v="350" actId="21"/>
          <ac:spMkLst>
            <pc:docMk/>
            <pc:sldMk cId="2766295601" sldId="2147471991"/>
            <ac:spMk id="45" creationId="{10A3C088-07C7-0849-9670-F959EFADA6A5}"/>
          </ac:spMkLst>
        </pc:spChg>
        <pc:spChg chg="del">
          <ac:chgData name="Janczewski, Piotr" userId="2467fbf0-2ef4-434e-b40e-471cd3a495c7" providerId="ADAL" clId="{FC6CD8D5-3861-4CA4-BA31-72924B4FB4E0}" dt="2024-02-12T10:57:24.742" v="350" actId="21"/>
          <ac:spMkLst>
            <pc:docMk/>
            <pc:sldMk cId="2766295601" sldId="2147471991"/>
            <ac:spMk id="46" creationId="{451C81E9-9E94-8C76-5EC2-358C3262F0B9}"/>
          </ac:spMkLst>
        </pc:spChg>
        <pc:spChg chg="del">
          <ac:chgData name="Janczewski, Piotr" userId="2467fbf0-2ef4-434e-b40e-471cd3a495c7" providerId="ADAL" clId="{FC6CD8D5-3861-4CA4-BA31-72924B4FB4E0}" dt="2024-02-12T10:57:24.742" v="350" actId="21"/>
          <ac:spMkLst>
            <pc:docMk/>
            <pc:sldMk cId="2766295601" sldId="2147471991"/>
            <ac:spMk id="47" creationId="{1FF9DE18-3ADD-A9F5-0DA1-F2C67EA11E11}"/>
          </ac:spMkLst>
        </pc:spChg>
        <pc:spChg chg="del">
          <ac:chgData name="Janczewski, Piotr" userId="2467fbf0-2ef4-434e-b40e-471cd3a495c7" providerId="ADAL" clId="{FC6CD8D5-3861-4CA4-BA31-72924B4FB4E0}" dt="2024-02-12T10:57:24.742" v="350" actId="21"/>
          <ac:spMkLst>
            <pc:docMk/>
            <pc:sldMk cId="2766295601" sldId="2147471991"/>
            <ac:spMk id="71" creationId="{2C32FEDB-A045-DB9A-820C-23317B7A109B}"/>
          </ac:spMkLst>
        </pc:spChg>
        <pc:spChg chg="del">
          <ac:chgData name="Janczewski, Piotr" userId="2467fbf0-2ef4-434e-b40e-471cd3a495c7" providerId="ADAL" clId="{FC6CD8D5-3861-4CA4-BA31-72924B4FB4E0}" dt="2024-02-12T10:57:24.742" v="350" actId="21"/>
          <ac:spMkLst>
            <pc:docMk/>
            <pc:sldMk cId="2766295601" sldId="2147471991"/>
            <ac:spMk id="77" creationId="{668EFEEC-1636-8FAC-3CC2-FE6DED5C44F9}"/>
          </ac:spMkLst>
        </pc:spChg>
        <pc:grpChg chg="del">
          <ac:chgData name="Janczewski, Piotr" userId="2467fbf0-2ef4-434e-b40e-471cd3a495c7" providerId="ADAL" clId="{FC6CD8D5-3861-4CA4-BA31-72924B4FB4E0}" dt="2024-02-12T10:57:24.742" v="350" actId="21"/>
          <ac:grpSpMkLst>
            <pc:docMk/>
            <pc:sldMk cId="2766295601" sldId="2147471991"/>
            <ac:grpSpMk id="35" creationId="{AB6555EB-DAB4-E0B5-2989-E8F673888836}"/>
          </ac:grpSpMkLst>
        </pc:grpChg>
        <pc:grpChg chg="del">
          <ac:chgData name="Janczewski, Piotr" userId="2467fbf0-2ef4-434e-b40e-471cd3a495c7" providerId="ADAL" clId="{FC6CD8D5-3861-4CA4-BA31-72924B4FB4E0}" dt="2024-02-12T10:57:24.742" v="350" actId="21"/>
          <ac:grpSpMkLst>
            <pc:docMk/>
            <pc:sldMk cId="2766295601" sldId="2147471991"/>
            <ac:grpSpMk id="41" creationId="{967AD810-74FF-6E53-A57E-A923A5FADCAB}"/>
          </ac:grpSpMkLst>
        </pc:grpChg>
        <pc:grpChg chg="del">
          <ac:chgData name="Janczewski, Piotr" userId="2467fbf0-2ef4-434e-b40e-471cd3a495c7" providerId="ADAL" clId="{FC6CD8D5-3861-4CA4-BA31-72924B4FB4E0}" dt="2024-02-12T10:57:24.742" v="350" actId="21"/>
          <ac:grpSpMkLst>
            <pc:docMk/>
            <pc:sldMk cId="2766295601" sldId="2147471991"/>
            <ac:grpSpMk id="42" creationId="{5185B330-F3F2-196B-EF29-3307724FA92C}"/>
          </ac:grpSpMkLst>
        </pc:grpChg>
        <pc:grpChg chg="del">
          <ac:chgData name="Janczewski, Piotr" userId="2467fbf0-2ef4-434e-b40e-471cd3a495c7" providerId="ADAL" clId="{FC6CD8D5-3861-4CA4-BA31-72924B4FB4E0}" dt="2024-02-12T10:57:24.742" v="350" actId="21"/>
          <ac:grpSpMkLst>
            <pc:docMk/>
            <pc:sldMk cId="2766295601" sldId="2147471991"/>
            <ac:grpSpMk id="43" creationId="{408C4BD2-6115-043E-DBB0-5DA7206801B7}"/>
          </ac:grpSpMkLst>
        </pc:grpChg>
        <pc:grpChg chg="del">
          <ac:chgData name="Janczewski, Piotr" userId="2467fbf0-2ef4-434e-b40e-471cd3a495c7" providerId="ADAL" clId="{FC6CD8D5-3861-4CA4-BA31-72924B4FB4E0}" dt="2024-02-12T10:57:24.742" v="350" actId="21"/>
          <ac:grpSpMkLst>
            <pc:docMk/>
            <pc:sldMk cId="2766295601" sldId="2147471991"/>
            <ac:grpSpMk id="48" creationId="{7EFBE022-EADA-1E3C-ACC0-504FE6763D2D}"/>
          </ac:grpSpMkLst>
        </pc:grpChg>
        <pc:grpChg chg="del">
          <ac:chgData name="Janczewski, Piotr" userId="2467fbf0-2ef4-434e-b40e-471cd3a495c7" providerId="ADAL" clId="{FC6CD8D5-3861-4CA4-BA31-72924B4FB4E0}" dt="2024-02-12T10:57:24.742" v="350" actId="21"/>
          <ac:grpSpMkLst>
            <pc:docMk/>
            <pc:sldMk cId="2766295601" sldId="2147471991"/>
            <ac:grpSpMk id="63" creationId="{8004EF0F-4EDD-6F1E-19A4-C554796E456D}"/>
          </ac:grpSpMkLst>
        </pc:grpChg>
        <pc:grpChg chg="del">
          <ac:chgData name="Janczewski, Piotr" userId="2467fbf0-2ef4-434e-b40e-471cd3a495c7" providerId="ADAL" clId="{FC6CD8D5-3861-4CA4-BA31-72924B4FB4E0}" dt="2024-02-12T10:57:24.742" v="350" actId="21"/>
          <ac:grpSpMkLst>
            <pc:docMk/>
            <pc:sldMk cId="2766295601" sldId="2147471991"/>
            <ac:grpSpMk id="68" creationId="{8FD3691E-D63F-7A6F-9042-BB611D718AA8}"/>
          </ac:grpSpMkLst>
        </pc:grpChg>
        <pc:picChg chg="del">
          <ac:chgData name="Janczewski, Piotr" userId="2467fbf0-2ef4-434e-b40e-471cd3a495c7" providerId="ADAL" clId="{FC6CD8D5-3861-4CA4-BA31-72924B4FB4E0}" dt="2024-02-12T10:57:24.742" v="350" actId="21"/>
          <ac:picMkLst>
            <pc:docMk/>
            <pc:sldMk cId="2766295601" sldId="2147471991"/>
            <ac:picMk id="73" creationId="{6601A863-BDF7-F5F8-9020-49881F615780}"/>
          </ac:picMkLst>
        </pc:picChg>
      </pc:sldChg>
      <pc:sldChg chg="addSp delSp modSp mod ord">
        <pc:chgData name="Janczewski, Piotr" userId="2467fbf0-2ef4-434e-b40e-471cd3a495c7" providerId="ADAL" clId="{FC6CD8D5-3861-4CA4-BA31-72924B4FB4E0}" dt="2024-01-31T12:22:35.650" v="110" actId="478"/>
        <pc:sldMkLst>
          <pc:docMk/>
          <pc:sldMk cId="2056897824" sldId="2147480549"/>
        </pc:sldMkLst>
        <pc:spChg chg="mod">
          <ac:chgData name="Janczewski, Piotr" userId="2467fbf0-2ef4-434e-b40e-471cd3a495c7" providerId="ADAL" clId="{FC6CD8D5-3861-4CA4-BA31-72924B4FB4E0}" dt="2024-01-31T12:18:16.838" v="20" actId="1035"/>
          <ac:spMkLst>
            <pc:docMk/>
            <pc:sldMk cId="2056897824" sldId="2147480549"/>
            <ac:spMk id="12" creationId="{3D6ECA7C-079D-1986-449B-0E86FB599ADA}"/>
          </ac:spMkLst>
        </pc:spChg>
        <pc:spChg chg="mod">
          <ac:chgData name="Janczewski, Piotr" userId="2467fbf0-2ef4-434e-b40e-471cd3a495c7" providerId="ADAL" clId="{FC6CD8D5-3861-4CA4-BA31-72924B4FB4E0}" dt="2024-01-31T12:22:28.578" v="109" actId="1076"/>
          <ac:spMkLst>
            <pc:docMk/>
            <pc:sldMk cId="2056897824" sldId="2147480549"/>
            <ac:spMk id="14" creationId="{CCC45667-63F3-4691-8502-CA9F6B86F389}"/>
          </ac:spMkLst>
        </pc:spChg>
        <pc:spChg chg="mod">
          <ac:chgData name="Janczewski, Piotr" userId="2467fbf0-2ef4-434e-b40e-471cd3a495c7" providerId="ADAL" clId="{FC6CD8D5-3861-4CA4-BA31-72924B4FB4E0}" dt="2024-01-31T12:18:16.838" v="20" actId="1035"/>
          <ac:spMkLst>
            <pc:docMk/>
            <pc:sldMk cId="2056897824" sldId="2147480549"/>
            <ac:spMk id="62" creationId="{49AF690D-26F3-1CDB-6F4D-838976866FF7}"/>
          </ac:spMkLst>
        </pc:spChg>
        <pc:spChg chg="del">
          <ac:chgData name="Janczewski, Piotr" userId="2467fbf0-2ef4-434e-b40e-471cd3a495c7" providerId="ADAL" clId="{FC6CD8D5-3861-4CA4-BA31-72924B4FB4E0}" dt="2024-01-31T12:22:35.650" v="110" actId="478"/>
          <ac:spMkLst>
            <pc:docMk/>
            <pc:sldMk cId="2056897824" sldId="2147480549"/>
            <ac:spMk id="68" creationId="{2558906F-C64F-EF33-2CE7-EE97543099D3}"/>
          </ac:spMkLst>
        </pc:spChg>
        <pc:spChg chg="del">
          <ac:chgData name="Janczewski, Piotr" userId="2467fbf0-2ef4-434e-b40e-471cd3a495c7" providerId="ADAL" clId="{FC6CD8D5-3861-4CA4-BA31-72924B4FB4E0}" dt="2024-01-31T12:22:35.650" v="110" actId="478"/>
          <ac:spMkLst>
            <pc:docMk/>
            <pc:sldMk cId="2056897824" sldId="2147480549"/>
            <ac:spMk id="72" creationId="{CCCFAC07-3EB2-FA6A-3A82-2958ED1F5B27}"/>
          </ac:spMkLst>
        </pc:spChg>
        <pc:spChg chg="del">
          <ac:chgData name="Janczewski, Piotr" userId="2467fbf0-2ef4-434e-b40e-471cd3a495c7" providerId="ADAL" clId="{FC6CD8D5-3861-4CA4-BA31-72924B4FB4E0}" dt="2024-01-31T12:22:35.650" v="110" actId="478"/>
          <ac:spMkLst>
            <pc:docMk/>
            <pc:sldMk cId="2056897824" sldId="2147480549"/>
            <ac:spMk id="73" creationId="{07F84233-924F-17DC-8C7F-2B01BAB0267E}"/>
          </ac:spMkLst>
        </pc:spChg>
        <pc:spChg chg="mod">
          <ac:chgData name="Janczewski, Piotr" userId="2467fbf0-2ef4-434e-b40e-471cd3a495c7" providerId="ADAL" clId="{FC6CD8D5-3861-4CA4-BA31-72924B4FB4E0}" dt="2024-01-31T12:20:19.670" v="94" actId="1035"/>
          <ac:spMkLst>
            <pc:docMk/>
            <pc:sldMk cId="2056897824" sldId="2147480549"/>
            <ac:spMk id="235" creationId="{9B532B5B-AFC4-7F8C-E5D3-97E870D93E24}"/>
          </ac:spMkLst>
        </pc:spChg>
        <pc:spChg chg="del">
          <ac:chgData name="Janczewski, Piotr" userId="2467fbf0-2ef4-434e-b40e-471cd3a495c7" providerId="ADAL" clId="{FC6CD8D5-3861-4CA4-BA31-72924B4FB4E0}" dt="2024-01-31T12:22:35.650" v="110" actId="478"/>
          <ac:spMkLst>
            <pc:docMk/>
            <pc:sldMk cId="2056897824" sldId="2147480549"/>
            <ac:spMk id="355" creationId="{520DE371-5AF1-F8FF-8707-45EE4454FB90}"/>
          </ac:spMkLst>
        </pc:spChg>
        <pc:spChg chg="del">
          <ac:chgData name="Janczewski, Piotr" userId="2467fbf0-2ef4-434e-b40e-471cd3a495c7" providerId="ADAL" clId="{FC6CD8D5-3861-4CA4-BA31-72924B4FB4E0}" dt="2024-01-31T12:22:35.650" v="110" actId="478"/>
          <ac:spMkLst>
            <pc:docMk/>
            <pc:sldMk cId="2056897824" sldId="2147480549"/>
            <ac:spMk id="356" creationId="{45893D60-F6F4-C53C-3A02-E32909DD2E69}"/>
          </ac:spMkLst>
        </pc:spChg>
        <pc:spChg chg="del">
          <ac:chgData name="Janczewski, Piotr" userId="2467fbf0-2ef4-434e-b40e-471cd3a495c7" providerId="ADAL" clId="{FC6CD8D5-3861-4CA4-BA31-72924B4FB4E0}" dt="2024-01-31T12:22:35.650" v="110" actId="478"/>
          <ac:spMkLst>
            <pc:docMk/>
            <pc:sldMk cId="2056897824" sldId="2147480549"/>
            <ac:spMk id="357" creationId="{E15DB0F8-FBE2-D8CC-A4FB-F6A6E1AAAE0A}"/>
          </ac:spMkLst>
        </pc:spChg>
        <pc:spChg chg="del">
          <ac:chgData name="Janczewski, Piotr" userId="2467fbf0-2ef4-434e-b40e-471cd3a495c7" providerId="ADAL" clId="{FC6CD8D5-3861-4CA4-BA31-72924B4FB4E0}" dt="2024-01-31T12:22:35.650" v="110" actId="478"/>
          <ac:spMkLst>
            <pc:docMk/>
            <pc:sldMk cId="2056897824" sldId="2147480549"/>
            <ac:spMk id="358" creationId="{DDA5DDE7-3083-CDF4-FE22-D3B32B014AAD}"/>
          </ac:spMkLst>
        </pc:spChg>
        <pc:spChg chg="del">
          <ac:chgData name="Janczewski, Piotr" userId="2467fbf0-2ef4-434e-b40e-471cd3a495c7" providerId="ADAL" clId="{FC6CD8D5-3861-4CA4-BA31-72924B4FB4E0}" dt="2024-01-31T12:22:35.650" v="110" actId="478"/>
          <ac:spMkLst>
            <pc:docMk/>
            <pc:sldMk cId="2056897824" sldId="2147480549"/>
            <ac:spMk id="365" creationId="{EE782C3F-C94F-3415-05E2-30C77D58C065}"/>
          </ac:spMkLst>
        </pc:spChg>
        <pc:grpChg chg="mod">
          <ac:chgData name="Janczewski, Piotr" userId="2467fbf0-2ef4-434e-b40e-471cd3a495c7" providerId="ADAL" clId="{FC6CD8D5-3861-4CA4-BA31-72924B4FB4E0}" dt="2024-01-31T12:18:16.838" v="20" actId="1035"/>
          <ac:grpSpMkLst>
            <pc:docMk/>
            <pc:sldMk cId="2056897824" sldId="2147480549"/>
            <ac:grpSpMk id="31" creationId="{EDCE2EC2-7599-06A0-DDA2-2C7246716E26}"/>
          </ac:grpSpMkLst>
        </pc:grpChg>
        <pc:grpChg chg="del">
          <ac:chgData name="Janczewski, Piotr" userId="2467fbf0-2ef4-434e-b40e-471cd3a495c7" providerId="ADAL" clId="{FC6CD8D5-3861-4CA4-BA31-72924B4FB4E0}" dt="2024-01-31T12:22:35.650" v="110" actId="478"/>
          <ac:grpSpMkLst>
            <pc:docMk/>
            <pc:sldMk cId="2056897824" sldId="2147480549"/>
            <ac:grpSpMk id="47" creationId="{00B02FCB-7E30-92CF-CD77-808E9C6C0E12}"/>
          </ac:grpSpMkLst>
        </pc:grpChg>
        <pc:grpChg chg="del">
          <ac:chgData name="Janczewski, Piotr" userId="2467fbf0-2ef4-434e-b40e-471cd3a495c7" providerId="ADAL" clId="{FC6CD8D5-3861-4CA4-BA31-72924B4FB4E0}" dt="2024-01-31T12:22:35.650" v="110" actId="478"/>
          <ac:grpSpMkLst>
            <pc:docMk/>
            <pc:sldMk cId="2056897824" sldId="2147480549"/>
            <ac:grpSpMk id="285" creationId="{C592E709-2024-BDF5-944E-3A75936A21EB}"/>
          </ac:grpSpMkLst>
        </pc:grpChg>
        <pc:grpChg chg="del">
          <ac:chgData name="Janczewski, Piotr" userId="2467fbf0-2ef4-434e-b40e-471cd3a495c7" providerId="ADAL" clId="{FC6CD8D5-3861-4CA4-BA31-72924B4FB4E0}" dt="2024-01-31T12:22:35.650" v="110" actId="478"/>
          <ac:grpSpMkLst>
            <pc:docMk/>
            <pc:sldMk cId="2056897824" sldId="2147480549"/>
            <ac:grpSpMk id="322" creationId="{04B734C9-8C10-BD6D-1466-D4E1DCCD4817}"/>
          </ac:grpSpMkLst>
        </pc:grpChg>
        <pc:picChg chg="add mod">
          <ac:chgData name="Janczewski, Piotr" userId="2467fbf0-2ef4-434e-b40e-471cd3a495c7" providerId="ADAL" clId="{FC6CD8D5-3861-4CA4-BA31-72924B4FB4E0}" dt="2024-01-31T12:20:19.670" v="94" actId="1035"/>
          <ac:picMkLst>
            <pc:docMk/>
            <pc:sldMk cId="2056897824" sldId="2147480549"/>
            <ac:picMk id="2" creationId="{3FAD7553-4E5A-082D-AF82-C1654F2AD76D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15" creationId="{12890F7C-5BA6-FA99-B60C-A202558D887B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16" creationId="{9E362CB8-5045-7B63-CB4E-A7FDFD3AB623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17" creationId="{055CE795-AC3F-6819-9C7E-D79CAC935AED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18" creationId="{7218DBE6-7F20-8EAD-B5CE-2EF32FBBF590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19" creationId="{93592089-786A-8A18-42B5-C51A56289C95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20" creationId="{8B8E29DF-1301-66B8-6B59-25EA810941FB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21" creationId="{D2E24B8E-BB5C-0D30-88E7-57057491A39D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23" creationId="{2E7EC694-B06B-0279-1C0C-58CD0BF1C3A8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24" creationId="{D8235773-405E-C0C0-42B8-DA1B14FFDB6F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25" creationId="{03BC07E1-5A2E-CA29-3FE3-A0D48E67DCED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26" creationId="{06971385-7B1F-8D00-CAF5-0BC29CF86B47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27" creationId="{587FE8A7-44D1-1EC6-FEDA-6D18EAE502F1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49" creationId="{BC4F8634-1940-D67D-578C-0D00296C221F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50" creationId="{6137CDED-66DC-E998-52E5-EC6C8FEA5F7D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51" creationId="{FD4CB11B-EF36-DC65-EA58-EA8C46AEDD84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52" creationId="{60AA7A82-4508-26C9-342A-986EE46F2024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53" creationId="{AFCC9C99-05FB-2208-D156-ADE3747CF38A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54" creationId="{CC55F3E7-FB3C-F2C1-4F71-32C8BF246A8B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55" creationId="{EF25498E-27F2-360D-DFC6-179BFAE70D62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56" creationId="{BE19E3D9-33C5-6C34-5047-DE3811D4AFDB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57" creationId="{BFE6639C-2AC5-6B50-FCCB-7D30D2B83F5A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58" creationId="{BE1BB854-1ABA-2481-03AE-CAB38878A859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59" creationId="{15158EF8-10EB-A334-2EF7-322BBF5440E0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60" creationId="{8D2BCC59-23DE-352C-E98C-56EB5C2B0993}"/>
          </ac:picMkLst>
        </pc:picChg>
        <pc:picChg chg="mod">
          <ac:chgData name="Janczewski, Piotr" userId="2467fbf0-2ef4-434e-b40e-471cd3a495c7" providerId="ADAL" clId="{FC6CD8D5-3861-4CA4-BA31-72924B4FB4E0}" dt="2024-01-31T12:18:16.838" v="20" actId="1035"/>
          <ac:picMkLst>
            <pc:docMk/>
            <pc:sldMk cId="2056897824" sldId="2147480549"/>
            <ac:picMk id="61" creationId="{0F4A87F7-30F7-400D-98A4-27F774DDD217}"/>
          </ac:picMkLst>
        </pc:picChg>
        <pc:picChg chg="mod">
          <ac:chgData name="Janczewski, Piotr" userId="2467fbf0-2ef4-434e-b40e-471cd3a495c7" providerId="ADAL" clId="{FC6CD8D5-3861-4CA4-BA31-72924B4FB4E0}" dt="2024-01-31T12:20:22.492" v="107" actId="1035"/>
          <ac:picMkLst>
            <pc:docMk/>
            <pc:sldMk cId="2056897824" sldId="2147480549"/>
            <ac:picMk id="232" creationId="{BB1914C6-5D88-2BFC-AC0E-8614BE9F591B}"/>
          </ac:picMkLst>
        </pc:picChg>
        <pc:picChg chg="mod">
          <ac:chgData name="Janczewski, Piotr" userId="2467fbf0-2ef4-434e-b40e-471cd3a495c7" providerId="ADAL" clId="{FC6CD8D5-3861-4CA4-BA31-72924B4FB4E0}" dt="2024-01-31T12:20:19.670" v="94" actId="1035"/>
          <ac:picMkLst>
            <pc:docMk/>
            <pc:sldMk cId="2056897824" sldId="2147480549"/>
            <ac:picMk id="233" creationId="{398A7F7F-D342-F220-9463-252724EEF11E}"/>
          </ac:picMkLst>
        </pc:picChg>
        <pc:picChg chg="mod">
          <ac:chgData name="Janczewski, Piotr" userId="2467fbf0-2ef4-434e-b40e-471cd3a495c7" providerId="ADAL" clId="{FC6CD8D5-3861-4CA4-BA31-72924B4FB4E0}" dt="2024-01-31T12:20:19.670" v="94" actId="1035"/>
          <ac:picMkLst>
            <pc:docMk/>
            <pc:sldMk cId="2056897824" sldId="2147480549"/>
            <ac:picMk id="234" creationId="{65DF4F22-9D19-2E70-ABF5-2A968B95663A}"/>
          </ac:picMkLst>
        </pc:picChg>
        <pc:picChg chg="del">
          <ac:chgData name="Janczewski, Piotr" userId="2467fbf0-2ef4-434e-b40e-471cd3a495c7" providerId="ADAL" clId="{FC6CD8D5-3861-4CA4-BA31-72924B4FB4E0}" dt="2024-01-31T12:22:35.650" v="110" actId="478"/>
          <ac:picMkLst>
            <pc:docMk/>
            <pc:sldMk cId="2056897824" sldId="2147480549"/>
            <ac:picMk id="290" creationId="{A92FE2FC-13DD-475A-F953-02B5245EEFFB}"/>
          </ac:picMkLst>
        </pc:picChg>
        <pc:picChg chg="del">
          <ac:chgData name="Janczewski, Piotr" userId="2467fbf0-2ef4-434e-b40e-471cd3a495c7" providerId="ADAL" clId="{FC6CD8D5-3861-4CA4-BA31-72924B4FB4E0}" dt="2024-01-31T12:22:35.650" v="110" actId="478"/>
          <ac:picMkLst>
            <pc:docMk/>
            <pc:sldMk cId="2056897824" sldId="2147480549"/>
            <ac:picMk id="292" creationId="{071ED58D-8075-DC35-A51C-0A966E4EEB3E}"/>
          </ac:picMkLst>
        </pc:picChg>
        <pc:picChg chg="mod">
          <ac:chgData name="Janczewski, Piotr" userId="2467fbf0-2ef4-434e-b40e-471cd3a495c7" providerId="ADAL" clId="{FC6CD8D5-3861-4CA4-BA31-72924B4FB4E0}" dt="2024-01-31T12:20:08.425" v="70" actId="1037"/>
          <ac:picMkLst>
            <pc:docMk/>
            <pc:sldMk cId="2056897824" sldId="2147480549"/>
            <ac:picMk id="1026" creationId="{E3B5112D-6969-60E4-881B-D6F50DB9F1BB}"/>
          </ac:picMkLst>
        </pc:picChg>
        <pc:cxnChg chg="mod">
          <ac:chgData name="Janczewski, Piotr" userId="2467fbf0-2ef4-434e-b40e-471cd3a495c7" providerId="ADAL" clId="{FC6CD8D5-3861-4CA4-BA31-72924B4FB4E0}" dt="2024-01-31T12:18:16.838" v="20" actId="1035"/>
          <ac:cxnSpMkLst>
            <pc:docMk/>
            <pc:sldMk cId="2056897824" sldId="2147480549"/>
            <ac:cxnSpMk id="63" creationId="{6A63BB6E-9EAD-115F-0A81-2D2042F29EFF}"/>
          </ac:cxnSpMkLst>
        </pc:cxnChg>
      </pc:sldChg>
      <pc:sldChg chg="modSp mod">
        <pc:chgData name="Janczewski, Piotr" userId="2467fbf0-2ef4-434e-b40e-471cd3a495c7" providerId="ADAL" clId="{FC6CD8D5-3861-4CA4-BA31-72924B4FB4E0}" dt="2024-02-12T11:00:04.522" v="398" actId="207"/>
        <pc:sldMkLst>
          <pc:docMk/>
          <pc:sldMk cId="2936093006" sldId="2147482925"/>
        </pc:sldMkLst>
        <pc:spChg chg="mod">
          <ac:chgData name="Janczewski, Piotr" userId="2467fbf0-2ef4-434e-b40e-471cd3a495c7" providerId="ADAL" clId="{FC6CD8D5-3861-4CA4-BA31-72924B4FB4E0}" dt="2024-02-12T11:00:04.522" v="398" actId="207"/>
          <ac:spMkLst>
            <pc:docMk/>
            <pc:sldMk cId="2936093006" sldId="2147482925"/>
            <ac:spMk id="223" creationId="{D59545F7-0203-C7F3-1C53-BE4FF3E604E7}"/>
          </ac:spMkLst>
        </pc:spChg>
      </pc:sldChg>
      <pc:sldChg chg="modSp mod">
        <pc:chgData name="Janczewski, Piotr" userId="2467fbf0-2ef4-434e-b40e-471cd3a495c7" providerId="ADAL" clId="{FC6CD8D5-3861-4CA4-BA31-72924B4FB4E0}" dt="2024-02-12T11:00:01.462" v="397" actId="207"/>
        <pc:sldMkLst>
          <pc:docMk/>
          <pc:sldMk cId="3537976678" sldId="2147482926"/>
        </pc:sldMkLst>
        <pc:spChg chg="mod">
          <ac:chgData name="Janczewski, Piotr" userId="2467fbf0-2ef4-434e-b40e-471cd3a495c7" providerId="ADAL" clId="{FC6CD8D5-3861-4CA4-BA31-72924B4FB4E0}" dt="2024-02-12T11:00:01.462" v="397" actId="207"/>
          <ac:spMkLst>
            <pc:docMk/>
            <pc:sldMk cId="3537976678" sldId="2147482926"/>
            <ac:spMk id="223" creationId="{D59545F7-0203-C7F3-1C53-BE4FF3E604E7}"/>
          </ac:spMkLst>
        </pc:spChg>
      </pc:sldChg>
      <pc:sldChg chg="modSp mod">
        <pc:chgData name="Janczewski, Piotr" userId="2467fbf0-2ef4-434e-b40e-471cd3a495c7" providerId="ADAL" clId="{FC6CD8D5-3861-4CA4-BA31-72924B4FB4E0}" dt="2024-02-12T10:59:10.581" v="391" actId="207"/>
        <pc:sldMkLst>
          <pc:docMk/>
          <pc:sldMk cId="2521263186" sldId="2147482927"/>
        </pc:sldMkLst>
        <pc:spChg chg="mod">
          <ac:chgData name="Janczewski, Piotr" userId="2467fbf0-2ef4-434e-b40e-471cd3a495c7" providerId="ADAL" clId="{FC6CD8D5-3861-4CA4-BA31-72924B4FB4E0}" dt="2024-02-12T10:59:10.581" v="391" actId="207"/>
          <ac:spMkLst>
            <pc:docMk/>
            <pc:sldMk cId="2521263186" sldId="2147482927"/>
            <ac:spMk id="223" creationId="{D59545F7-0203-C7F3-1C53-BE4FF3E604E7}"/>
          </ac:spMkLst>
        </pc:spChg>
      </pc:sldChg>
      <pc:sldChg chg="modSp mod">
        <pc:chgData name="Janczewski, Piotr" userId="2467fbf0-2ef4-434e-b40e-471cd3a495c7" providerId="ADAL" clId="{FC6CD8D5-3861-4CA4-BA31-72924B4FB4E0}" dt="2024-02-12T10:59:06.689" v="390" actId="207"/>
        <pc:sldMkLst>
          <pc:docMk/>
          <pc:sldMk cId="819725515" sldId="2147482928"/>
        </pc:sldMkLst>
        <pc:spChg chg="mod">
          <ac:chgData name="Janczewski, Piotr" userId="2467fbf0-2ef4-434e-b40e-471cd3a495c7" providerId="ADAL" clId="{FC6CD8D5-3861-4CA4-BA31-72924B4FB4E0}" dt="2024-02-12T10:59:06.689" v="390" actId="207"/>
          <ac:spMkLst>
            <pc:docMk/>
            <pc:sldMk cId="819725515" sldId="2147482928"/>
            <ac:spMk id="223" creationId="{D59545F7-0203-C7F3-1C53-BE4FF3E604E7}"/>
          </ac:spMkLst>
        </pc:spChg>
      </pc:sldChg>
      <pc:sldChg chg="modSp mod">
        <pc:chgData name="Janczewski, Piotr" userId="2467fbf0-2ef4-434e-b40e-471cd3a495c7" providerId="ADAL" clId="{FC6CD8D5-3861-4CA4-BA31-72924B4FB4E0}" dt="2024-02-12T10:59:03.874" v="389" actId="207"/>
        <pc:sldMkLst>
          <pc:docMk/>
          <pc:sldMk cId="2607985387" sldId="2147482929"/>
        </pc:sldMkLst>
        <pc:spChg chg="mod">
          <ac:chgData name="Janczewski, Piotr" userId="2467fbf0-2ef4-434e-b40e-471cd3a495c7" providerId="ADAL" clId="{FC6CD8D5-3861-4CA4-BA31-72924B4FB4E0}" dt="2024-02-12T10:59:03.874" v="389" actId="207"/>
          <ac:spMkLst>
            <pc:docMk/>
            <pc:sldMk cId="2607985387" sldId="2147482929"/>
            <ac:spMk id="223" creationId="{D59545F7-0203-C7F3-1C53-BE4FF3E604E7}"/>
          </ac:spMkLst>
        </pc:spChg>
      </pc:sldChg>
      <pc:sldChg chg="modSp mod">
        <pc:chgData name="Janczewski, Piotr" userId="2467fbf0-2ef4-434e-b40e-471cd3a495c7" providerId="ADAL" clId="{FC6CD8D5-3861-4CA4-BA31-72924B4FB4E0}" dt="2024-02-12T10:58:58.616" v="388" actId="207"/>
        <pc:sldMkLst>
          <pc:docMk/>
          <pc:sldMk cId="324391010" sldId="2147482930"/>
        </pc:sldMkLst>
        <pc:spChg chg="mod">
          <ac:chgData name="Janczewski, Piotr" userId="2467fbf0-2ef4-434e-b40e-471cd3a495c7" providerId="ADAL" clId="{FC6CD8D5-3861-4CA4-BA31-72924B4FB4E0}" dt="2024-02-12T10:58:58.616" v="388" actId="207"/>
          <ac:spMkLst>
            <pc:docMk/>
            <pc:sldMk cId="324391010" sldId="2147482930"/>
            <ac:spMk id="223" creationId="{D59545F7-0203-C7F3-1C53-BE4FF3E604E7}"/>
          </ac:spMkLst>
        </pc:spChg>
      </pc:sldChg>
      <pc:sldChg chg="modSp mod">
        <pc:chgData name="Janczewski, Piotr" userId="2467fbf0-2ef4-434e-b40e-471cd3a495c7" providerId="ADAL" clId="{FC6CD8D5-3861-4CA4-BA31-72924B4FB4E0}" dt="2024-02-12T10:58:51.199" v="386" actId="207"/>
        <pc:sldMkLst>
          <pc:docMk/>
          <pc:sldMk cId="4117984622" sldId="2147482931"/>
        </pc:sldMkLst>
        <pc:spChg chg="mod">
          <ac:chgData name="Janczewski, Piotr" userId="2467fbf0-2ef4-434e-b40e-471cd3a495c7" providerId="ADAL" clId="{FC6CD8D5-3861-4CA4-BA31-72924B4FB4E0}" dt="2024-02-12T10:58:51.199" v="386" actId="207"/>
          <ac:spMkLst>
            <pc:docMk/>
            <pc:sldMk cId="4117984622" sldId="2147482931"/>
            <ac:spMk id="223" creationId="{D59545F7-0203-C7F3-1C53-BE4FF3E604E7}"/>
          </ac:spMkLst>
        </pc:spChg>
      </pc:sldChg>
      <pc:sldChg chg="addSp delSp modSp mod delCm">
        <pc:chgData name="Janczewski, Piotr" userId="2467fbf0-2ef4-434e-b40e-471cd3a495c7" providerId="ADAL" clId="{FC6CD8D5-3861-4CA4-BA31-72924B4FB4E0}" dt="2024-02-12T12:14:25.570" v="1433"/>
        <pc:sldMkLst>
          <pc:docMk/>
          <pc:sldMk cId="2817505528" sldId="2147482932"/>
        </pc:sldMkLst>
        <pc:spChg chg="add del mod">
          <ac:chgData name="Janczewski, Piotr" userId="2467fbf0-2ef4-434e-b40e-471cd3a495c7" providerId="ADAL" clId="{FC6CD8D5-3861-4CA4-BA31-72924B4FB4E0}" dt="2024-02-12T11:16:06.504" v="407" actId="478"/>
          <ac:spMkLst>
            <pc:docMk/>
            <pc:sldMk cId="2817505528" sldId="2147482932"/>
            <ac:spMk id="2" creationId="{F1B76CB5-0A49-A99F-059F-D0F325905256}"/>
          </ac:spMkLst>
        </pc:spChg>
        <pc:spChg chg="mod">
          <ac:chgData name="Janczewski, Piotr" userId="2467fbf0-2ef4-434e-b40e-471cd3a495c7" providerId="ADAL" clId="{FC6CD8D5-3861-4CA4-BA31-72924B4FB4E0}" dt="2024-02-12T11:17:59.324" v="409"/>
          <ac:spMkLst>
            <pc:docMk/>
            <pc:sldMk cId="2817505528" sldId="2147482932"/>
            <ac:spMk id="6" creationId="{5E5C969A-611D-68A6-2EA9-03320A15C508}"/>
          </ac:spMkLst>
        </pc:spChg>
        <pc:spChg chg="mod">
          <ac:chgData name="Janczewski, Piotr" userId="2467fbf0-2ef4-434e-b40e-471cd3a495c7" providerId="ADAL" clId="{FC6CD8D5-3861-4CA4-BA31-72924B4FB4E0}" dt="2024-02-12T11:17:59.324" v="409"/>
          <ac:spMkLst>
            <pc:docMk/>
            <pc:sldMk cId="2817505528" sldId="2147482932"/>
            <ac:spMk id="7" creationId="{9E47861A-F2C4-D1F5-B880-C3461009A187}"/>
          </ac:spMkLst>
        </pc:spChg>
        <pc:spChg chg="mod">
          <ac:chgData name="Janczewski, Piotr" userId="2467fbf0-2ef4-434e-b40e-471cd3a495c7" providerId="ADAL" clId="{FC6CD8D5-3861-4CA4-BA31-72924B4FB4E0}" dt="2024-02-12T11:17:59.324" v="409"/>
          <ac:spMkLst>
            <pc:docMk/>
            <pc:sldMk cId="2817505528" sldId="2147482932"/>
            <ac:spMk id="8" creationId="{6F945080-CFAF-0842-92C3-0EC9DB397ACB}"/>
          </ac:spMkLst>
        </pc:spChg>
        <pc:spChg chg="mod">
          <ac:chgData name="Janczewski, Piotr" userId="2467fbf0-2ef4-434e-b40e-471cd3a495c7" providerId="ADAL" clId="{FC6CD8D5-3861-4CA4-BA31-72924B4FB4E0}" dt="2024-02-12T11:17:59.324" v="409"/>
          <ac:spMkLst>
            <pc:docMk/>
            <pc:sldMk cId="2817505528" sldId="2147482932"/>
            <ac:spMk id="10" creationId="{0FFE0E3C-8E69-61A1-F4EC-826E485F7146}"/>
          </ac:spMkLst>
        </pc:spChg>
        <pc:spChg chg="mod">
          <ac:chgData name="Janczewski, Piotr" userId="2467fbf0-2ef4-434e-b40e-471cd3a495c7" providerId="ADAL" clId="{FC6CD8D5-3861-4CA4-BA31-72924B4FB4E0}" dt="2024-02-12T11:17:59.324" v="409"/>
          <ac:spMkLst>
            <pc:docMk/>
            <pc:sldMk cId="2817505528" sldId="2147482932"/>
            <ac:spMk id="11" creationId="{F37FA213-6A1D-193C-6AD7-C4059C9BC928}"/>
          </ac:spMkLst>
        </pc:spChg>
        <pc:spChg chg="mod">
          <ac:chgData name="Janczewski, Piotr" userId="2467fbf0-2ef4-434e-b40e-471cd3a495c7" providerId="ADAL" clId="{FC6CD8D5-3861-4CA4-BA31-72924B4FB4E0}" dt="2024-02-12T11:17:59.324" v="409"/>
          <ac:spMkLst>
            <pc:docMk/>
            <pc:sldMk cId="2817505528" sldId="2147482932"/>
            <ac:spMk id="14" creationId="{013A42DD-45A4-8244-A4C0-922ED04CD5C6}"/>
          </ac:spMkLst>
        </pc:spChg>
        <pc:spChg chg="mod">
          <ac:chgData name="Janczewski, Piotr" userId="2467fbf0-2ef4-434e-b40e-471cd3a495c7" providerId="ADAL" clId="{FC6CD8D5-3861-4CA4-BA31-72924B4FB4E0}" dt="2024-02-12T11:17:59.324" v="409"/>
          <ac:spMkLst>
            <pc:docMk/>
            <pc:sldMk cId="2817505528" sldId="2147482932"/>
            <ac:spMk id="15" creationId="{3A8C12F1-127D-DFA7-9AB7-10E50DCA676E}"/>
          </ac:spMkLst>
        </pc:spChg>
        <pc:spChg chg="mod">
          <ac:chgData name="Janczewski, Piotr" userId="2467fbf0-2ef4-434e-b40e-471cd3a495c7" providerId="ADAL" clId="{FC6CD8D5-3861-4CA4-BA31-72924B4FB4E0}" dt="2024-02-12T11:17:59.324" v="409"/>
          <ac:spMkLst>
            <pc:docMk/>
            <pc:sldMk cId="2817505528" sldId="2147482932"/>
            <ac:spMk id="18" creationId="{9452B1C4-5C34-8DFD-3B1D-B11B42E696BD}"/>
          </ac:spMkLst>
        </pc:spChg>
        <pc:spChg chg="mod">
          <ac:chgData name="Janczewski, Piotr" userId="2467fbf0-2ef4-434e-b40e-471cd3a495c7" providerId="ADAL" clId="{FC6CD8D5-3861-4CA4-BA31-72924B4FB4E0}" dt="2024-02-12T11:17:59.324" v="409"/>
          <ac:spMkLst>
            <pc:docMk/>
            <pc:sldMk cId="2817505528" sldId="2147482932"/>
            <ac:spMk id="19" creationId="{8A32A631-A89B-72BC-BE65-11D9B0D9B8ED}"/>
          </ac:spMkLst>
        </pc:spChg>
        <pc:spChg chg="add mod">
          <ac:chgData name="Janczewski, Piotr" userId="2467fbf0-2ef4-434e-b40e-471cd3a495c7" providerId="ADAL" clId="{FC6CD8D5-3861-4CA4-BA31-72924B4FB4E0}" dt="2024-02-12T11:33:00.562" v="783" actId="1035"/>
          <ac:spMkLst>
            <pc:docMk/>
            <pc:sldMk cId="2817505528" sldId="2147482932"/>
            <ac:spMk id="21" creationId="{56732F36-619F-DF5D-38F8-0D7B0465E06B}"/>
          </ac:spMkLst>
        </pc:spChg>
        <pc:spChg chg="add mod">
          <ac:chgData name="Janczewski, Piotr" userId="2467fbf0-2ef4-434e-b40e-471cd3a495c7" providerId="ADAL" clId="{FC6CD8D5-3861-4CA4-BA31-72924B4FB4E0}" dt="2024-02-12T12:09:35.747" v="1325" actId="14100"/>
          <ac:spMkLst>
            <pc:docMk/>
            <pc:sldMk cId="2817505528" sldId="2147482932"/>
            <ac:spMk id="22" creationId="{24162844-FEF9-B0D3-D208-5AEF380D6FA6}"/>
          </ac:spMkLst>
        </pc:spChg>
        <pc:spChg chg="add del mod">
          <ac:chgData name="Janczewski, Piotr" userId="2467fbf0-2ef4-434e-b40e-471cd3a495c7" providerId="ADAL" clId="{FC6CD8D5-3861-4CA4-BA31-72924B4FB4E0}" dt="2024-02-12T11:25:12.604" v="595" actId="478"/>
          <ac:spMkLst>
            <pc:docMk/>
            <pc:sldMk cId="2817505528" sldId="2147482932"/>
            <ac:spMk id="23" creationId="{57A9E7BD-405B-653F-377A-4A3320410F83}"/>
          </ac:spMkLst>
        </pc:spChg>
        <pc:spChg chg="add del mod">
          <ac:chgData name="Janczewski, Piotr" userId="2467fbf0-2ef4-434e-b40e-471cd3a495c7" providerId="ADAL" clId="{FC6CD8D5-3861-4CA4-BA31-72924B4FB4E0}" dt="2024-02-12T11:19:37.492" v="444" actId="478"/>
          <ac:spMkLst>
            <pc:docMk/>
            <pc:sldMk cId="2817505528" sldId="2147482932"/>
            <ac:spMk id="24" creationId="{034B77EB-219E-501F-5516-36B739618205}"/>
          </ac:spMkLst>
        </pc:spChg>
        <pc:spChg chg="add mod">
          <ac:chgData name="Janczewski, Piotr" userId="2467fbf0-2ef4-434e-b40e-471cd3a495c7" providerId="ADAL" clId="{FC6CD8D5-3861-4CA4-BA31-72924B4FB4E0}" dt="2024-02-12T11:17:59.324" v="409"/>
          <ac:spMkLst>
            <pc:docMk/>
            <pc:sldMk cId="2817505528" sldId="2147482932"/>
            <ac:spMk id="61" creationId="{55D957B5-74E2-AD1A-416C-2B133B769C7B}"/>
          </ac:spMkLst>
        </pc:spChg>
        <pc:spChg chg="del">
          <ac:chgData name="Janczewski, Piotr" userId="2467fbf0-2ef4-434e-b40e-471cd3a495c7" providerId="ADAL" clId="{FC6CD8D5-3861-4CA4-BA31-72924B4FB4E0}" dt="2024-02-12T11:17:58.911" v="408" actId="478"/>
          <ac:spMkLst>
            <pc:docMk/>
            <pc:sldMk cId="2817505528" sldId="2147482932"/>
            <ac:spMk id="62" creationId="{49AF690D-26F3-1CDB-6F4D-838976866FF7}"/>
          </ac:spMkLst>
        </pc:spChg>
        <pc:spChg chg="add mod">
          <ac:chgData name="Janczewski, Piotr" userId="2467fbf0-2ef4-434e-b40e-471cd3a495c7" providerId="ADAL" clId="{FC6CD8D5-3861-4CA4-BA31-72924B4FB4E0}" dt="2024-02-12T11:29:33.539" v="717" actId="1076"/>
          <ac:spMkLst>
            <pc:docMk/>
            <pc:sldMk cId="2817505528" sldId="2147482932"/>
            <ac:spMk id="64" creationId="{3856862C-0406-3C60-C2D4-690805471C6E}"/>
          </ac:spMkLst>
        </pc:spChg>
        <pc:spChg chg="add del mod">
          <ac:chgData name="Janczewski, Piotr" userId="2467fbf0-2ef4-434e-b40e-471cd3a495c7" providerId="ADAL" clId="{FC6CD8D5-3861-4CA4-BA31-72924B4FB4E0}" dt="2024-02-12T11:25:09.853" v="594" actId="478"/>
          <ac:spMkLst>
            <pc:docMk/>
            <pc:sldMk cId="2817505528" sldId="2147482932"/>
            <ac:spMk id="65" creationId="{481D1FFE-93C7-6B8A-97C9-CAD57B7E11F0}"/>
          </ac:spMkLst>
        </pc:spChg>
        <pc:spChg chg="add del mod">
          <ac:chgData name="Janczewski, Piotr" userId="2467fbf0-2ef4-434e-b40e-471cd3a495c7" providerId="ADAL" clId="{FC6CD8D5-3861-4CA4-BA31-72924B4FB4E0}" dt="2024-02-12T11:19:37.492" v="444" actId="478"/>
          <ac:spMkLst>
            <pc:docMk/>
            <pc:sldMk cId="2817505528" sldId="2147482932"/>
            <ac:spMk id="66" creationId="{B8352FC4-01E3-B998-B43D-FC2BAFE7B248}"/>
          </ac:spMkLst>
        </pc:spChg>
        <pc:spChg chg="add del mod">
          <ac:chgData name="Janczewski, Piotr" userId="2467fbf0-2ef4-434e-b40e-471cd3a495c7" providerId="ADAL" clId="{FC6CD8D5-3861-4CA4-BA31-72924B4FB4E0}" dt="2024-02-12T12:10:55.357" v="1345" actId="478"/>
          <ac:spMkLst>
            <pc:docMk/>
            <pc:sldMk cId="2817505528" sldId="2147482932"/>
            <ac:spMk id="67" creationId="{7F0B5D90-E842-E0B1-413F-EC8E07B3126C}"/>
          </ac:spMkLst>
        </pc:spChg>
        <pc:spChg chg="del">
          <ac:chgData name="Janczewski, Piotr" userId="2467fbf0-2ef4-434e-b40e-471cd3a495c7" providerId="ADAL" clId="{FC6CD8D5-3861-4CA4-BA31-72924B4FB4E0}" dt="2024-02-12T11:13:06.431" v="401" actId="478"/>
          <ac:spMkLst>
            <pc:docMk/>
            <pc:sldMk cId="2817505528" sldId="2147482932"/>
            <ac:spMk id="68" creationId="{2558906F-C64F-EF33-2CE7-EE97543099D3}"/>
          </ac:spMkLst>
        </pc:spChg>
        <pc:spChg chg="add mod">
          <ac:chgData name="Janczewski, Piotr" userId="2467fbf0-2ef4-434e-b40e-471cd3a495c7" providerId="ADAL" clId="{FC6CD8D5-3861-4CA4-BA31-72924B4FB4E0}" dt="2024-02-12T11:17:59.324" v="409"/>
          <ac:spMkLst>
            <pc:docMk/>
            <pc:sldMk cId="2817505528" sldId="2147482932"/>
            <ac:spMk id="69" creationId="{9B11D90F-9F68-F099-6551-EA4B975FF193}"/>
          </ac:spMkLst>
        </pc:spChg>
        <pc:spChg chg="del">
          <ac:chgData name="Janczewski, Piotr" userId="2467fbf0-2ef4-434e-b40e-471cd3a495c7" providerId="ADAL" clId="{FC6CD8D5-3861-4CA4-BA31-72924B4FB4E0}" dt="2024-02-12T11:13:06.431" v="401" actId="478"/>
          <ac:spMkLst>
            <pc:docMk/>
            <pc:sldMk cId="2817505528" sldId="2147482932"/>
            <ac:spMk id="72" creationId="{CCCFAC07-3EB2-FA6A-3A82-2958ED1F5B27}"/>
          </ac:spMkLst>
        </pc:spChg>
        <pc:spChg chg="del">
          <ac:chgData name="Janczewski, Piotr" userId="2467fbf0-2ef4-434e-b40e-471cd3a495c7" providerId="ADAL" clId="{FC6CD8D5-3861-4CA4-BA31-72924B4FB4E0}" dt="2024-02-12T11:13:06.431" v="401" actId="478"/>
          <ac:spMkLst>
            <pc:docMk/>
            <pc:sldMk cId="2817505528" sldId="2147482932"/>
            <ac:spMk id="73" creationId="{07F84233-924F-17DC-8C7F-2B01BAB0267E}"/>
          </ac:spMkLst>
        </pc:spChg>
        <pc:spChg chg="mod">
          <ac:chgData name="Janczewski, Piotr" userId="2467fbf0-2ef4-434e-b40e-471cd3a495c7" providerId="ADAL" clId="{FC6CD8D5-3861-4CA4-BA31-72924B4FB4E0}" dt="2024-02-12T11:17:59.324" v="409"/>
          <ac:spMkLst>
            <pc:docMk/>
            <pc:sldMk cId="2817505528" sldId="2147482932"/>
            <ac:spMk id="76" creationId="{C8AAC827-E433-CCF4-E259-DBF038DE6325}"/>
          </ac:spMkLst>
        </pc:spChg>
        <pc:spChg chg="mod">
          <ac:chgData name="Janczewski, Piotr" userId="2467fbf0-2ef4-434e-b40e-471cd3a495c7" providerId="ADAL" clId="{FC6CD8D5-3861-4CA4-BA31-72924B4FB4E0}" dt="2024-02-12T11:17:59.324" v="409"/>
          <ac:spMkLst>
            <pc:docMk/>
            <pc:sldMk cId="2817505528" sldId="2147482932"/>
            <ac:spMk id="77" creationId="{780B51EA-3EBB-5F36-3A49-80E61AB9E2D8}"/>
          </ac:spMkLst>
        </pc:spChg>
        <pc:spChg chg="add mod">
          <ac:chgData name="Janczewski, Piotr" userId="2467fbf0-2ef4-434e-b40e-471cd3a495c7" providerId="ADAL" clId="{FC6CD8D5-3861-4CA4-BA31-72924B4FB4E0}" dt="2024-02-12T11:19:41.798" v="445" actId="14100"/>
          <ac:spMkLst>
            <pc:docMk/>
            <pc:sldMk cId="2817505528" sldId="2147482932"/>
            <ac:spMk id="79" creationId="{4F48C182-4691-F35D-4102-AFA155CBF93D}"/>
          </ac:spMkLst>
        </pc:spChg>
        <pc:spChg chg="mod">
          <ac:chgData name="Janczewski, Piotr" userId="2467fbf0-2ef4-434e-b40e-471cd3a495c7" providerId="ADAL" clId="{FC6CD8D5-3861-4CA4-BA31-72924B4FB4E0}" dt="2024-02-12T11:17:59.324" v="409"/>
          <ac:spMkLst>
            <pc:docMk/>
            <pc:sldMk cId="2817505528" sldId="2147482932"/>
            <ac:spMk id="81" creationId="{23F17474-0D20-8F28-9F84-9FBEBCF6AB03}"/>
          </ac:spMkLst>
        </pc:spChg>
        <pc:spChg chg="mod">
          <ac:chgData name="Janczewski, Piotr" userId="2467fbf0-2ef4-434e-b40e-471cd3a495c7" providerId="ADAL" clId="{FC6CD8D5-3861-4CA4-BA31-72924B4FB4E0}" dt="2024-02-12T11:17:59.324" v="409"/>
          <ac:spMkLst>
            <pc:docMk/>
            <pc:sldMk cId="2817505528" sldId="2147482932"/>
            <ac:spMk id="82" creationId="{A199F1BA-794C-2B1F-F0DF-B48253031D08}"/>
          </ac:spMkLst>
        </pc:spChg>
        <pc:spChg chg="add mod">
          <ac:chgData name="Janczewski, Piotr" userId="2467fbf0-2ef4-434e-b40e-471cd3a495c7" providerId="ADAL" clId="{FC6CD8D5-3861-4CA4-BA31-72924B4FB4E0}" dt="2024-02-12T11:24:40.960" v="577" actId="20577"/>
          <ac:spMkLst>
            <pc:docMk/>
            <pc:sldMk cId="2817505528" sldId="2147482932"/>
            <ac:spMk id="83" creationId="{88C83C1A-25E6-46E1-E476-CE216C838E82}"/>
          </ac:spMkLst>
        </pc:spChg>
        <pc:spChg chg="add del mod">
          <ac:chgData name="Janczewski, Piotr" userId="2467fbf0-2ef4-434e-b40e-471cd3a495c7" providerId="ADAL" clId="{FC6CD8D5-3861-4CA4-BA31-72924B4FB4E0}" dt="2024-02-12T11:18:13.810" v="411" actId="478"/>
          <ac:spMkLst>
            <pc:docMk/>
            <pc:sldMk cId="2817505528" sldId="2147482932"/>
            <ac:spMk id="88" creationId="{AB9958C3-286F-FE63-C45D-942F22978BD1}"/>
          </ac:spMkLst>
        </pc:spChg>
        <pc:spChg chg="add mod">
          <ac:chgData name="Janczewski, Piotr" userId="2467fbf0-2ef4-434e-b40e-471cd3a495c7" providerId="ADAL" clId="{FC6CD8D5-3861-4CA4-BA31-72924B4FB4E0}" dt="2024-02-12T11:59:51.917" v="1194" actId="1035"/>
          <ac:spMkLst>
            <pc:docMk/>
            <pc:sldMk cId="2817505528" sldId="2147482932"/>
            <ac:spMk id="100" creationId="{9B6188F5-AB95-E802-F8E8-FD284DA62F14}"/>
          </ac:spMkLst>
        </pc:spChg>
        <pc:spChg chg="add mod">
          <ac:chgData name="Janczewski, Piotr" userId="2467fbf0-2ef4-434e-b40e-471cd3a495c7" providerId="ADAL" clId="{FC6CD8D5-3861-4CA4-BA31-72924B4FB4E0}" dt="2024-02-12T11:59:51.917" v="1194" actId="1035"/>
          <ac:spMkLst>
            <pc:docMk/>
            <pc:sldMk cId="2817505528" sldId="2147482932"/>
            <ac:spMk id="101" creationId="{B21E52A1-1FF7-AB90-3A1C-125E224BCC29}"/>
          </ac:spMkLst>
        </pc:spChg>
        <pc:spChg chg="add del mod">
          <ac:chgData name="Janczewski, Piotr" userId="2467fbf0-2ef4-434e-b40e-471cd3a495c7" providerId="ADAL" clId="{FC6CD8D5-3861-4CA4-BA31-72924B4FB4E0}" dt="2024-02-12T11:34:50.565" v="799" actId="478"/>
          <ac:spMkLst>
            <pc:docMk/>
            <pc:sldMk cId="2817505528" sldId="2147482932"/>
            <ac:spMk id="102" creationId="{0370E18D-2796-C2F0-7A59-C190F1F710B3}"/>
          </ac:spMkLst>
        </pc:spChg>
        <pc:spChg chg="mod">
          <ac:chgData name="Janczewski, Piotr" userId="2467fbf0-2ef4-434e-b40e-471cd3a495c7" providerId="ADAL" clId="{FC6CD8D5-3861-4CA4-BA31-72924B4FB4E0}" dt="2024-02-12T11:27:58.947" v="623" actId="208"/>
          <ac:spMkLst>
            <pc:docMk/>
            <pc:sldMk cId="2817505528" sldId="2147482932"/>
            <ac:spMk id="104" creationId="{0B2F3D5E-532D-36C0-DC79-B4C121FE867D}"/>
          </ac:spMkLst>
        </pc:spChg>
        <pc:spChg chg="mod">
          <ac:chgData name="Janczewski, Piotr" userId="2467fbf0-2ef4-434e-b40e-471cd3a495c7" providerId="ADAL" clId="{FC6CD8D5-3861-4CA4-BA31-72924B4FB4E0}" dt="2024-02-12T11:27:58.947" v="623" actId="208"/>
          <ac:spMkLst>
            <pc:docMk/>
            <pc:sldMk cId="2817505528" sldId="2147482932"/>
            <ac:spMk id="105" creationId="{B5815689-C035-5B3E-67A9-ADE947212B57}"/>
          </ac:spMkLst>
        </pc:spChg>
        <pc:spChg chg="mod">
          <ac:chgData name="Janczewski, Piotr" userId="2467fbf0-2ef4-434e-b40e-471cd3a495c7" providerId="ADAL" clId="{FC6CD8D5-3861-4CA4-BA31-72924B4FB4E0}" dt="2024-02-12T11:27:58.947" v="623" actId="208"/>
          <ac:spMkLst>
            <pc:docMk/>
            <pc:sldMk cId="2817505528" sldId="2147482932"/>
            <ac:spMk id="106" creationId="{7B04B3BD-69AD-D86B-79DE-3EA5A8791595}"/>
          </ac:spMkLst>
        </pc:spChg>
        <pc:spChg chg="mod">
          <ac:chgData name="Janczewski, Piotr" userId="2467fbf0-2ef4-434e-b40e-471cd3a495c7" providerId="ADAL" clId="{FC6CD8D5-3861-4CA4-BA31-72924B4FB4E0}" dt="2024-02-12T11:27:58.947" v="623" actId="208"/>
          <ac:spMkLst>
            <pc:docMk/>
            <pc:sldMk cId="2817505528" sldId="2147482932"/>
            <ac:spMk id="107" creationId="{07767C6F-2EB0-1E86-4CA5-0B3C1351DFCC}"/>
          </ac:spMkLst>
        </pc:spChg>
        <pc:spChg chg="mod">
          <ac:chgData name="Janczewski, Piotr" userId="2467fbf0-2ef4-434e-b40e-471cd3a495c7" providerId="ADAL" clId="{FC6CD8D5-3861-4CA4-BA31-72924B4FB4E0}" dt="2024-02-12T11:27:58.947" v="623" actId="208"/>
          <ac:spMkLst>
            <pc:docMk/>
            <pc:sldMk cId="2817505528" sldId="2147482932"/>
            <ac:spMk id="108" creationId="{C4083295-3B91-0C1F-175B-3EBAB703AB9C}"/>
          </ac:spMkLst>
        </pc:spChg>
        <pc:spChg chg="mod">
          <ac:chgData name="Janczewski, Piotr" userId="2467fbf0-2ef4-434e-b40e-471cd3a495c7" providerId="ADAL" clId="{FC6CD8D5-3861-4CA4-BA31-72924B4FB4E0}" dt="2024-02-12T11:27:58.947" v="623" actId="208"/>
          <ac:spMkLst>
            <pc:docMk/>
            <pc:sldMk cId="2817505528" sldId="2147482932"/>
            <ac:spMk id="109" creationId="{16220958-85DB-C87A-D967-B375EFF027AA}"/>
          </ac:spMkLst>
        </pc:spChg>
        <pc:spChg chg="add del mod">
          <ac:chgData name="Janczewski, Piotr" userId="2467fbf0-2ef4-434e-b40e-471cd3a495c7" providerId="ADAL" clId="{FC6CD8D5-3861-4CA4-BA31-72924B4FB4E0}" dt="2024-02-12T11:30:11.640" v="723" actId="478"/>
          <ac:spMkLst>
            <pc:docMk/>
            <pc:sldMk cId="2817505528" sldId="2147482932"/>
            <ac:spMk id="110" creationId="{171CE498-6C8F-D93A-7D03-D770B28D7C07}"/>
          </ac:spMkLst>
        </pc:spChg>
        <pc:spChg chg="add del mod">
          <ac:chgData name="Janczewski, Piotr" userId="2467fbf0-2ef4-434e-b40e-471cd3a495c7" providerId="ADAL" clId="{FC6CD8D5-3861-4CA4-BA31-72924B4FB4E0}" dt="2024-02-12T11:29:52.898" v="719" actId="478"/>
          <ac:spMkLst>
            <pc:docMk/>
            <pc:sldMk cId="2817505528" sldId="2147482932"/>
            <ac:spMk id="111" creationId="{0FB47840-C034-D90C-ADEF-5EB715627DD6}"/>
          </ac:spMkLst>
        </pc:spChg>
        <pc:spChg chg="add del mod">
          <ac:chgData name="Janczewski, Piotr" userId="2467fbf0-2ef4-434e-b40e-471cd3a495c7" providerId="ADAL" clId="{FC6CD8D5-3861-4CA4-BA31-72924B4FB4E0}" dt="2024-02-12T11:34:50.565" v="799" actId="478"/>
          <ac:spMkLst>
            <pc:docMk/>
            <pc:sldMk cId="2817505528" sldId="2147482932"/>
            <ac:spMk id="112" creationId="{C9AF184E-CC76-1E4C-38B4-3B71CAD890BC}"/>
          </ac:spMkLst>
        </pc:spChg>
        <pc:spChg chg="add mod">
          <ac:chgData name="Janczewski, Piotr" userId="2467fbf0-2ef4-434e-b40e-471cd3a495c7" providerId="ADAL" clId="{FC6CD8D5-3861-4CA4-BA31-72924B4FB4E0}" dt="2024-02-12T11:59:51.917" v="1194" actId="1035"/>
          <ac:spMkLst>
            <pc:docMk/>
            <pc:sldMk cId="2817505528" sldId="2147482932"/>
            <ac:spMk id="113" creationId="{4C0C744A-4A5F-B815-C802-F1044DBCA31B}"/>
          </ac:spMkLst>
        </pc:spChg>
        <pc:spChg chg="add mod">
          <ac:chgData name="Janczewski, Piotr" userId="2467fbf0-2ef4-434e-b40e-471cd3a495c7" providerId="ADAL" clId="{FC6CD8D5-3861-4CA4-BA31-72924B4FB4E0}" dt="2024-02-12T11:59:51.917" v="1194" actId="1035"/>
          <ac:spMkLst>
            <pc:docMk/>
            <pc:sldMk cId="2817505528" sldId="2147482932"/>
            <ac:spMk id="114" creationId="{9CE68CFB-4264-7128-8F68-2185E61BF7FB}"/>
          </ac:spMkLst>
        </pc:spChg>
        <pc:spChg chg="add mod">
          <ac:chgData name="Janczewski, Piotr" userId="2467fbf0-2ef4-434e-b40e-471cd3a495c7" providerId="ADAL" clId="{FC6CD8D5-3861-4CA4-BA31-72924B4FB4E0}" dt="2024-02-12T12:00:11.278" v="1197" actId="1076"/>
          <ac:spMkLst>
            <pc:docMk/>
            <pc:sldMk cId="2817505528" sldId="2147482932"/>
            <ac:spMk id="115" creationId="{B775CC36-B760-635C-3918-5D799700A27F}"/>
          </ac:spMkLst>
        </pc:spChg>
        <pc:spChg chg="mod">
          <ac:chgData name="Janczewski, Piotr" userId="2467fbf0-2ef4-434e-b40e-471cd3a495c7" providerId="ADAL" clId="{FC6CD8D5-3861-4CA4-BA31-72924B4FB4E0}" dt="2024-02-12T11:35:34.029" v="823" actId="1036"/>
          <ac:spMkLst>
            <pc:docMk/>
            <pc:sldMk cId="2817505528" sldId="2147482932"/>
            <ac:spMk id="117" creationId="{F1A0358B-F9BD-F9E5-75F5-7F83904F5ADF}"/>
          </ac:spMkLst>
        </pc:spChg>
        <pc:spChg chg="mod">
          <ac:chgData name="Janczewski, Piotr" userId="2467fbf0-2ef4-434e-b40e-471cd3a495c7" providerId="ADAL" clId="{FC6CD8D5-3861-4CA4-BA31-72924B4FB4E0}" dt="2024-02-12T12:01:07.874" v="1201" actId="1076"/>
          <ac:spMkLst>
            <pc:docMk/>
            <pc:sldMk cId="2817505528" sldId="2147482932"/>
            <ac:spMk id="118" creationId="{129E82F5-BFBE-0ED8-FCC1-939683532422}"/>
          </ac:spMkLst>
        </pc:spChg>
        <pc:spChg chg="mod">
          <ac:chgData name="Janczewski, Piotr" userId="2467fbf0-2ef4-434e-b40e-471cd3a495c7" providerId="ADAL" clId="{FC6CD8D5-3861-4CA4-BA31-72924B4FB4E0}" dt="2024-02-12T11:26:27.951" v="602" actId="208"/>
          <ac:spMkLst>
            <pc:docMk/>
            <pc:sldMk cId="2817505528" sldId="2147482932"/>
            <ac:spMk id="120" creationId="{620DD090-83CF-F3A4-9AAB-09075E5DF44C}"/>
          </ac:spMkLst>
        </pc:spChg>
        <pc:spChg chg="mod">
          <ac:chgData name="Janczewski, Piotr" userId="2467fbf0-2ef4-434e-b40e-471cd3a495c7" providerId="ADAL" clId="{FC6CD8D5-3861-4CA4-BA31-72924B4FB4E0}" dt="2024-02-12T12:01:01.530" v="1200" actId="1076"/>
          <ac:spMkLst>
            <pc:docMk/>
            <pc:sldMk cId="2817505528" sldId="2147482932"/>
            <ac:spMk id="121" creationId="{50BC4724-9B19-B54E-D05B-760093E5DA11}"/>
          </ac:spMkLst>
        </pc:spChg>
        <pc:spChg chg="mod">
          <ac:chgData name="Janczewski, Piotr" userId="2467fbf0-2ef4-434e-b40e-471cd3a495c7" providerId="ADAL" clId="{FC6CD8D5-3861-4CA4-BA31-72924B4FB4E0}" dt="2024-02-12T11:28:32.507" v="630" actId="208"/>
          <ac:spMkLst>
            <pc:docMk/>
            <pc:sldMk cId="2817505528" sldId="2147482932"/>
            <ac:spMk id="123" creationId="{8F68513F-6AB8-CE02-6D1A-F5D3A726421C}"/>
          </ac:spMkLst>
        </pc:spChg>
        <pc:spChg chg="mod">
          <ac:chgData name="Janczewski, Piotr" userId="2467fbf0-2ef4-434e-b40e-471cd3a495c7" providerId="ADAL" clId="{FC6CD8D5-3861-4CA4-BA31-72924B4FB4E0}" dt="2024-02-12T11:28:32.507" v="630" actId="208"/>
          <ac:spMkLst>
            <pc:docMk/>
            <pc:sldMk cId="2817505528" sldId="2147482932"/>
            <ac:spMk id="124" creationId="{DDDF7A8C-BD03-DD9A-CE30-68DC268D4670}"/>
          </ac:spMkLst>
        </pc:spChg>
        <pc:spChg chg="mod">
          <ac:chgData name="Janczewski, Piotr" userId="2467fbf0-2ef4-434e-b40e-471cd3a495c7" providerId="ADAL" clId="{FC6CD8D5-3861-4CA4-BA31-72924B4FB4E0}" dt="2024-02-12T11:28:32.507" v="630" actId="208"/>
          <ac:spMkLst>
            <pc:docMk/>
            <pc:sldMk cId="2817505528" sldId="2147482932"/>
            <ac:spMk id="125" creationId="{6788089D-8C4D-3808-2DC4-7B789771CE8B}"/>
          </ac:spMkLst>
        </pc:spChg>
        <pc:spChg chg="mod">
          <ac:chgData name="Janczewski, Piotr" userId="2467fbf0-2ef4-434e-b40e-471cd3a495c7" providerId="ADAL" clId="{FC6CD8D5-3861-4CA4-BA31-72924B4FB4E0}" dt="2024-02-12T11:28:32.507" v="630" actId="208"/>
          <ac:spMkLst>
            <pc:docMk/>
            <pc:sldMk cId="2817505528" sldId="2147482932"/>
            <ac:spMk id="126" creationId="{8E005C1A-D0AD-7AB2-BF95-EE21E755A90F}"/>
          </ac:spMkLst>
        </pc:spChg>
        <pc:spChg chg="mod">
          <ac:chgData name="Janczewski, Piotr" userId="2467fbf0-2ef4-434e-b40e-471cd3a495c7" providerId="ADAL" clId="{FC6CD8D5-3861-4CA4-BA31-72924B4FB4E0}" dt="2024-02-12T11:28:32.507" v="630" actId="208"/>
          <ac:spMkLst>
            <pc:docMk/>
            <pc:sldMk cId="2817505528" sldId="2147482932"/>
            <ac:spMk id="127" creationId="{11DEADC4-89AE-00E0-4249-665A2C55DFF9}"/>
          </ac:spMkLst>
        </pc:spChg>
        <pc:spChg chg="mod">
          <ac:chgData name="Janczewski, Piotr" userId="2467fbf0-2ef4-434e-b40e-471cd3a495c7" providerId="ADAL" clId="{FC6CD8D5-3861-4CA4-BA31-72924B4FB4E0}" dt="2024-02-12T11:28:32.507" v="630" actId="208"/>
          <ac:spMkLst>
            <pc:docMk/>
            <pc:sldMk cId="2817505528" sldId="2147482932"/>
            <ac:spMk id="192" creationId="{6F4763BF-963C-88C9-3009-D9B54FC945DF}"/>
          </ac:spMkLst>
        </pc:spChg>
        <pc:spChg chg="mod">
          <ac:chgData name="Janczewski, Piotr" userId="2467fbf0-2ef4-434e-b40e-471cd3a495c7" providerId="ADAL" clId="{FC6CD8D5-3861-4CA4-BA31-72924B4FB4E0}" dt="2024-02-12T11:28:32.507" v="630" actId="208"/>
          <ac:spMkLst>
            <pc:docMk/>
            <pc:sldMk cId="2817505528" sldId="2147482932"/>
            <ac:spMk id="193" creationId="{AD9997D2-3325-D08B-16DC-981C3CCBE26F}"/>
          </ac:spMkLst>
        </pc:spChg>
        <pc:spChg chg="add mod">
          <ac:chgData name="Janczewski, Piotr" userId="2467fbf0-2ef4-434e-b40e-471cd3a495c7" providerId="ADAL" clId="{FC6CD8D5-3861-4CA4-BA31-72924B4FB4E0}" dt="2024-02-12T11:59:51.917" v="1194" actId="1035"/>
          <ac:spMkLst>
            <pc:docMk/>
            <pc:sldMk cId="2817505528" sldId="2147482932"/>
            <ac:spMk id="194" creationId="{D1140B9C-D964-612F-48CC-8D0A3E21374A}"/>
          </ac:spMkLst>
        </pc:spChg>
        <pc:spChg chg="add mod">
          <ac:chgData name="Janczewski, Piotr" userId="2467fbf0-2ef4-434e-b40e-471cd3a495c7" providerId="ADAL" clId="{FC6CD8D5-3861-4CA4-BA31-72924B4FB4E0}" dt="2024-02-12T12:01:43.852" v="1202" actId="1076"/>
          <ac:spMkLst>
            <pc:docMk/>
            <pc:sldMk cId="2817505528" sldId="2147482932"/>
            <ac:spMk id="195" creationId="{BAC282A6-DCBF-EA1C-7A1E-201DCE2ACCA8}"/>
          </ac:spMkLst>
        </pc:spChg>
        <pc:spChg chg="add mod">
          <ac:chgData name="Janczewski, Piotr" userId="2467fbf0-2ef4-434e-b40e-471cd3a495c7" providerId="ADAL" clId="{FC6CD8D5-3861-4CA4-BA31-72924B4FB4E0}" dt="2024-02-12T11:59:51.917" v="1194" actId="1035"/>
          <ac:spMkLst>
            <pc:docMk/>
            <pc:sldMk cId="2817505528" sldId="2147482932"/>
            <ac:spMk id="196" creationId="{C8132E9F-A634-A99F-0116-02A584CE8A0F}"/>
          </ac:spMkLst>
        </pc:spChg>
        <pc:spChg chg="add mod">
          <ac:chgData name="Janczewski, Piotr" userId="2467fbf0-2ef4-434e-b40e-471cd3a495c7" providerId="ADAL" clId="{FC6CD8D5-3861-4CA4-BA31-72924B4FB4E0}" dt="2024-02-12T11:59:51.917" v="1194" actId="1035"/>
          <ac:spMkLst>
            <pc:docMk/>
            <pc:sldMk cId="2817505528" sldId="2147482932"/>
            <ac:spMk id="197" creationId="{F2A6F4C5-976E-AFF2-7A0E-0FEBDCDB1350}"/>
          </ac:spMkLst>
        </pc:spChg>
        <pc:spChg chg="mod">
          <ac:chgData name="Janczewski, Piotr" userId="2467fbf0-2ef4-434e-b40e-471cd3a495c7" providerId="ADAL" clId="{FC6CD8D5-3861-4CA4-BA31-72924B4FB4E0}" dt="2024-02-12T11:31:18.322" v="736" actId="208"/>
          <ac:spMkLst>
            <pc:docMk/>
            <pc:sldMk cId="2817505528" sldId="2147482932"/>
            <ac:spMk id="199" creationId="{93CA03EF-DADD-23A9-A05E-89BCACA0F692}"/>
          </ac:spMkLst>
        </pc:spChg>
        <pc:spChg chg="mod">
          <ac:chgData name="Janczewski, Piotr" userId="2467fbf0-2ef4-434e-b40e-471cd3a495c7" providerId="ADAL" clId="{FC6CD8D5-3861-4CA4-BA31-72924B4FB4E0}" dt="2024-02-12T11:31:18.322" v="736" actId="208"/>
          <ac:spMkLst>
            <pc:docMk/>
            <pc:sldMk cId="2817505528" sldId="2147482932"/>
            <ac:spMk id="200" creationId="{EE5563A8-64B3-21BB-8FAE-0B234E8E4A49}"/>
          </ac:spMkLst>
        </pc:spChg>
        <pc:spChg chg="mod">
          <ac:chgData name="Janczewski, Piotr" userId="2467fbf0-2ef4-434e-b40e-471cd3a495c7" providerId="ADAL" clId="{FC6CD8D5-3861-4CA4-BA31-72924B4FB4E0}" dt="2024-02-12T11:31:18.322" v="736" actId="208"/>
          <ac:spMkLst>
            <pc:docMk/>
            <pc:sldMk cId="2817505528" sldId="2147482932"/>
            <ac:spMk id="201" creationId="{3040EFFF-F2B1-B4A9-D835-548A4150DAFB}"/>
          </ac:spMkLst>
        </pc:spChg>
        <pc:spChg chg="mod">
          <ac:chgData name="Janczewski, Piotr" userId="2467fbf0-2ef4-434e-b40e-471cd3a495c7" providerId="ADAL" clId="{FC6CD8D5-3861-4CA4-BA31-72924B4FB4E0}" dt="2024-02-12T11:31:18.322" v="736" actId="208"/>
          <ac:spMkLst>
            <pc:docMk/>
            <pc:sldMk cId="2817505528" sldId="2147482932"/>
            <ac:spMk id="202" creationId="{DCFAB434-75C6-CFCE-9280-AE45653D845C}"/>
          </ac:spMkLst>
        </pc:spChg>
        <pc:spChg chg="mod">
          <ac:chgData name="Janczewski, Piotr" userId="2467fbf0-2ef4-434e-b40e-471cd3a495c7" providerId="ADAL" clId="{FC6CD8D5-3861-4CA4-BA31-72924B4FB4E0}" dt="2024-02-12T11:31:18.322" v="736" actId="208"/>
          <ac:spMkLst>
            <pc:docMk/>
            <pc:sldMk cId="2817505528" sldId="2147482932"/>
            <ac:spMk id="203" creationId="{D593D1DE-D721-EE5B-CE42-079290C09E49}"/>
          </ac:spMkLst>
        </pc:spChg>
        <pc:spChg chg="mod">
          <ac:chgData name="Janczewski, Piotr" userId="2467fbf0-2ef4-434e-b40e-471cd3a495c7" providerId="ADAL" clId="{FC6CD8D5-3861-4CA4-BA31-72924B4FB4E0}" dt="2024-02-12T11:31:18.322" v="736" actId="208"/>
          <ac:spMkLst>
            <pc:docMk/>
            <pc:sldMk cId="2817505528" sldId="2147482932"/>
            <ac:spMk id="204" creationId="{8CFA41E7-57AC-3211-D049-DD6C56C2056E}"/>
          </ac:spMkLst>
        </pc:spChg>
        <pc:spChg chg="mod">
          <ac:chgData name="Janczewski, Piotr" userId="2467fbf0-2ef4-434e-b40e-471cd3a495c7" providerId="ADAL" clId="{FC6CD8D5-3861-4CA4-BA31-72924B4FB4E0}" dt="2024-02-12T11:31:18.322" v="736" actId="208"/>
          <ac:spMkLst>
            <pc:docMk/>
            <pc:sldMk cId="2817505528" sldId="2147482932"/>
            <ac:spMk id="205" creationId="{3DEBB881-3B48-0787-E446-3B82F17A827A}"/>
          </ac:spMkLst>
        </pc:spChg>
        <pc:spChg chg="mod">
          <ac:chgData name="Janczewski, Piotr" userId="2467fbf0-2ef4-434e-b40e-471cd3a495c7" providerId="ADAL" clId="{FC6CD8D5-3861-4CA4-BA31-72924B4FB4E0}" dt="2024-02-12T11:31:18.322" v="736" actId="208"/>
          <ac:spMkLst>
            <pc:docMk/>
            <pc:sldMk cId="2817505528" sldId="2147482932"/>
            <ac:spMk id="206" creationId="{6D041BA8-11BB-1E28-9C7D-74EF2B6E2A79}"/>
          </ac:spMkLst>
        </pc:spChg>
        <pc:spChg chg="mod">
          <ac:chgData name="Janczewski, Piotr" userId="2467fbf0-2ef4-434e-b40e-471cd3a495c7" providerId="ADAL" clId="{FC6CD8D5-3861-4CA4-BA31-72924B4FB4E0}" dt="2024-02-12T11:31:18.322" v="736" actId="208"/>
          <ac:spMkLst>
            <pc:docMk/>
            <pc:sldMk cId="2817505528" sldId="2147482932"/>
            <ac:spMk id="207" creationId="{061E1D39-9CC2-37B5-0068-8CE11B6DD344}"/>
          </ac:spMkLst>
        </pc:spChg>
        <pc:spChg chg="add mod">
          <ac:chgData name="Janczewski, Piotr" userId="2467fbf0-2ef4-434e-b40e-471cd3a495c7" providerId="ADAL" clId="{FC6CD8D5-3861-4CA4-BA31-72924B4FB4E0}" dt="2024-02-12T11:59:51.917" v="1194" actId="1035"/>
          <ac:spMkLst>
            <pc:docMk/>
            <pc:sldMk cId="2817505528" sldId="2147482932"/>
            <ac:spMk id="208" creationId="{B54DD548-493C-0403-FA56-1C4048910FEB}"/>
          </ac:spMkLst>
        </pc:spChg>
        <pc:spChg chg="add mod">
          <ac:chgData name="Janczewski, Piotr" userId="2467fbf0-2ef4-434e-b40e-471cd3a495c7" providerId="ADAL" clId="{FC6CD8D5-3861-4CA4-BA31-72924B4FB4E0}" dt="2024-02-12T11:59:51.917" v="1194" actId="1035"/>
          <ac:spMkLst>
            <pc:docMk/>
            <pc:sldMk cId="2817505528" sldId="2147482932"/>
            <ac:spMk id="209" creationId="{49280A3A-653F-360A-872F-19E0AE3AEB3C}"/>
          </ac:spMkLst>
        </pc:spChg>
        <pc:spChg chg="add mod">
          <ac:chgData name="Janczewski, Piotr" userId="2467fbf0-2ef4-434e-b40e-471cd3a495c7" providerId="ADAL" clId="{FC6CD8D5-3861-4CA4-BA31-72924B4FB4E0}" dt="2024-02-12T11:37:12.799" v="846" actId="242"/>
          <ac:spMkLst>
            <pc:docMk/>
            <pc:sldMk cId="2817505528" sldId="2147482932"/>
            <ac:spMk id="210" creationId="{1A3A24AA-452D-D637-0F7D-08644B10DC09}"/>
          </ac:spMkLst>
        </pc:spChg>
        <pc:spChg chg="add mod">
          <ac:chgData name="Janczewski, Piotr" userId="2467fbf0-2ef4-434e-b40e-471cd3a495c7" providerId="ADAL" clId="{FC6CD8D5-3861-4CA4-BA31-72924B4FB4E0}" dt="2024-02-12T11:37:19.971" v="848" actId="6549"/>
          <ac:spMkLst>
            <pc:docMk/>
            <pc:sldMk cId="2817505528" sldId="2147482932"/>
            <ac:spMk id="211" creationId="{3C3AE2F1-9809-C1EF-1DCE-1B5B7B3C7187}"/>
          </ac:spMkLst>
        </pc:spChg>
        <pc:spChg chg="add mod">
          <ac:chgData name="Janczewski, Piotr" userId="2467fbf0-2ef4-434e-b40e-471cd3a495c7" providerId="ADAL" clId="{FC6CD8D5-3861-4CA4-BA31-72924B4FB4E0}" dt="2024-02-12T11:37:09.011" v="845" actId="242"/>
          <ac:spMkLst>
            <pc:docMk/>
            <pc:sldMk cId="2817505528" sldId="2147482932"/>
            <ac:spMk id="212" creationId="{C973D321-6A2C-1898-03D9-7EA3714946B3}"/>
          </ac:spMkLst>
        </pc:spChg>
        <pc:spChg chg="add mod">
          <ac:chgData name="Janczewski, Piotr" userId="2467fbf0-2ef4-434e-b40e-471cd3a495c7" providerId="ADAL" clId="{FC6CD8D5-3861-4CA4-BA31-72924B4FB4E0}" dt="2024-02-12T11:37:09.011" v="845" actId="242"/>
          <ac:spMkLst>
            <pc:docMk/>
            <pc:sldMk cId="2817505528" sldId="2147482932"/>
            <ac:spMk id="213" creationId="{51BFEE97-52C0-6789-A066-2336AECC946D}"/>
          </ac:spMkLst>
        </pc:spChg>
        <pc:spChg chg="add mod">
          <ac:chgData name="Janczewski, Piotr" userId="2467fbf0-2ef4-434e-b40e-471cd3a495c7" providerId="ADAL" clId="{FC6CD8D5-3861-4CA4-BA31-72924B4FB4E0}" dt="2024-02-12T12:02:24.771" v="1204" actId="1036"/>
          <ac:spMkLst>
            <pc:docMk/>
            <pc:sldMk cId="2817505528" sldId="2147482932"/>
            <ac:spMk id="214" creationId="{83358312-F089-E1D1-A3F3-01C9C340E67B}"/>
          </ac:spMkLst>
        </pc:spChg>
        <pc:spChg chg="add del mod">
          <ac:chgData name="Janczewski, Piotr" userId="2467fbf0-2ef4-434e-b40e-471cd3a495c7" providerId="ADAL" clId="{FC6CD8D5-3861-4CA4-BA31-72924B4FB4E0}" dt="2024-02-12T11:42:44.744" v="1127"/>
          <ac:spMkLst>
            <pc:docMk/>
            <pc:sldMk cId="2817505528" sldId="2147482932"/>
            <ac:spMk id="215" creationId="{C498AA22-170E-49D8-F19B-8F40822F0478}"/>
          </ac:spMkLst>
        </pc:spChg>
        <pc:spChg chg="add mod">
          <ac:chgData name="Janczewski, Piotr" userId="2467fbf0-2ef4-434e-b40e-471cd3a495c7" providerId="ADAL" clId="{FC6CD8D5-3861-4CA4-BA31-72924B4FB4E0}" dt="2024-02-12T11:44:30.328" v="1181" actId="1038"/>
          <ac:spMkLst>
            <pc:docMk/>
            <pc:sldMk cId="2817505528" sldId="2147482932"/>
            <ac:spMk id="216" creationId="{37420F44-EBD0-070D-098A-964BCC19CBFC}"/>
          </ac:spMkLst>
        </pc:spChg>
        <pc:spChg chg="add del mod">
          <ac:chgData name="Janczewski, Piotr" userId="2467fbf0-2ef4-434e-b40e-471cd3a495c7" providerId="ADAL" clId="{FC6CD8D5-3861-4CA4-BA31-72924B4FB4E0}" dt="2024-02-12T12:07:01.055" v="1207"/>
          <ac:spMkLst>
            <pc:docMk/>
            <pc:sldMk cId="2817505528" sldId="2147482932"/>
            <ac:spMk id="217" creationId="{370E1D17-FDD5-D589-9A55-438855796FE6}"/>
          </ac:spMkLst>
        </pc:spChg>
        <pc:spChg chg="mod">
          <ac:chgData name="Janczewski, Piotr" userId="2467fbf0-2ef4-434e-b40e-471cd3a495c7" providerId="ADAL" clId="{FC6CD8D5-3861-4CA4-BA31-72924B4FB4E0}" dt="2024-02-12T12:08:24.673" v="1266" actId="14100"/>
          <ac:spMkLst>
            <pc:docMk/>
            <pc:sldMk cId="2817505528" sldId="2147482932"/>
            <ac:spMk id="219" creationId="{48E0C48F-7236-5E55-521B-A43838EB2AA3}"/>
          </ac:spMkLst>
        </pc:spChg>
        <pc:spChg chg="mod">
          <ac:chgData name="Janczewski, Piotr" userId="2467fbf0-2ef4-434e-b40e-471cd3a495c7" providerId="ADAL" clId="{FC6CD8D5-3861-4CA4-BA31-72924B4FB4E0}" dt="2024-02-12T12:08:24.673" v="1266" actId="14100"/>
          <ac:spMkLst>
            <pc:docMk/>
            <pc:sldMk cId="2817505528" sldId="2147482932"/>
            <ac:spMk id="220" creationId="{394759F4-5EC6-6F31-801E-DF59FB0CA7FD}"/>
          </ac:spMkLst>
        </pc:spChg>
        <pc:spChg chg="mod">
          <ac:chgData name="Janczewski, Piotr" userId="2467fbf0-2ef4-434e-b40e-471cd3a495c7" providerId="ADAL" clId="{FC6CD8D5-3861-4CA4-BA31-72924B4FB4E0}" dt="2024-02-12T12:08:24.673" v="1266" actId="14100"/>
          <ac:spMkLst>
            <pc:docMk/>
            <pc:sldMk cId="2817505528" sldId="2147482932"/>
            <ac:spMk id="221" creationId="{321E1F49-5CA2-F5BE-5852-88F46268CB9A}"/>
          </ac:spMkLst>
        </pc:spChg>
        <pc:spChg chg="mod">
          <ac:chgData name="Janczewski, Piotr" userId="2467fbf0-2ef4-434e-b40e-471cd3a495c7" providerId="ADAL" clId="{FC6CD8D5-3861-4CA4-BA31-72924B4FB4E0}" dt="2024-02-12T12:08:24.673" v="1266" actId="14100"/>
          <ac:spMkLst>
            <pc:docMk/>
            <pc:sldMk cId="2817505528" sldId="2147482932"/>
            <ac:spMk id="222" creationId="{68EC6FFF-4AD9-6A56-899A-CA8C9FA00DB7}"/>
          </ac:spMkLst>
        </pc:spChg>
        <pc:spChg chg="mod">
          <ac:chgData name="Janczewski, Piotr" userId="2467fbf0-2ef4-434e-b40e-471cd3a495c7" providerId="ADAL" clId="{FC6CD8D5-3861-4CA4-BA31-72924B4FB4E0}" dt="2024-02-12T10:58:47.682" v="385" actId="207"/>
          <ac:spMkLst>
            <pc:docMk/>
            <pc:sldMk cId="2817505528" sldId="2147482932"/>
            <ac:spMk id="223" creationId="{D59545F7-0203-C7F3-1C53-BE4FF3E604E7}"/>
          </ac:spMkLst>
        </pc:spChg>
        <pc:spChg chg="mod">
          <ac:chgData name="Janczewski, Piotr" userId="2467fbf0-2ef4-434e-b40e-471cd3a495c7" providerId="ADAL" clId="{FC6CD8D5-3861-4CA4-BA31-72924B4FB4E0}" dt="2024-02-12T12:08:24.673" v="1266" actId="14100"/>
          <ac:spMkLst>
            <pc:docMk/>
            <pc:sldMk cId="2817505528" sldId="2147482932"/>
            <ac:spMk id="224" creationId="{F189308E-ABF4-5791-8F6D-7A75C069F406}"/>
          </ac:spMkLst>
        </pc:spChg>
        <pc:spChg chg="mod">
          <ac:chgData name="Janczewski, Piotr" userId="2467fbf0-2ef4-434e-b40e-471cd3a495c7" providerId="ADAL" clId="{FC6CD8D5-3861-4CA4-BA31-72924B4FB4E0}" dt="2024-02-12T12:08:24.673" v="1266" actId="14100"/>
          <ac:spMkLst>
            <pc:docMk/>
            <pc:sldMk cId="2817505528" sldId="2147482932"/>
            <ac:spMk id="225" creationId="{A6029F7F-366B-0C70-CC0F-0B196D19036C}"/>
          </ac:spMkLst>
        </pc:spChg>
        <pc:spChg chg="mod">
          <ac:chgData name="Janczewski, Piotr" userId="2467fbf0-2ef4-434e-b40e-471cd3a495c7" providerId="ADAL" clId="{FC6CD8D5-3861-4CA4-BA31-72924B4FB4E0}" dt="2024-02-12T12:08:24.673" v="1266" actId="14100"/>
          <ac:spMkLst>
            <pc:docMk/>
            <pc:sldMk cId="2817505528" sldId="2147482932"/>
            <ac:spMk id="226" creationId="{AC913DAD-A2E3-A4C9-B597-64A876E15C42}"/>
          </ac:spMkLst>
        </pc:spChg>
        <pc:spChg chg="mod">
          <ac:chgData name="Janczewski, Piotr" userId="2467fbf0-2ef4-434e-b40e-471cd3a495c7" providerId="ADAL" clId="{FC6CD8D5-3861-4CA4-BA31-72924B4FB4E0}" dt="2024-02-12T12:08:24.673" v="1266" actId="14100"/>
          <ac:spMkLst>
            <pc:docMk/>
            <pc:sldMk cId="2817505528" sldId="2147482932"/>
            <ac:spMk id="227" creationId="{D6FB050F-625F-8088-84DD-BBF987A9035E}"/>
          </ac:spMkLst>
        </pc:spChg>
        <pc:spChg chg="mod">
          <ac:chgData name="Janczewski, Piotr" userId="2467fbf0-2ef4-434e-b40e-471cd3a495c7" providerId="ADAL" clId="{FC6CD8D5-3861-4CA4-BA31-72924B4FB4E0}" dt="2024-02-12T12:08:24.673" v="1266" actId="14100"/>
          <ac:spMkLst>
            <pc:docMk/>
            <pc:sldMk cId="2817505528" sldId="2147482932"/>
            <ac:spMk id="228" creationId="{EE01103B-30CB-E793-D365-2F2A2ABA259E}"/>
          </ac:spMkLst>
        </pc:spChg>
        <pc:spChg chg="mod">
          <ac:chgData name="Janczewski, Piotr" userId="2467fbf0-2ef4-434e-b40e-471cd3a495c7" providerId="ADAL" clId="{FC6CD8D5-3861-4CA4-BA31-72924B4FB4E0}" dt="2024-02-12T12:08:24.673" v="1266" actId="14100"/>
          <ac:spMkLst>
            <pc:docMk/>
            <pc:sldMk cId="2817505528" sldId="2147482932"/>
            <ac:spMk id="229" creationId="{FB04699C-B90F-B599-1A3A-AB284CEC0732}"/>
          </ac:spMkLst>
        </pc:spChg>
        <pc:spChg chg="mod">
          <ac:chgData name="Janczewski, Piotr" userId="2467fbf0-2ef4-434e-b40e-471cd3a495c7" providerId="ADAL" clId="{FC6CD8D5-3861-4CA4-BA31-72924B4FB4E0}" dt="2024-02-12T12:08:24.673" v="1266" actId="14100"/>
          <ac:spMkLst>
            <pc:docMk/>
            <pc:sldMk cId="2817505528" sldId="2147482932"/>
            <ac:spMk id="230" creationId="{89759084-07EB-9A69-7294-589A8EDC7A0C}"/>
          </ac:spMkLst>
        </pc:spChg>
        <pc:spChg chg="mod">
          <ac:chgData name="Janczewski, Piotr" userId="2467fbf0-2ef4-434e-b40e-471cd3a495c7" providerId="ADAL" clId="{FC6CD8D5-3861-4CA4-BA31-72924B4FB4E0}" dt="2024-02-12T12:08:24.673" v="1266" actId="14100"/>
          <ac:spMkLst>
            <pc:docMk/>
            <pc:sldMk cId="2817505528" sldId="2147482932"/>
            <ac:spMk id="231" creationId="{67B22125-5850-7BE1-C681-E213C8A66052}"/>
          </ac:spMkLst>
        </pc:spChg>
        <pc:spChg chg="add del mod">
          <ac:chgData name="Janczewski, Piotr" userId="2467fbf0-2ef4-434e-b40e-471cd3a495c7" providerId="ADAL" clId="{FC6CD8D5-3861-4CA4-BA31-72924B4FB4E0}" dt="2024-02-12T12:11:53.514" v="1387" actId="478"/>
          <ac:spMkLst>
            <pc:docMk/>
            <pc:sldMk cId="2817505528" sldId="2147482932"/>
            <ac:spMk id="235" creationId="{5A12E5F4-C4F3-D554-B715-932C5E0288F0}"/>
          </ac:spMkLst>
        </pc:spChg>
        <pc:spChg chg="add mod">
          <ac:chgData name="Janczewski, Piotr" userId="2467fbf0-2ef4-434e-b40e-471cd3a495c7" providerId="ADAL" clId="{FC6CD8D5-3861-4CA4-BA31-72924B4FB4E0}" dt="2024-02-12T12:13:30.977" v="1418" actId="1035"/>
          <ac:spMkLst>
            <pc:docMk/>
            <pc:sldMk cId="2817505528" sldId="2147482932"/>
            <ac:spMk id="237" creationId="{78928C00-E28E-BB1B-98C9-AC33D27BFE15}"/>
          </ac:spMkLst>
        </pc:spChg>
        <pc:spChg chg="del">
          <ac:chgData name="Janczewski, Piotr" userId="2467fbf0-2ef4-434e-b40e-471cd3a495c7" providerId="ADAL" clId="{FC6CD8D5-3861-4CA4-BA31-72924B4FB4E0}" dt="2024-02-12T11:13:06.431" v="401" actId="478"/>
          <ac:spMkLst>
            <pc:docMk/>
            <pc:sldMk cId="2817505528" sldId="2147482932"/>
            <ac:spMk id="355" creationId="{520DE371-5AF1-F8FF-8707-45EE4454FB90}"/>
          </ac:spMkLst>
        </pc:spChg>
        <pc:spChg chg="del">
          <ac:chgData name="Janczewski, Piotr" userId="2467fbf0-2ef4-434e-b40e-471cd3a495c7" providerId="ADAL" clId="{FC6CD8D5-3861-4CA4-BA31-72924B4FB4E0}" dt="2024-02-12T11:13:06.431" v="401" actId="478"/>
          <ac:spMkLst>
            <pc:docMk/>
            <pc:sldMk cId="2817505528" sldId="2147482932"/>
            <ac:spMk id="356" creationId="{45893D60-F6F4-C53C-3A02-E32909DD2E69}"/>
          </ac:spMkLst>
        </pc:spChg>
        <pc:spChg chg="del">
          <ac:chgData name="Janczewski, Piotr" userId="2467fbf0-2ef4-434e-b40e-471cd3a495c7" providerId="ADAL" clId="{FC6CD8D5-3861-4CA4-BA31-72924B4FB4E0}" dt="2024-02-12T11:13:06.431" v="401" actId="478"/>
          <ac:spMkLst>
            <pc:docMk/>
            <pc:sldMk cId="2817505528" sldId="2147482932"/>
            <ac:spMk id="357" creationId="{E15DB0F8-FBE2-D8CC-A4FB-F6A6E1AAAE0A}"/>
          </ac:spMkLst>
        </pc:spChg>
        <pc:spChg chg="del">
          <ac:chgData name="Janczewski, Piotr" userId="2467fbf0-2ef4-434e-b40e-471cd3a495c7" providerId="ADAL" clId="{FC6CD8D5-3861-4CA4-BA31-72924B4FB4E0}" dt="2024-02-12T11:13:06.431" v="401" actId="478"/>
          <ac:spMkLst>
            <pc:docMk/>
            <pc:sldMk cId="2817505528" sldId="2147482932"/>
            <ac:spMk id="358" creationId="{DDA5DDE7-3083-CDF4-FE22-D3B32B014AAD}"/>
          </ac:spMkLst>
        </pc:spChg>
        <pc:spChg chg="del">
          <ac:chgData name="Janczewski, Piotr" userId="2467fbf0-2ef4-434e-b40e-471cd3a495c7" providerId="ADAL" clId="{FC6CD8D5-3861-4CA4-BA31-72924B4FB4E0}" dt="2024-02-12T11:13:02.714" v="400" actId="478"/>
          <ac:spMkLst>
            <pc:docMk/>
            <pc:sldMk cId="2817505528" sldId="2147482932"/>
            <ac:spMk id="365" creationId="{EE782C3F-C94F-3415-05E2-30C77D58C065}"/>
          </ac:spMkLst>
        </pc:spChg>
        <pc:grpChg chg="add del mod">
          <ac:chgData name="Janczewski, Piotr" userId="2467fbf0-2ef4-434e-b40e-471cd3a495c7" providerId="ADAL" clId="{FC6CD8D5-3861-4CA4-BA31-72924B4FB4E0}" dt="2024-02-12T11:25:09.853" v="594" actId="478"/>
          <ac:grpSpMkLst>
            <pc:docMk/>
            <pc:sldMk cId="2817505528" sldId="2147482932"/>
            <ac:grpSpMk id="3" creationId="{03DA252E-DABD-037D-6761-1DA3B6BC6A7B}"/>
          </ac:grpSpMkLst>
        </pc:grpChg>
        <pc:grpChg chg="add mod">
          <ac:chgData name="Janczewski, Piotr" userId="2467fbf0-2ef4-434e-b40e-471cd3a495c7" providerId="ADAL" clId="{FC6CD8D5-3861-4CA4-BA31-72924B4FB4E0}" dt="2024-02-12T11:17:59.324" v="409"/>
          <ac:grpSpMkLst>
            <pc:docMk/>
            <pc:sldMk cId="2817505528" sldId="2147482932"/>
            <ac:grpSpMk id="9" creationId="{61B17B7C-81E0-ED6E-1B34-694451469BDC}"/>
          </ac:grpSpMkLst>
        </pc:grpChg>
        <pc:grpChg chg="add del mod">
          <ac:chgData name="Janczewski, Piotr" userId="2467fbf0-2ef4-434e-b40e-471cd3a495c7" providerId="ADAL" clId="{FC6CD8D5-3861-4CA4-BA31-72924B4FB4E0}" dt="2024-02-12T11:19:37.492" v="444" actId="478"/>
          <ac:grpSpMkLst>
            <pc:docMk/>
            <pc:sldMk cId="2817505528" sldId="2147482932"/>
            <ac:grpSpMk id="13" creationId="{ED03B0F9-3E1E-748D-C005-D438C554A8D2}"/>
          </ac:grpSpMkLst>
        </pc:grpChg>
        <pc:grpChg chg="add mod">
          <ac:chgData name="Janczewski, Piotr" userId="2467fbf0-2ef4-434e-b40e-471cd3a495c7" providerId="ADAL" clId="{FC6CD8D5-3861-4CA4-BA31-72924B4FB4E0}" dt="2024-02-12T11:25:04.651" v="593" actId="1037"/>
          <ac:grpSpMkLst>
            <pc:docMk/>
            <pc:sldMk cId="2817505528" sldId="2147482932"/>
            <ac:grpSpMk id="17" creationId="{C0D87915-332D-6670-DB6D-0A477DD76939}"/>
          </ac:grpSpMkLst>
        </pc:grpChg>
        <pc:grpChg chg="del">
          <ac:chgData name="Janczewski, Piotr" userId="2467fbf0-2ef4-434e-b40e-471cd3a495c7" providerId="ADAL" clId="{FC6CD8D5-3861-4CA4-BA31-72924B4FB4E0}" dt="2024-02-12T11:13:06.431" v="401" actId="478"/>
          <ac:grpSpMkLst>
            <pc:docMk/>
            <pc:sldMk cId="2817505528" sldId="2147482932"/>
            <ac:grpSpMk id="47" creationId="{00B02FCB-7E30-92CF-CD77-808E9C6C0E12}"/>
          </ac:grpSpMkLst>
        </pc:grpChg>
        <pc:grpChg chg="add del mod">
          <ac:chgData name="Janczewski, Piotr" userId="2467fbf0-2ef4-434e-b40e-471cd3a495c7" providerId="ADAL" clId="{FC6CD8D5-3861-4CA4-BA31-72924B4FB4E0}" dt="2024-02-12T12:11:53.514" v="1387" actId="478"/>
          <ac:grpSpMkLst>
            <pc:docMk/>
            <pc:sldMk cId="2817505528" sldId="2147482932"/>
            <ac:grpSpMk id="75" creationId="{5F68BCCE-D203-3BDC-F55C-8A6ED6B3A577}"/>
          </ac:grpSpMkLst>
        </pc:grpChg>
        <pc:grpChg chg="add mod">
          <ac:chgData name="Janczewski, Piotr" userId="2467fbf0-2ef4-434e-b40e-471cd3a495c7" providerId="ADAL" clId="{FC6CD8D5-3861-4CA4-BA31-72924B4FB4E0}" dt="2024-02-12T11:23:25.325" v="556" actId="1038"/>
          <ac:grpSpMkLst>
            <pc:docMk/>
            <pc:sldMk cId="2817505528" sldId="2147482932"/>
            <ac:grpSpMk id="80" creationId="{E5A2D5B9-A0E6-8FDC-5B73-D4E322B5D6BE}"/>
          </ac:grpSpMkLst>
        </pc:grpChg>
        <pc:grpChg chg="add del mod">
          <ac:chgData name="Janczewski, Piotr" userId="2467fbf0-2ef4-434e-b40e-471cd3a495c7" providerId="ADAL" clId="{FC6CD8D5-3861-4CA4-BA31-72924B4FB4E0}" dt="2024-02-12T11:29:52.898" v="719" actId="478"/>
          <ac:grpSpMkLst>
            <pc:docMk/>
            <pc:sldMk cId="2817505528" sldId="2147482932"/>
            <ac:grpSpMk id="103" creationId="{4DB6109F-748A-0056-4A32-693C50F5B42D}"/>
          </ac:grpSpMkLst>
        </pc:grpChg>
        <pc:grpChg chg="add mod">
          <ac:chgData name="Janczewski, Piotr" userId="2467fbf0-2ef4-434e-b40e-471cd3a495c7" providerId="ADAL" clId="{FC6CD8D5-3861-4CA4-BA31-72924B4FB4E0}" dt="2024-02-12T11:59:51.917" v="1194" actId="1035"/>
          <ac:grpSpMkLst>
            <pc:docMk/>
            <pc:sldMk cId="2817505528" sldId="2147482932"/>
            <ac:grpSpMk id="116" creationId="{C930904C-BCD9-BBE0-7449-F1B513966346}"/>
          </ac:grpSpMkLst>
        </pc:grpChg>
        <pc:grpChg chg="add mod">
          <ac:chgData name="Janczewski, Piotr" userId="2467fbf0-2ef4-434e-b40e-471cd3a495c7" providerId="ADAL" clId="{FC6CD8D5-3861-4CA4-BA31-72924B4FB4E0}" dt="2024-02-12T11:59:51.917" v="1194" actId="1035"/>
          <ac:grpSpMkLst>
            <pc:docMk/>
            <pc:sldMk cId="2817505528" sldId="2147482932"/>
            <ac:grpSpMk id="119" creationId="{F7BAD3E1-0437-D826-0834-C2D34C6A35D8}"/>
          </ac:grpSpMkLst>
        </pc:grpChg>
        <pc:grpChg chg="add mod">
          <ac:chgData name="Janczewski, Piotr" userId="2467fbf0-2ef4-434e-b40e-471cd3a495c7" providerId="ADAL" clId="{FC6CD8D5-3861-4CA4-BA31-72924B4FB4E0}" dt="2024-02-12T11:59:51.917" v="1194" actId="1035"/>
          <ac:grpSpMkLst>
            <pc:docMk/>
            <pc:sldMk cId="2817505528" sldId="2147482932"/>
            <ac:grpSpMk id="122" creationId="{EC9BBD85-4013-C6CC-495C-44AFD212D656}"/>
          </ac:grpSpMkLst>
        </pc:grpChg>
        <pc:grpChg chg="add mod">
          <ac:chgData name="Janczewski, Piotr" userId="2467fbf0-2ef4-434e-b40e-471cd3a495c7" providerId="ADAL" clId="{FC6CD8D5-3861-4CA4-BA31-72924B4FB4E0}" dt="2024-02-12T11:59:51.917" v="1194" actId="1035"/>
          <ac:grpSpMkLst>
            <pc:docMk/>
            <pc:sldMk cId="2817505528" sldId="2147482932"/>
            <ac:grpSpMk id="198" creationId="{9505B50A-0B4F-66C5-68D0-EBB1C4E73D5E}"/>
          </ac:grpSpMkLst>
        </pc:grpChg>
        <pc:grpChg chg="add mod">
          <ac:chgData name="Janczewski, Piotr" userId="2467fbf0-2ef4-434e-b40e-471cd3a495c7" providerId="ADAL" clId="{FC6CD8D5-3861-4CA4-BA31-72924B4FB4E0}" dt="2024-02-12T12:08:46.921" v="1272" actId="339"/>
          <ac:grpSpMkLst>
            <pc:docMk/>
            <pc:sldMk cId="2817505528" sldId="2147482932"/>
            <ac:grpSpMk id="218" creationId="{3A009654-7C0B-BDD8-3FDA-36CC4B8701B8}"/>
          </ac:grpSpMkLst>
        </pc:grpChg>
        <pc:grpChg chg="del">
          <ac:chgData name="Janczewski, Piotr" userId="2467fbf0-2ef4-434e-b40e-471cd3a495c7" providerId="ADAL" clId="{FC6CD8D5-3861-4CA4-BA31-72924B4FB4E0}" dt="2024-02-12T11:13:06.431" v="401" actId="478"/>
          <ac:grpSpMkLst>
            <pc:docMk/>
            <pc:sldMk cId="2817505528" sldId="2147482932"/>
            <ac:grpSpMk id="285" creationId="{C592E709-2024-BDF5-944E-3A75936A21EB}"/>
          </ac:grpSpMkLst>
        </pc:grpChg>
        <pc:grpChg chg="del">
          <ac:chgData name="Janczewski, Piotr" userId="2467fbf0-2ef4-434e-b40e-471cd3a495c7" providerId="ADAL" clId="{FC6CD8D5-3861-4CA4-BA31-72924B4FB4E0}" dt="2024-02-12T11:13:06.431" v="401" actId="478"/>
          <ac:grpSpMkLst>
            <pc:docMk/>
            <pc:sldMk cId="2817505528" sldId="2147482932"/>
            <ac:grpSpMk id="322" creationId="{04B734C9-8C10-BD6D-1466-D4E1DCCD4817}"/>
          </ac:grpSpMkLst>
        </pc:grpChg>
        <pc:picChg chg="del mod">
          <ac:chgData name="Janczewski, Piotr" userId="2467fbf0-2ef4-434e-b40e-471cd3a495c7" providerId="ADAL" clId="{FC6CD8D5-3861-4CA4-BA31-72924B4FB4E0}" dt="2024-02-12T12:06:50.402" v="1205" actId="478"/>
          <ac:picMkLst>
            <pc:docMk/>
            <pc:sldMk cId="2817505528" sldId="2147482932"/>
            <ac:picMk id="12" creationId="{197CB16A-BB0D-46F0-A766-4B3344D1FCCE}"/>
          </ac:picMkLst>
        </pc:picChg>
        <pc:picChg chg="mod">
          <ac:chgData name="Janczewski, Piotr" userId="2467fbf0-2ef4-434e-b40e-471cd3a495c7" providerId="ADAL" clId="{FC6CD8D5-3861-4CA4-BA31-72924B4FB4E0}" dt="2024-02-12T11:17:59.324" v="409"/>
          <ac:picMkLst>
            <pc:docMk/>
            <pc:sldMk cId="2817505528" sldId="2147482932"/>
            <ac:picMk id="16" creationId="{6E30D5AB-0F6C-D5BE-0D24-DAD92B2817F1}"/>
          </ac:picMkLst>
        </pc:picChg>
        <pc:picChg chg="mod">
          <ac:chgData name="Janczewski, Piotr" userId="2467fbf0-2ef4-434e-b40e-471cd3a495c7" providerId="ADAL" clId="{FC6CD8D5-3861-4CA4-BA31-72924B4FB4E0}" dt="2024-02-12T11:17:59.324" v="409"/>
          <ac:picMkLst>
            <pc:docMk/>
            <pc:sldMk cId="2817505528" sldId="2147482932"/>
            <ac:picMk id="20" creationId="{52606959-2BC6-AB1B-62E4-989EA0703F88}"/>
          </ac:picMkLst>
        </pc:picChg>
        <pc:picChg chg="add del mod">
          <ac:chgData name="Janczewski, Piotr" userId="2467fbf0-2ef4-434e-b40e-471cd3a495c7" providerId="ADAL" clId="{FC6CD8D5-3861-4CA4-BA31-72924B4FB4E0}" dt="2024-02-12T11:18:13.810" v="411" actId="478"/>
          <ac:picMkLst>
            <pc:docMk/>
            <pc:sldMk cId="2817505528" sldId="2147482932"/>
            <ac:picMk id="25" creationId="{B074EBC4-2EC3-AD01-DDDF-2DA3C6033B99}"/>
          </ac:picMkLst>
        </pc:picChg>
        <pc:picChg chg="add del mod">
          <ac:chgData name="Janczewski, Piotr" userId="2467fbf0-2ef4-434e-b40e-471cd3a495c7" providerId="ADAL" clId="{FC6CD8D5-3861-4CA4-BA31-72924B4FB4E0}" dt="2024-02-12T11:18:13.810" v="411" actId="478"/>
          <ac:picMkLst>
            <pc:docMk/>
            <pc:sldMk cId="2817505528" sldId="2147482932"/>
            <ac:picMk id="26" creationId="{702458B3-229C-9BCD-3E55-E6A04E427B22}"/>
          </ac:picMkLst>
        </pc:picChg>
        <pc:picChg chg="add del mod">
          <ac:chgData name="Janczewski, Piotr" userId="2467fbf0-2ef4-434e-b40e-471cd3a495c7" providerId="ADAL" clId="{FC6CD8D5-3861-4CA4-BA31-72924B4FB4E0}" dt="2024-02-12T11:18:08.542" v="410" actId="478"/>
          <ac:picMkLst>
            <pc:docMk/>
            <pc:sldMk cId="2817505528" sldId="2147482932"/>
            <ac:picMk id="27" creationId="{6BD21054-4EC2-DAA3-AF41-E937EDBD1387}"/>
          </ac:picMkLst>
        </pc:picChg>
        <pc:picChg chg="add del mod">
          <ac:chgData name="Janczewski, Piotr" userId="2467fbf0-2ef4-434e-b40e-471cd3a495c7" providerId="ADAL" clId="{FC6CD8D5-3861-4CA4-BA31-72924B4FB4E0}" dt="2024-02-12T11:18:08.542" v="410" actId="478"/>
          <ac:picMkLst>
            <pc:docMk/>
            <pc:sldMk cId="2817505528" sldId="2147482932"/>
            <ac:picMk id="28" creationId="{C88844D4-0625-DEE0-38B4-444D13069EE7}"/>
          </ac:picMkLst>
        </pc:picChg>
        <pc:picChg chg="add del mod">
          <ac:chgData name="Janczewski, Piotr" userId="2467fbf0-2ef4-434e-b40e-471cd3a495c7" providerId="ADAL" clId="{FC6CD8D5-3861-4CA4-BA31-72924B4FB4E0}" dt="2024-02-12T11:18:13.810" v="411" actId="478"/>
          <ac:picMkLst>
            <pc:docMk/>
            <pc:sldMk cId="2817505528" sldId="2147482932"/>
            <ac:picMk id="31" creationId="{B54C29C9-9C27-0838-FC08-E940000738A2}"/>
          </ac:picMkLst>
        </pc:picChg>
        <pc:picChg chg="add del mod">
          <ac:chgData name="Janczewski, Piotr" userId="2467fbf0-2ef4-434e-b40e-471cd3a495c7" providerId="ADAL" clId="{FC6CD8D5-3861-4CA4-BA31-72924B4FB4E0}" dt="2024-02-12T11:18:08.542" v="410" actId="478"/>
          <ac:picMkLst>
            <pc:docMk/>
            <pc:sldMk cId="2817505528" sldId="2147482932"/>
            <ac:picMk id="46" creationId="{6257968F-B02D-F26F-901C-141732DC0071}"/>
          </ac:picMkLst>
        </pc:picChg>
        <pc:picChg chg="add del mod">
          <ac:chgData name="Janczewski, Piotr" userId="2467fbf0-2ef4-434e-b40e-471cd3a495c7" providerId="ADAL" clId="{FC6CD8D5-3861-4CA4-BA31-72924B4FB4E0}" dt="2024-02-12T11:18:08.542" v="410" actId="478"/>
          <ac:picMkLst>
            <pc:docMk/>
            <pc:sldMk cId="2817505528" sldId="2147482932"/>
            <ac:picMk id="48" creationId="{9A627785-4F20-8753-FE8C-38D26CA25D6E}"/>
          </ac:picMkLst>
        </pc:picChg>
        <pc:picChg chg="add del mod">
          <ac:chgData name="Janczewski, Piotr" userId="2467fbf0-2ef4-434e-b40e-471cd3a495c7" providerId="ADAL" clId="{FC6CD8D5-3861-4CA4-BA31-72924B4FB4E0}" dt="2024-02-12T11:18:08.542" v="410" actId="478"/>
          <ac:picMkLst>
            <pc:docMk/>
            <pc:sldMk cId="2817505528" sldId="2147482932"/>
            <ac:picMk id="49" creationId="{F0FC1CEB-9DAC-EAA1-D8C2-86E828E4FF4B}"/>
          </ac:picMkLst>
        </pc:picChg>
        <pc:picChg chg="add del mod">
          <ac:chgData name="Janczewski, Piotr" userId="2467fbf0-2ef4-434e-b40e-471cd3a495c7" providerId="ADAL" clId="{FC6CD8D5-3861-4CA4-BA31-72924B4FB4E0}" dt="2024-02-12T11:18:08.542" v="410" actId="478"/>
          <ac:picMkLst>
            <pc:docMk/>
            <pc:sldMk cId="2817505528" sldId="2147482932"/>
            <ac:picMk id="50" creationId="{C0695978-D536-A6A5-A8F9-D85C032F172C}"/>
          </ac:picMkLst>
        </pc:picChg>
        <pc:picChg chg="add del mod">
          <ac:chgData name="Janczewski, Piotr" userId="2467fbf0-2ef4-434e-b40e-471cd3a495c7" providerId="ADAL" clId="{FC6CD8D5-3861-4CA4-BA31-72924B4FB4E0}" dt="2024-02-12T11:18:13.810" v="411" actId="478"/>
          <ac:picMkLst>
            <pc:docMk/>
            <pc:sldMk cId="2817505528" sldId="2147482932"/>
            <ac:picMk id="51" creationId="{B75733AF-0D79-8B0D-05F2-E12839477E17}"/>
          </ac:picMkLst>
        </pc:picChg>
        <pc:picChg chg="add del mod">
          <ac:chgData name="Janczewski, Piotr" userId="2467fbf0-2ef4-434e-b40e-471cd3a495c7" providerId="ADAL" clId="{FC6CD8D5-3861-4CA4-BA31-72924B4FB4E0}" dt="2024-02-12T11:18:13.810" v="411" actId="478"/>
          <ac:picMkLst>
            <pc:docMk/>
            <pc:sldMk cId="2817505528" sldId="2147482932"/>
            <ac:picMk id="52" creationId="{3013AD8E-C0E0-A01F-7B3F-2404807EE41B}"/>
          </ac:picMkLst>
        </pc:picChg>
        <pc:picChg chg="add del mod">
          <ac:chgData name="Janczewski, Piotr" userId="2467fbf0-2ef4-434e-b40e-471cd3a495c7" providerId="ADAL" clId="{FC6CD8D5-3861-4CA4-BA31-72924B4FB4E0}" dt="2024-02-12T11:18:13.810" v="411" actId="478"/>
          <ac:picMkLst>
            <pc:docMk/>
            <pc:sldMk cId="2817505528" sldId="2147482932"/>
            <ac:picMk id="53" creationId="{93826A91-FE94-3F71-8D1F-DA5E576A8D83}"/>
          </ac:picMkLst>
        </pc:picChg>
        <pc:picChg chg="add del mod">
          <ac:chgData name="Janczewski, Piotr" userId="2467fbf0-2ef4-434e-b40e-471cd3a495c7" providerId="ADAL" clId="{FC6CD8D5-3861-4CA4-BA31-72924B4FB4E0}" dt="2024-02-12T11:18:13.810" v="411" actId="478"/>
          <ac:picMkLst>
            <pc:docMk/>
            <pc:sldMk cId="2817505528" sldId="2147482932"/>
            <ac:picMk id="54" creationId="{80E43F80-04A2-AE41-44D8-004101C41EBE}"/>
          </ac:picMkLst>
        </pc:picChg>
        <pc:picChg chg="add del mod">
          <ac:chgData name="Janczewski, Piotr" userId="2467fbf0-2ef4-434e-b40e-471cd3a495c7" providerId="ADAL" clId="{FC6CD8D5-3861-4CA4-BA31-72924B4FB4E0}" dt="2024-02-12T11:18:13.810" v="411" actId="478"/>
          <ac:picMkLst>
            <pc:docMk/>
            <pc:sldMk cId="2817505528" sldId="2147482932"/>
            <ac:picMk id="55" creationId="{DDFF7E54-E1EC-D39B-22F3-282A2923E40E}"/>
          </ac:picMkLst>
        </pc:picChg>
        <pc:picChg chg="add del mod">
          <ac:chgData name="Janczewski, Piotr" userId="2467fbf0-2ef4-434e-b40e-471cd3a495c7" providerId="ADAL" clId="{FC6CD8D5-3861-4CA4-BA31-72924B4FB4E0}" dt="2024-02-12T11:18:13.810" v="411" actId="478"/>
          <ac:picMkLst>
            <pc:docMk/>
            <pc:sldMk cId="2817505528" sldId="2147482932"/>
            <ac:picMk id="56" creationId="{A5022B86-0169-45BA-ED1B-ACAE585A29EE}"/>
          </ac:picMkLst>
        </pc:picChg>
        <pc:picChg chg="add del mod">
          <ac:chgData name="Janczewski, Piotr" userId="2467fbf0-2ef4-434e-b40e-471cd3a495c7" providerId="ADAL" clId="{FC6CD8D5-3861-4CA4-BA31-72924B4FB4E0}" dt="2024-02-12T11:18:08.542" v="410" actId="478"/>
          <ac:picMkLst>
            <pc:docMk/>
            <pc:sldMk cId="2817505528" sldId="2147482932"/>
            <ac:picMk id="57" creationId="{E9481FE3-B451-BC50-369B-A57ACC943EF1}"/>
          </ac:picMkLst>
        </pc:picChg>
        <pc:picChg chg="add del mod">
          <ac:chgData name="Janczewski, Piotr" userId="2467fbf0-2ef4-434e-b40e-471cd3a495c7" providerId="ADAL" clId="{FC6CD8D5-3861-4CA4-BA31-72924B4FB4E0}" dt="2024-02-12T11:18:08.542" v="410" actId="478"/>
          <ac:picMkLst>
            <pc:docMk/>
            <pc:sldMk cId="2817505528" sldId="2147482932"/>
            <ac:picMk id="58" creationId="{4AF105CD-C27A-17A3-F474-C414DAEE2D78}"/>
          </ac:picMkLst>
        </pc:picChg>
        <pc:picChg chg="add del mod">
          <ac:chgData name="Janczewski, Piotr" userId="2467fbf0-2ef4-434e-b40e-471cd3a495c7" providerId="ADAL" clId="{FC6CD8D5-3861-4CA4-BA31-72924B4FB4E0}" dt="2024-02-12T11:18:13.810" v="411" actId="478"/>
          <ac:picMkLst>
            <pc:docMk/>
            <pc:sldMk cId="2817505528" sldId="2147482932"/>
            <ac:picMk id="59" creationId="{CE0657AF-3969-833D-EE38-70663769CA9D}"/>
          </ac:picMkLst>
        </pc:picChg>
        <pc:picChg chg="add del mod">
          <ac:chgData name="Janczewski, Piotr" userId="2467fbf0-2ef4-434e-b40e-471cd3a495c7" providerId="ADAL" clId="{FC6CD8D5-3861-4CA4-BA31-72924B4FB4E0}" dt="2024-02-12T11:18:13.810" v="411" actId="478"/>
          <ac:picMkLst>
            <pc:docMk/>
            <pc:sldMk cId="2817505528" sldId="2147482932"/>
            <ac:picMk id="60" creationId="{D027F987-274F-E000-4267-9A44385F8310}"/>
          </ac:picMkLst>
        </pc:picChg>
        <pc:picChg chg="add del mod">
          <ac:chgData name="Janczewski, Piotr" userId="2467fbf0-2ef4-434e-b40e-471cd3a495c7" providerId="ADAL" clId="{FC6CD8D5-3861-4CA4-BA31-72924B4FB4E0}" dt="2024-02-12T11:18:08.542" v="410" actId="478"/>
          <ac:picMkLst>
            <pc:docMk/>
            <pc:sldMk cId="2817505528" sldId="2147482932"/>
            <ac:picMk id="70" creationId="{83DBB1AA-B0F3-3060-9101-94DCD6352C88}"/>
          </ac:picMkLst>
        </pc:picChg>
        <pc:picChg chg="add del mod">
          <ac:chgData name="Janczewski, Piotr" userId="2467fbf0-2ef4-434e-b40e-471cd3a495c7" providerId="ADAL" clId="{FC6CD8D5-3861-4CA4-BA31-72924B4FB4E0}" dt="2024-02-12T11:18:08.542" v="410" actId="478"/>
          <ac:picMkLst>
            <pc:docMk/>
            <pc:sldMk cId="2817505528" sldId="2147482932"/>
            <ac:picMk id="71" creationId="{C2BAD87E-583C-958A-734D-5F4306D7E830}"/>
          </ac:picMkLst>
        </pc:picChg>
        <pc:picChg chg="add del mod">
          <ac:chgData name="Janczewski, Piotr" userId="2467fbf0-2ef4-434e-b40e-471cd3a495c7" providerId="ADAL" clId="{FC6CD8D5-3861-4CA4-BA31-72924B4FB4E0}" dt="2024-02-12T11:18:08.542" v="410" actId="478"/>
          <ac:picMkLst>
            <pc:docMk/>
            <pc:sldMk cId="2817505528" sldId="2147482932"/>
            <ac:picMk id="74" creationId="{C3613AFC-AA3E-A948-5E16-29D5081B1F4A}"/>
          </ac:picMkLst>
        </pc:picChg>
        <pc:picChg chg="mod">
          <ac:chgData name="Janczewski, Piotr" userId="2467fbf0-2ef4-434e-b40e-471cd3a495c7" providerId="ADAL" clId="{FC6CD8D5-3861-4CA4-BA31-72924B4FB4E0}" dt="2024-02-12T11:17:59.324" v="409"/>
          <ac:picMkLst>
            <pc:docMk/>
            <pc:sldMk cId="2817505528" sldId="2147482932"/>
            <ac:picMk id="78" creationId="{F2B9515B-D64E-DAE1-0317-F25517472AB0}"/>
          </ac:picMkLst>
        </pc:picChg>
        <pc:picChg chg="add del mod">
          <ac:chgData name="Janczewski, Piotr" userId="2467fbf0-2ef4-434e-b40e-471cd3a495c7" providerId="ADAL" clId="{FC6CD8D5-3861-4CA4-BA31-72924B4FB4E0}" dt="2024-02-12T11:18:13.810" v="411" actId="478"/>
          <ac:picMkLst>
            <pc:docMk/>
            <pc:sldMk cId="2817505528" sldId="2147482932"/>
            <ac:picMk id="84" creationId="{A2081DE1-D3AC-19D4-C8D7-0984D551391E}"/>
          </ac:picMkLst>
        </pc:picChg>
        <pc:picChg chg="add del mod">
          <ac:chgData name="Janczewski, Piotr" userId="2467fbf0-2ef4-434e-b40e-471cd3a495c7" providerId="ADAL" clId="{FC6CD8D5-3861-4CA4-BA31-72924B4FB4E0}" dt="2024-02-12T11:18:13.810" v="411" actId="478"/>
          <ac:picMkLst>
            <pc:docMk/>
            <pc:sldMk cId="2817505528" sldId="2147482932"/>
            <ac:picMk id="85" creationId="{3A58FD09-116B-32CB-88AF-4C2C01A68FD4}"/>
          </ac:picMkLst>
        </pc:picChg>
        <pc:picChg chg="add del mod">
          <ac:chgData name="Janczewski, Piotr" userId="2467fbf0-2ef4-434e-b40e-471cd3a495c7" providerId="ADAL" clId="{FC6CD8D5-3861-4CA4-BA31-72924B4FB4E0}" dt="2024-02-12T11:18:13.810" v="411" actId="478"/>
          <ac:picMkLst>
            <pc:docMk/>
            <pc:sldMk cId="2817505528" sldId="2147482932"/>
            <ac:picMk id="86" creationId="{EACE9C13-0114-A141-5EE2-3732248593F5}"/>
          </ac:picMkLst>
        </pc:picChg>
        <pc:picChg chg="add del mod">
          <ac:chgData name="Janczewski, Piotr" userId="2467fbf0-2ef4-434e-b40e-471cd3a495c7" providerId="ADAL" clId="{FC6CD8D5-3861-4CA4-BA31-72924B4FB4E0}" dt="2024-02-12T11:18:13.810" v="411" actId="478"/>
          <ac:picMkLst>
            <pc:docMk/>
            <pc:sldMk cId="2817505528" sldId="2147482932"/>
            <ac:picMk id="87" creationId="{158E78A5-16AD-9C0B-FF89-DA3CCD758FE9}"/>
          </ac:picMkLst>
        </pc:picChg>
        <pc:picChg chg="add mod">
          <ac:chgData name="Janczewski, Piotr" userId="2467fbf0-2ef4-434e-b40e-471cd3a495c7" providerId="ADAL" clId="{FC6CD8D5-3861-4CA4-BA31-72924B4FB4E0}" dt="2024-02-12T11:23:25.325" v="556" actId="1038"/>
          <ac:picMkLst>
            <pc:docMk/>
            <pc:sldMk cId="2817505528" sldId="2147482932"/>
            <ac:picMk id="89" creationId="{6DC2E240-344A-BAA0-450F-D8497D34DC06}"/>
          </ac:picMkLst>
        </pc:picChg>
        <pc:picChg chg="add del mod">
          <ac:chgData name="Janczewski, Piotr" userId="2467fbf0-2ef4-434e-b40e-471cd3a495c7" providerId="ADAL" clId="{FC6CD8D5-3861-4CA4-BA31-72924B4FB4E0}" dt="2024-02-12T11:18:08.542" v="410" actId="478"/>
          <ac:picMkLst>
            <pc:docMk/>
            <pc:sldMk cId="2817505528" sldId="2147482932"/>
            <ac:picMk id="90" creationId="{6FB47026-A6E5-3456-F2AA-1249C1D09933}"/>
          </ac:picMkLst>
        </pc:picChg>
        <pc:picChg chg="add del mod">
          <ac:chgData name="Janczewski, Piotr" userId="2467fbf0-2ef4-434e-b40e-471cd3a495c7" providerId="ADAL" clId="{FC6CD8D5-3861-4CA4-BA31-72924B4FB4E0}" dt="2024-02-12T11:18:13.810" v="411" actId="478"/>
          <ac:picMkLst>
            <pc:docMk/>
            <pc:sldMk cId="2817505528" sldId="2147482932"/>
            <ac:picMk id="91" creationId="{63288CD9-3A60-D9B3-A5A0-22A3464A6326}"/>
          </ac:picMkLst>
        </pc:picChg>
        <pc:picChg chg="add del mod">
          <ac:chgData name="Janczewski, Piotr" userId="2467fbf0-2ef4-434e-b40e-471cd3a495c7" providerId="ADAL" clId="{FC6CD8D5-3861-4CA4-BA31-72924B4FB4E0}" dt="2024-02-12T11:21:48.808" v="483" actId="478"/>
          <ac:picMkLst>
            <pc:docMk/>
            <pc:sldMk cId="2817505528" sldId="2147482932"/>
            <ac:picMk id="93" creationId="{5210D641-C38F-1A44-FB3A-E7B24270AFF2}"/>
          </ac:picMkLst>
        </pc:picChg>
        <pc:picChg chg="add del mod">
          <ac:chgData name="Janczewski, Piotr" userId="2467fbf0-2ef4-434e-b40e-471cd3a495c7" providerId="ADAL" clId="{FC6CD8D5-3861-4CA4-BA31-72924B4FB4E0}" dt="2024-02-12T11:20:50.528" v="478" actId="478"/>
          <ac:picMkLst>
            <pc:docMk/>
            <pc:sldMk cId="2817505528" sldId="2147482932"/>
            <ac:picMk id="95" creationId="{9CBED2DB-21DF-421F-B30B-F4D9AA25F98B}"/>
          </ac:picMkLst>
        </pc:picChg>
        <pc:picChg chg="add mod modCrop">
          <ac:chgData name="Janczewski, Piotr" userId="2467fbf0-2ef4-434e-b40e-471cd3a495c7" providerId="ADAL" clId="{FC6CD8D5-3861-4CA4-BA31-72924B4FB4E0}" dt="2024-02-12T11:22:54.445" v="529" actId="1076"/>
          <ac:picMkLst>
            <pc:docMk/>
            <pc:sldMk cId="2817505528" sldId="2147482932"/>
            <ac:picMk id="96" creationId="{7C216570-433D-98B8-37A9-4C1E64632761}"/>
          </ac:picMkLst>
        </pc:picChg>
        <pc:picChg chg="add mod modCrop">
          <ac:chgData name="Janczewski, Piotr" userId="2467fbf0-2ef4-434e-b40e-471cd3a495c7" providerId="ADAL" clId="{FC6CD8D5-3861-4CA4-BA31-72924B4FB4E0}" dt="2024-02-12T11:23:19.505" v="547" actId="1036"/>
          <ac:picMkLst>
            <pc:docMk/>
            <pc:sldMk cId="2817505528" sldId="2147482932"/>
            <ac:picMk id="97" creationId="{C0F6956E-55FC-C674-D686-43925D2A025C}"/>
          </ac:picMkLst>
        </pc:picChg>
        <pc:picChg chg="add mod modCrop">
          <ac:chgData name="Janczewski, Piotr" userId="2467fbf0-2ef4-434e-b40e-471cd3a495c7" providerId="ADAL" clId="{FC6CD8D5-3861-4CA4-BA31-72924B4FB4E0}" dt="2024-02-12T11:23:39.695" v="559" actId="732"/>
          <ac:picMkLst>
            <pc:docMk/>
            <pc:sldMk cId="2817505528" sldId="2147482932"/>
            <ac:picMk id="98" creationId="{29805283-42DA-4B12-D438-BA9A33102BBD}"/>
          </ac:picMkLst>
        </pc:picChg>
        <pc:picChg chg="add mod modCrop">
          <ac:chgData name="Janczewski, Piotr" userId="2467fbf0-2ef4-434e-b40e-471cd3a495c7" providerId="ADAL" clId="{FC6CD8D5-3861-4CA4-BA31-72924B4FB4E0}" dt="2024-02-12T11:22:51.027" v="528" actId="1037"/>
          <ac:picMkLst>
            <pc:docMk/>
            <pc:sldMk cId="2817505528" sldId="2147482932"/>
            <ac:picMk id="99" creationId="{D5FD126D-F7F7-B4A7-AD36-9B4DE2785BED}"/>
          </ac:picMkLst>
        </pc:picChg>
        <pc:picChg chg="add mod">
          <ac:chgData name="Janczewski, Piotr" userId="2467fbf0-2ef4-434e-b40e-471cd3a495c7" providerId="ADAL" clId="{FC6CD8D5-3861-4CA4-BA31-72924B4FB4E0}" dt="2024-02-12T12:14:25.570" v="1433"/>
          <ac:picMkLst>
            <pc:docMk/>
            <pc:sldMk cId="2817505528" sldId="2147482932"/>
            <ac:picMk id="233" creationId="{9D0F6A3E-AC57-3FB6-9621-B430BD27724F}"/>
          </ac:picMkLst>
        </pc:picChg>
        <pc:picChg chg="add mod modCrop">
          <ac:chgData name="Janczewski, Piotr" userId="2467fbf0-2ef4-434e-b40e-471cd3a495c7" providerId="ADAL" clId="{FC6CD8D5-3861-4CA4-BA31-72924B4FB4E0}" dt="2024-02-12T12:10:33.429" v="1343" actId="1037"/>
          <ac:picMkLst>
            <pc:docMk/>
            <pc:sldMk cId="2817505528" sldId="2147482932"/>
            <ac:picMk id="234" creationId="{D00F4D30-E935-4169-E479-E46451D233CB}"/>
          </ac:picMkLst>
        </pc:picChg>
        <pc:picChg chg="add mod">
          <ac:chgData name="Janczewski, Piotr" userId="2467fbf0-2ef4-434e-b40e-471cd3a495c7" providerId="ADAL" clId="{FC6CD8D5-3861-4CA4-BA31-72924B4FB4E0}" dt="2024-02-12T12:11:58.599" v="1389" actId="1076"/>
          <ac:picMkLst>
            <pc:docMk/>
            <pc:sldMk cId="2817505528" sldId="2147482932"/>
            <ac:picMk id="236" creationId="{AC59E532-12BD-ADB7-3433-740274A54ABE}"/>
          </ac:picMkLst>
        </pc:picChg>
        <pc:picChg chg="add mod">
          <ac:chgData name="Janczewski, Piotr" userId="2467fbf0-2ef4-434e-b40e-471cd3a495c7" providerId="ADAL" clId="{FC6CD8D5-3861-4CA4-BA31-72924B4FB4E0}" dt="2024-02-12T12:14:18.553" v="1432"/>
          <ac:picMkLst>
            <pc:docMk/>
            <pc:sldMk cId="2817505528" sldId="2147482932"/>
            <ac:picMk id="239" creationId="{428790BF-30E7-4564-91A8-960E84417490}"/>
          </ac:picMkLst>
        </pc:picChg>
        <pc:picChg chg="add mod">
          <ac:chgData name="Janczewski, Piotr" userId="2467fbf0-2ef4-434e-b40e-471cd3a495c7" providerId="ADAL" clId="{FC6CD8D5-3861-4CA4-BA31-72924B4FB4E0}" dt="2024-02-12T12:14:12.603" v="1431"/>
          <ac:picMkLst>
            <pc:docMk/>
            <pc:sldMk cId="2817505528" sldId="2147482932"/>
            <ac:picMk id="241" creationId="{B6AD6683-483C-21B1-F7B7-6E2146879D3D}"/>
          </ac:picMkLst>
        </pc:picChg>
        <pc:picChg chg="del">
          <ac:chgData name="Janczewski, Piotr" userId="2467fbf0-2ef4-434e-b40e-471cd3a495c7" providerId="ADAL" clId="{FC6CD8D5-3861-4CA4-BA31-72924B4FB4E0}" dt="2024-02-12T11:13:06.431" v="401" actId="478"/>
          <ac:picMkLst>
            <pc:docMk/>
            <pc:sldMk cId="2817505528" sldId="2147482932"/>
            <ac:picMk id="290" creationId="{A92FE2FC-13DD-475A-F953-02B5245EEFFB}"/>
          </ac:picMkLst>
        </pc:picChg>
        <pc:picChg chg="del">
          <ac:chgData name="Janczewski, Piotr" userId="2467fbf0-2ef4-434e-b40e-471cd3a495c7" providerId="ADAL" clId="{FC6CD8D5-3861-4CA4-BA31-72924B4FB4E0}" dt="2024-02-12T11:13:06.431" v="401" actId="478"/>
          <ac:picMkLst>
            <pc:docMk/>
            <pc:sldMk cId="2817505528" sldId="2147482932"/>
            <ac:picMk id="292" creationId="{071ED58D-8075-DC35-A51C-0A966E4EEB3E}"/>
          </ac:picMkLst>
        </pc:picChg>
        <pc:cxnChg chg="del">
          <ac:chgData name="Janczewski, Piotr" userId="2467fbf0-2ef4-434e-b40e-471cd3a495c7" providerId="ADAL" clId="{FC6CD8D5-3861-4CA4-BA31-72924B4FB4E0}" dt="2024-02-12T11:17:58.911" v="408" actId="478"/>
          <ac:cxnSpMkLst>
            <pc:docMk/>
            <pc:sldMk cId="2817505528" sldId="2147482932"/>
            <ac:cxnSpMk id="63" creationId="{6A63BB6E-9EAD-115F-0A81-2D2042F29EFF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Janczewski, Piotr" userId="2467fbf0-2ef4-434e-b40e-471cd3a495c7" providerId="ADAL" clId="{FC6CD8D5-3861-4CA4-BA31-72924B4FB4E0}" dt="2024-02-12T11:12:52.499" v="399"/>
              <pc2:cmMkLst xmlns:pc2="http://schemas.microsoft.com/office/powerpoint/2019/9/main/command">
                <pc:docMk/>
                <pc:sldMk cId="2817505528" sldId="2147482932"/>
                <pc2:cmMk id="{E81BFC10-CD06-4A39-A1CA-6D1FC72DB716}"/>
              </pc2:cmMkLst>
            </pc226:cmChg>
          </p:ext>
        </pc:extLst>
      </pc:sldChg>
      <pc:sldChg chg="modSp mod">
        <pc:chgData name="Janczewski, Piotr" userId="2467fbf0-2ef4-434e-b40e-471cd3a495c7" providerId="ADAL" clId="{FC6CD8D5-3861-4CA4-BA31-72924B4FB4E0}" dt="2024-02-12T10:58:40.311" v="384" actId="207"/>
        <pc:sldMkLst>
          <pc:docMk/>
          <pc:sldMk cId="1350600069" sldId="2147482933"/>
        </pc:sldMkLst>
        <pc:spChg chg="mod">
          <ac:chgData name="Janczewski, Piotr" userId="2467fbf0-2ef4-434e-b40e-471cd3a495c7" providerId="ADAL" clId="{FC6CD8D5-3861-4CA4-BA31-72924B4FB4E0}" dt="2024-02-12T10:58:40.311" v="384" actId="207"/>
          <ac:spMkLst>
            <pc:docMk/>
            <pc:sldMk cId="1350600069" sldId="2147482933"/>
            <ac:spMk id="223" creationId="{67B414D4-390F-192B-3D6A-7D2A064E6D50}"/>
          </ac:spMkLst>
        </pc:spChg>
      </pc:sldChg>
      <pc:sldChg chg="modSp mod">
        <pc:chgData name="Janczewski, Piotr" userId="2467fbf0-2ef4-434e-b40e-471cd3a495c7" providerId="ADAL" clId="{FC6CD8D5-3861-4CA4-BA31-72924B4FB4E0}" dt="2024-02-12T10:58:27.581" v="383" actId="207"/>
        <pc:sldMkLst>
          <pc:docMk/>
          <pc:sldMk cId="2642716449" sldId="2147482934"/>
        </pc:sldMkLst>
        <pc:spChg chg="mod">
          <ac:chgData name="Janczewski, Piotr" userId="2467fbf0-2ef4-434e-b40e-471cd3a495c7" providerId="ADAL" clId="{FC6CD8D5-3861-4CA4-BA31-72924B4FB4E0}" dt="2024-02-12T10:58:27.581" v="383" actId="207"/>
          <ac:spMkLst>
            <pc:docMk/>
            <pc:sldMk cId="2642716449" sldId="2147482934"/>
            <ac:spMk id="223" creationId="{2ACF7A89-BBAF-9F73-E2BB-38987B2448A9}"/>
          </ac:spMkLst>
        </pc:spChg>
      </pc:sldChg>
      <pc:sldChg chg="modSp mod">
        <pc:chgData name="Janczewski, Piotr" userId="2467fbf0-2ef4-434e-b40e-471cd3a495c7" providerId="ADAL" clId="{FC6CD8D5-3861-4CA4-BA31-72924B4FB4E0}" dt="2024-02-12T10:58:55.169" v="387" actId="207"/>
        <pc:sldMkLst>
          <pc:docMk/>
          <pc:sldMk cId="2809035076" sldId="2147482935"/>
        </pc:sldMkLst>
        <pc:spChg chg="mod">
          <ac:chgData name="Janczewski, Piotr" userId="2467fbf0-2ef4-434e-b40e-471cd3a495c7" providerId="ADAL" clId="{FC6CD8D5-3861-4CA4-BA31-72924B4FB4E0}" dt="2024-02-12T10:58:55.169" v="387" actId="207"/>
          <ac:spMkLst>
            <pc:docMk/>
            <pc:sldMk cId="2809035076" sldId="2147482935"/>
            <ac:spMk id="223" creationId="{D59545F7-0203-C7F3-1C53-BE4FF3E604E7}"/>
          </ac:spMkLst>
        </pc:spChg>
      </pc:sldChg>
      <pc:sldChg chg="addSp delSp modSp add mod ord">
        <pc:chgData name="Janczewski, Piotr" userId="2467fbf0-2ef4-434e-b40e-471cd3a495c7" providerId="ADAL" clId="{FC6CD8D5-3861-4CA4-BA31-72924B4FB4E0}" dt="2024-02-12T10:49:14.143" v="235"/>
        <pc:sldMkLst>
          <pc:docMk/>
          <pc:sldMk cId="2175117205" sldId="2147482936"/>
        </pc:sldMkLst>
        <pc:spChg chg="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5" creationId="{D6CF5EF9-0903-657C-EFB7-78B72EE69CB5}"/>
          </ac:spMkLst>
        </pc:spChg>
        <pc:spChg chg="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6" creationId="{2DA0B359-37C8-F8E1-C18E-F17A70FB82F5}"/>
          </ac:spMkLst>
        </pc:spChg>
        <pc:spChg chg="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7" creationId="{41F6358A-7BC8-7063-32DA-F0D308257A99}"/>
          </ac:spMkLst>
        </pc:spChg>
        <pc:spChg chg="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9" creationId="{D81C960A-B7C0-511E-FC51-8FC03FF414A5}"/>
          </ac:spMkLst>
        </pc:spChg>
        <pc:spChg chg="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10" creationId="{3CC03820-D45F-5111-A35E-6D0F4E670A11}"/>
          </ac:spMkLst>
        </pc:spChg>
        <pc:spChg chg="del">
          <ac:chgData name="Janczewski, Piotr" userId="2467fbf0-2ef4-434e-b40e-471cd3a495c7" providerId="ADAL" clId="{FC6CD8D5-3861-4CA4-BA31-72924B4FB4E0}" dt="2024-02-12T10:48:58.078" v="228" actId="478"/>
          <ac:spMkLst>
            <pc:docMk/>
            <pc:sldMk cId="2175117205" sldId="2147482936"/>
            <ac:spMk id="13" creationId="{357EAB77-4ED1-B01F-4726-3D5C589CAC68}"/>
          </ac:spMkLst>
        </pc:spChg>
        <pc:spChg chg="del">
          <ac:chgData name="Janczewski, Piotr" userId="2467fbf0-2ef4-434e-b40e-471cd3a495c7" providerId="ADAL" clId="{FC6CD8D5-3861-4CA4-BA31-72924B4FB4E0}" dt="2024-02-12T10:48:58.078" v="228" actId="478"/>
          <ac:spMkLst>
            <pc:docMk/>
            <pc:sldMk cId="2175117205" sldId="2147482936"/>
            <ac:spMk id="14" creationId="{CCC45667-63F3-4691-8502-CA9F6B86F389}"/>
          </ac:spMkLst>
        </pc:spChg>
        <pc:spChg chg="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28" creationId="{0655D028-5524-D8F8-8BEE-76A874A1D266}"/>
          </ac:spMkLst>
        </pc:spChg>
        <pc:spChg chg="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29" creationId="{EDD779CE-8E1C-A3F1-5BD7-A9AEC93F450F}"/>
          </ac:spMkLst>
        </pc:spChg>
        <pc:spChg chg="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33" creationId="{682FC1C3-77A9-3679-BF23-CCAE9FF81629}"/>
          </ac:spMkLst>
        </pc:spChg>
        <pc:spChg chg="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34" creationId="{9D8A4C23-3FA7-DD66-F223-EC0B74ADD1DD}"/>
          </ac:spMkLst>
        </pc:spChg>
        <pc:spChg chg="add 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36" creationId="{9357EA27-2208-2ECD-E4CD-85641F0219DC}"/>
          </ac:spMkLst>
        </pc:spChg>
        <pc:spChg chg="add 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37" creationId="{E8692602-34D2-7FD0-9F58-9A9C8ADC31FC}"/>
          </ac:spMkLst>
        </pc:spChg>
        <pc:spChg chg="add 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38" creationId="{479E506B-B078-05CE-3171-EE214197FECF}"/>
          </ac:spMkLst>
        </pc:spChg>
        <pc:spChg chg="add 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39" creationId="{1F1CAECC-B7EC-C041-123A-651EE43818F3}"/>
          </ac:spMkLst>
        </pc:spChg>
        <pc:spChg chg="del">
          <ac:chgData name="Janczewski, Piotr" userId="2467fbf0-2ef4-434e-b40e-471cd3a495c7" providerId="ADAL" clId="{FC6CD8D5-3861-4CA4-BA31-72924B4FB4E0}" dt="2024-02-12T10:48:58.078" v="228" actId="478"/>
          <ac:spMkLst>
            <pc:docMk/>
            <pc:sldMk cId="2175117205" sldId="2147482936"/>
            <ac:spMk id="66" creationId="{8151AFB7-9001-51CB-C388-578A4CE3E4ED}"/>
          </ac:spMkLst>
        </pc:spChg>
        <pc:spChg chg="add 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79" creationId="{7ABBAECF-015E-0E6D-0AA3-2B2A3AEBF0F1}"/>
          </ac:spMkLst>
        </pc:spChg>
        <pc:spChg chg="add 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80" creationId="{59963E45-962C-5A9D-3D30-2DA0D03430D3}"/>
          </ac:spMkLst>
        </pc:spChg>
        <pc:spChg chg="add 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81" creationId="{7DF7E8C6-802B-E3A2-3716-9C3F5FAD9ADC}"/>
          </ac:spMkLst>
        </pc:spChg>
        <pc:spChg chg="add 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82" creationId="{2248CC45-13DE-6235-8174-1F0E9E740751}"/>
          </ac:spMkLst>
        </pc:spChg>
        <pc:spChg chg="add 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83" creationId="{E1AAAD5F-E12F-BF46-39F4-E88F8B9B423C}"/>
          </ac:spMkLst>
        </pc:spChg>
        <pc:spChg chg="add 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84" creationId="{BE602BFC-2063-C456-CE5A-C7626246B7C4}"/>
          </ac:spMkLst>
        </pc:spChg>
        <pc:spChg chg="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89" creationId="{71741680-63E0-5726-2C4F-926D3134C50D}"/>
          </ac:spMkLst>
        </pc:spChg>
        <pc:spChg chg="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90" creationId="{B5E8495C-F515-52C0-370E-1518A8B85FC7}"/>
          </ac:spMkLst>
        </pc:spChg>
        <pc:spChg chg="add 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92" creationId="{2898626F-8F88-BA8E-3D89-029BD86DAAD9}"/>
          </ac:spMkLst>
        </pc:spChg>
        <pc:spChg chg="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94" creationId="{40E1CE72-37BE-40BF-28C3-BEC1C83663A2}"/>
          </ac:spMkLst>
        </pc:spChg>
        <pc:spChg chg="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95" creationId="{1F80EBE0-52BD-23D3-5289-8EEB25DE77C7}"/>
          </ac:spMkLst>
        </pc:spChg>
        <pc:spChg chg="add 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96" creationId="{52D64EEA-9067-A363-F86C-EFD385E9315C}"/>
          </ac:spMkLst>
        </pc:spChg>
        <pc:spChg chg="add mod">
          <ac:chgData name="Janczewski, Piotr" userId="2467fbf0-2ef4-434e-b40e-471cd3a495c7" providerId="ADAL" clId="{FC6CD8D5-3861-4CA4-BA31-72924B4FB4E0}" dt="2024-02-12T10:49:14.143" v="235"/>
          <ac:spMkLst>
            <pc:docMk/>
            <pc:sldMk cId="2175117205" sldId="2147482936"/>
            <ac:spMk id="101" creationId="{7D578A7D-4E29-8D41-91FA-958C78900F9C}"/>
          </ac:spMkLst>
        </pc:spChg>
        <pc:spChg chg="mod">
          <ac:chgData name="Janczewski, Piotr" userId="2467fbf0-2ef4-434e-b40e-471cd3a495c7" providerId="ADAL" clId="{FC6CD8D5-3861-4CA4-BA31-72924B4FB4E0}" dt="2024-02-12T10:48:53.570" v="227" actId="207"/>
          <ac:spMkLst>
            <pc:docMk/>
            <pc:sldMk cId="2175117205" sldId="2147482936"/>
            <ac:spMk id="223" creationId="{D59545F7-0203-C7F3-1C53-BE4FF3E604E7}"/>
          </ac:spMkLst>
        </pc:spChg>
        <pc:spChg chg="del">
          <ac:chgData name="Janczewski, Piotr" userId="2467fbf0-2ef4-434e-b40e-471cd3a495c7" providerId="ADAL" clId="{FC6CD8D5-3861-4CA4-BA31-72924B4FB4E0}" dt="2024-02-12T10:48:38.811" v="226" actId="478"/>
          <ac:spMkLst>
            <pc:docMk/>
            <pc:sldMk cId="2175117205" sldId="2147482936"/>
            <ac:spMk id="224" creationId="{178B02DE-AAFF-373B-3A84-64333240D866}"/>
          </ac:spMkLst>
        </pc:spChg>
        <pc:spChg chg="del">
          <ac:chgData name="Janczewski, Piotr" userId="2467fbf0-2ef4-434e-b40e-471cd3a495c7" providerId="ADAL" clId="{FC6CD8D5-3861-4CA4-BA31-72924B4FB4E0}" dt="2024-02-12T10:48:38.811" v="226" actId="478"/>
          <ac:spMkLst>
            <pc:docMk/>
            <pc:sldMk cId="2175117205" sldId="2147482936"/>
            <ac:spMk id="225" creationId="{48B3B053-B74E-92AF-4F1A-F3CEDCAF6DFD}"/>
          </ac:spMkLst>
        </pc:spChg>
        <pc:spChg chg="del">
          <ac:chgData name="Janczewski, Piotr" userId="2467fbf0-2ef4-434e-b40e-471cd3a495c7" providerId="ADAL" clId="{FC6CD8D5-3861-4CA4-BA31-72924B4FB4E0}" dt="2024-02-12T10:48:58.078" v="228" actId="478"/>
          <ac:spMkLst>
            <pc:docMk/>
            <pc:sldMk cId="2175117205" sldId="2147482936"/>
            <ac:spMk id="230" creationId="{31578326-8DAA-D06A-FFD4-F949ABA1621E}"/>
          </ac:spMkLst>
        </pc:spChg>
        <pc:spChg chg="del">
          <ac:chgData name="Janczewski, Piotr" userId="2467fbf0-2ef4-434e-b40e-471cd3a495c7" providerId="ADAL" clId="{FC6CD8D5-3861-4CA4-BA31-72924B4FB4E0}" dt="2024-02-12T10:48:58.078" v="228" actId="478"/>
          <ac:spMkLst>
            <pc:docMk/>
            <pc:sldMk cId="2175117205" sldId="2147482936"/>
            <ac:spMk id="235" creationId="{9B532B5B-AFC4-7F8C-E5D3-97E870D93E24}"/>
          </ac:spMkLst>
        </pc:spChg>
        <pc:spChg chg="del">
          <ac:chgData name="Janczewski, Piotr" userId="2467fbf0-2ef4-434e-b40e-471cd3a495c7" providerId="ADAL" clId="{FC6CD8D5-3861-4CA4-BA31-72924B4FB4E0}" dt="2024-02-12T10:48:58.078" v="228" actId="478"/>
          <ac:spMkLst>
            <pc:docMk/>
            <pc:sldMk cId="2175117205" sldId="2147482936"/>
            <ac:spMk id="262" creationId="{AE653DFE-3E40-6AF5-C7E3-E0BEA650521C}"/>
          </ac:spMkLst>
        </pc:spChg>
        <pc:grpChg chg="add mod">
          <ac:chgData name="Janczewski, Piotr" userId="2467fbf0-2ef4-434e-b40e-471cd3a495c7" providerId="ADAL" clId="{FC6CD8D5-3861-4CA4-BA31-72924B4FB4E0}" dt="2024-02-12T10:49:14.143" v="235"/>
          <ac:grpSpMkLst>
            <pc:docMk/>
            <pc:sldMk cId="2175117205" sldId="2147482936"/>
            <ac:grpSpMk id="3" creationId="{C73ECA41-BBBB-6A62-36F0-3D9E960E6943}"/>
          </ac:grpSpMkLst>
        </pc:grpChg>
        <pc:grpChg chg="add mod">
          <ac:chgData name="Janczewski, Piotr" userId="2467fbf0-2ef4-434e-b40e-471cd3a495c7" providerId="ADAL" clId="{FC6CD8D5-3861-4CA4-BA31-72924B4FB4E0}" dt="2024-02-12T10:49:14.143" v="235"/>
          <ac:grpSpMkLst>
            <pc:docMk/>
            <pc:sldMk cId="2175117205" sldId="2147482936"/>
            <ac:grpSpMk id="8" creationId="{9C56B3E7-EFE3-BC59-E077-5ED5F734F04A}"/>
          </ac:grpSpMkLst>
        </pc:grpChg>
        <pc:grpChg chg="add mod">
          <ac:chgData name="Janczewski, Piotr" userId="2467fbf0-2ef4-434e-b40e-471cd3a495c7" providerId="ADAL" clId="{FC6CD8D5-3861-4CA4-BA31-72924B4FB4E0}" dt="2024-02-12T10:49:14.143" v="235"/>
          <ac:grpSpMkLst>
            <pc:docMk/>
            <pc:sldMk cId="2175117205" sldId="2147482936"/>
            <ac:grpSpMk id="22" creationId="{5FBC47F0-6B0D-426D-FDD3-510367A8AABF}"/>
          </ac:grpSpMkLst>
        </pc:grpChg>
        <pc:grpChg chg="del">
          <ac:chgData name="Janczewski, Piotr" userId="2467fbf0-2ef4-434e-b40e-471cd3a495c7" providerId="ADAL" clId="{FC6CD8D5-3861-4CA4-BA31-72924B4FB4E0}" dt="2024-02-12T10:48:58.078" v="228" actId="478"/>
          <ac:grpSpMkLst>
            <pc:docMk/>
            <pc:sldMk cId="2175117205" sldId="2147482936"/>
            <ac:grpSpMk id="31" creationId="{EDCE2EC2-7599-06A0-DDA2-2C7246716E26}"/>
          </ac:grpSpMkLst>
        </pc:grpChg>
        <pc:grpChg chg="add mod">
          <ac:chgData name="Janczewski, Piotr" userId="2467fbf0-2ef4-434e-b40e-471cd3a495c7" providerId="ADAL" clId="{FC6CD8D5-3861-4CA4-BA31-72924B4FB4E0}" dt="2024-02-12T10:49:14.143" v="235"/>
          <ac:grpSpMkLst>
            <pc:docMk/>
            <pc:sldMk cId="2175117205" sldId="2147482936"/>
            <ac:grpSpMk id="32" creationId="{1F24E771-3347-87D4-CEE7-6C4CF056617C}"/>
          </ac:grpSpMkLst>
        </pc:grpChg>
        <pc:grpChg chg="del">
          <ac:chgData name="Janczewski, Piotr" userId="2467fbf0-2ef4-434e-b40e-471cd3a495c7" providerId="ADAL" clId="{FC6CD8D5-3861-4CA4-BA31-72924B4FB4E0}" dt="2024-02-12T10:48:58.078" v="228" actId="478"/>
          <ac:grpSpMkLst>
            <pc:docMk/>
            <pc:sldMk cId="2175117205" sldId="2147482936"/>
            <ac:grpSpMk id="46" creationId="{800345B0-D691-F30C-4B90-E27883191702}"/>
          </ac:grpSpMkLst>
        </pc:grpChg>
        <pc:grpChg chg="del">
          <ac:chgData name="Janczewski, Piotr" userId="2467fbf0-2ef4-434e-b40e-471cd3a495c7" providerId="ADAL" clId="{FC6CD8D5-3861-4CA4-BA31-72924B4FB4E0}" dt="2024-02-12T10:48:58.078" v="228" actId="478"/>
          <ac:grpSpMkLst>
            <pc:docMk/>
            <pc:sldMk cId="2175117205" sldId="2147482936"/>
            <ac:grpSpMk id="67" creationId="{1C031929-8DA5-448F-2697-3A104B87990A}"/>
          </ac:grpSpMkLst>
        </pc:grpChg>
        <pc:grpChg chg="add mod">
          <ac:chgData name="Janczewski, Piotr" userId="2467fbf0-2ef4-434e-b40e-471cd3a495c7" providerId="ADAL" clId="{FC6CD8D5-3861-4CA4-BA31-72924B4FB4E0}" dt="2024-02-12T10:49:14.143" v="235"/>
          <ac:grpSpMkLst>
            <pc:docMk/>
            <pc:sldMk cId="2175117205" sldId="2147482936"/>
            <ac:grpSpMk id="88" creationId="{8FCF8A2D-DDBF-5B8F-13AC-505AB92787C0}"/>
          </ac:grpSpMkLst>
        </pc:grpChg>
        <pc:grpChg chg="add mod">
          <ac:chgData name="Janczewski, Piotr" userId="2467fbf0-2ef4-434e-b40e-471cd3a495c7" providerId="ADAL" clId="{FC6CD8D5-3861-4CA4-BA31-72924B4FB4E0}" dt="2024-02-12T10:49:14.143" v="235"/>
          <ac:grpSpMkLst>
            <pc:docMk/>
            <pc:sldMk cId="2175117205" sldId="2147482936"/>
            <ac:grpSpMk id="93" creationId="{C6FF6072-679F-B827-A829-274F76C76291}"/>
          </ac:grpSpMkLst>
        </pc:grpChg>
        <pc:graphicFrameChg chg="del">
          <ac:chgData name="Janczewski, Piotr" userId="2467fbf0-2ef4-434e-b40e-471cd3a495c7" providerId="ADAL" clId="{FC6CD8D5-3861-4CA4-BA31-72924B4FB4E0}" dt="2024-02-12T10:48:58.078" v="228" actId="478"/>
          <ac:graphicFrameMkLst>
            <pc:docMk/>
            <pc:sldMk cId="2175117205" sldId="2147482936"/>
            <ac:graphicFrameMk id="64" creationId="{3D5B36A8-36EB-F2B3-D120-B55664B2C4C2}"/>
          </ac:graphicFrameMkLst>
        </pc:graphicFrameChg>
        <pc:graphicFrameChg chg="del">
          <ac:chgData name="Janczewski, Piotr" userId="2467fbf0-2ef4-434e-b40e-471cd3a495c7" providerId="ADAL" clId="{FC6CD8D5-3861-4CA4-BA31-72924B4FB4E0}" dt="2024-02-12T10:48:58.078" v="228" actId="478"/>
          <ac:graphicFrameMkLst>
            <pc:docMk/>
            <pc:sldMk cId="2175117205" sldId="2147482936"/>
            <ac:graphicFrameMk id="65" creationId="{9187494E-35AA-B377-7573-B7A7AEE0EB89}"/>
          </ac:graphicFrameMkLst>
        </pc:graphicFrameChg>
        <pc:picChg chg="del">
          <ac:chgData name="Janczewski, Piotr" userId="2467fbf0-2ef4-434e-b40e-471cd3a495c7" providerId="ADAL" clId="{FC6CD8D5-3861-4CA4-BA31-72924B4FB4E0}" dt="2024-02-12T10:48:58.078" v="228" actId="478"/>
          <ac:picMkLst>
            <pc:docMk/>
            <pc:sldMk cId="2175117205" sldId="2147482936"/>
            <ac:picMk id="2" creationId="{3FAD7553-4E5A-082D-AF82-C1654F2AD76D}"/>
          </ac:picMkLst>
        </pc:picChg>
        <pc:picChg chg="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11" creationId="{10188073-6AE0-6E4A-F1A7-09E48C477563}"/>
          </ac:picMkLst>
        </pc:picChg>
        <pc:picChg chg="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30" creationId="{B8717BA5-43B3-B3E5-8028-CBEB1592FCFA}"/>
          </ac:picMkLst>
        </pc:picChg>
        <pc:picChg chg="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35" creationId="{27F43E0C-8511-96B2-6EA9-19FB75599CF2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40" creationId="{4F697446-2033-82A1-DD07-B7561518134F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41" creationId="{00EFD2E9-8AC2-D913-2E8B-D515DF4F4FC6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42" creationId="{B885E74A-767A-AB1B-EE1F-11A7ED0C0958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43" creationId="{0CABDEF8-4042-7081-E2AE-8540C2E65E29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44" creationId="{EE4504FE-1EA1-0FCC-4446-62D99C70D808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45" creationId="{DD254C42-0D6F-A520-109B-322080E62845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47" creationId="{EEE319E4-C1A4-759C-1641-A797B0579A16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48" creationId="{EA0AAB4F-B337-631C-BF9D-D5C8ACABD50B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68" creationId="{8C6235C6-7FE5-7591-9CBC-6F05051B10E8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69" creationId="{0D6EB42A-853E-CBAB-73BE-3414C1CE6EFA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70" creationId="{C04A799D-0ADA-5A6D-35E4-29DA9515ECA6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71" creationId="{440D994B-4E4F-AF84-FDC1-0E325AFA6789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72" creationId="{04F352B0-C34D-1A01-D911-8C7047904E96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73" creationId="{63ED4B0A-4963-4AE5-6C96-7855C6F2C342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74" creationId="{3F99C305-B48B-B58B-EB00-4BDBC729F4D1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75" creationId="{6A8FE20E-F628-E7E4-1C27-15A8097D01E6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76" creationId="{7594BF30-DDE8-AEB7-2F56-CFD73F92076E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77" creationId="{9B2F44C4-66CF-ABC9-BC1E-F001C449574D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78" creationId="{2DF6FA2E-D3AB-02F6-C1A5-96FE35AA242E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85" creationId="{8F60C147-95CD-FC3C-5D9D-55624E794033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86" creationId="{93ADA1B9-75A8-7A51-0D79-921FA9936174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87" creationId="{7E494E1F-E8E9-BF3E-4822-A81E804B7318}"/>
          </ac:picMkLst>
        </pc:picChg>
        <pc:picChg chg="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91" creationId="{6DB43C54-65A4-E068-C677-1D5A014D62A1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97" creationId="{5971086F-C45F-A73D-31AF-BBEDC281C2D4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98" creationId="{DAEE4C2D-0765-601D-6308-F8E9D84D5997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99" creationId="{1C15A16F-3F64-9E03-B712-62B58433B920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100" creationId="{460BF306-B141-F6A4-87B0-687C2BF83E82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102" creationId="{5F28692C-7F16-1164-42D7-F9C744C104BB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103" creationId="{D0E16EB6-72AC-48F5-3AED-A309697045A5}"/>
          </ac:picMkLst>
        </pc:picChg>
        <pc:picChg chg="add mod">
          <ac:chgData name="Janczewski, Piotr" userId="2467fbf0-2ef4-434e-b40e-471cd3a495c7" providerId="ADAL" clId="{FC6CD8D5-3861-4CA4-BA31-72924B4FB4E0}" dt="2024-02-12T10:49:14.143" v="235"/>
          <ac:picMkLst>
            <pc:docMk/>
            <pc:sldMk cId="2175117205" sldId="2147482936"/>
            <ac:picMk id="104" creationId="{846A5627-08CB-1681-EDF3-A8F26C87C6D6}"/>
          </ac:picMkLst>
        </pc:picChg>
        <pc:picChg chg="del">
          <ac:chgData name="Janczewski, Piotr" userId="2467fbf0-2ef4-434e-b40e-471cd3a495c7" providerId="ADAL" clId="{FC6CD8D5-3861-4CA4-BA31-72924B4FB4E0}" dt="2024-02-12T10:48:58.078" v="228" actId="478"/>
          <ac:picMkLst>
            <pc:docMk/>
            <pc:sldMk cId="2175117205" sldId="2147482936"/>
            <ac:picMk id="231" creationId="{E1ABF2AC-9368-4950-C386-1EF17F4562C5}"/>
          </ac:picMkLst>
        </pc:picChg>
        <pc:picChg chg="del">
          <ac:chgData name="Janczewski, Piotr" userId="2467fbf0-2ef4-434e-b40e-471cd3a495c7" providerId="ADAL" clId="{FC6CD8D5-3861-4CA4-BA31-72924B4FB4E0}" dt="2024-02-12T10:48:58.078" v="228" actId="478"/>
          <ac:picMkLst>
            <pc:docMk/>
            <pc:sldMk cId="2175117205" sldId="2147482936"/>
            <ac:picMk id="232" creationId="{BB1914C6-5D88-2BFC-AC0E-8614BE9F591B}"/>
          </ac:picMkLst>
        </pc:picChg>
        <pc:picChg chg="del">
          <ac:chgData name="Janczewski, Piotr" userId="2467fbf0-2ef4-434e-b40e-471cd3a495c7" providerId="ADAL" clId="{FC6CD8D5-3861-4CA4-BA31-72924B4FB4E0}" dt="2024-02-12T10:48:58.078" v="228" actId="478"/>
          <ac:picMkLst>
            <pc:docMk/>
            <pc:sldMk cId="2175117205" sldId="2147482936"/>
            <ac:picMk id="233" creationId="{398A7F7F-D342-F220-9463-252724EEF11E}"/>
          </ac:picMkLst>
        </pc:picChg>
        <pc:picChg chg="del">
          <ac:chgData name="Janczewski, Piotr" userId="2467fbf0-2ef4-434e-b40e-471cd3a495c7" providerId="ADAL" clId="{FC6CD8D5-3861-4CA4-BA31-72924B4FB4E0}" dt="2024-02-12T10:48:58.078" v="228" actId="478"/>
          <ac:picMkLst>
            <pc:docMk/>
            <pc:sldMk cId="2175117205" sldId="2147482936"/>
            <ac:picMk id="234" creationId="{65DF4F22-9D19-2E70-ABF5-2A968B95663A}"/>
          </ac:picMkLst>
        </pc:picChg>
        <pc:picChg chg="del">
          <ac:chgData name="Janczewski, Piotr" userId="2467fbf0-2ef4-434e-b40e-471cd3a495c7" providerId="ADAL" clId="{FC6CD8D5-3861-4CA4-BA31-72924B4FB4E0}" dt="2024-02-12T10:48:58.078" v="228" actId="478"/>
          <ac:picMkLst>
            <pc:docMk/>
            <pc:sldMk cId="2175117205" sldId="2147482936"/>
            <ac:picMk id="264" creationId="{1A31B7FE-4FD1-2DEA-24DF-2012C00990EB}"/>
          </ac:picMkLst>
        </pc:picChg>
        <pc:picChg chg="del">
          <ac:chgData name="Janczewski, Piotr" userId="2467fbf0-2ef4-434e-b40e-471cd3a495c7" providerId="ADAL" clId="{FC6CD8D5-3861-4CA4-BA31-72924B4FB4E0}" dt="2024-02-12T10:48:58.078" v="228" actId="478"/>
          <ac:picMkLst>
            <pc:docMk/>
            <pc:sldMk cId="2175117205" sldId="2147482936"/>
            <ac:picMk id="265" creationId="{7888675D-BFC1-01C8-9282-5F88F71362E0}"/>
          </ac:picMkLst>
        </pc:picChg>
        <pc:picChg chg="del">
          <ac:chgData name="Janczewski, Piotr" userId="2467fbf0-2ef4-434e-b40e-471cd3a495c7" providerId="ADAL" clId="{FC6CD8D5-3861-4CA4-BA31-72924B4FB4E0}" dt="2024-02-12T10:48:58.078" v="228" actId="478"/>
          <ac:picMkLst>
            <pc:docMk/>
            <pc:sldMk cId="2175117205" sldId="2147482936"/>
            <ac:picMk id="266" creationId="{442C4528-A188-5CFE-497E-CAA6B2F6BEE5}"/>
          </ac:picMkLst>
        </pc:picChg>
        <pc:picChg chg="del">
          <ac:chgData name="Janczewski, Piotr" userId="2467fbf0-2ef4-434e-b40e-471cd3a495c7" providerId="ADAL" clId="{FC6CD8D5-3861-4CA4-BA31-72924B4FB4E0}" dt="2024-02-12T10:48:58.078" v="228" actId="478"/>
          <ac:picMkLst>
            <pc:docMk/>
            <pc:sldMk cId="2175117205" sldId="2147482936"/>
            <ac:picMk id="267" creationId="{730D7B01-5A84-F44D-F4EE-0A3004D492F7}"/>
          </ac:picMkLst>
        </pc:picChg>
        <pc:picChg chg="del">
          <ac:chgData name="Janczewski, Piotr" userId="2467fbf0-2ef4-434e-b40e-471cd3a495c7" providerId="ADAL" clId="{FC6CD8D5-3861-4CA4-BA31-72924B4FB4E0}" dt="2024-02-12T10:48:58.078" v="228" actId="478"/>
          <ac:picMkLst>
            <pc:docMk/>
            <pc:sldMk cId="2175117205" sldId="2147482936"/>
            <ac:picMk id="268" creationId="{10A621F9-622E-3869-40CD-F457729E8E5B}"/>
          </ac:picMkLst>
        </pc:picChg>
        <pc:picChg chg="del">
          <ac:chgData name="Janczewski, Piotr" userId="2467fbf0-2ef4-434e-b40e-471cd3a495c7" providerId="ADAL" clId="{FC6CD8D5-3861-4CA4-BA31-72924B4FB4E0}" dt="2024-02-12T10:48:58.078" v="228" actId="478"/>
          <ac:picMkLst>
            <pc:docMk/>
            <pc:sldMk cId="2175117205" sldId="2147482936"/>
            <ac:picMk id="269" creationId="{1A33FAD3-3DDB-9DC4-7454-39702BDB8259}"/>
          </ac:picMkLst>
        </pc:picChg>
        <pc:picChg chg="del">
          <ac:chgData name="Janczewski, Piotr" userId="2467fbf0-2ef4-434e-b40e-471cd3a495c7" providerId="ADAL" clId="{FC6CD8D5-3861-4CA4-BA31-72924B4FB4E0}" dt="2024-02-12T10:48:58.078" v="228" actId="478"/>
          <ac:picMkLst>
            <pc:docMk/>
            <pc:sldMk cId="2175117205" sldId="2147482936"/>
            <ac:picMk id="270" creationId="{64C4E0D3-CD11-9FB6-FCF4-F8E448FCAED9}"/>
          </ac:picMkLst>
        </pc:picChg>
        <pc:picChg chg="del">
          <ac:chgData name="Janczewski, Piotr" userId="2467fbf0-2ef4-434e-b40e-471cd3a495c7" providerId="ADAL" clId="{FC6CD8D5-3861-4CA4-BA31-72924B4FB4E0}" dt="2024-02-12T10:48:58.078" v="228" actId="478"/>
          <ac:picMkLst>
            <pc:docMk/>
            <pc:sldMk cId="2175117205" sldId="2147482936"/>
            <ac:picMk id="271" creationId="{A97E357A-1006-7542-560E-871468411F25}"/>
          </ac:picMkLst>
        </pc:picChg>
        <pc:picChg chg="del">
          <ac:chgData name="Janczewski, Piotr" userId="2467fbf0-2ef4-434e-b40e-471cd3a495c7" providerId="ADAL" clId="{FC6CD8D5-3861-4CA4-BA31-72924B4FB4E0}" dt="2024-02-12T10:48:58.078" v="228" actId="478"/>
          <ac:picMkLst>
            <pc:docMk/>
            <pc:sldMk cId="2175117205" sldId="2147482936"/>
            <ac:picMk id="272" creationId="{DE13AC35-A3BC-B626-C357-DD9F088F5970}"/>
          </ac:picMkLst>
        </pc:picChg>
        <pc:picChg chg="del">
          <ac:chgData name="Janczewski, Piotr" userId="2467fbf0-2ef4-434e-b40e-471cd3a495c7" providerId="ADAL" clId="{FC6CD8D5-3861-4CA4-BA31-72924B4FB4E0}" dt="2024-02-12T10:48:58.078" v="228" actId="478"/>
          <ac:picMkLst>
            <pc:docMk/>
            <pc:sldMk cId="2175117205" sldId="2147482936"/>
            <ac:picMk id="273" creationId="{EAEBD7B5-569E-2146-D9FC-0D7A603766D6}"/>
          </ac:picMkLst>
        </pc:picChg>
        <pc:picChg chg="del">
          <ac:chgData name="Janczewski, Piotr" userId="2467fbf0-2ef4-434e-b40e-471cd3a495c7" providerId="ADAL" clId="{FC6CD8D5-3861-4CA4-BA31-72924B4FB4E0}" dt="2024-02-12T10:48:58.078" v="228" actId="478"/>
          <ac:picMkLst>
            <pc:docMk/>
            <pc:sldMk cId="2175117205" sldId="2147482936"/>
            <ac:picMk id="274" creationId="{75BE3D98-F50D-8DD1-6BE9-29369D7439A9}"/>
          </ac:picMkLst>
        </pc:picChg>
        <pc:picChg chg="del">
          <ac:chgData name="Janczewski, Piotr" userId="2467fbf0-2ef4-434e-b40e-471cd3a495c7" providerId="ADAL" clId="{FC6CD8D5-3861-4CA4-BA31-72924B4FB4E0}" dt="2024-02-12T10:48:58.078" v="228" actId="478"/>
          <ac:picMkLst>
            <pc:docMk/>
            <pc:sldMk cId="2175117205" sldId="2147482936"/>
            <ac:picMk id="275" creationId="{D0072512-74E0-4CB5-8F2B-13B0F1286DDB}"/>
          </ac:picMkLst>
        </pc:picChg>
        <pc:picChg chg="del">
          <ac:chgData name="Janczewski, Piotr" userId="2467fbf0-2ef4-434e-b40e-471cd3a495c7" providerId="ADAL" clId="{FC6CD8D5-3861-4CA4-BA31-72924B4FB4E0}" dt="2024-02-12T10:48:58.078" v="228" actId="478"/>
          <ac:picMkLst>
            <pc:docMk/>
            <pc:sldMk cId="2175117205" sldId="2147482936"/>
            <ac:picMk id="280" creationId="{5D4EDCAE-485E-3AF0-B056-D44DCD191EF6}"/>
          </ac:picMkLst>
        </pc:picChg>
        <pc:picChg chg="del">
          <ac:chgData name="Janczewski, Piotr" userId="2467fbf0-2ef4-434e-b40e-471cd3a495c7" providerId="ADAL" clId="{FC6CD8D5-3861-4CA4-BA31-72924B4FB4E0}" dt="2024-02-12T10:48:58.078" v="228" actId="478"/>
          <ac:picMkLst>
            <pc:docMk/>
            <pc:sldMk cId="2175117205" sldId="2147482936"/>
            <ac:picMk id="281" creationId="{D9302651-24CC-CCBA-0340-2C642C8C909E}"/>
          </ac:picMkLst>
        </pc:picChg>
        <pc:picChg chg="del">
          <ac:chgData name="Janczewski, Piotr" userId="2467fbf0-2ef4-434e-b40e-471cd3a495c7" providerId="ADAL" clId="{FC6CD8D5-3861-4CA4-BA31-72924B4FB4E0}" dt="2024-02-12T10:48:58.078" v="228" actId="478"/>
          <ac:picMkLst>
            <pc:docMk/>
            <pc:sldMk cId="2175117205" sldId="2147482936"/>
            <ac:picMk id="282" creationId="{F8157E4B-E888-9E63-DFCE-42FB5A224D5C}"/>
          </ac:picMkLst>
        </pc:picChg>
        <pc:picChg chg="del">
          <ac:chgData name="Janczewski, Piotr" userId="2467fbf0-2ef4-434e-b40e-471cd3a495c7" providerId="ADAL" clId="{FC6CD8D5-3861-4CA4-BA31-72924B4FB4E0}" dt="2024-02-12T10:48:58.078" v="228" actId="478"/>
          <ac:picMkLst>
            <pc:docMk/>
            <pc:sldMk cId="2175117205" sldId="2147482936"/>
            <ac:picMk id="1026" creationId="{E3B5112D-6969-60E4-881B-D6F50DB9F1BB}"/>
          </ac:picMkLst>
        </pc:picChg>
        <pc:cxnChg chg="del">
          <ac:chgData name="Janczewski, Piotr" userId="2467fbf0-2ef4-434e-b40e-471cd3a495c7" providerId="ADAL" clId="{FC6CD8D5-3861-4CA4-BA31-72924B4FB4E0}" dt="2024-02-12T10:48:58.078" v="228" actId="478"/>
          <ac:cxnSpMkLst>
            <pc:docMk/>
            <pc:sldMk cId="2175117205" sldId="2147482936"/>
            <ac:cxnSpMk id="263" creationId="{5E349324-B90B-3ACE-C058-A0F21F1DE7C2}"/>
          </ac:cxnSpMkLst>
        </pc:cxnChg>
      </pc:sldChg>
      <pc:sldChg chg="addSp modSp add mod ord">
        <pc:chgData name="Janczewski, Piotr" userId="2467fbf0-2ef4-434e-b40e-471cd3a495c7" providerId="ADAL" clId="{FC6CD8D5-3861-4CA4-BA31-72924B4FB4E0}" dt="2024-02-12T10:49:51.952" v="259" actId="1035"/>
        <pc:sldMkLst>
          <pc:docMk/>
          <pc:sldMk cId="2183524872" sldId="2147482937"/>
        </pc:sldMkLst>
        <pc:spChg chg="add mod">
          <ac:chgData name="Janczewski, Piotr" userId="2467fbf0-2ef4-434e-b40e-471cd3a495c7" providerId="ADAL" clId="{FC6CD8D5-3861-4CA4-BA31-72924B4FB4E0}" dt="2024-02-12T10:49:41.661" v="246"/>
          <ac:spMkLst>
            <pc:docMk/>
            <pc:sldMk cId="2183524872" sldId="2147482937"/>
            <ac:spMk id="2" creationId="{9210C829-5FFF-4553-FDE7-348E7C6BD414}"/>
          </ac:spMkLst>
        </pc:spChg>
        <pc:spChg chg="add mod">
          <ac:chgData name="Janczewski, Piotr" userId="2467fbf0-2ef4-434e-b40e-471cd3a495c7" providerId="ADAL" clId="{FC6CD8D5-3861-4CA4-BA31-72924B4FB4E0}" dt="2024-02-12T10:49:41.661" v="246"/>
          <ac:spMkLst>
            <pc:docMk/>
            <pc:sldMk cId="2183524872" sldId="2147482937"/>
            <ac:spMk id="3" creationId="{9AE54555-96AC-5F0C-6560-D59D3D8D037D}"/>
          </ac:spMkLst>
        </pc:spChg>
        <pc:spChg chg="add mod">
          <ac:chgData name="Janczewski, Piotr" userId="2467fbf0-2ef4-434e-b40e-471cd3a495c7" providerId="ADAL" clId="{FC6CD8D5-3861-4CA4-BA31-72924B4FB4E0}" dt="2024-02-12T10:49:41.661" v="246"/>
          <ac:spMkLst>
            <pc:docMk/>
            <pc:sldMk cId="2183524872" sldId="2147482937"/>
            <ac:spMk id="5" creationId="{67FF26C9-A56C-7F46-6FCB-04618B1D72EA}"/>
          </ac:spMkLst>
        </pc:spChg>
        <pc:spChg chg="mod">
          <ac:chgData name="Janczewski, Piotr" userId="2467fbf0-2ef4-434e-b40e-471cd3a495c7" providerId="ADAL" clId="{FC6CD8D5-3861-4CA4-BA31-72924B4FB4E0}" dt="2024-02-12T10:49:41.661" v="246"/>
          <ac:spMkLst>
            <pc:docMk/>
            <pc:sldMk cId="2183524872" sldId="2147482937"/>
            <ac:spMk id="8" creationId="{FF58B489-2415-556A-198B-270F3874920D}"/>
          </ac:spMkLst>
        </pc:spChg>
        <pc:spChg chg="mod">
          <ac:chgData name="Janczewski, Piotr" userId="2467fbf0-2ef4-434e-b40e-471cd3a495c7" providerId="ADAL" clId="{FC6CD8D5-3861-4CA4-BA31-72924B4FB4E0}" dt="2024-02-12T10:49:41.661" v="246"/>
          <ac:spMkLst>
            <pc:docMk/>
            <pc:sldMk cId="2183524872" sldId="2147482937"/>
            <ac:spMk id="10" creationId="{C56BD288-03CB-ABBE-7FE8-884C801B7FCB}"/>
          </ac:spMkLst>
        </pc:spChg>
        <pc:spChg chg="mod">
          <ac:chgData name="Janczewski, Piotr" userId="2467fbf0-2ef4-434e-b40e-471cd3a495c7" providerId="ADAL" clId="{FC6CD8D5-3861-4CA4-BA31-72924B4FB4E0}" dt="2024-02-12T10:49:41.661" v="246"/>
          <ac:spMkLst>
            <pc:docMk/>
            <pc:sldMk cId="2183524872" sldId="2147482937"/>
            <ac:spMk id="13" creationId="{AE899A3F-80F7-8702-5E6F-7F7A7C876ED1}"/>
          </ac:spMkLst>
        </pc:spChg>
        <pc:spChg chg="mod">
          <ac:chgData name="Janczewski, Piotr" userId="2467fbf0-2ef4-434e-b40e-471cd3a495c7" providerId="ADAL" clId="{FC6CD8D5-3861-4CA4-BA31-72924B4FB4E0}" dt="2024-02-12T10:49:41.661" v="246"/>
          <ac:spMkLst>
            <pc:docMk/>
            <pc:sldMk cId="2183524872" sldId="2147482937"/>
            <ac:spMk id="15" creationId="{F44892DE-BE7C-3BB5-E6CE-2983BBAF3463}"/>
          </ac:spMkLst>
        </pc:spChg>
        <pc:spChg chg="mod">
          <ac:chgData name="Janczewski, Piotr" userId="2467fbf0-2ef4-434e-b40e-471cd3a495c7" providerId="ADAL" clId="{FC6CD8D5-3861-4CA4-BA31-72924B4FB4E0}" dt="2024-02-12T10:49:41.661" v="246"/>
          <ac:spMkLst>
            <pc:docMk/>
            <pc:sldMk cId="2183524872" sldId="2147482937"/>
            <ac:spMk id="18" creationId="{3BE986D7-A577-64CB-1037-93033C3D1BAA}"/>
          </ac:spMkLst>
        </pc:spChg>
        <pc:spChg chg="mod">
          <ac:chgData name="Janczewski, Piotr" userId="2467fbf0-2ef4-434e-b40e-471cd3a495c7" providerId="ADAL" clId="{FC6CD8D5-3861-4CA4-BA31-72924B4FB4E0}" dt="2024-02-12T10:49:41.661" v="246"/>
          <ac:spMkLst>
            <pc:docMk/>
            <pc:sldMk cId="2183524872" sldId="2147482937"/>
            <ac:spMk id="20" creationId="{8A1881F1-4E5F-6243-7AB6-5A274A9F0E03}"/>
          </ac:spMkLst>
        </pc:spChg>
        <pc:spChg chg="mod">
          <ac:chgData name="Janczewski, Piotr" userId="2467fbf0-2ef4-434e-b40e-471cd3a495c7" providerId="ADAL" clId="{FC6CD8D5-3861-4CA4-BA31-72924B4FB4E0}" dt="2024-02-12T10:49:41.661" v="246"/>
          <ac:spMkLst>
            <pc:docMk/>
            <pc:sldMk cId="2183524872" sldId="2147482937"/>
            <ac:spMk id="23" creationId="{B7696B20-C7BC-AA6E-019B-EED1089A2278}"/>
          </ac:spMkLst>
        </pc:spChg>
        <pc:spChg chg="mod">
          <ac:chgData name="Janczewski, Piotr" userId="2467fbf0-2ef4-434e-b40e-471cd3a495c7" providerId="ADAL" clId="{FC6CD8D5-3861-4CA4-BA31-72924B4FB4E0}" dt="2024-02-12T10:49:41.661" v="246"/>
          <ac:spMkLst>
            <pc:docMk/>
            <pc:sldMk cId="2183524872" sldId="2147482937"/>
            <ac:spMk id="25" creationId="{2897F3BA-FDCF-6F1A-C255-E6D9885F30A1}"/>
          </ac:spMkLst>
        </pc:spChg>
        <pc:spChg chg="mod">
          <ac:chgData name="Janczewski, Piotr" userId="2467fbf0-2ef4-434e-b40e-471cd3a495c7" providerId="ADAL" clId="{FC6CD8D5-3861-4CA4-BA31-72924B4FB4E0}" dt="2024-02-12T10:49:41.661" v="246"/>
          <ac:spMkLst>
            <pc:docMk/>
            <pc:sldMk cId="2183524872" sldId="2147482937"/>
            <ac:spMk id="28" creationId="{A9DC606A-1AC2-93C8-2DC9-7F5BB996610A}"/>
          </ac:spMkLst>
        </pc:spChg>
        <pc:spChg chg="mod">
          <ac:chgData name="Janczewski, Piotr" userId="2467fbf0-2ef4-434e-b40e-471cd3a495c7" providerId="ADAL" clId="{FC6CD8D5-3861-4CA4-BA31-72924B4FB4E0}" dt="2024-02-12T10:49:41.661" v="246"/>
          <ac:spMkLst>
            <pc:docMk/>
            <pc:sldMk cId="2183524872" sldId="2147482937"/>
            <ac:spMk id="30" creationId="{EE14256F-1B4B-2C1F-6653-05962DA48650}"/>
          </ac:spMkLst>
        </pc:spChg>
        <pc:spChg chg="add mod">
          <ac:chgData name="Janczewski, Piotr" userId="2467fbf0-2ef4-434e-b40e-471cd3a495c7" providerId="ADAL" clId="{FC6CD8D5-3861-4CA4-BA31-72924B4FB4E0}" dt="2024-02-12T10:49:41.661" v="246"/>
          <ac:spMkLst>
            <pc:docMk/>
            <pc:sldMk cId="2183524872" sldId="2147482937"/>
            <ac:spMk id="32" creationId="{10FF85C0-BDA3-8EAC-082A-EA4E2E7E23C8}"/>
          </ac:spMkLst>
        </pc:spChg>
        <pc:spChg chg="mod">
          <ac:chgData name="Janczewski, Piotr" userId="2467fbf0-2ef4-434e-b40e-471cd3a495c7" providerId="ADAL" clId="{FC6CD8D5-3861-4CA4-BA31-72924B4FB4E0}" dt="2024-02-12T10:49:35.342" v="245" actId="20577"/>
          <ac:spMkLst>
            <pc:docMk/>
            <pc:sldMk cId="2183524872" sldId="2147482937"/>
            <ac:spMk id="223" creationId="{D59545F7-0203-C7F3-1C53-BE4FF3E604E7}"/>
          </ac:spMkLst>
        </pc:spChg>
        <pc:grpChg chg="add mod">
          <ac:chgData name="Janczewski, Piotr" userId="2467fbf0-2ef4-434e-b40e-471cd3a495c7" providerId="ADAL" clId="{FC6CD8D5-3861-4CA4-BA31-72924B4FB4E0}" dt="2024-02-12T10:49:51.952" v="259" actId="1035"/>
          <ac:grpSpMkLst>
            <pc:docMk/>
            <pc:sldMk cId="2183524872" sldId="2147482937"/>
            <ac:grpSpMk id="7" creationId="{F613C63A-8142-288C-D46E-2A743357035E}"/>
          </ac:grpSpMkLst>
        </pc:grpChg>
        <pc:grpChg chg="mod">
          <ac:chgData name="Janczewski, Piotr" userId="2467fbf0-2ef4-434e-b40e-471cd3a495c7" providerId="ADAL" clId="{FC6CD8D5-3861-4CA4-BA31-72924B4FB4E0}" dt="2024-02-12T10:49:41.661" v="246"/>
          <ac:grpSpMkLst>
            <pc:docMk/>
            <pc:sldMk cId="2183524872" sldId="2147482937"/>
            <ac:grpSpMk id="9" creationId="{DCF5A3F0-E888-A82E-778B-D55C83DA8F59}"/>
          </ac:grpSpMkLst>
        </pc:grpChg>
        <pc:grpChg chg="add mod">
          <ac:chgData name="Janczewski, Piotr" userId="2467fbf0-2ef4-434e-b40e-471cd3a495c7" providerId="ADAL" clId="{FC6CD8D5-3861-4CA4-BA31-72924B4FB4E0}" dt="2024-02-12T10:49:51.952" v="259" actId="1035"/>
          <ac:grpSpMkLst>
            <pc:docMk/>
            <pc:sldMk cId="2183524872" sldId="2147482937"/>
            <ac:grpSpMk id="12" creationId="{822BB3D9-8B38-F04E-77EA-95A3EB8A7780}"/>
          </ac:grpSpMkLst>
        </pc:grpChg>
        <pc:grpChg chg="mod">
          <ac:chgData name="Janczewski, Piotr" userId="2467fbf0-2ef4-434e-b40e-471cd3a495c7" providerId="ADAL" clId="{FC6CD8D5-3861-4CA4-BA31-72924B4FB4E0}" dt="2024-02-12T10:49:41.661" v="246"/>
          <ac:grpSpMkLst>
            <pc:docMk/>
            <pc:sldMk cId="2183524872" sldId="2147482937"/>
            <ac:grpSpMk id="14" creationId="{BFBC68FF-CFA1-4771-46DD-5C214D8569C6}"/>
          </ac:grpSpMkLst>
        </pc:grpChg>
        <pc:grpChg chg="add mod">
          <ac:chgData name="Janczewski, Piotr" userId="2467fbf0-2ef4-434e-b40e-471cd3a495c7" providerId="ADAL" clId="{FC6CD8D5-3861-4CA4-BA31-72924B4FB4E0}" dt="2024-02-12T10:49:51.952" v="259" actId="1035"/>
          <ac:grpSpMkLst>
            <pc:docMk/>
            <pc:sldMk cId="2183524872" sldId="2147482937"/>
            <ac:grpSpMk id="17" creationId="{3983A956-6088-15CA-F59F-3E5011ADD621}"/>
          </ac:grpSpMkLst>
        </pc:grpChg>
        <pc:grpChg chg="mod">
          <ac:chgData name="Janczewski, Piotr" userId="2467fbf0-2ef4-434e-b40e-471cd3a495c7" providerId="ADAL" clId="{FC6CD8D5-3861-4CA4-BA31-72924B4FB4E0}" dt="2024-02-12T10:49:41.661" v="246"/>
          <ac:grpSpMkLst>
            <pc:docMk/>
            <pc:sldMk cId="2183524872" sldId="2147482937"/>
            <ac:grpSpMk id="19" creationId="{D8E8344E-62CA-106A-F448-30146ED5949C}"/>
          </ac:grpSpMkLst>
        </pc:grpChg>
        <pc:grpChg chg="add mod">
          <ac:chgData name="Janczewski, Piotr" userId="2467fbf0-2ef4-434e-b40e-471cd3a495c7" providerId="ADAL" clId="{FC6CD8D5-3861-4CA4-BA31-72924B4FB4E0}" dt="2024-02-12T10:49:51.952" v="259" actId="1035"/>
          <ac:grpSpMkLst>
            <pc:docMk/>
            <pc:sldMk cId="2183524872" sldId="2147482937"/>
            <ac:grpSpMk id="22" creationId="{78CC38A1-B149-986D-012C-88D146ACECDD}"/>
          </ac:grpSpMkLst>
        </pc:grpChg>
        <pc:grpChg chg="mod">
          <ac:chgData name="Janczewski, Piotr" userId="2467fbf0-2ef4-434e-b40e-471cd3a495c7" providerId="ADAL" clId="{FC6CD8D5-3861-4CA4-BA31-72924B4FB4E0}" dt="2024-02-12T10:49:41.661" v="246"/>
          <ac:grpSpMkLst>
            <pc:docMk/>
            <pc:sldMk cId="2183524872" sldId="2147482937"/>
            <ac:grpSpMk id="24" creationId="{EDC0A93C-2D00-72FF-82F1-28448F9250CC}"/>
          </ac:grpSpMkLst>
        </pc:grpChg>
        <pc:grpChg chg="add mod">
          <ac:chgData name="Janczewski, Piotr" userId="2467fbf0-2ef4-434e-b40e-471cd3a495c7" providerId="ADAL" clId="{FC6CD8D5-3861-4CA4-BA31-72924B4FB4E0}" dt="2024-02-12T10:49:51.952" v="259" actId="1035"/>
          <ac:grpSpMkLst>
            <pc:docMk/>
            <pc:sldMk cId="2183524872" sldId="2147482937"/>
            <ac:grpSpMk id="27" creationId="{50AD3D14-F331-E9D4-75B6-90310C9CD307}"/>
          </ac:grpSpMkLst>
        </pc:grpChg>
        <pc:grpChg chg="mod">
          <ac:chgData name="Janczewski, Piotr" userId="2467fbf0-2ef4-434e-b40e-471cd3a495c7" providerId="ADAL" clId="{FC6CD8D5-3861-4CA4-BA31-72924B4FB4E0}" dt="2024-02-12T10:49:41.661" v="246"/>
          <ac:grpSpMkLst>
            <pc:docMk/>
            <pc:sldMk cId="2183524872" sldId="2147482937"/>
            <ac:grpSpMk id="29" creationId="{6C19F378-48F0-EF9E-45E1-003A882B98BA}"/>
          </ac:grpSpMkLst>
        </pc:grpChg>
        <pc:graphicFrameChg chg="add mod">
          <ac:chgData name="Janczewski, Piotr" userId="2467fbf0-2ef4-434e-b40e-471cd3a495c7" providerId="ADAL" clId="{FC6CD8D5-3861-4CA4-BA31-72924B4FB4E0}" dt="2024-02-12T10:49:51.952" v="259" actId="1035"/>
          <ac:graphicFrameMkLst>
            <pc:docMk/>
            <pc:sldMk cId="2183524872" sldId="2147482937"/>
            <ac:graphicFrameMk id="6" creationId="{0DBA7A88-A2F3-7107-F0F4-E3C0B978F537}"/>
          </ac:graphicFrameMkLst>
        </pc:graphicFrameChg>
        <pc:picChg chg="mod">
          <ac:chgData name="Janczewski, Piotr" userId="2467fbf0-2ef4-434e-b40e-471cd3a495c7" providerId="ADAL" clId="{FC6CD8D5-3861-4CA4-BA31-72924B4FB4E0}" dt="2024-02-12T10:49:41.661" v="246"/>
          <ac:picMkLst>
            <pc:docMk/>
            <pc:sldMk cId="2183524872" sldId="2147482937"/>
            <ac:picMk id="11" creationId="{A5F1E536-2C6A-C90E-4447-33069730C628}"/>
          </ac:picMkLst>
        </pc:picChg>
        <pc:picChg chg="mod">
          <ac:chgData name="Janczewski, Piotr" userId="2467fbf0-2ef4-434e-b40e-471cd3a495c7" providerId="ADAL" clId="{FC6CD8D5-3861-4CA4-BA31-72924B4FB4E0}" dt="2024-02-12T10:49:41.661" v="246"/>
          <ac:picMkLst>
            <pc:docMk/>
            <pc:sldMk cId="2183524872" sldId="2147482937"/>
            <ac:picMk id="16" creationId="{3D8BE355-8080-B292-C876-361D1529C6E8}"/>
          </ac:picMkLst>
        </pc:picChg>
        <pc:picChg chg="mod">
          <ac:chgData name="Janczewski, Piotr" userId="2467fbf0-2ef4-434e-b40e-471cd3a495c7" providerId="ADAL" clId="{FC6CD8D5-3861-4CA4-BA31-72924B4FB4E0}" dt="2024-02-12T10:49:41.661" v="246"/>
          <ac:picMkLst>
            <pc:docMk/>
            <pc:sldMk cId="2183524872" sldId="2147482937"/>
            <ac:picMk id="21" creationId="{0DDA2718-8C03-26EE-EC8C-DB919AFC37E6}"/>
          </ac:picMkLst>
        </pc:picChg>
        <pc:picChg chg="mod">
          <ac:chgData name="Janczewski, Piotr" userId="2467fbf0-2ef4-434e-b40e-471cd3a495c7" providerId="ADAL" clId="{FC6CD8D5-3861-4CA4-BA31-72924B4FB4E0}" dt="2024-02-12T10:49:41.661" v="246"/>
          <ac:picMkLst>
            <pc:docMk/>
            <pc:sldMk cId="2183524872" sldId="2147482937"/>
            <ac:picMk id="26" creationId="{4626C1A4-EED3-3BD9-BA48-2D2D3AE42C9E}"/>
          </ac:picMkLst>
        </pc:picChg>
        <pc:picChg chg="mod">
          <ac:chgData name="Janczewski, Piotr" userId="2467fbf0-2ef4-434e-b40e-471cd3a495c7" providerId="ADAL" clId="{FC6CD8D5-3861-4CA4-BA31-72924B4FB4E0}" dt="2024-02-12T10:49:41.661" v="246"/>
          <ac:picMkLst>
            <pc:docMk/>
            <pc:sldMk cId="2183524872" sldId="2147482937"/>
            <ac:picMk id="31" creationId="{2224010E-48C8-56E8-82E6-A567F700096B}"/>
          </ac:picMkLst>
        </pc:picChg>
      </pc:sldChg>
      <pc:sldChg chg="addSp delSp modSp add mod ord modClrScheme chgLayout">
        <pc:chgData name="Janczewski, Piotr" userId="2467fbf0-2ef4-434e-b40e-471cd3a495c7" providerId="ADAL" clId="{FC6CD8D5-3861-4CA4-BA31-72924B4FB4E0}" dt="2024-02-12T10:59:49.069" v="395" actId="207"/>
        <pc:sldMkLst>
          <pc:docMk/>
          <pc:sldMk cId="835556835" sldId="2147482938"/>
        </pc:sldMkLst>
        <pc:spChg chg="add del mod ord">
          <ac:chgData name="Janczewski, Piotr" userId="2467fbf0-2ef4-434e-b40e-471cd3a495c7" providerId="ADAL" clId="{FC6CD8D5-3861-4CA4-BA31-72924B4FB4E0}" dt="2024-02-12T10:50:36.727" v="264" actId="700"/>
          <ac:spMkLst>
            <pc:docMk/>
            <pc:sldMk cId="835556835" sldId="2147482938"/>
            <ac:spMk id="2" creationId="{D06CF6AB-D70A-4072-016B-34F14AE1D965}"/>
          </ac:spMkLst>
        </pc:spChg>
        <pc:spChg chg="add del mod ord">
          <ac:chgData name="Janczewski, Piotr" userId="2467fbf0-2ef4-434e-b40e-471cd3a495c7" providerId="ADAL" clId="{FC6CD8D5-3861-4CA4-BA31-72924B4FB4E0}" dt="2024-02-12T10:50:36.727" v="264" actId="700"/>
          <ac:spMkLst>
            <pc:docMk/>
            <pc:sldMk cId="835556835" sldId="2147482938"/>
            <ac:spMk id="3" creationId="{C3C72F88-A88F-383F-104F-639D7FAAD196}"/>
          </ac:spMkLst>
        </pc:spChg>
        <pc:spChg chg="add del mod ord">
          <ac:chgData name="Janczewski, Piotr" userId="2467fbf0-2ef4-434e-b40e-471cd3a495c7" providerId="ADAL" clId="{FC6CD8D5-3861-4CA4-BA31-72924B4FB4E0}" dt="2024-02-12T10:50:36.727" v="264" actId="700"/>
          <ac:spMkLst>
            <pc:docMk/>
            <pc:sldMk cId="835556835" sldId="2147482938"/>
            <ac:spMk id="5" creationId="{F95A5A12-C1DA-0234-7B35-A8BB194D9990}"/>
          </ac:spMkLst>
        </pc:spChg>
        <pc:spChg chg="add del mod ord">
          <ac:chgData name="Janczewski, Piotr" userId="2467fbf0-2ef4-434e-b40e-471cd3a495c7" providerId="ADAL" clId="{FC6CD8D5-3861-4CA4-BA31-72924B4FB4E0}" dt="2024-02-12T10:50:36.727" v="264" actId="700"/>
          <ac:spMkLst>
            <pc:docMk/>
            <pc:sldMk cId="835556835" sldId="2147482938"/>
            <ac:spMk id="6" creationId="{6534E60A-CD68-D1F0-7234-9EBD1B50B7F6}"/>
          </ac:spMkLst>
        </pc:spChg>
        <pc:spChg chg="add del mod ord">
          <ac:chgData name="Janczewski, Piotr" userId="2467fbf0-2ef4-434e-b40e-471cd3a495c7" providerId="ADAL" clId="{FC6CD8D5-3861-4CA4-BA31-72924B4FB4E0}" dt="2024-02-12T10:50:36.727" v="264" actId="700"/>
          <ac:spMkLst>
            <pc:docMk/>
            <pc:sldMk cId="835556835" sldId="2147482938"/>
            <ac:spMk id="7" creationId="{F17D81C1-F0F7-83E5-6400-344E8548AA5B}"/>
          </ac:spMkLst>
        </pc:spChg>
        <pc:spChg chg="add del mod ord">
          <ac:chgData name="Janczewski, Piotr" userId="2467fbf0-2ef4-434e-b40e-471cd3a495c7" providerId="ADAL" clId="{FC6CD8D5-3861-4CA4-BA31-72924B4FB4E0}" dt="2024-02-12T10:50:36.727" v="264" actId="700"/>
          <ac:spMkLst>
            <pc:docMk/>
            <pc:sldMk cId="835556835" sldId="2147482938"/>
            <ac:spMk id="8" creationId="{6956D26B-4C59-DE10-AE68-C1A20A552180}"/>
          </ac:spMkLst>
        </pc:spChg>
        <pc:spChg chg="add del mod ord">
          <ac:chgData name="Janczewski, Piotr" userId="2467fbf0-2ef4-434e-b40e-471cd3a495c7" providerId="ADAL" clId="{FC6CD8D5-3861-4CA4-BA31-72924B4FB4E0}" dt="2024-02-12T10:50:36.727" v="264" actId="700"/>
          <ac:spMkLst>
            <pc:docMk/>
            <pc:sldMk cId="835556835" sldId="2147482938"/>
            <ac:spMk id="9" creationId="{62D74B80-1323-06C7-2854-1739F8608295}"/>
          </ac:spMkLst>
        </pc:spChg>
        <pc:spChg chg="add del mod ord">
          <ac:chgData name="Janczewski, Piotr" userId="2467fbf0-2ef4-434e-b40e-471cd3a495c7" providerId="ADAL" clId="{FC6CD8D5-3861-4CA4-BA31-72924B4FB4E0}" dt="2024-02-12T10:50:36.727" v="264" actId="700"/>
          <ac:spMkLst>
            <pc:docMk/>
            <pc:sldMk cId="835556835" sldId="2147482938"/>
            <ac:spMk id="10" creationId="{66A6023F-0F8A-C528-D898-5A2921089927}"/>
          </ac:spMkLst>
        </pc:spChg>
        <pc:spChg chg="add del mod ord">
          <ac:chgData name="Janczewski, Piotr" userId="2467fbf0-2ef4-434e-b40e-471cd3a495c7" providerId="ADAL" clId="{FC6CD8D5-3861-4CA4-BA31-72924B4FB4E0}" dt="2024-02-12T10:50:36.727" v="264" actId="700"/>
          <ac:spMkLst>
            <pc:docMk/>
            <pc:sldMk cId="835556835" sldId="2147482938"/>
            <ac:spMk id="11" creationId="{5CE67D78-18DA-5D1E-1454-759A4FEC7C41}"/>
          </ac:spMkLst>
        </pc:spChg>
        <pc:spChg chg="add mod">
          <ac:chgData name="Janczewski, Piotr" userId="2467fbf0-2ef4-434e-b40e-471cd3a495c7" providerId="ADAL" clId="{FC6CD8D5-3861-4CA4-BA31-72924B4FB4E0}" dt="2024-02-12T10:51:41.974" v="315" actId="1036"/>
          <ac:spMkLst>
            <pc:docMk/>
            <pc:sldMk cId="835556835" sldId="2147482938"/>
            <ac:spMk id="13" creationId="{39ED3333-CB09-FE8B-28CA-9FEFC4E29B46}"/>
          </ac:spMkLst>
        </pc:spChg>
        <pc:spChg chg="add mod">
          <ac:chgData name="Janczewski, Piotr" userId="2467fbf0-2ef4-434e-b40e-471cd3a495c7" providerId="ADAL" clId="{FC6CD8D5-3861-4CA4-BA31-72924B4FB4E0}" dt="2024-02-12T10:51:41.974" v="315" actId="1036"/>
          <ac:spMkLst>
            <pc:docMk/>
            <pc:sldMk cId="835556835" sldId="2147482938"/>
            <ac:spMk id="14" creationId="{647EE9ED-2703-F185-E8FD-E353F3290B65}"/>
          </ac:spMkLst>
        </pc:spChg>
        <pc:spChg chg="add mod">
          <ac:chgData name="Janczewski, Piotr" userId="2467fbf0-2ef4-434e-b40e-471cd3a495c7" providerId="ADAL" clId="{FC6CD8D5-3861-4CA4-BA31-72924B4FB4E0}" dt="2024-02-12T10:51:41.974" v="315" actId="1036"/>
          <ac:spMkLst>
            <pc:docMk/>
            <pc:sldMk cId="835556835" sldId="2147482938"/>
            <ac:spMk id="15" creationId="{6C98A788-7D62-33CD-9D58-4B89B39A3DAD}"/>
          </ac:spMkLst>
        </pc:spChg>
        <pc:spChg chg="add mod">
          <ac:chgData name="Janczewski, Piotr" userId="2467fbf0-2ef4-434e-b40e-471cd3a495c7" providerId="ADAL" clId="{FC6CD8D5-3861-4CA4-BA31-72924B4FB4E0}" dt="2024-02-12T10:51:20.328" v="271"/>
          <ac:spMkLst>
            <pc:docMk/>
            <pc:sldMk cId="835556835" sldId="2147482938"/>
            <ac:spMk id="16" creationId="{AF78FF0E-D131-458C-EEE8-2EBAA1486E04}"/>
          </ac:spMkLst>
        </pc:spChg>
        <pc:spChg chg="add mod">
          <ac:chgData name="Janczewski, Piotr" userId="2467fbf0-2ef4-434e-b40e-471cd3a495c7" providerId="ADAL" clId="{FC6CD8D5-3861-4CA4-BA31-72924B4FB4E0}" dt="2024-02-12T10:51:20.328" v="271"/>
          <ac:spMkLst>
            <pc:docMk/>
            <pc:sldMk cId="835556835" sldId="2147482938"/>
            <ac:spMk id="17" creationId="{E25ED63D-B70E-3C07-5814-04CDCE6C72F1}"/>
          </ac:spMkLst>
        </pc:spChg>
        <pc:spChg chg="add mod">
          <ac:chgData name="Janczewski, Piotr" userId="2467fbf0-2ef4-434e-b40e-471cd3a495c7" providerId="ADAL" clId="{FC6CD8D5-3861-4CA4-BA31-72924B4FB4E0}" dt="2024-02-12T10:51:20.328" v="271"/>
          <ac:spMkLst>
            <pc:docMk/>
            <pc:sldMk cId="835556835" sldId="2147482938"/>
            <ac:spMk id="18" creationId="{3904E985-A52F-480B-525E-5304B78E0153}"/>
          </ac:spMkLst>
        </pc:spChg>
        <pc:spChg chg="mod">
          <ac:chgData name="Janczewski, Piotr" userId="2467fbf0-2ef4-434e-b40e-471cd3a495c7" providerId="ADAL" clId="{FC6CD8D5-3861-4CA4-BA31-72924B4FB4E0}" dt="2024-02-12T10:59:49.069" v="395" actId="207"/>
          <ac:spMkLst>
            <pc:docMk/>
            <pc:sldMk cId="835556835" sldId="2147482938"/>
            <ac:spMk id="223" creationId="{D59545F7-0203-C7F3-1C53-BE4FF3E604E7}"/>
          </ac:spMkLst>
        </pc:spChg>
        <pc:picChg chg="add mod">
          <ac:chgData name="Janczewski, Piotr" userId="2467fbf0-2ef4-434e-b40e-471cd3a495c7" providerId="ADAL" clId="{FC6CD8D5-3861-4CA4-BA31-72924B4FB4E0}" dt="2024-02-12T10:51:20.328" v="271"/>
          <ac:picMkLst>
            <pc:docMk/>
            <pc:sldMk cId="835556835" sldId="2147482938"/>
            <ac:picMk id="12" creationId="{7139AC7D-381F-1F47-F17D-E348999AB205}"/>
          </ac:picMkLst>
        </pc:picChg>
        <pc:picChg chg="add mod">
          <ac:chgData name="Janczewski, Piotr" userId="2467fbf0-2ef4-434e-b40e-471cd3a495c7" providerId="ADAL" clId="{FC6CD8D5-3861-4CA4-BA31-72924B4FB4E0}" dt="2024-02-12T10:51:41.974" v="315" actId="1036"/>
          <ac:picMkLst>
            <pc:docMk/>
            <pc:sldMk cId="835556835" sldId="2147482938"/>
            <ac:picMk id="19" creationId="{42493F04-EF3F-0A5F-796D-B0AA8A218623}"/>
          </ac:picMkLst>
        </pc:picChg>
        <pc:picChg chg="add mod">
          <ac:chgData name="Janczewski, Piotr" userId="2467fbf0-2ef4-434e-b40e-471cd3a495c7" providerId="ADAL" clId="{FC6CD8D5-3861-4CA4-BA31-72924B4FB4E0}" dt="2024-02-12T10:51:41.974" v="315" actId="1036"/>
          <ac:picMkLst>
            <pc:docMk/>
            <pc:sldMk cId="835556835" sldId="2147482938"/>
            <ac:picMk id="20" creationId="{7B50D3E6-323D-3D2E-EF63-1BA37740C64F}"/>
          </ac:picMkLst>
        </pc:picChg>
        <pc:picChg chg="add mod">
          <ac:chgData name="Janczewski, Piotr" userId="2467fbf0-2ef4-434e-b40e-471cd3a495c7" providerId="ADAL" clId="{FC6CD8D5-3861-4CA4-BA31-72924B4FB4E0}" dt="2024-02-12T10:51:41.974" v="315" actId="1036"/>
          <ac:picMkLst>
            <pc:docMk/>
            <pc:sldMk cId="835556835" sldId="2147482938"/>
            <ac:picMk id="21" creationId="{A8D952EF-057A-2977-3EDD-A9BE3E1C87BC}"/>
          </ac:picMkLst>
        </pc:picChg>
        <pc:picChg chg="add mod">
          <ac:chgData name="Janczewski, Piotr" userId="2467fbf0-2ef4-434e-b40e-471cd3a495c7" providerId="ADAL" clId="{FC6CD8D5-3861-4CA4-BA31-72924B4FB4E0}" dt="2024-02-12T10:51:33.886" v="299" actId="1036"/>
          <ac:picMkLst>
            <pc:docMk/>
            <pc:sldMk cId="835556835" sldId="2147482938"/>
            <ac:picMk id="22" creationId="{8B5BDED5-39F9-6E9A-38EA-5622D323BD5A}"/>
          </ac:picMkLst>
        </pc:picChg>
        <pc:picChg chg="add mod">
          <ac:chgData name="Janczewski, Piotr" userId="2467fbf0-2ef4-434e-b40e-471cd3a495c7" providerId="ADAL" clId="{FC6CD8D5-3861-4CA4-BA31-72924B4FB4E0}" dt="2024-02-12T10:51:33.886" v="299" actId="1036"/>
          <ac:picMkLst>
            <pc:docMk/>
            <pc:sldMk cId="835556835" sldId="2147482938"/>
            <ac:picMk id="23" creationId="{0DD23C29-328E-B8D0-394A-EAEFD25E7226}"/>
          </ac:picMkLst>
        </pc:picChg>
        <pc:picChg chg="add mod">
          <ac:chgData name="Janczewski, Piotr" userId="2467fbf0-2ef4-434e-b40e-471cd3a495c7" providerId="ADAL" clId="{FC6CD8D5-3861-4CA4-BA31-72924B4FB4E0}" dt="2024-02-12T10:51:33.886" v="299" actId="1036"/>
          <ac:picMkLst>
            <pc:docMk/>
            <pc:sldMk cId="835556835" sldId="2147482938"/>
            <ac:picMk id="24" creationId="{072C9542-1B1F-59FC-811C-8ECD05EE68CA}"/>
          </ac:picMkLst>
        </pc:picChg>
      </pc:sldChg>
      <pc:sldChg chg="addSp delSp modSp add mod ord">
        <pc:chgData name="Janczewski, Piotr" userId="2467fbf0-2ef4-434e-b40e-471cd3a495c7" providerId="ADAL" clId="{FC6CD8D5-3861-4CA4-BA31-72924B4FB4E0}" dt="2024-02-12T11:59:08.251" v="1191" actId="1035"/>
        <pc:sldMkLst>
          <pc:docMk/>
          <pc:sldMk cId="1981599778" sldId="2147482939"/>
        </pc:sldMkLst>
        <pc:spChg chg="add 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2" creationId="{66CB583D-DC9D-2255-2E6F-71EC9E5E997F}"/>
          </ac:spMkLst>
        </pc:spChg>
        <pc:spChg chg="add 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3" creationId="{4F2E1DA1-8A37-EB6F-812F-4615C2BBBC3E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7" creationId="{C6D01431-EDCE-7C65-1F53-516656B6AEF0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8" creationId="{11D19C1C-8723-C7BF-A179-716EBCAA5DAD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9" creationId="{FEE68D7D-EEBC-425D-E90F-6D617C3E3374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10" creationId="{E964A5EF-A737-868A-A1E0-171C936DDF43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11" creationId="{83CED7AE-9218-916E-52C9-70126B3B1198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12" creationId="{7C22E462-976A-88E6-F70B-DC69B60400A2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13" creationId="{5D41ED83-8963-7533-DDE7-4353730E5309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14" creationId="{F02AEE7E-4531-BB0D-2544-D991668CFAF0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15" creationId="{CD92B251-1286-401F-D926-401A88E68EEB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16" creationId="{25E70A18-55F5-DC3B-4274-DB738382C449}"/>
          </ac:spMkLst>
        </pc:spChg>
        <pc:spChg chg="add 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17" creationId="{6F36A6BF-22D3-E4C7-8C1B-03ACB4DF32E7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19" creationId="{D2063ED7-1EFF-9D11-3A20-30A589CD74DB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20" creationId="{6A39CDB0-8577-FE80-F85E-3DE20EB27363}"/>
          </ac:spMkLst>
        </pc:spChg>
        <pc:spChg chg="add 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21" creationId="{16B1385F-CCD3-0D4B-C7C9-B107B055C31F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23" creationId="{6FD23356-6DAD-1818-DAF1-34C915FAC855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24" creationId="{414A442C-AD05-6773-218C-AC5A52A331D2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25" creationId="{CF0764A6-6F9A-5C74-EB14-56C35E89CE1B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26" creationId="{BCEB5C7D-EA99-80D7-9318-1791D13743F0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27" creationId="{8694D3F0-6086-8E46-FF2F-CAAE366ADC6E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28" creationId="{9B1BD949-9D45-BD70-BDD7-64D665AD69A3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31" creationId="{516BB66A-E030-5F72-26A8-4C1018F69990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46" creationId="{108A747B-B737-1EC4-ECB6-0E97BF41FF04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48" creationId="{3B37F543-C3DE-26DB-9C89-D280E55CF52D}"/>
          </ac:spMkLst>
        </pc:spChg>
        <pc:spChg chg="add 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49" creationId="{E4766865-37B4-EDF2-0D46-E35710F4F745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51" creationId="{3B37CAD4-3CF4-336F-639A-9FB672E67A75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52" creationId="{77463156-03FD-FA78-630D-42DC718B44A6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53" creationId="{3DCA1C60-E41C-9967-DC0B-8816554DB1FE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54" creationId="{200E4FAC-55EF-A6AE-2E9A-F2FEE593C4ED}"/>
          </ac:spMkLst>
        </pc:spChg>
        <pc:spChg chg="add 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55" creationId="{E42B9254-3304-42A9-444D-B243424B359D}"/>
          </ac:spMkLst>
        </pc:spChg>
        <pc:spChg chg="add 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56" creationId="{8CA43BDA-E7E0-CC54-835F-1A7CDA298F78}"/>
          </ac:spMkLst>
        </pc:spChg>
        <pc:spChg chg="add 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57" creationId="{B049D284-CA33-EE7C-22E7-9074853F5CE6}"/>
          </ac:spMkLst>
        </pc:spChg>
        <pc:spChg chg="add 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58" creationId="{7A705317-78F6-03AB-2150-5721C42A9A2F}"/>
          </ac:spMkLst>
        </pc:spChg>
        <pc:spChg chg="add mod">
          <ac:chgData name="Janczewski, Piotr" userId="2467fbf0-2ef4-434e-b40e-471cd3a495c7" providerId="ADAL" clId="{FC6CD8D5-3861-4CA4-BA31-72924B4FB4E0}" dt="2024-02-12T11:59:08.251" v="1191" actId="1035"/>
          <ac:spMkLst>
            <pc:docMk/>
            <pc:sldMk cId="1981599778" sldId="2147482939"/>
            <ac:spMk id="59" creationId="{F846A4B4-12C4-67A3-D07D-F9E2342013B3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61" creationId="{092D07F6-63C1-314B-DA3B-B990A465B83F}"/>
          </ac:spMkLst>
        </pc:spChg>
        <pc:spChg chg="del">
          <ac:chgData name="Janczewski, Piotr" userId="2467fbf0-2ef4-434e-b40e-471cd3a495c7" providerId="ADAL" clId="{FC6CD8D5-3861-4CA4-BA31-72924B4FB4E0}" dt="2024-02-12T10:57:27.454" v="351" actId="478"/>
          <ac:spMkLst>
            <pc:docMk/>
            <pc:sldMk cId="1981599778" sldId="2147482939"/>
            <ac:spMk id="62" creationId="{49AF690D-26F3-1CDB-6F4D-838976866FF7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64" creationId="{318CD889-47B8-CA34-64FC-972F4C97C7BC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65" creationId="{0739939D-7C2B-2993-F8C6-D0330E6B2A63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66" creationId="{05D1F634-809A-A655-6528-7F30B93A90F0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67" creationId="{0078EAC6-8FD0-5B03-A09A-F1BC7C8B4DC3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69" creationId="{93ECE449-20F7-0F57-9DAC-9750E6A296BA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70" creationId="{2901FCF3-CA45-9FA6-F8FA-3669C60D4ED7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71" creationId="{2EF5B526-AA06-B267-BF4A-35DCACF21C38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74" creationId="{00E2A603-7032-84CB-0EC3-2C90FE000476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75" creationId="{0D5F3680-0338-881C-48DD-8C559DD66BD0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77" creationId="{D0FAFCC6-DCFB-09D4-BB73-1BE18E566A2F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78" creationId="{56D5B2BE-656F-9796-62C1-31EE45D0E9EF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79" creationId="{B275A4D3-8342-D07B-9DD1-251A50BFE572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81" creationId="{C55725B4-DC4C-B660-A9E9-4B0D231919F5}"/>
          </ac:spMkLst>
        </pc:spChg>
        <pc:spChg chg="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82" creationId="{AB42C22B-B49B-4C5A-F2EF-820166C22131}"/>
          </ac:spMkLst>
        </pc:spChg>
        <pc:spChg chg="add mod">
          <ac:chgData name="Janczewski, Piotr" userId="2467fbf0-2ef4-434e-b40e-471cd3a495c7" providerId="ADAL" clId="{FC6CD8D5-3861-4CA4-BA31-72924B4FB4E0}" dt="2024-02-12T10:57:29.452" v="352"/>
          <ac:spMkLst>
            <pc:docMk/>
            <pc:sldMk cId="1981599778" sldId="2147482939"/>
            <ac:spMk id="83" creationId="{6EBB2E98-897E-231E-4D74-30FB08ECED86}"/>
          </ac:spMkLst>
        </pc:spChg>
        <pc:spChg chg="add mod">
          <ac:chgData name="Janczewski, Piotr" userId="2467fbf0-2ef4-434e-b40e-471cd3a495c7" providerId="ADAL" clId="{FC6CD8D5-3861-4CA4-BA31-72924B4FB4E0}" dt="2024-02-12T11:46:15.730" v="1184" actId="1036"/>
          <ac:spMkLst>
            <pc:docMk/>
            <pc:sldMk cId="1981599778" sldId="2147482939"/>
            <ac:spMk id="85" creationId="{6B3DFB4E-45EC-08D0-9692-9520DE6F62DD}"/>
          </ac:spMkLst>
        </pc:spChg>
        <pc:spChg chg="mod">
          <ac:chgData name="Janczewski, Piotr" userId="2467fbf0-2ef4-434e-b40e-471cd3a495c7" providerId="ADAL" clId="{FC6CD8D5-3861-4CA4-BA31-72924B4FB4E0}" dt="2024-02-12T10:58:22.610" v="382" actId="207"/>
          <ac:spMkLst>
            <pc:docMk/>
            <pc:sldMk cId="1981599778" sldId="2147482939"/>
            <ac:spMk id="223" creationId="{D59545F7-0203-C7F3-1C53-BE4FF3E604E7}"/>
          </ac:spMkLst>
        </pc:spChg>
        <pc:grpChg chg="add mod">
          <ac:chgData name="Janczewski, Piotr" userId="2467fbf0-2ef4-434e-b40e-471cd3a495c7" providerId="ADAL" clId="{FC6CD8D5-3861-4CA4-BA31-72924B4FB4E0}" dt="2024-02-12T10:57:29.452" v="352"/>
          <ac:grpSpMkLst>
            <pc:docMk/>
            <pc:sldMk cId="1981599778" sldId="2147482939"/>
            <ac:grpSpMk id="6" creationId="{46BF28D5-7059-2A3A-8870-0E8A6AA94E6F}"/>
          </ac:grpSpMkLst>
        </pc:grpChg>
        <pc:grpChg chg="add mod">
          <ac:chgData name="Janczewski, Piotr" userId="2467fbf0-2ef4-434e-b40e-471cd3a495c7" providerId="ADAL" clId="{FC6CD8D5-3861-4CA4-BA31-72924B4FB4E0}" dt="2024-02-12T10:57:29.452" v="352"/>
          <ac:grpSpMkLst>
            <pc:docMk/>
            <pc:sldMk cId="1981599778" sldId="2147482939"/>
            <ac:grpSpMk id="18" creationId="{7B0D1561-8CEE-5E47-3672-1C9E641E2D1E}"/>
          </ac:grpSpMkLst>
        </pc:grpChg>
        <pc:grpChg chg="add mod">
          <ac:chgData name="Janczewski, Piotr" userId="2467fbf0-2ef4-434e-b40e-471cd3a495c7" providerId="ADAL" clId="{FC6CD8D5-3861-4CA4-BA31-72924B4FB4E0}" dt="2024-02-12T10:57:29.452" v="352"/>
          <ac:grpSpMkLst>
            <pc:docMk/>
            <pc:sldMk cId="1981599778" sldId="2147482939"/>
            <ac:grpSpMk id="22" creationId="{B453569A-116C-445D-85F7-15DF3D0948CE}"/>
          </ac:grpSpMkLst>
        </pc:grpChg>
        <pc:grpChg chg="add mod">
          <ac:chgData name="Janczewski, Piotr" userId="2467fbf0-2ef4-434e-b40e-471cd3a495c7" providerId="ADAL" clId="{FC6CD8D5-3861-4CA4-BA31-72924B4FB4E0}" dt="2024-02-12T10:57:29.452" v="352"/>
          <ac:grpSpMkLst>
            <pc:docMk/>
            <pc:sldMk cId="1981599778" sldId="2147482939"/>
            <ac:grpSpMk id="50" creationId="{A2BCC542-C644-10B2-F3ED-922F11CFD2D4}"/>
          </ac:grpSpMkLst>
        </pc:grpChg>
        <pc:grpChg chg="add mod">
          <ac:chgData name="Janczewski, Piotr" userId="2467fbf0-2ef4-434e-b40e-471cd3a495c7" providerId="ADAL" clId="{FC6CD8D5-3861-4CA4-BA31-72924B4FB4E0}" dt="2024-02-12T10:57:29.452" v="352"/>
          <ac:grpSpMkLst>
            <pc:docMk/>
            <pc:sldMk cId="1981599778" sldId="2147482939"/>
            <ac:grpSpMk id="60" creationId="{E97A64C6-19A1-FD71-C785-763B9B9A3444}"/>
          </ac:grpSpMkLst>
        </pc:grpChg>
        <pc:grpChg chg="add mod">
          <ac:chgData name="Janczewski, Piotr" userId="2467fbf0-2ef4-434e-b40e-471cd3a495c7" providerId="ADAL" clId="{FC6CD8D5-3861-4CA4-BA31-72924B4FB4E0}" dt="2024-02-12T10:57:29.452" v="352"/>
          <ac:grpSpMkLst>
            <pc:docMk/>
            <pc:sldMk cId="1981599778" sldId="2147482939"/>
            <ac:grpSpMk id="76" creationId="{8A9C9860-B039-588B-0918-42718954676C}"/>
          </ac:grpSpMkLst>
        </pc:grpChg>
        <pc:grpChg chg="add mod">
          <ac:chgData name="Janczewski, Piotr" userId="2467fbf0-2ef4-434e-b40e-471cd3a495c7" providerId="ADAL" clId="{FC6CD8D5-3861-4CA4-BA31-72924B4FB4E0}" dt="2024-02-12T11:59:08.251" v="1191" actId="1035"/>
          <ac:grpSpMkLst>
            <pc:docMk/>
            <pc:sldMk cId="1981599778" sldId="2147482939"/>
            <ac:grpSpMk id="80" creationId="{CCA82E1F-1670-9379-E382-936DCAC9F843}"/>
          </ac:grpSpMkLst>
        </pc:grpChg>
        <pc:picChg chg="add del mod">
          <ac:chgData name="Janczewski, Piotr" userId="2467fbf0-2ef4-434e-b40e-471cd3a495c7" providerId="ADAL" clId="{FC6CD8D5-3861-4CA4-BA31-72924B4FB4E0}" dt="2024-02-12T11:59:04.121" v="1185" actId="478"/>
          <ac:picMkLst>
            <pc:docMk/>
            <pc:sldMk cId="1981599778" sldId="2147482939"/>
            <ac:picMk id="84" creationId="{DA1200DE-7970-62EC-6563-4B6B35959C7D}"/>
          </ac:picMkLst>
        </pc:picChg>
        <pc:cxnChg chg="del">
          <ac:chgData name="Janczewski, Piotr" userId="2467fbf0-2ef4-434e-b40e-471cd3a495c7" providerId="ADAL" clId="{FC6CD8D5-3861-4CA4-BA31-72924B4FB4E0}" dt="2024-02-12T10:57:27.454" v="351" actId="478"/>
          <ac:cxnSpMkLst>
            <pc:docMk/>
            <pc:sldMk cId="1981599778" sldId="2147482939"/>
            <ac:cxnSpMk id="63" creationId="{6A63BB6E-9EAD-115F-0A81-2D2042F29EFF}"/>
          </ac:cxnSpMkLst>
        </pc:cxnChg>
      </pc:sldChg>
      <pc:sldChg chg="modCm">
        <pc:chgData name="Janczewski, Piotr" userId="2467fbf0-2ef4-434e-b40e-471cd3a495c7" providerId="ADAL" clId="{FC6CD8D5-3861-4CA4-BA31-72924B4FB4E0}" dt="2024-03-04T13:46:51.719" v="1434"/>
        <pc:sldMkLst>
          <pc:docMk/>
          <pc:sldMk cId="1552949077" sldId="214748294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 modTsk">
              <pc226:chgData name="Janczewski, Piotr" userId="2467fbf0-2ef4-434e-b40e-471cd3a495c7" providerId="ADAL" clId="{FC6CD8D5-3861-4CA4-BA31-72924B4FB4E0}" dt="2024-03-04T13:46:51.719" v="1434"/>
              <pc2:cmMkLst xmlns:pc2="http://schemas.microsoft.com/office/powerpoint/2019/9/main/command">
                <pc:docMk/>
                <pc:sldMk cId="1552949077" sldId="2147482940"/>
                <pc2:cmMk id="{E57D5374-6956-48B0-8467-00E26793CE40}"/>
              </pc2:cmMkLst>
              <pc226:cmRplyChg chg="add">
                <pc226:chgData name="Janczewski, Piotr" userId="2467fbf0-2ef4-434e-b40e-471cd3a495c7" providerId="ADAL" clId="{FC6CD8D5-3861-4CA4-BA31-72924B4FB4E0}" dt="2024-03-04T13:46:51.719" v="1434"/>
                <pc2:cmRplyMkLst xmlns:pc2="http://schemas.microsoft.com/office/powerpoint/2019/9/main/command">
                  <pc:docMk/>
                  <pc:sldMk cId="1552949077" sldId="2147482940"/>
                  <pc2:cmMk id="{E57D5374-6956-48B0-8467-00E26793CE40}"/>
                  <pc2:cmRplyMk id="{7460E364-C61F-4B6A-A136-91C4711AA99E}"/>
                </pc2:cmRplyMkLst>
              </pc226:cmRplyChg>
            </pc226:cmChg>
          </p:ext>
        </pc:extLst>
      </pc:sldChg>
      <pc:sldMasterChg chg="delSldLayout">
        <pc:chgData name="Janczewski, Piotr" userId="2467fbf0-2ef4-434e-b40e-471cd3a495c7" providerId="ADAL" clId="{FC6CD8D5-3861-4CA4-BA31-72924B4FB4E0}" dt="2024-02-12T10:51:44.636" v="316" actId="47"/>
        <pc:sldMasterMkLst>
          <pc:docMk/>
          <pc:sldMasterMk cId="3566301427" sldId="2147484264"/>
        </pc:sldMasterMkLst>
        <pc:sldLayoutChg chg="del">
          <pc:chgData name="Janczewski, Piotr" userId="2467fbf0-2ef4-434e-b40e-471cd3a495c7" providerId="ADAL" clId="{FC6CD8D5-3861-4CA4-BA31-72924B4FB4E0}" dt="2024-02-12T10:51:44.636" v="316" actId="47"/>
          <pc:sldLayoutMkLst>
            <pc:docMk/>
            <pc:sldMasterMk cId="3566301427" sldId="2147484264"/>
            <pc:sldLayoutMk cId="3290197750" sldId="2147484779"/>
          </pc:sldLayoutMkLst>
        </pc:sldLayoutChg>
      </pc:sldMasterChg>
      <pc:sldMasterChg chg="delSldLayout">
        <pc:chgData name="Janczewski, Piotr" userId="2467fbf0-2ef4-434e-b40e-471cd3a495c7" providerId="ADAL" clId="{FC6CD8D5-3861-4CA4-BA31-72924B4FB4E0}" dt="2024-02-12T10:57:31.773" v="353" actId="47"/>
        <pc:sldMasterMkLst>
          <pc:docMk/>
          <pc:sldMasterMk cId="296688635" sldId="2147484633"/>
        </pc:sldMasterMkLst>
        <pc:sldLayoutChg chg="del">
          <pc:chgData name="Janczewski, Piotr" userId="2467fbf0-2ef4-434e-b40e-471cd3a495c7" providerId="ADAL" clId="{FC6CD8D5-3861-4CA4-BA31-72924B4FB4E0}" dt="2024-02-12T10:49:17.686" v="236" actId="47"/>
          <pc:sldLayoutMkLst>
            <pc:docMk/>
            <pc:sldMasterMk cId="296688635" sldId="2147484633"/>
            <pc:sldLayoutMk cId="3636894385" sldId="2147484768"/>
          </pc:sldLayoutMkLst>
        </pc:sldLayoutChg>
        <pc:sldLayoutChg chg="del">
          <pc:chgData name="Janczewski, Piotr" userId="2467fbf0-2ef4-434e-b40e-471cd3a495c7" providerId="ADAL" clId="{FC6CD8D5-3861-4CA4-BA31-72924B4FB4E0}" dt="2024-02-12T10:57:31.773" v="353" actId="47"/>
          <pc:sldLayoutMkLst>
            <pc:docMk/>
            <pc:sldMasterMk cId="296688635" sldId="2147484633"/>
            <pc:sldLayoutMk cId="2709065101" sldId="2147484771"/>
          </pc:sldLayoutMkLst>
        </pc:sldLayoutChg>
        <pc:sldLayoutChg chg="del">
          <pc:chgData name="Janczewski, Piotr" userId="2467fbf0-2ef4-434e-b40e-471cd3a495c7" providerId="ADAL" clId="{FC6CD8D5-3861-4CA4-BA31-72924B4FB4E0}" dt="2024-02-12T10:49:56.307" v="260" actId="47"/>
          <pc:sldLayoutMkLst>
            <pc:docMk/>
            <pc:sldMasterMk cId="296688635" sldId="2147484633"/>
            <pc:sldLayoutMk cId="3374600749" sldId="2147484772"/>
          </pc:sldLayoutMkLst>
        </pc:sldLayoutChg>
      </pc:sldMasterChg>
    </pc:docChg>
  </pc:docChgLst>
  <pc:docChgLst>
    <pc:chgData name="Mioduszewska, Joanna" userId="S::joanna.mioduszewska@accenture.com::81ce7990-eaad-4e2f-8cfd-9d7aecd250dd" providerId="AD" clId="Web-{5EE79236-9752-92AB-CCB9-6310E8DCB720}"/>
    <pc:docChg chg="sldOrd">
      <pc:chgData name="Mioduszewska, Joanna" userId="S::joanna.mioduszewska@accenture.com::81ce7990-eaad-4e2f-8cfd-9d7aecd250dd" providerId="AD" clId="Web-{5EE79236-9752-92AB-CCB9-6310E8DCB720}" dt="2024-02-12T13:27:51.666" v="0"/>
      <pc:docMkLst>
        <pc:docMk/>
      </pc:docMkLst>
      <pc:sldChg chg="ord">
        <pc:chgData name="Mioduszewska, Joanna" userId="S::joanna.mioduszewska@accenture.com::81ce7990-eaad-4e2f-8cfd-9d7aecd250dd" providerId="AD" clId="Web-{5EE79236-9752-92AB-CCB9-6310E8DCB720}" dt="2024-02-12T13:27:51.666" v="0"/>
        <pc:sldMkLst>
          <pc:docMk/>
          <pc:sldMk cId="242352550" sldId="2147482800"/>
        </pc:sldMkLst>
      </pc:sldChg>
    </pc:docChg>
  </pc:docChgLst>
  <pc:docChgLst>
    <pc:chgData name="Rytter, Tomasz" userId="c701fe2b-e57e-48b5-acda-e15b2a4f02cb" providerId="ADAL" clId="{A138A01E-BCC1-4A9B-9973-E37A4B971700}"/>
    <pc:docChg chg="modSld sldOrd">
      <pc:chgData name="Rytter, Tomasz" userId="c701fe2b-e57e-48b5-acda-e15b2a4f02cb" providerId="ADAL" clId="{A138A01E-BCC1-4A9B-9973-E37A4B971700}" dt="2024-03-27T10:36:59.825" v="1"/>
      <pc:docMkLst>
        <pc:docMk/>
      </pc:docMkLst>
      <pc:sldChg chg="ord">
        <pc:chgData name="Rytter, Tomasz" userId="c701fe2b-e57e-48b5-acda-e15b2a4f02cb" providerId="ADAL" clId="{A138A01E-BCC1-4A9B-9973-E37A4B971700}" dt="2024-03-27T10:36:59.825" v="1"/>
        <pc:sldMkLst>
          <pc:docMk/>
          <pc:sldMk cId="242352550" sldId="2147482800"/>
        </pc:sldMkLst>
      </pc:sldChg>
    </pc:docChg>
  </pc:docChgLst>
  <pc:docChgLst>
    <pc:chgData name="Parol, Dariusz" userId="S::dariusz.parol@accenture.com::cc06662d-a6b4-4211-9222-1a2bd36ad8d6" providerId="AD" clId="Web-{E38DDE39-73F7-3814-7390-C7AAC564B5C4}"/>
    <pc:docChg chg="modSld">
      <pc:chgData name="Parol, Dariusz" userId="S::dariusz.parol@accenture.com::cc06662d-a6b4-4211-9222-1a2bd36ad8d6" providerId="AD" clId="Web-{E38DDE39-73F7-3814-7390-C7AAC564B5C4}" dt="2024-02-14T08:43:38.274" v="40" actId="20577"/>
      <pc:docMkLst>
        <pc:docMk/>
      </pc:docMkLst>
      <pc:sldChg chg="addSp modSp">
        <pc:chgData name="Parol, Dariusz" userId="S::dariusz.parol@accenture.com::cc06662d-a6b4-4211-9222-1a2bd36ad8d6" providerId="AD" clId="Web-{E38DDE39-73F7-3814-7390-C7AAC564B5C4}" dt="2024-02-14T08:43:38.274" v="40" actId="20577"/>
        <pc:sldMkLst>
          <pc:docMk/>
          <pc:sldMk cId="1552949077" sldId="2147482940"/>
        </pc:sldMkLst>
        <pc:spChg chg="add mod">
          <ac:chgData name="Parol, Dariusz" userId="S::dariusz.parol@accenture.com::cc06662d-a6b4-4211-9222-1a2bd36ad8d6" providerId="AD" clId="Web-{E38DDE39-73F7-3814-7390-C7AAC564B5C4}" dt="2024-02-14T08:42:23.850" v="16" actId="14100"/>
          <ac:spMkLst>
            <pc:docMk/>
            <pc:sldMk cId="1552949077" sldId="2147482940"/>
            <ac:spMk id="5" creationId="{28220593-1ABD-152E-031A-43597744583B}"/>
          </ac:spMkLst>
        </pc:spChg>
        <pc:spChg chg="mod">
          <ac:chgData name="Parol, Dariusz" userId="S::dariusz.parol@accenture.com::cc06662d-a6b4-4211-9222-1a2bd36ad8d6" providerId="AD" clId="Web-{E38DDE39-73F7-3814-7390-C7AAC564B5C4}" dt="2024-02-14T08:43:21.805" v="34" actId="20577"/>
          <ac:spMkLst>
            <pc:docMk/>
            <pc:sldMk cId="1552949077" sldId="2147482940"/>
            <ac:spMk id="6" creationId="{1A51913E-3E1E-A772-1449-356F34A13A83}"/>
          </ac:spMkLst>
        </pc:spChg>
        <pc:spChg chg="mod">
          <ac:chgData name="Parol, Dariusz" userId="S::dariusz.parol@accenture.com::cc06662d-a6b4-4211-9222-1a2bd36ad8d6" providerId="AD" clId="Web-{E38DDE39-73F7-3814-7390-C7AAC564B5C4}" dt="2024-02-14T08:42:27.991" v="19" actId="20577"/>
          <ac:spMkLst>
            <pc:docMk/>
            <pc:sldMk cId="1552949077" sldId="2147482940"/>
            <ac:spMk id="8" creationId="{D945257B-1A30-331F-8EED-D211FD49E5F4}"/>
          </ac:spMkLst>
        </pc:spChg>
        <pc:spChg chg="add mod">
          <ac:chgData name="Parol, Dariusz" userId="S::dariusz.parol@accenture.com::cc06662d-a6b4-4211-9222-1a2bd36ad8d6" providerId="AD" clId="Web-{E38DDE39-73F7-3814-7390-C7AAC564B5C4}" dt="2024-02-14T08:42:46.726" v="33" actId="20577"/>
          <ac:spMkLst>
            <pc:docMk/>
            <pc:sldMk cId="1552949077" sldId="2147482940"/>
            <ac:spMk id="13" creationId="{2E7C6E65-B944-5F87-7220-7CD46636F08B}"/>
          </ac:spMkLst>
        </pc:spChg>
        <pc:spChg chg="mod">
          <ac:chgData name="Parol, Dariusz" userId="S::dariusz.parol@accenture.com::cc06662d-a6b4-4211-9222-1a2bd36ad8d6" providerId="AD" clId="Web-{E38DDE39-73F7-3814-7390-C7AAC564B5C4}" dt="2024-02-14T08:43:38.274" v="40" actId="20577"/>
          <ac:spMkLst>
            <pc:docMk/>
            <pc:sldMk cId="1552949077" sldId="2147482940"/>
            <ac:spMk id="1460" creationId="{6CD7B4CB-8F5B-9F4A-486A-9401C19F97F4}"/>
          </ac:spMkLst>
        </pc:spChg>
        <pc:grpChg chg="add mod">
          <ac:chgData name="Parol, Dariusz" userId="S::dariusz.parol@accenture.com::cc06662d-a6b4-4211-9222-1a2bd36ad8d6" providerId="AD" clId="Web-{E38DDE39-73F7-3814-7390-C7AAC564B5C4}" dt="2024-02-14T08:42:41.741" v="22" actId="1076"/>
          <ac:grpSpMkLst>
            <pc:docMk/>
            <pc:sldMk cId="1552949077" sldId="2147482940"/>
            <ac:grpSpMk id="9" creationId="{E307377B-CF61-D173-CFEC-20FB096BEBC2}"/>
          </ac:grpSpMkLst>
        </pc:grpChg>
      </pc:sldChg>
    </pc:docChg>
  </pc:docChgLst>
  <pc:docChgLst>
    <pc:chgData name="Surdacki, Lukasz" userId="ce123e74-4454-46c1-bb0c-668acd036729" providerId="ADAL" clId="{0AD16CB7-A5B1-4892-805D-F6CD613CC900}"/>
    <pc:docChg chg="custSel modSld">
      <pc:chgData name="Surdacki, Lukasz" userId="ce123e74-4454-46c1-bb0c-668acd036729" providerId="ADAL" clId="{0AD16CB7-A5B1-4892-805D-F6CD613CC900}" dt="2024-02-05T16:43:58.630" v="6" actId="6549"/>
      <pc:docMkLst>
        <pc:docMk/>
      </pc:docMkLst>
      <pc:sldChg chg="addSp delSp modSp mod">
        <pc:chgData name="Surdacki, Lukasz" userId="ce123e74-4454-46c1-bb0c-668acd036729" providerId="ADAL" clId="{0AD16CB7-A5B1-4892-805D-F6CD613CC900}" dt="2024-02-05T16:43:58.630" v="6" actId="6549"/>
        <pc:sldMkLst>
          <pc:docMk/>
          <pc:sldMk cId="2642716449" sldId="2147482934"/>
        </pc:sldMkLst>
        <pc:spChg chg="del">
          <ac:chgData name="Surdacki, Lukasz" userId="ce123e74-4454-46c1-bb0c-668acd036729" providerId="ADAL" clId="{0AD16CB7-A5B1-4892-805D-F6CD613CC900}" dt="2024-02-05T16:40:29.116" v="0" actId="478"/>
          <ac:spMkLst>
            <pc:docMk/>
            <pc:sldMk cId="2642716449" sldId="2147482934"/>
            <ac:spMk id="2" creationId="{7426CCBC-07E4-521A-9F3E-9B212A93FDAB}"/>
          </ac:spMkLst>
        </pc:spChg>
        <pc:spChg chg="add mod">
          <ac:chgData name="Surdacki, Lukasz" userId="ce123e74-4454-46c1-bb0c-668acd036729" providerId="ADAL" clId="{0AD16CB7-A5B1-4892-805D-F6CD613CC900}" dt="2024-02-05T16:40:38.233" v="2" actId="1076"/>
          <ac:spMkLst>
            <pc:docMk/>
            <pc:sldMk cId="2642716449" sldId="2147482934"/>
            <ac:spMk id="3" creationId="{F4365164-10D2-A2CA-FCB7-B2CE9F07B671}"/>
          </ac:spMkLst>
        </pc:spChg>
        <pc:spChg chg="add mod">
          <ac:chgData name="Surdacki, Lukasz" userId="ce123e74-4454-46c1-bb0c-668acd036729" providerId="ADAL" clId="{0AD16CB7-A5B1-4892-805D-F6CD613CC900}" dt="2024-02-05T16:40:38.233" v="2" actId="1076"/>
          <ac:spMkLst>
            <pc:docMk/>
            <pc:sldMk cId="2642716449" sldId="2147482934"/>
            <ac:spMk id="6" creationId="{3FE7A3C2-EC0B-A56F-6223-40A5A19539B2}"/>
          </ac:spMkLst>
        </pc:spChg>
        <pc:spChg chg="add mod">
          <ac:chgData name="Surdacki, Lukasz" userId="ce123e74-4454-46c1-bb0c-668acd036729" providerId="ADAL" clId="{0AD16CB7-A5B1-4892-805D-F6CD613CC900}" dt="2024-02-05T16:40:38.233" v="2" actId="1076"/>
          <ac:spMkLst>
            <pc:docMk/>
            <pc:sldMk cId="2642716449" sldId="2147482934"/>
            <ac:spMk id="7" creationId="{33297537-59F1-E6F1-BC39-27D084D84EED}"/>
          </ac:spMkLst>
        </pc:spChg>
        <pc:spChg chg="add mod">
          <ac:chgData name="Surdacki, Lukasz" userId="ce123e74-4454-46c1-bb0c-668acd036729" providerId="ADAL" clId="{0AD16CB7-A5B1-4892-805D-F6CD613CC900}" dt="2024-02-05T16:40:38.233" v="2" actId="1076"/>
          <ac:spMkLst>
            <pc:docMk/>
            <pc:sldMk cId="2642716449" sldId="2147482934"/>
            <ac:spMk id="8" creationId="{AC81F5AB-174D-1083-4332-89EB7A1C02EC}"/>
          </ac:spMkLst>
        </pc:spChg>
        <pc:spChg chg="add mod">
          <ac:chgData name="Surdacki, Lukasz" userId="ce123e74-4454-46c1-bb0c-668acd036729" providerId="ADAL" clId="{0AD16CB7-A5B1-4892-805D-F6CD613CC900}" dt="2024-02-05T16:40:38.233" v="2" actId="1076"/>
          <ac:spMkLst>
            <pc:docMk/>
            <pc:sldMk cId="2642716449" sldId="2147482934"/>
            <ac:spMk id="9" creationId="{2B65993D-7A66-9640-1098-C9EA584FB94D}"/>
          </ac:spMkLst>
        </pc:spChg>
        <pc:spChg chg="add mod">
          <ac:chgData name="Surdacki, Lukasz" userId="ce123e74-4454-46c1-bb0c-668acd036729" providerId="ADAL" clId="{0AD16CB7-A5B1-4892-805D-F6CD613CC900}" dt="2024-02-05T16:40:38.233" v="2" actId="1076"/>
          <ac:spMkLst>
            <pc:docMk/>
            <pc:sldMk cId="2642716449" sldId="2147482934"/>
            <ac:spMk id="12" creationId="{450A39DB-B68B-530C-DC49-5358113B7D8B}"/>
          </ac:spMkLst>
        </pc:spChg>
        <pc:spChg chg="add mod">
          <ac:chgData name="Surdacki, Lukasz" userId="ce123e74-4454-46c1-bb0c-668acd036729" providerId="ADAL" clId="{0AD16CB7-A5B1-4892-805D-F6CD613CC900}" dt="2024-02-05T16:40:38.233" v="2" actId="1076"/>
          <ac:spMkLst>
            <pc:docMk/>
            <pc:sldMk cId="2642716449" sldId="2147482934"/>
            <ac:spMk id="13" creationId="{D2A26715-6D21-793D-8C82-F795FC0C7210}"/>
          </ac:spMkLst>
        </pc:spChg>
        <pc:spChg chg="add mod">
          <ac:chgData name="Surdacki, Lukasz" userId="ce123e74-4454-46c1-bb0c-668acd036729" providerId="ADAL" clId="{0AD16CB7-A5B1-4892-805D-F6CD613CC900}" dt="2024-02-05T16:40:38.233" v="2" actId="1076"/>
          <ac:spMkLst>
            <pc:docMk/>
            <pc:sldMk cId="2642716449" sldId="2147482934"/>
            <ac:spMk id="16" creationId="{2E248C77-BD3C-5A76-C950-7812E6E97013}"/>
          </ac:spMkLst>
        </pc:spChg>
        <pc:spChg chg="add mod">
          <ac:chgData name="Surdacki, Lukasz" userId="ce123e74-4454-46c1-bb0c-668acd036729" providerId="ADAL" clId="{0AD16CB7-A5B1-4892-805D-F6CD613CC900}" dt="2024-02-05T16:40:38.233" v="2" actId="1076"/>
          <ac:spMkLst>
            <pc:docMk/>
            <pc:sldMk cId="2642716449" sldId="2147482934"/>
            <ac:spMk id="17" creationId="{84279EA6-C54C-E4FF-5A20-CAB6CC0C7A06}"/>
          </ac:spMkLst>
        </pc:spChg>
        <pc:spChg chg="add mod ord modCrop">
          <ac:chgData name="Surdacki, Lukasz" userId="ce123e74-4454-46c1-bb0c-668acd036729" providerId="ADAL" clId="{0AD16CB7-A5B1-4892-805D-F6CD613CC900}" dt="2024-02-05T16:41:28.817" v="5" actId="732"/>
          <ac:spMkLst>
            <pc:docMk/>
            <pc:sldMk cId="2642716449" sldId="2147482934"/>
            <ac:spMk id="18" creationId="{026A890D-6FC4-0282-F197-6F9F10E597F8}"/>
          </ac:spMkLst>
        </pc:spChg>
        <pc:spChg chg="mod">
          <ac:chgData name="Surdacki, Lukasz" userId="ce123e74-4454-46c1-bb0c-668acd036729" providerId="ADAL" clId="{0AD16CB7-A5B1-4892-805D-F6CD613CC900}" dt="2024-02-05T16:43:58.630" v="6" actId="6549"/>
          <ac:spMkLst>
            <pc:docMk/>
            <pc:sldMk cId="2642716449" sldId="2147482934"/>
            <ac:spMk id="62" creationId="{A1D7F4F8-67CE-5416-5F78-FFE7A5CBAA90}"/>
          </ac:spMkLst>
        </pc:spChg>
        <pc:picChg chg="add mod">
          <ac:chgData name="Surdacki, Lukasz" userId="ce123e74-4454-46c1-bb0c-668acd036729" providerId="ADAL" clId="{0AD16CB7-A5B1-4892-805D-F6CD613CC900}" dt="2024-02-05T16:40:38.233" v="2" actId="1076"/>
          <ac:picMkLst>
            <pc:docMk/>
            <pc:sldMk cId="2642716449" sldId="2147482934"/>
            <ac:picMk id="10" creationId="{0BCF2944-1BD3-91F1-3418-CED2D52A5B9B}"/>
          </ac:picMkLst>
        </pc:picChg>
        <pc:picChg chg="add mod">
          <ac:chgData name="Surdacki, Lukasz" userId="ce123e74-4454-46c1-bb0c-668acd036729" providerId="ADAL" clId="{0AD16CB7-A5B1-4892-805D-F6CD613CC900}" dt="2024-02-05T16:40:38.233" v="2" actId="1076"/>
          <ac:picMkLst>
            <pc:docMk/>
            <pc:sldMk cId="2642716449" sldId="2147482934"/>
            <ac:picMk id="11" creationId="{3C52C5EE-29E5-20B6-07FA-2218F4C0C8B5}"/>
          </ac:picMkLst>
        </pc:picChg>
        <pc:picChg chg="add mod">
          <ac:chgData name="Surdacki, Lukasz" userId="ce123e74-4454-46c1-bb0c-668acd036729" providerId="ADAL" clId="{0AD16CB7-A5B1-4892-805D-F6CD613CC900}" dt="2024-02-05T16:40:38.233" v="2" actId="1076"/>
          <ac:picMkLst>
            <pc:docMk/>
            <pc:sldMk cId="2642716449" sldId="2147482934"/>
            <ac:picMk id="14" creationId="{B6C630FF-D24F-4FAE-220C-7E46E10852EB}"/>
          </ac:picMkLst>
        </pc:picChg>
        <pc:picChg chg="add mod">
          <ac:chgData name="Surdacki, Lukasz" userId="ce123e74-4454-46c1-bb0c-668acd036729" providerId="ADAL" clId="{0AD16CB7-A5B1-4892-805D-F6CD613CC900}" dt="2024-02-05T16:40:38.233" v="2" actId="1076"/>
          <ac:picMkLst>
            <pc:docMk/>
            <pc:sldMk cId="2642716449" sldId="2147482934"/>
            <ac:picMk id="15" creationId="{C503D942-F111-4992-DACB-014DE7DE5E9E}"/>
          </ac:picMkLst>
        </pc:picChg>
      </pc:sldChg>
    </pc:docChg>
  </pc:docChgLst>
  <pc:docChgLst>
    <pc:chgData name="Janczewski, Piotr" userId="S::piotr.janczewski@accenture.com::2467fbf0-2ef4-434e-b40e-471cd3a495c7" providerId="AD" clId="Web-{031CD3FE-5518-0145-17B4-41254E38CAA5}"/>
    <pc:docChg chg="modSld">
      <pc:chgData name="Janczewski, Piotr" userId="S::piotr.janczewski@accenture.com::2467fbf0-2ef4-434e-b40e-471cd3a495c7" providerId="AD" clId="Web-{031CD3FE-5518-0145-17B4-41254E38CAA5}" dt="2024-01-31T12:16:27.040" v="17" actId="1076"/>
      <pc:docMkLst>
        <pc:docMk/>
      </pc:docMkLst>
      <pc:sldChg chg="modSp">
        <pc:chgData name="Janczewski, Piotr" userId="S::piotr.janczewski@accenture.com::2467fbf0-2ef4-434e-b40e-471cd3a495c7" providerId="AD" clId="Web-{031CD3FE-5518-0145-17B4-41254E38CAA5}" dt="2024-01-31T12:16:27.040" v="17" actId="1076"/>
        <pc:sldMkLst>
          <pc:docMk/>
          <pc:sldMk cId="2056897824" sldId="2147480549"/>
        </pc:sldMkLst>
        <pc:grpChg chg="mod">
          <ac:chgData name="Janczewski, Piotr" userId="S::piotr.janczewski@accenture.com::2467fbf0-2ef4-434e-b40e-471cd3a495c7" providerId="AD" clId="Web-{031CD3FE-5518-0145-17B4-41254E38CAA5}" dt="2024-01-31T12:16:09.493" v="11" actId="1076"/>
          <ac:grpSpMkLst>
            <pc:docMk/>
            <pc:sldMk cId="2056897824" sldId="2147480549"/>
            <ac:grpSpMk id="31" creationId="{EDCE2EC2-7599-06A0-DDA2-2C7246716E26}"/>
          </ac:grpSpMkLst>
        </pc:grpChg>
        <pc:picChg chg="mod">
          <ac:chgData name="Janczewski, Piotr" userId="S::piotr.janczewski@accenture.com::2467fbf0-2ef4-434e-b40e-471cd3a495c7" providerId="AD" clId="Web-{031CD3FE-5518-0145-17B4-41254E38CAA5}" dt="2024-01-31T12:16:17.165" v="14" actId="1076"/>
          <ac:picMkLst>
            <pc:docMk/>
            <pc:sldMk cId="2056897824" sldId="2147480549"/>
            <ac:picMk id="56" creationId="{BE19E3D9-33C5-6C34-5047-DE3811D4AFDB}"/>
          </ac:picMkLst>
        </pc:picChg>
        <pc:picChg chg="mod">
          <ac:chgData name="Janczewski, Piotr" userId="S::piotr.janczewski@accenture.com::2467fbf0-2ef4-434e-b40e-471cd3a495c7" providerId="AD" clId="Web-{031CD3FE-5518-0145-17B4-41254E38CAA5}" dt="2024-01-31T12:16:12.462" v="12" actId="1076"/>
          <ac:picMkLst>
            <pc:docMk/>
            <pc:sldMk cId="2056897824" sldId="2147480549"/>
            <ac:picMk id="58" creationId="{BE1BB854-1ABA-2481-03AE-CAB38878A859}"/>
          </ac:picMkLst>
        </pc:picChg>
        <pc:picChg chg="mod">
          <ac:chgData name="Janczewski, Piotr" userId="S::piotr.janczewski@accenture.com::2467fbf0-2ef4-434e-b40e-471cd3a495c7" providerId="AD" clId="Web-{031CD3FE-5518-0145-17B4-41254E38CAA5}" dt="2024-01-31T12:16:27.040" v="17" actId="1076"/>
          <ac:picMkLst>
            <pc:docMk/>
            <pc:sldMk cId="2056897824" sldId="2147480549"/>
            <ac:picMk id="60" creationId="{8D2BCC59-23DE-352C-E98C-56EB5C2B0993}"/>
          </ac:picMkLst>
        </pc:picChg>
      </pc:sldChg>
      <pc:sldChg chg="modSp">
        <pc:chgData name="Janczewski, Piotr" userId="S::piotr.janczewski@accenture.com::2467fbf0-2ef4-434e-b40e-471cd3a495c7" providerId="AD" clId="Web-{031CD3FE-5518-0145-17B4-41254E38CAA5}" dt="2024-01-31T10:02:59.840" v="4" actId="20577"/>
        <pc:sldMkLst>
          <pc:docMk/>
          <pc:sldMk cId="242352550" sldId="2147482800"/>
        </pc:sldMkLst>
        <pc:spChg chg="mod">
          <ac:chgData name="Janczewski, Piotr" userId="S::piotr.janczewski@accenture.com::2467fbf0-2ef4-434e-b40e-471cd3a495c7" providerId="AD" clId="Web-{031CD3FE-5518-0145-17B4-41254E38CAA5}" dt="2024-01-31T10:02:59.840" v="4" actId="20577"/>
          <ac:spMkLst>
            <pc:docMk/>
            <pc:sldMk cId="242352550" sldId="2147482800"/>
            <ac:spMk id="3" creationId="{2272D2F1-10EF-46D5-80A8-596A4B4D571F}"/>
          </ac:spMkLst>
        </pc:spChg>
      </pc:sldChg>
    </pc:docChg>
  </pc:docChgLst>
  <pc:docChgLst>
    <pc:chgData name="Surdacki, Lukasz" userId="S::lukasz.surdacki@accenture.com::ce123e74-4454-46c1-bb0c-668acd036729" providerId="AD" clId="Web-{970DCFEF-A493-863C-CA63-45D42E795FC5}"/>
    <pc:docChg chg="sldOrd">
      <pc:chgData name="Surdacki, Lukasz" userId="S::lukasz.surdacki@accenture.com::ce123e74-4454-46c1-bb0c-668acd036729" providerId="AD" clId="Web-{970DCFEF-A493-863C-CA63-45D42E795FC5}" dt="2024-02-02T09:02:12.672" v="0"/>
      <pc:docMkLst>
        <pc:docMk/>
      </pc:docMkLst>
      <pc:sldChg chg="ord">
        <pc:chgData name="Surdacki, Lukasz" userId="S::lukasz.surdacki@accenture.com::ce123e74-4454-46c1-bb0c-668acd036729" providerId="AD" clId="Web-{970DCFEF-A493-863C-CA63-45D42E795FC5}" dt="2024-02-02T09:02:12.672" v="0"/>
        <pc:sldMkLst>
          <pc:docMk/>
          <pc:sldMk cId="2642716449" sldId="2147482934"/>
        </pc:sldMkLst>
      </pc:sldChg>
    </pc:docChg>
  </pc:docChgLst>
  <pc:docChgLst>
    <pc:chgData name="Mioduszewska, Joanna" userId="81ce7990-eaad-4e2f-8cfd-9d7aecd250dd" providerId="ADAL" clId="{58DBB000-3DB8-4E22-BC30-07C62D71C3DD}"/>
    <pc:docChg chg="undo redo custSel addSld delSld modSld modSection">
      <pc:chgData name="Mioduszewska, Joanna" userId="81ce7990-eaad-4e2f-8cfd-9d7aecd250dd" providerId="ADAL" clId="{58DBB000-3DB8-4E22-BC30-07C62D71C3DD}" dt="2024-02-13T14:04:54.175" v="1325" actId="1037"/>
      <pc:docMkLst>
        <pc:docMk/>
      </pc:docMkLst>
      <pc:sldChg chg="addSp delSp modSp add del mod">
        <pc:chgData name="Mioduszewska, Joanna" userId="81ce7990-eaad-4e2f-8cfd-9d7aecd250dd" providerId="ADAL" clId="{58DBB000-3DB8-4E22-BC30-07C62D71C3DD}" dt="2024-02-12T15:57:53.974" v="620" actId="47"/>
        <pc:sldMkLst>
          <pc:docMk/>
          <pc:sldMk cId="1117492469" sldId="2147468916"/>
        </pc:sldMkLst>
        <pc:spChg chg="add mod">
          <ac:chgData name="Mioduszewska, Joanna" userId="81ce7990-eaad-4e2f-8cfd-9d7aecd250dd" providerId="ADAL" clId="{58DBB000-3DB8-4E22-BC30-07C62D71C3DD}" dt="2024-02-12T15:47:40.557" v="486" actId="478"/>
          <ac:spMkLst>
            <pc:docMk/>
            <pc:sldMk cId="1117492469" sldId="2147468916"/>
            <ac:spMk id="6" creationId="{EDCAAE44-75F6-FE91-94AE-E085869560E9}"/>
          </ac:spMkLst>
        </pc:spChg>
        <pc:spChg chg="mod">
          <ac:chgData name="Mioduszewska, Joanna" userId="81ce7990-eaad-4e2f-8cfd-9d7aecd250dd" providerId="ADAL" clId="{58DBB000-3DB8-4E22-BC30-07C62D71C3DD}" dt="2024-02-12T15:48:28.870" v="497" actId="255"/>
          <ac:spMkLst>
            <pc:docMk/>
            <pc:sldMk cId="1117492469" sldId="2147468916"/>
            <ac:spMk id="11" creationId="{D0700DDB-538D-143C-8391-53E9D36DE37E}"/>
          </ac:spMkLst>
        </pc:spChg>
        <pc:spChg chg="mod">
          <ac:chgData name="Mioduszewska, Joanna" userId="81ce7990-eaad-4e2f-8cfd-9d7aecd250dd" providerId="ADAL" clId="{58DBB000-3DB8-4E22-BC30-07C62D71C3DD}" dt="2024-02-12T15:48:28.870" v="497" actId="255"/>
          <ac:spMkLst>
            <pc:docMk/>
            <pc:sldMk cId="1117492469" sldId="2147468916"/>
            <ac:spMk id="15" creationId="{F8129722-BAEA-4E5D-91C8-1AFF0CAE7641}"/>
          </ac:spMkLst>
        </pc:spChg>
        <pc:spChg chg="mod">
          <ac:chgData name="Mioduszewska, Joanna" userId="81ce7990-eaad-4e2f-8cfd-9d7aecd250dd" providerId="ADAL" clId="{58DBB000-3DB8-4E22-BC30-07C62D71C3DD}" dt="2024-02-12T15:48:28.870" v="497" actId="255"/>
          <ac:spMkLst>
            <pc:docMk/>
            <pc:sldMk cId="1117492469" sldId="2147468916"/>
            <ac:spMk id="16" creationId="{A3E740BA-D9B9-8115-B39C-07D64148CD67}"/>
          </ac:spMkLst>
        </pc:spChg>
        <pc:spChg chg="mod">
          <ac:chgData name="Mioduszewska, Joanna" userId="81ce7990-eaad-4e2f-8cfd-9d7aecd250dd" providerId="ADAL" clId="{58DBB000-3DB8-4E22-BC30-07C62D71C3DD}" dt="2024-02-12T15:48:28.870" v="497" actId="255"/>
          <ac:spMkLst>
            <pc:docMk/>
            <pc:sldMk cId="1117492469" sldId="2147468916"/>
            <ac:spMk id="18" creationId="{855E768D-A930-A1AB-5E4B-3CA0E7899EB4}"/>
          </ac:spMkLst>
        </pc:spChg>
        <pc:spChg chg="mod">
          <ac:chgData name="Mioduszewska, Joanna" userId="81ce7990-eaad-4e2f-8cfd-9d7aecd250dd" providerId="ADAL" clId="{58DBB000-3DB8-4E22-BC30-07C62D71C3DD}" dt="2024-02-12T15:48:28.870" v="497" actId="255"/>
          <ac:spMkLst>
            <pc:docMk/>
            <pc:sldMk cId="1117492469" sldId="2147468916"/>
            <ac:spMk id="20" creationId="{D4BD7577-FEAA-BD23-018A-3F606D2FE863}"/>
          </ac:spMkLst>
        </pc:spChg>
        <pc:spChg chg="mod">
          <ac:chgData name="Mioduszewska, Joanna" userId="81ce7990-eaad-4e2f-8cfd-9d7aecd250dd" providerId="ADAL" clId="{58DBB000-3DB8-4E22-BC30-07C62D71C3DD}" dt="2024-02-12T15:48:28.870" v="497" actId="255"/>
          <ac:spMkLst>
            <pc:docMk/>
            <pc:sldMk cId="1117492469" sldId="2147468916"/>
            <ac:spMk id="21" creationId="{34791BF6-5596-89B3-117F-0143E8D0423F}"/>
          </ac:spMkLst>
        </pc:spChg>
        <pc:spChg chg="mod">
          <ac:chgData name="Mioduszewska, Joanna" userId="81ce7990-eaad-4e2f-8cfd-9d7aecd250dd" providerId="ADAL" clId="{58DBB000-3DB8-4E22-BC30-07C62D71C3DD}" dt="2024-02-12T15:48:28.870" v="497" actId="255"/>
          <ac:spMkLst>
            <pc:docMk/>
            <pc:sldMk cId="1117492469" sldId="2147468916"/>
            <ac:spMk id="23" creationId="{3BA7FEE7-5F4C-3CBD-6A20-4348429BF883}"/>
          </ac:spMkLst>
        </pc:spChg>
        <pc:spChg chg="mod">
          <ac:chgData name="Mioduszewska, Joanna" userId="81ce7990-eaad-4e2f-8cfd-9d7aecd250dd" providerId="ADAL" clId="{58DBB000-3DB8-4E22-BC30-07C62D71C3DD}" dt="2024-02-12T15:48:28.870" v="497" actId="255"/>
          <ac:spMkLst>
            <pc:docMk/>
            <pc:sldMk cId="1117492469" sldId="2147468916"/>
            <ac:spMk id="25" creationId="{3DE81869-E6A6-D74E-2D2F-1C829438C795}"/>
          </ac:spMkLst>
        </pc:spChg>
        <pc:spChg chg="mod">
          <ac:chgData name="Mioduszewska, Joanna" userId="81ce7990-eaad-4e2f-8cfd-9d7aecd250dd" providerId="ADAL" clId="{58DBB000-3DB8-4E22-BC30-07C62D71C3DD}" dt="2024-02-12T15:48:28.870" v="497" actId="255"/>
          <ac:spMkLst>
            <pc:docMk/>
            <pc:sldMk cId="1117492469" sldId="2147468916"/>
            <ac:spMk id="26" creationId="{544F9795-DB80-F3CA-A9F6-52E207B26BC7}"/>
          </ac:spMkLst>
        </pc:spChg>
        <pc:spChg chg="mod">
          <ac:chgData name="Mioduszewska, Joanna" userId="81ce7990-eaad-4e2f-8cfd-9d7aecd250dd" providerId="ADAL" clId="{58DBB000-3DB8-4E22-BC30-07C62D71C3DD}" dt="2024-02-12T15:48:28.870" v="497" actId="255"/>
          <ac:spMkLst>
            <pc:docMk/>
            <pc:sldMk cId="1117492469" sldId="2147468916"/>
            <ac:spMk id="28" creationId="{DCB9DFCA-AD7D-223D-3DD5-F73088C33AF1}"/>
          </ac:spMkLst>
        </pc:spChg>
        <pc:spChg chg="del">
          <ac:chgData name="Mioduszewska, Joanna" userId="81ce7990-eaad-4e2f-8cfd-9d7aecd250dd" providerId="ADAL" clId="{58DBB000-3DB8-4E22-BC30-07C62D71C3DD}" dt="2024-02-12T15:47:40.557" v="486" actId="478"/>
          <ac:spMkLst>
            <pc:docMk/>
            <pc:sldMk cId="1117492469" sldId="2147468916"/>
            <ac:spMk id="33" creationId="{07D961CD-948B-F4E5-B88F-B47DD64ABC60}"/>
          </ac:spMkLst>
        </pc:spChg>
        <pc:spChg chg="del">
          <ac:chgData name="Mioduszewska, Joanna" userId="81ce7990-eaad-4e2f-8cfd-9d7aecd250dd" providerId="ADAL" clId="{58DBB000-3DB8-4E22-BC30-07C62D71C3DD}" dt="2024-02-12T15:47:37.414" v="484" actId="478"/>
          <ac:spMkLst>
            <pc:docMk/>
            <pc:sldMk cId="1117492469" sldId="2147468916"/>
            <ac:spMk id="34" creationId="{B380988B-8CC2-E652-93E2-810DE6FCA789}"/>
          </ac:spMkLst>
        </pc:spChg>
        <pc:spChg chg="del mod">
          <ac:chgData name="Mioduszewska, Joanna" userId="81ce7990-eaad-4e2f-8cfd-9d7aecd250dd" providerId="ADAL" clId="{58DBB000-3DB8-4E22-BC30-07C62D71C3DD}" dt="2024-02-12T15:47:55.651" v="491" actId="478"/>
          <ac:spMkLst>
            <pc:docMk/>
            <pc:sldMk cId="1117492469" sldId="2147468916"/>
            <ac:spMk id="35" creationId="{AB993E63-D813-4499-4ADA-3D11619E9377}"/>
          </ac:spMkLst>
        </pc:spChg>
        <pc:spChg chg="del mod">
          <ac:chgData name="Mioduszewska, Joanna" userId="81ce7990-eaad-4e2f-8cfd-9d7aecd250dd" providerId="ADAL" clId="{58DBB000-3DB8-4E22-BC30-07C62D71C3DD}" dt="2024-02-12T15:47:58.187" v="492" actId="478"/>
          <ac:spMkLst>
            <pc:docMk/>
            <pc:sldMk cId="1117492469" sldId="2147468916"/>
            <ac:spMk id="36" creationId="{430FC9F8-51AA-5796-5585-72290E90EC22}"/>
          </ac:spMkLst>
        </pc:spChg>
        <pc:spChg chg="del">
          <ac:chgData name="Mioduszewska, Joanna" userId="81ce7990-eaad-4e2f-8cfd-9d7aecd250dd" providerId="ADAL" clId="{58DBB000-3DB8-4E22-BC30-07C62D71C3DD}" dt="2024-02-12T15:47:42.382" v="487" actId="478"/>
          <ac:spMkLst>
            <pc:docMk/>
            <pc:sldMk cId="1117492469" sldId="2147468916"/>
            <ac:spMk id="40" creationId="{18B70B37-61A1-3D25-DC8C-0AC79F08BFC7}"/>
          </ac:spMkLst>
        </pc:spChg>
        <pc:spChg chg="del">
          <ac:chgData name="Mioduszewska, Joanna" userId="81ce7990-eaad-4e2f-8cfd-9d7aecd250dd" providerId="ADAL" clId="{58DBB000-3DB8-4E22-BC30-07C62D71C3DD}" dt="2024-02-12T15:47:39.008" v="485" actId="478"/>
          <ac:spMkLst>
            <pc:docMk/>
            <pc:sldMk cId="1117492469" sldId="2147468916"/>
            <ac:spMk id="41" creationId="{D12B7E3D-2B8B-34F0-7D16-217DF3A0A7B2}"/>
          </ac:spMkLst>
        </pc:spChg>
        <pc:grpChg chg="add mod">
          <ac:chgData name="Mioduszewska, Joanna" userId="81ce7990-eaad-4e2f-8cfd-9d7aecd250dd" providerId="ADAL" clId="{58DBB000-3DB8-4E22-BC30-07C62D71C3DD}" dt="2024-02-12T15:47:29.484" v="483" actId="164"/>
          <ac:grpSpMkLst>
            <pc:docMk/>
            <pc:sldMk cId="1117492469" sldId="2147468916"/>
            <ac:grpSpMk id="2" creationId="{2A3AC843-3501-C453-8387-44735F2AC363}"/>
          </ac:grpSpMkLst>
        </pc:grpChg>
        <pc:grpChg chg="add mod">
          <ac:chgData name="Mioduszewska, Joanna" userId="81ce7990-eaad-4e2f-8cfd-9d7aecd250dd" providerId="ADAL" clId="{58DBB000-3DB8-4E22-BC30-07C62D71C3DD}" dt="2024-02-12T15:48:37.257" v="498" actId="1076"/>
          <ac:grpSpMkLst>
            <pc:docMk/>
            <pc:sldMk cId="1117492469" sldId="2147468916"/>
            <ac:grpSpMk id="7" creationId="{84FA75A2-61EC-D818-BBEB-A7366FBF95F7}"/>
          </ac:grpSpMkLst>
        </pc:grpChg>
        <pc:picChg chg="mod">
          <ac:chgData name="Mioduszewska, Joanna" userId="81ce7990-eaad-4e2f-8cfd-9d7aecd250dd" providerId="ADAL" clId="{58DBB000-3DB8-4E22-BC30-07C62D71C3DD}" dt="2024-02-12T15:47:52.830" v="490" actId="164"/>
          <ac:picMkLst>
            <pc:docMk/>
            <pc:sldMk cId="1117492469" sldId="2147468916"/>
            <ac:picMk id="3" creationId="{FC066503-A88F-D2B4-4B0D-D522B8FBEA7C}"/>
          </ac:picMkLst>
        </pc:picChg>
        <pc:picChg chg="mod">
          <ac:chgData name="Mioduszewska, Joanna" userId="81ce7990-eaad-4e2f-8cfd-9d7aecd250dd" providerId="ADAL" clId="{58DBB000-3DB8-4E22-BC30-07C62D71C3DD}" dt="2024-02-12T15:56:56.275" v="610" actId="14100"/>
          <ac:picMkLst>
            <pc:docMk/>
            <pc:sldMk cId="1117492469" sldId="2147468916"/>
            <ac:picMk id="8" creationId="{420C425C-B1D5-488D-B2DF-FF3B434C5F4D}"/>
          </ac:picMkLst>
        </pc:picChg>
        <pc:picChg chg="mod">
          <ac:chgData name="Mioduszewska, Joanna" userId="81ce7990-eaad-4e2f-8cfd-9d7aecd250dd" providerId="ADAL" clId="{58DBB000-3DB8-4E22-BC30-07C62D71C3DD}" dt="2024-02-12T15:56:56.275" v="610" actId="14100"/>
          <ac:picMkLst>
            <pc:docMk/>
            <pc:sldMk cId="1117492469" sldId="2147468916"/>
            <ac:picMk id="10" creationId="{138E9432-F6B8-1A69-9E03-C480FBE015A9}"/>
          </ac:picMkLst>
        </pc:picChg>
        <pc:picChg chg="mod">
          <ac:chgData name="Mioduszewska, Joanna" userId="81ce7990-eaad-4e2f-8cfd-9d7aecd250dd" providerId="ADAL" clId="{58DBB000-3DB8-4E22-BC30-07C62D71C3DD}" dt="2024-02-12T15:47:52.830" v="490" actId="164"/>
          <ac:picMkLst>
            <pc:docMk/>
            <pc:sldMk cId="1117492469" sldId="2147468916"/>
            <ac:picMk id="13" creationId="{8A9BD91B-2C06-FF0D-0B29-334FC1F6CDED}"/>
          </ac:picMkLst>
        </pc:picChg>
        <pc:picChg chg="del">
          <ac:chgData name="Mioduszewska, Joanna" userId="81ce7990-eaad-4e2f-8cfd-9d7aecd250dd" providerId="ADAL" clId="{58DBB000-3DB8-4E22-BC30-07C62D71C3DD}" dt="2024-02-12T15:47:44.211" v="489" actId="478"/>
          <ac:picMkLst>
            <pc:docMk/>
            <pc:sldMk cId="1117492469" sldId="2147468916"/>
            <ac:picMk id="39" creationId="{A7196468-7C6F-24B8-A746-2062E8B0EB0A}"/>
          </ac:picMkLst>
        </pc:picChg>
        <pc:cxnChg chg="del">
          <ac:chgData name="Mioduszewska, Joanna" userId="81ce7990-eaad-4e2f-8cfd-9d7aecd250dd" providerId="ADAL" clId="{58DBB000-3DB8-4E22-BC30-07C62D71C3DD}" dt="2024-02-12T15:47:43.117" v="488" actId="478"/>
          <ac:cxnSpMkLst>
            <pc:docMk/>
            <pc:sldMk cId="1117492469" sldId="2147468916"/>
            <ac:cxnSpMk id="38" creationId="{03B4F8EA-94DD-8E34-F807-D8B966AAB768}"/>
          </ac:cxnSpMkLst>
        </pc:cxnChg>
      </pc:sldChg>
      <pc:sldChg chg="addSp delSp modSp add del mod addCm">
        <pc:chgData name="Mioduszewska, Joanna" userId="81ce7990-eaad-4e2f-8cfd-9d7aecd250dd" providerId="ADAL" clId="{58DBB000-3DB8-4E22-BC30-07C62D71C3DD}" dt="2024-02-13T14:04:54.175" v="1325" actId="1037"/>
        <pc:sldMkLst>
          <pc:docMk/>
          <pc:sldMk cId="1552949077" sldId="2147482940"/>
        </pc:sldMkLst>
        <pc:spChg chg="add mod ord">
          <ac:chgData name="Mioduszewska, Joanna" userId="81ce7990-eaad-4e2f-8cfd-9d7aecd250dd" providerId="ADAL" clId="{58DBB000-3DB8-4E22-BC30-07C62D71C3DD}" dt="2024-02-13T13:26:38.424" v="914" actId="1076"/>
          <ac:spMkLst>
            <pc:docMk/>
            <pc:sldMk cId="1552949077" sldId="2147482940"/>
            <ac:spMk id="2" creationId="{EF172BD4-DDE1-412D-9D77-2DF6E32A96D6}"/>
          </ac:spMkLst>
        </pc:spChg>
        <pc:spChg chg="add mod">
          <ac:chgData name="Mioduszewska, Joanna" userId="81ce7990-eaad-4e2f-8cfd-9d7aecd250dd" providerId="ADAL" clId="{58DBB000-3DB8-4E22-BC30-07C62D71C3DD}" dt="2024-02-13T13:26:35.914" v="913" actId="1076"/>
          <ac:spMkLst>
            <pc:docMk/>
            <pc:sldMk cId="1552949077" sldId="2147482940"/>
            <ac:spMk id="3" creationId="{E98AAEE8-C3C9-4F40-2699-9D78B0E181F1}"/>
          </ac:spMkLst>
        </pc:spChg>
        <pc:spChg chg="add mod">
          <ac:chgData name="Mioduszewska, Joanna" userId="81ce7990-eaad-4e2f-8cfd-9d7aecd250dd" providerId="ADAL" clId="{58DBB000-3DB8-4E22-BC30-07C62D71C3DD}" dt="2024-02-13T13:26:57.555" v="917" actId="1076"/>
          <ac:spMkLst>
            <pc:docMk/>
            <pc:sldMk cId="1552949077" sldId="2147482940"/>
            <ac:spMk id="6" creationId="{1A51913E-3E1E-A772-1449-356F34A13A83}"/>
          </ac:spMkLst>
        </pc:spChg>
        <pc:spChg chg="add mod">
          <ac:chgData name="Mioduszewska, Joanna" userId="81ce7990-eaad-4e2f-8cfd-9d7aecd250dd" providerId="ADAL" clId="{58DBB000-3DB8-4E22-BC30-07C62D71C3DD}" dt="2024-02-13T13:40:58.204" v="1031" actId="1076"/>
          <ac:spMkLst>
            <pc:docMk/>
            <pc:sldMk cId="1552949077" sldId="2147482940"/>
            <ac:spMk id="7" creationId="{33452339-892D-AF8C-4E46-6762471B70D8}"/>
          </ac:spMkLst>
        </pc:spChg>
        <pc:spChg chg="add mod">
          <ac:chgData name="Mioduszewska, Joanna" userId="81ce7990-eaad-4e2f-8cfd-9d7aecd250dd" providerId="ADAL" clId="{58DBB000-3DB8-4E22-BC30-07C62D71C3DD}" dt="2024-02-13T14:02:46.516" v="1306" actId="1076"/>
          <ac:spMkLst>
            <pc:docMk/>
            <pc:sldMk cId="1552949077" sldId="2147482940"/>
            <ac:spMk id="8" creationId="{D945257B-1A30-331F-8EED-D211FD49E5F4}"/>
          </ac:spMkLst>
        </pc:spChg>
        <pc:spChg chg="mod">
          <ac:chgData name="Mioduszewska, Joanna" userId="81ce7990-eaad-4e2f-8cfd-9d7aecd250dd" providerId="ADAL" clId="{58DBB000-3DB8-4E22-BC30-07C62D71C3DD}" dt="2024-02-13T12:51:55.100" v="717" actId="1076"/>
          <ac:spMkLst>
            <pc:docMk/>
            <pc:sldMk cId="1552949077" sldId="2147482940"/>
            <ac:spMk id="10" creationId="{1CC150CC-0B2D-26DC-696D-3EE3A75237D6}"/>
          </ac:spMkLst>
        </pc:spChg>
        <pc:spChg chg="mod">
          <ac:chgData name="Mioduszewska, Joanna" userId="81ce7990-eaad-4e2f-8cfd-9d7aecd250dd" providerId="ADAL" clId="{58DBB000-3DB8-4E22-BC30-07C62D71C3DD}" dt="2024-02-12T14:19:57.932" v="104"/>
          <ac:spMkLst>
            <pc:docMk/>
            <pc:sldMk cId="1552949077" sldId="2147482940"/>
            <ac:spMk id="10" creationId="{84A30429-2E92-BD94-D682-43C9E337224D}"/>
          </ac:spMkLst>
        </pc:spChg>
        <pc:spChg chg="mod">
          <ac:chgData name="Mioduszewska, Joanna" userId="81ce7990-eaad-4e2f-8cfd-9d7aecd250dd" providerId="ADAL" clId="{58DBB000-3DB8-4E22-BC30-07C62D71C3DD}" dt="2024-02-12T14:19:57.932" v="104"/>
          <ac:spMkLst>
            <pc:docMk/>
            <pc:sldMk cId="1552949077" sldId="2147482940"/>
            <ac:spMk id="11" creationId="{6A7E670B-A261-74F0-5518-E68C33676F3E}"/>
          </ac:spMkLst>
        </pc:spChg>
        <pc:spChg chg="mod">
          <ac:chgData name="Mioduszewska, Joanna" userId="81ce7990-eaad-4e2f-8cfd-9d7aecd250dd" providerId="ADAL" clId="{58DBB000-3DB8-4E22-BC30-07C62D71C3DD}" dt="2024-02-13T12:51:55.100" v="717" actId="1076"/>
          <ac:spMkLst>
            <pc:docMk/>
            <pc:sldMk cId="1552949077" sldId="2147482940"/>
            <ac:spMk id="11" creationId="{AC73407A-3777-4D3F-75FA-AF397C05A7D1}"/>
          </ac:spMkLst>
        </pc:spChg>
        <pc:spChg chg="mod">
          <ac:chgData name="Mioduszewska, Joanna" userId="81ce7990-eaad-4e2f-8cfd-9d7aecd250dd" providerId="ADAL" clId="{58DBB000-3DB8-4E22-BC30-07C62D71C3DD}" dt="2024-02-12T14:19:57.932" v="104"/>
          <ac:spMkLst>
            <pc:docMk/>
            <pc:sldMk cId="1552949077" sldId="2147482940"/>
            <ac:spMk id="12" creationId="{3281D6E1-97AB-229D-52C3-1DFDEA7F3727}"/>
          </ac:spMkLst>
        </pc:spChg>
        <pc:spChg chg="mod">
          <ac:chgData name="Mioduszewska, Joanna" userId="81ce7990-eaad-4e2f-8cfd-9d7aecd250dd" providerId="ADAL" clId="{58DBB000-3DB8-4E22-BC30-07C62D71C3DD}" dt="2024-02-13T12:51:55.100" v="717" actId="1076"/>
          <ac:spMkLst>
            <pc:docMk/>
            <pc:sldMk cId="1552949077" sldId="2147482940"/>
            <ac:spMk id="12" creationId="{A4E73208-76C4-19A3-E2F2-7EB4C4BA05A2}"/>
          </ac:spMkLst>
        </pc:spChg>
        <pc:spChg chg="mod">
          <ac:chgData name="Mioduszewska, Joanna" userId="81ce7990-eaad-4e2f-8cfd-9d7aecd250dd" providerId="ADAL" clId="{58DBB000-3DB8-4E22-BC30-07C62D71C3DD}" dt="2024-02-13T12:51:55.100" v="717" actId="1076"/>
          <ac:spMkLst>
            <pc:docMk/>
            <pc:sldMk cId="1552949077" sldId="2147482940"/>
            <ac:spMk id="13" creationId="{59FFEBD3-2023-2E2E-F307-9FE255B7FD6A}"/>
          </ac:spMkLst>
        </pc:spChg>
        <pc:spChg chg="mod">
          <ac:chgData name="Mioduszewska, Joanna" userId="81ce7990-eaad-4e2f-8cfd-9d7aecd250dd" providerId="ADAL" clId="{58DBB000-3DB8-4E22-BC30-07C62D71C3DD}" dt="2024-02-12T14:19:57.932" v="104"/>
          <ac:spMkLst>
            <pc:docMk/>
            <pc:sldMk cId="1552949077" sldId="2147482940"/>
            <ac:spMk id="13" creationId="{EAE3AC2C-A143-77E5-7E3B-8834E12371DF}"/>
          </ac:spMkLst>
        </pc:spChg>
        <pc:spChg chg="mod">
          <ac:chgData name="Mioduszewska, Joanna" userId="81ce7990-eaad-4e2f-8cfd-9d7aecd250dd" providerId="ADAL" clId="{58DBB000-3DB8-4E22-BC30-07C62D71C3DD}" dt="2024-02-12T14:19:57.932" v="104"/>
          <ac:spMkLst>
            <pc:docMk/>
            <pc:sldMk cId="1552949077" sldId="2147482940"/>
            <ac:spMk id="14" creationId="{5ABD1CFC-268C-8CE2-88C3-4271B9471E70}"/>
          </ac:spMkLst>
        </pc:spChg>
        <pc:spChg chg="mod">
          <ac:chgData name="Mioduszewska, Joanna" userId="81ce7990-eaad-4e2f-8cfd-9d7aecd250dd" providerId="ADAL" clId="{58DBB000-3DB8-4E22-BC30-07C62D71C3DD}" dt="2024-02-13T12:51:55.100" v="717" actId="1076"/>
          <ac:spMkLst>
            <pc:docMk/>
            <pc:sldMk cId="1552949077" sldId="2147482940"/>
            <ac:spMk id="14" creationId="{6ACFA9AE-5385-E536-1469-7AB7F416E81C}"/>
          </ac:spMkLst>
        </pc:spChg>
        <pc:spChg chg="mod">
          <ac:chgData name="Mioduszewska, Joanna" userId="81ce7990-eaad-4e2f-8cfd-9d7aecd250dd" providerId="ADAL" clId="{58DBB000-3DB8-4E22-BC30-07C62D71C3DD}" dt="2024-02-12T14:19:57.932" v="104"/>
          <ac:spMkLst>
            <pc:docMk/>
            <pc:sldMk cId="1552949077" sldId="2147482940"/>
            <ac:spMk id="15" creationId="{369D99A9-12F6-F623-F260-BC4BED1E107D}"/>
          </ac:spMkLst>
        </pc:spChg>
        <pc:spChg chg="mod">
          <ac:chgData name="Mioduszewska, Joanna" userId="81ce7990-eaad-4e2f-8cfd-9d7aecd250dd" providerId="ADAL" clId="{58DBB000-3DB8-4E22-BC30-07C62D71C3DD}" dt="2024-02-13T12:51:55.100" v="717" actId="1076"/>
          <ac:spMkLst>
            <pc:docMk/>
            <pc:sldMk cId="1552949077" sldId="2147482940"/>
            <ac:spMk id="15" creationId="{93AC9DA6-33C7-A6DD-C0D9-262D6B88B86A}"/>
          </ac:spMkLst>
        </pc:spChg>
        <pc:spChg chg="mod">
          <ac:chgData name="Mioduszewska, Joanna" userId="81ce7990-eaad-4e2f-8cfd-9d7aecd250dd" providerId="ADAL" clId="{58DBB000-3DB8-4E22-BC30-07C62D71C3DD}" dt="2024-02-13T12:51:55.100" v="717" actId="1076"/>
          <ac:spMkLst>
            <pc:docMk/>
            <pc:sldMk cId="1552949077" sldId="2147482940"/>
            <ac:spMk id="16" creationId="{45094069-D0A1-10B3-36B7-8FF56174C676}"/>
          </ac:spMkLst>
        </pc:spChg>
        <pc:spChg chg="mod">
          <ac:chgData name="Mioduszewska, Joanna" userId="81ce7990-eaad-4e2f-8cfd-9d7aecd250dd" providerId="ADAL" clId="{58DBB000-3DB8-4E22-BC30-07C62D71C3DD}" dt="2024-02-12T14:19:57.932" v="104"/>
          <ac:spMkLst>
            <pc:docMk/>
            <pc:sldMk cId="1552949077" sldId="2147482940"/>
            <ac:spMk id="16" creationId="{7EC914B9-9831-3853-4AFF-351620D0ED9E}"/>
          </ac:spMkLst>
        </pc:spChg>
        <pc:spChg chg="mod">
          <ac:chgData name="Mioduszewska, Joanna" userId="81ce7990-eaad-4e2f-8cfd-9d7aecd250dd" providerId="ADAL" clId="{58DBB000-3DB8-4E22-BC30-07C62D71C3DD}" dt="2024-02-13T12:51:55.100" v="717" actId="1076"/>
          <ac:spMkLst>
            <pc:docMk/>
            <pc:sldMk cId="1552949077" sldId="2147482940"/>
            <ac:spMk id="17" creationId="{B843E2F5-7254-05AF-577C-A8660AF4866C}"/>
          </ac:spMkLst>
        </pc:spChg>
        <pc:spChg chg="mod">
          <ac:chgData name="Mioduszewska, Joanna" userId="81ce7990-eaad-4e2f-8cfd-9d7aecd250dd" providerId="ADAL" clId="{58DBB000-3DB8-4E22-BC30-07C62D71C3DD}" dt="2024-02-12T14:19:57.932" v="104"/>
          <ac:spMkLst>
            <pc:docMk/>
            <pc:sldMk cId="1552949077" sldId="2147482940"/>
            <ac:spMk id="17" creationId="{BB2FE069-DC29-8C77-F278-CE4F3DA568A4}"/>
          </ac:spMkLst>
        </pc:spChg>
        <pc:spChg chg="mod">
          <ac:chgData name="Mioduszewska, Joanna" userId="81ce7990-eaad-4e2f-8cfd-9d7aecd250dd" providerId="ADAL" clId="{58DBB000-3DB8-4E22-BC30-07C62D71C3DD}" dt="2024-02-12T14:19:57.932" v="104"/>
          <ac:spMkLst>
            <pc:docMk/>
            <pc:sldMk cId="1552949077" sldId="2147482940"/>
            <ac:spMk id="18" creationId="{1096BE29-52A6-BD2E-5D85-4C44DAAF5B5D}"/>
          </ac:spMkLst>
        </pc:spChg>
        <pc:spChg chg="mod">
          <ac:chgData name="Mioduszewska, Joanna" userId="81ce7990-eaad-4e2f-8cfd-9d7aecd250dd" providerId="ADAL" clId="{58DBB000-3DB8-4E22-BC30-07C62D71C3DD}" dt="2024-02-13T12:51:55.100" v="717" actId="1076"/>
          <ac:spMkLst>
            <pc:docMk/>
            <pc:sldMk cId="1552949077" sldId="2147482940"/>
            <ac:spMk id="18" creationId="{34DCEBBB-7391-8695-0209-2B1D3819D0D4}"/>
          </ac:spMkLst>
        </pc:spChg>
        <pc:spChg chg="mod">
          <ac:chgData name="Mioduszewska, Joanna" userId="81ce7990-eaad-4e2f-8cfd-9d7aecd250dd" providerId="ADAL" clId="{58DBB000-3DB8-4E22-BC30-07C62D71C3DD}" dt="2024-02-12T14:19:57.932" v="104"/>
          <ac:spMkLst>
            <pc:docMk/>
            <pc:sldMk cId="1552949077" sldId="2147482940"/>
            <ac:spMk id="19" creationId="{0B9A2B07-53FE-C33B-29C0-50F7E799DC6A}"/>
          </ac:spMkLst>
        </pc:spChg>
        <pc:spChg chg="mod">
          <ac:chgData name="Mioduszewska, Joanna" userId="81ce7990-eaad-4e2f-8cfd-9d7aecd250dd" providerId="ADAL" clId="{58DBB000-3DB8-4E22-BC30-07C62D71C3DD}" dt="2024-02-13T12:51:55.100" v="717" actId="1076"/>
          <ac:spMkLst>
            <pc:docMk/>
            <pc:sldMk cId="1552949077" sldId="2147482940"/>
            <ac:spMk id="19" creationId="{27B70A5E-80E8-6F01-0E1C-A9682C0D2D04}"/>
          </ac:spMkLst>
        </pc:spChg>
        <pc:spChg chg="mod">
          <ac:chgData name="Mioduszewska, Joanna" userId="81ce7990-eaad-4e2f-8cfd-9d7aecd250dd" providerId="ADAL" clId="{58DBB000-3DB8-4E22-BC30-07C62D71C3DD}" dt="2024-02-13T12:51:55.100" v="717" actId="1076"/>
          <ac:spMkLst>
            <pc:docMk/>
            <pc:sldMk cId="1552949077" sldId="2147482940"/>
            <ac:spMk id="20" creationId="{36DDEA15-353D-189B-718D-0A2CA809D2EE}"/>
          </ac:spMkLst>
        </pc:spChg>
        <pc:spChg chg="mod">
          <ac:chgData name="Mioduszewska, Joanna" userId="81ce7990-eaad-4e2f-8cfd-9d7aecd250dd" providerId="ADAL" clId="{58DBB000-3DB8-4E22-BC30-07C62D71C3DD}" dt="2024-02-13T12:51:55.100" v="717" actId="1076"/>
          <ac:spMkLst>
            <pc:docMk/>
            <pc:sldMk cId="1552949077" sldId="2147482940"/>
            <ac:spMk id="21" creationId="{750A3FBB-3B28-F2F8-6504-71A309340707}"/>
          </ac:spMkLst>
        </pc:spChg>
        <pc:spChg chg="mod topLvl">
          <ac:chgData name="Mioduszewska, Joanna" userId="81ce7990-eaad-4e2f-8cfd-9d7aecd250dd" providerId="ADAL" clId="{58DBB000-3DB8-4E22-BC30-07C62D71C3DD}" dt="2024-02-12T15:26:15.573" v="245" actId="338"/>
          <ac:spMkLst>
            <pc:docMk/>
            <pc:sldMk cId="1552949077" sldId="2147482940"/>
            <ac:spMk id="22" creationId="{6D871960-51B4-1DE1-0D92-8507CC79B695}"/>
          </ac:spMkLst>
        </pc:spChg>
        <pc:spChg chg="mod">
          <ac:chgData name="Mioduszewska, Joanna" userId="81ce7990-eaad-4e2f-8cfd-9d7aecd250dd" providerId="ADAL" clId="{58DBB000-3DB8-4E22-BC30-07C62D71C3DD}" dt="2024-02-13T12:51:55.100" v="717" actId="1076"/>
          <ac:spMkLst>
            <pc:docMk/>
            <pc:sldMk cId="1552949077" sldId="2147482940"/>
            <ac:spMk id="22" creationId="{A389F001-4F70-91AA-4944-5DF3214EBEC4}"/>
          </ac:spMkLst>
        </pc:spChg>
        <pc:spChg chg="mod topLvl">
          <ac:chgData name="Mioduszewska, Joanna" userId="81ce7990-eaad-4e2f-8cfd-9d7aecd250dd" providerId="ADAL" clId="{58DBB000-3DB8-4E22-BC30-07C62D71C3DD}" dt="2024-02-12T15:26:15.573" v="245" actId="338"/>
          <ac:spMkLst>
            <pc:docMk/>
            <pc:sldMk cId="1552949077" sldId="2147482940"/>
            <ac:spMk id="23" creationId="{9B4BB217-5249-E468-6833-8B12D0F9AFE5}"/>
          </ac:spMkLst>
        </pc:spChg>
        <pc:spChg chg="add del mod">
          <ac:chgData name="Mioduszewska, Joanna" userId="81ce7990-eaad-4e2f-8cfd-9d7aecd250dd" providerId="ADAL" clId="{58DBB000-3DB8-4E22-BC30-07C62D71C3DD}" dt="2024-02-13T12:51:59.458" v="719" actId="478"/>
          <ac:spMkLst>
            <pc:docMk/>
            <pc:sldMk cId="1552949077" sldId="2147482940"/>
            <ac:spMk id="23" creationId="{D8975DA9-A472-609C-70A2-3BA1830D5EE2}"/>
          </ac:spMkLst>
        </pc:spChg>
        <pc:spChg chg="mod topLvl">
          <ac:chgData name="Mioduszewska, Joanna" userId="81ce7990-eaad-4e2f-8cfd-9d7aecd250dd" providerId="ADAL" clId="{58DBB000-3DB8-4E22-BC30-07C62D71C3DD}" dt="2024-02-12T15:26:15.573" v="245" actId="338"/>
          <ac:spMkLst>
            <pc:docMk/>
            <pc:sldMk cId="1552949077" sldId="2147482940"/>
            <ac:spMk id="24" creationId="{F5232EF8-9C82-84C1-0F42-C27190776E46}"/>
          </ac:spMkLst>
        </pc:spChg>
        <pc:spChg chg="mod">
          <ac:chgData name="Mioduszewska, Joanna" userId="81ce7990-eaad-4e2f-8cfd-9d7aecd250dd" providerId="ADAL" clId="{58DBB000-3DB8-4E22-BC30-07C62D71C3DD}" dt="2024-02-13T13:32:07.467" v="963" actId="207"/>
          <ac:spMkLst>
            <pc:docMk/>
            <pc:sldMk cId="1552949077" sldId="2147482940"/>
            <ac:spMk id="25" creationId="{DDE18944-D70D-E642-6DC6-0B0ECEEC74E3}"/>
          </ac:spMkLst>
        </pc:spChg>
        <pc:spChg chg="mod">
          <ac:chgData name="Mioduszewska, Joanna" userId="81ce7990-eaad-4e2f-8cfd-9d7aecd250dd" providerId="ADAL" clId="{58DBB000-3DB8-4E22-BC30-07C62D71C3DD}" dt="2024-02-13T13:32:07.467" v="963" actId="207"/>
          <ac:spMkLst>
            <pc:docMk/>
            <pc:sldMk cId="1552949077" sldId="2147482940"/>
            <ac:spMk id="26" creationId="{A7E43B95-51AF-2B9A-E9EE-42D76C9A4713}"/>
          </ac:spMkLst>
        </pc:spChg>
        <pc:spChg chg="mod topLvl">
          <ac:chgData name="Mioduszewska, Joanna" userId="81ce7990-eaad-4e2f-8cfd-9d7aecd250dd" providerId="ADAL" clId="{58DBB000-3DB8-4E22-BC30-07C62D71C3DD}" dt="2024-02-12T15:26:15.573" v="245" actId="338"/>
          <ac:spMkLst>
            <pc:docMk/>
            <pc:sldMk cId="1552949077" sldId="2147482940"/>
            <ac:spMk id="26" creationId="{D053895B-0D06-FC47-A539-ED624C082C14}"/>
          </ac:spMkLst>
        </pc:spChg>
        <pc:spChg chg="mod">
          <ac:chgData name="Mioduszewska, Joanna" userId="81ce7990-eaad-4e2f-8cfd-9d7aecd250dd" providerId="ADAL" clId="{58DBB000-3DB8-4E22-BC30-07C62D71C3DD}" dt="2024-02-13T13:32:07.467" v="963" actId="207"/>
          <ac:spMkLst>
            <pc:docMk/>
            <pc:sldMk cId="1552949077" sldId="2147482940"/>
            <ac:spMk id="27" creationId="{B73FB55D-81D8-20F0-9ED9-D4D3B28DA9E6}"/>
          </ac:spMkLst>
        </pc:spChg>
        <pc:spChg chg="mod topLvl">
          <ac:chgData name="Mioduszewska, Joanna" userId="81ce7990-eaad-4e2f-8cfd-9d7aecd250dd" providerId="ADAL" clId="{58DBB000-3DB8-4E22-BC30-07C62D71C3DD}" dt="2024-02-12T15:26:15.573" v="245" actId="338"/>
          <ac:spMkLst>
            <pc:docMk/>
            <pc:sldMk cId="1552949077" sldId="2147482940"/>
            <ac:spMk id="27" creationId="{E86BB200-84D3-ABB2-DF93-DB03E123A5BB}"/>
          </ac:spMkLst>
        </pc:spChg>
        <pc:spChg chg="mod topLvl">
          <ac:chgData name="Mioduszewska, Joanna" userId="81ce7990-eaad-4e2f-8cfd-9d7aecd250dd" providerId="ADAL" clId="{58DBB000-3DB8-4E22-BC30-07C62D71C3DD}" dt="2024-02-12T15:26:15.573" v="245" actId="338"/>
          <ac:spMkLst>
            <pc:docMk/>
            <pc:sldMk cId="1552949077" sldId="2147482940"/>
            <ac:spMk id="28" creationId="{E769F65A-190C-8480-714D-A3716F75A3CB}"/>
          </ac:spMkLst>
        </pc:spChg>
        <pc:spChg chg="mod">
          <ac:chgData name="Mioduszewska, Joanna" userId="81ce7990-eaad-4e2f-8cfd-9d7aecd250dd" providerId="ADAL" clId="{58DBB000-3DB8-4E22-BC30-07C62D71C3DD}" dt="2024-02-13T13:32:37.135" v="971" actId="207"/>
          <ac:spMkLst>
            <pc:docMk/>
            <pc:sldMk cId="1552949077" sldId="2147482940"/>
            <ac:spMk id="31" creationId="{DC9C3EBE-C79F-AABA-4866-D4687B8A954A}"/>
          </ac:spMkLst>
        </pc:spChg>
        <pc:spChg chg="mod topLvl">
          <ac:chgData name="Mioduszewska, Joanna" userId="81ce7990-eaad-4e2f-8cfd-9d7aecd250dd" providerId="ADAL" clId="{58DBB000-3DB8-4E22-BC30-07C62D71C3DD}" dt="2024-02-12T15:26:15.573" v="245" actId="338"/>
          <ac:spMkLst>
            <pc:docMk/>
            <pc:sldMk cId="1552949077" sldId="2147482940"/>
            <ac:spMk id="46" creationId="{7302C147-FDB0-4310-AB45-9BC4BC2DA8D1}"/>
          </ac:spMkLst>
        </pc:spChg>
        <pc:spChg chg="mod">
          <ac:chgData name="Mioduszewska, Joanna" userId="81ce7990-eaad-4e2f-8cfd-9d7aecd250dd" providerId="ADAL" clId="{58DBB000-3DB8-4E22-BC30-07C62D71C3DD}" dt="2024-02-13T13:32:37.135" v="971" actId="207"/>
          <ac:spMkLst>
            <pc:docMk/>
            <pc:sldMk cId="1552949077" sldId="2147482940"/>
            <ac:spMk id="46" creationId="{B759BAF2-CBC9-CF98-82AB-D38BB1063607}"/>
          </ac:spMkLst>
        </pc:spChg>
        <pc:spChg chg="mod topLvl">
          <ac:chgData name="Mioduszewska, Joanna" userId="81ce7990-eaad-4e2f-8cfd-9d7aecd250dd" providerId="ADAL" clId="{58DBB000-3DB8-4E22-BC30-07C62D71C3DD}" dt="2024-02-12T15:26:15.573" v="245" actId="338"/>
          <ac:spMkLst>
            <pc:docMk/>
            <pc:sldMk cId="1552949077" sldId="2147482940"/>
            <ac:spMk id="48" creationId="{10EB1C39-A615-519B-3463-C9DD08199694}"/>
          </ac:spMkLst>
        </pc:spChg>
        <pc:spChg chg="mod">
          <ac:chgData name="Mioduszewska, Joanna" userId="81ce7990-eaad-4e2f-8cfd-9d7aecd250dd" providerId="ADAL" clId="{58DBB000-3DB8-4E22-BC30-07C62D71C3DD}" dt="2024-02-13T13:32:37.135" v="971" actId="207"/>
          <ac:spMkLst>
            <pc:docMk/>
            <pc:sldMk cId="1552949077" sldId="2147482940"/>
            <ac:spMk id="48" creationId="{9AC89C85-88A5-48CA-B7CF-AF1C06D988AE}"/>
          </ac:spMkLst>
        </pc:spChg>
        <pc:spChg chg="mod topLvl">
          <ac:chgData name="Mioduszewska, Joanna" userId="81ce7990-eaad-4e2f-8cfd-9d7aecd250dd" providerId="ADAL" clId="{58DBB000-3DB8-4E22-BC30-07C62D71C3DD}" dt="2024-02-12T15:26:15.573" v="245" actId="338"/>
          <ac:spMkLst>
            <pc:docMk/>
            <pc:sldMk cId="1552949077" sldId="2147482940"/>
            <ac:spMk id="49" creationId="{BED36AB3-635A-1565-B710-EE013DB3EB8E}"/>
          </ac:spMkLst>
        </pc:spChg>
        <pc:spChg chg="mod">
          <ac:chgData name="Mioduszewska, Joanna" userId="81ce7990-eaad-4e2f-8cfd-9d7aecd250dd" providerId="ADAL" clId="{58DBB000-3DB8-4E22-BC30-07C62D71C3DD}" dt="2024-02-13T13:32:25.731" v="967" actId="207"/>
          <ac:spMkLst>
            <pc:docMk/>
            <pc:sldMk cId="1552949077" sldId="2147482940"/>
            <ac:spMk id="50" creationId="{CF6C6B43-E882-B8C9-A0B9-E9ED44C293F9}"/>
          </ac:spMkLst>
        </pc:spChg>
        <pc:spChg chg="mod topLvl">
          <ac:chgData name="Mioduszewska, Joanna" userId="81ce7990-eaad-4e2f-8cfd-9d7aecd250dd" providerId="ADAL" clId="{58DBB000-3DB8-4E22-BC30-07C62D71C3DD}" dt="2024-02-12T15:26:15.573" v="245" actId="338"/>
          <ac:spMkLst>
            <pc:docMk/>
            <pc:sldMk cId="1552949077" sldId="2147482940"/>
            <ac:spMk id="51" creationId="{D1EF75F3-6312-8632-21EA-BCE770E4B0A8}"/>
          </ac:spMkLst>
        </pc:spChg>
        <pc:spChg chg="mod">
          <ac:chgData name="Mioduszewska, Joanna" userId="81ce7990-eaad-4e2f-8cfd-9d7aecd250dd" providerId="ADAL" clId="{58DBB000-3DB8-4E22-BC30-07C62D71C3DD}" dt="2024-02-13T13:32:25.731" v="967" actId="207"/>
          <ac:spMkLst>
            <pc:docMk/>
            <pc:sldMk cId="1552949077" sldId="2147482940"/>
            <ac:spMk id="51" creationId="{FE97A731-2817-F3B6-FBD1-C6D4DA513C97}"/>
          </ac:spMkLst>
        </pc:spChg>
        <pc:spChg chg="mod topLvl">
          <ac:chgData name="Mioduszewska, Joanna" userId="81ce7990-eaad-4e2f-8cfd-9d7aecd250dd" providerId="ADAL" clId="{58DBB000-3DB8-4E22-BC30-07C62D71C3DD}" dt="2024-02-12T15:26:15.573" v="245" actId="338"/>
          <ac:spMkLst>
            <pc:docMk/>
            <pc:sldMk cId="1552949077" sldId="2147482940"/>
            <ac:spMk id="52" creationId="{E7D4F13E-5E18-EF49-45D8-86F90C6240AF}"/>
          </ac:spMkLst>
        </pc:spChg>
        <pc:spChg chg="mod">
          <ac:chgData name="Mioduszewska, Joanna" userId="81ce7990-eaad-4e2f-8cfd-9d7aecd250dd" providerId="ADAL" clId="{58DBB000-3DB8-4E22-BC30-07C62D71C3DD}" dt="2024-02-13T13:32:25.731" v="967" actId="207"/>
          <ac:spMkLst>
            <pc:docMk/>
            <pc:sldMk cId="1552949077" sldId="2147482940"/>
            <ac:spMk id="52" creationId="{F2877C31-E87D-AEF1-BD73-6303F08CF97B}"/>
          </ac:spMkLst>
        </pc:spChg>
        <pc:spChg chg="mod topLvl">
          <ac:chgData name="Mioduszewska, Joanna" userId="81ce7990-eaad-4e2f-8cfd-9d7aecd250dd" providerId="ADAL" clId="{58DBB000-3DB8-4E22-BC30-07C62D71C3DD}" dt="2024-02-12T15:26:15.573" v="245" actId="338"/>
          <ac:spMkLst>
            <pc:docMk/>
            <pc:sldMk cId="1552949077" sldId="2147482940"/>
            <ac:spMk id="53" creationId="{E0DB42AB-26A4-4331-4262-D022445B855F}"/>
          </ac:spMkLst>
        </pc:spChg>
        <pc:spChg chg="mod">
          <ac:chgData name="Mioduszewska, Joanna" userId="81ce7990-eaad-4e2f-8cfd-9d7aecd250dd" providerId="ADAL" clId="{58DBB000-3DB8-4E22-BC30-07C62D71C3DD}" dt="2024-02-13T13:12:34.993" v="786"/>
          <ac:spMkLst>
            <pc:docMk/>
            <pc:sldMk cId="1552949077" sldId="2147482940"/>
            <ac:spMk id="54" creationId="{7992FABD-44E2-0224-452A-0EFA42BA0D67}"/>
          </ac:spMkLst>
        </pc:spChg>
        <pc:spChg chg="mod topLvl">
          <ac:chgData name="Mioduszewska, Joanna" userId="81ce7990-eaad-4e2f-8cfd-9d7aecd250dd" providerId="ADAL" clId="{58DBB000-3DB8-4E22-BC30-07C62D71C3DD}" dt="2024-02-12T15:26:15.573" v="245" actId="338"/>
          <ac:spMkLst>
            <pc:docMk/>
            <pc:sldMk cId="1552949077" sldId="2147482940"/>
            <ac:spMk id="55" creationId="{1B2409FA-F8A1-669B-8461-AB7FFAE3B474}"/>
          </ac:spMkLst>
        </pc:spChg>
        <pc:spChg chg="mod">
          <ac:chgData name="Mioduszewska, Joanna" userId="81ce7990-eaad-4e2f-8cfd-9d7aecd250dd" providerId="ADAL" clId="{58DBB000-3DB8-4E22-BC30-07C62D71C3DD}" dt="2024-02-13T13:12:34.993" v="786"/>
          <ac:spMkLst>
            <pc:docMk/>
            <pc:sldMk cId="1552949077" sldId="2147482940"/>
            <ac:spMk id="55" creationId="{815A06A9-5BE3-AD0A-6C00-745C17C2A3AD}"/>
          </ac:spMkLst>
        </pc:spChg>
        <pc:spChg chg="mod topLvl">
          <ac:chgData name="Mioduszewska, Joanna" userId="81ce7990-eaad-4e2f-8cfd-9d7aecd250dd" providerId="ADAL" clId="{58DBB000-3DB8-4E22-BC30-07C62D71C3DD}" dt="2024-02-12T15:26:15.573" v="245" actId="338"/>
          <ac:spMkLst>
            <pc:docMk/>
            <pc:sldMk cId="1552949077" sldId="2147482940"/>
            <ac:spMk id="56" creationId="{1F8F6DCE-1414-4276-4D02-731547A5D82B}"/>
          </ac:spMkLst>
        </pc:spChg>
        <pc:spChg chg="mod">
          <ac:chgData name="Mioduszewska, Joanna" userId="81ce7990-eaad-4e2f-8cfd-9d7aecd250dd" providerId="ADAL" clId="{58DBB000-3DB8-4E22-BC30-07C62D71C3DD}" dt="2024-02-13T13:12:34.993" v="786"/>
          <ac:spMkLst>
            <pc:docMk/>
            <pc:sldMk cId="1552949077" sldId="2147482940"/>
            <ac:spMk id="56" creationId="{3CF37AB4-B2CF-8E19-CB02-F23EADB4F0A8}"/>
          </ac:spMkLst>
        </pc:spChg>
        <pc:spChg chg="mod topLvl">
          <ac:chgData name="Mioduszewska, Joanna" userId="81ce7990-eaad-4e2f-8cfd-9d7aecd250dd" providerId="ADAL" clId="{58DBB000-3DB8-4E22-BC30-07C62D71C3DD}" dt="2024-02-12T15:26:15.573" v="245" actId="338"/>
          <ac:spMkLst>
            <pc:docMk/>
            <pc:sldMk cId="1552949077" sldId="2147482940"/>
            <ac:spMk id="57" creationId="{7C638AA6-F332-43B2-F16A-CDFA4A5444C1}"/>
          </ac:spMkLst>
        </pc:spChg>
        <pc:spChg chg="mod">
          <ac:chgData name="Mioduszewska, Joanna" userId="81ce7990-eaad-4e2f-8cfd-9d7aecd250dd" providerId="ADAL" clId="{58DBB000-3DB8-4E22-BC30-07C62D71C3DD}" dt="2024-02-13T13:32:31.001" v="969" actId="207"/>
          <ac:spMkLst>
            <pc:docMk/>
            <pc:sldMk cId="1552949077" sldId="2147482940"/>
            <ac:spMk id="58" creationId="{20D6BD9F-3053-F79D-0B38-21589C23CFD6}"/>
          </ac:spMkLst>
        </pc:spChg>
        <pc:spChg chg="mod topLvl">
          <ac:chgData name="Mioduszewska, Joanna" userId="81ce7990-eaad-4e2f-8cfd-9d7aecd250dd" providerId="ADAL" clId="{58DBB000-3DB8-4E22-BC30-07C62D71C3DD}" dt="2024-02-12T15:26:15.573" v="245" actId="338"/>
          <ac:spMkLst>
            <pc:docMk/>
            <pc:sldMk cId="1552949077" sldId="2147482940"/>
            <ac:spMk id="59" creationId="{34865C0A-B1E5-2C7B-86A6-9F9C44504DB5}"/>
          </ac:spMkLst>
        </pc:spChg>
        <pc:spChg chg="mod">
          <ac:chgData name="Mioduszewska, Joanna" userId="81ce7990-eaad-4e2f-8cfd-9d7aecd250dd" providerId="ADAL" clId="{58DBB000-3DB8-4E22-BC30-07C62D71C3DD}" dt="2024-02-13T13:32:31.001" v="969" actId="207"/>
          <ac:spMkLst>
            <pc:docMk/>
            <pc:sldMk cId="1552949077" sldId="2147482940"/>
            <ac:spMk id="59" creationId="{EB68603C-B873-7FA3-DF20-B613163D2DA1}"/>
          </ac:spMkLst>
        </pc:spChg>
        <pc:spChg chg="mod topLvl">
          <ac:chgData name="Mioduszewska, Joanna" userId="81ce7990-eaad-4e2f-8cfd-9d7aecd250dd" providerId="ADAL" clId="{58DBB000-3DB8-4E22-BC30-07C62D71C3DD}" dt="2024-02-12T15:26:15.573" v="245" actId="338"/>
          <ac:spMkLst>
            <pc:docMk/>
            <pc:sldMk cId="1552949077" sldId="2147482940"/>
            <ac:spMk id="60" creationId="{604E0BDF-900B-AE36-F542-39564142F528}"/>
          </ac:spMkLst>
        </pc:spChg>
        <pc:spChg chg="mod">
          <ac:chgData name="Mioduszewska, Joanna" userId="81ce7990-eaad-4e2f-8cfd-9d7aecd250dd" providerId="ADAL" clId="{58DBB000-3DB8-4E22-BC30-07C62D71C3DD}" dt="2024-02-13T13:32:31.001" v="969" actId="207"/>
          <ac:spMkLst>
            <pc:docMk/>
            <pc:sldMk cId="1552949077" sldId="2147482940"/>
            <ac:spMk id="60" creationId="{65D2C88A-4675-46FD-2C6D-7F10B57B32AB}"/>
          </ac:spMkLst>
        </pc:spChg>
        <pc:spChg chg="mod topLvl">
          <ac:chgData name="Mioduszewska, Joanna" userId="81ce7990-eaad-4e2f-8cfd-9d7aecd250dd" providerId="ADAL" clId="{58DBB000-3DB8-4E22-BC30-07C62D71C3DD}" dt="2024-02-12T15:26:15.573" v="245" actId="338"/>
          <ac:spMkLst>
            <pc:docMk/>
            <pc:sldMk cId="1552949077" sldId="2147482940"/>
            <ac:spMk id="61" creationId="{1A817B5D-8965-88F3-EA9F-3FC7198ED736}"/>
          </ac:spMkLst>
        </pc:spChg>
        <pc:spChg chg="del">
          <ac:chgData name="Mioduszewska, Joanna" userId="81ce7990-eaad-4e2f-8cfd-9d7aecd250dd" providerId="ADAL" clId="{58DBB000-3DB8-4E22-BC30-07C62D71C3DD}" dt="2024-02-13T13:24:44.395" v="887" actId="478"/>
          <ac:spMkLst>
            <pc:docMk/>
            <pc:sldMk cId="1552949077" sldId="2147482940"/>
            <ac:spMk id="62" creationId="{49AF690D-26F3-1CDB-6F4D-838976866FF7}"/>
          </ac:spMkLst>
        </pc:spChg>
        <pc:spChg chg="add del mod">
          <ac:chgData name="Mioduszewska, Joanna" userId="81ce7990-eaad-4e2f-8cfd-9d7aecd250dd" providerId="ADAL" clId="{58DBB000-3DB8-4E22-BC30-07C62D71C3DD}" dt="2024-02-12T15:25:41.506" v="242" actId="478"/>
          <ac:spMkLst>
            <pc:docMk/>
            <pc:sldMk cId="1552949077" sldId="2147482940"/>
            <ac:spMk id="64" creationId="{357AB928-BD1D-0F4E-6150-D813284DB2A3}"/>
          </ac:spMkLst>
        </pc:spChg>
        <pc:spChg chg="mod">
          <ac:chgData name="Mioduszewska, Joanna" userId="81ce7990-eaad-4e2f-8cfd-9d7aecd250dd" providerId="ADAL" clId="{58DBB000-3DB8-4E22-BC30-07C62D71C3DD}" dt="2024-02-13T13:32:19.016" v="965" actId="207"/>
          <ac:spMkLst>
            <pc:docMk/>
            <pc:sldMk cId="1552949077" sldId="2147482940"/>
            <ac:spMk id="64" creationId="{AA428C4A-6FF0-DECC-192E-4222DA1B65B8}"/>
          </ac:spMkLst>
        </pc:spChg>
        <pc:spChg chg="mod">
          <ac:chgData name="Mioduszewska, Joanna" userId="81ce7990-eaad-4e2f-8cfd-9d7aecd250dd" providerId="ADAL" clId="{58DBB000-3DB8-4E22-BC30-07C62D71C3DD}" dt="2024-02-13T13:32:19.016" v="965" actId="207"/>
          <ac:spMkLst>
            <pc:docMk/>
            <pc:sldMk cId="1552949077" sldId="2147482940"/>
            <ac:spMk id="65" creationId="{84CFD54E-BC70-DD99-3B21-06EA72EB7CA4}"/>
          </ac:spMkLst>
        </pc:spChg>
        <pc:spChg chg="mod topLvl">
          <ac:chgData name="Mioduszewska, Joanna" userId="81ce7990-eaad-4e2f-8cfd-9d7aecd250dd" providerId="ADAL" clId="{58DBB000-3DB8-4E22-BC30-07C62D71C3DD}" dt="2024-02-13T14:03:17.334" v="1310" actId="207"/>
          <ac:spMkLst>
            <pc:docMk/>
            <pc:sldMk cId="1552949077" sldId="2147482940"/>
            <ac:spMk id="66" creationId="{4C8C6B38-309E-6598-185F-AC15AEB8DC1B}"/>
          </ac:spMkLst>
        </pc:spChg>
        <pc:spChg chg="mod topLvl">
          <ac:chgData name="Mioduszewska, Joanna" userId="81ce7990-eaad-4e2f-8cfd-9d7aecd250dd" providerId="ADAL" clId="{58DBB000-3DB8-4E22-BC30-07C62D71C3DD}" dt="2024-02-13T14:03:17.334" v="1310" actId="207"/>
          <ac:spMkLst>
            <pc:docMk/>
            <pc:sldMk cId="1552949077" sldId="2147482940"/>
            <ac:spMk id="67" creationId="{3D240E51-34E9-EC7A-38F8-8B1D13755904}"/>
          </ac:spMkLst>
        </pc:spChg>
        <pc:spChg chg="del mod">
          <ac:chgData name="Mioduszewska, Joanna" userId="81ce7990-eaad-4e2f-8cfd-9d7aecd250dd" providerId="ADAL" clId="{58DBB000-3DB8-4E22-BC30-07C62D71C3DD}" dt="2024-02-13T13:48:44.194" v="1159" actId="478"/>
          <ac:spMkLst>
            <pc:docMk/>
            <pc:sldMk cId="1552949077" sldId="2147482940"/>
            <ac:spMk id="68" creationId="{2558906F-C64F-EF33-2CE7-EE97543099D3}"/>
          </ac:spMkLst>
        </pc:spChg>
        <pc:spChg chg="mod topLvl">
          <ac:chgData name="Mioduszewska, Joanna" userId="81ce7990-eaad-4e2f-8cfd-9d7aecd250dd" providerId="ADAL" clId="{58DBB000-3DB8-4E22-BC30-07C62D71C3DD}" dt="2024-02-13T14:03:17.334" v="1310" actId="207"/>
          <ac:spMkLst>
            <pc:docMk/>
            <pc:sldMk cId="1552949077" sldId="2147482940"/>
            <ac:spMk id="69" creationId="{049A5BF5-167C-CB29-C8A7-72B75EEC0592}"/>
          </ac:spMkLst>
        </pc:spChg>
        <pc:spChg chg="mod">
          <ac:chgData name="Mioduszewska, Joanna" userId="81ce7990-eaad-4e2f-8cfd-9d7aecd250dd" providerId="ADAL" clId="{58DBB000-3DB8-4E22-BC30-07C62D71C3DD}" dt="2024-02-13T13:32:19.016" v="965" actId="207"/>
          <ac:spMkLst>
            <pc:docMk/>
            <pc:sldMk cId="1552949077" sldId="2147482940"/>
            <ac:spMk id="70" creationId="{00DE363E-0E17-0C66-8E5B-8D7BEE9393CA}"/>
          </ac:spMkLst>
        </pc:spChg>
        <pc:spChg chg="mod topLvl">
          <ac:chgData name="Mioduszewska, Joanna" userId="81ce7990-eaad-4e2f-8cfd-9d7aecd250dd" providerId="ADAL" clId="{58DBB000-3DB8-4E22-BC30-07C62D71C3DD}" dt="2024-02-12T15:26:15.573" v="245" actId="338"/>
          <ac:spMkLst>
            <pc:docMk/>
            <pc:sldMk cId="1552949077" sldId="2147482940"/>
            <ac:spMk id="71" creationId="{3E6CE6B1-4733-3618-2517-6B6F255E2792}"/>
          </ac:spMkLst>
        </pc:spChg>
        <pc:spChg chg="del">
          <ac:chgData name="Mioduszewska, Joanna" userId="81ce7990-eaad-4e2f-8cfd-9d7aecd250dd" providerId="ADAL" clId="{58DBB000-3DB8-4E22-BC30-07C62D71C3DD}" dt="2024-02-13T13:48:48.929" v="1160" actId="478"/>
          <ac:spMkLst>
            <pc:docMk/>
            <pc:sldMk cId="1552949077" sldId="2147482940"/>
            <ac:spMk id="72" creationId="{CCCFAC07-3EB2-FA6A-3A82-2958ED1F5B27}"/>
          </ac:spMkLst>
        </pc:spChg>
        <pc:spChg chg="del">
          <ac:chgData name="Mioduszewska, Joanna" userId="81ce7990-eaad-4e2f-8cfd-9d7aecd250dd" providerId="ADAL" clId="{58DBB000-3DB8-4E22-BC30-07C62D71C3DD}" dt="2024-02-13T13:48:51.305" v="1162" actId="478"/>
          <ac:spMkLst>
            <pc:docMk/>
            <pc:sldMk cId="1552949077" sldId="2147482940"/>
            <ac:spMk id="73" creationId="{07F84233-924F-17DC-8C7F-2B01BAB0267E}"/>
          </ac:spMkLst>
        </pc:spChg>
        <pc:spChg chg="add mod">
          <ac:chgData name="Mioduszewska, Joanna" userId="81ce7990-eaad-4e2f-8cfd-9d7aecd250dd" providerId="ADAL" clId="{58DBB000-3DB8-4E22-BC30-07C62D71C3DD}" dt="2024-02-13T13:50:46.467" v="1225" actId="404"/>
          <ac:spMkLst>
            <pc:docMk/>
            <pc:sldMk cId="1552949077" sldId="2147482940"/>
            <ac:spMk id="74" creationId="{2E668BF8-E67F-71C5-2FC7-49D61C3B807A}"/>
          </ac:spMkLst>
        </pc:spChg>
        <pc:spChg chg="mod topLvl">
          <ac:chgData name="Mioduszewska, Joanna" userId="81ce7990-eaad-4e2f-8cfd-9d7aecd250dd" providerId="ADAL" clId="{58DBB000-3DB8-4E22-BC30-07C62D71C3DD}" dt="2024-02-12T15:26:15.573" v="245" actId="338"/>
          <ac:spMkLst>
            <pc:docMk/>
            <pc:sldMk cId="1552949077" sldId="2147482940"/>
            <ac:spMk id="74" creationId="{B3660AA6-27D5-363A-99AF-2B06CF98D38C}"/>
          </ac:spMkLst>
        </pc:spChg>
        <pc:spChg chg="mod topLvl">
          <ac:chgData name="Mioduszewska, Joanna" userId="81ce7990-eaad-4e2f-8cfd-9d7aecd250dd" providerId="ADAL" clId="{58DBB000-3DB8-4E22-BC30-07C62D71C3DD}" dt="2024-02-12T15:26:15.573" v="245" actId="338"/>
          <ac:spMkLst>
            <pc:docMk/>
            <pc:sldMk cId="1552949077" sldId="2147482940"/>
            <ac:spMk id="75" creationId="{39D5E4B6-B968-E990-8605-C60ED6B11C61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76" creationId="{14CFB66C-C874-0945-D436-B53207426EEB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78" creationId="{A40782F2-FA4D-23DD-319C-454B77AD1957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79" creationId="{587373B6-96DF-37E4-BC51-E39AEE6510EE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80" creationId="{61EF77C9-2DA2-BD2E-324A-65460A751F72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81" creationId="{F087E078-44A9-B84D-B6BA-BD8AAF830918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82" creationId="{B062ADC4-B317-C745-A2D6-8E664F67DFD3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83" creationId="{04210713-63DF-D2E9-D62B-E456A43AF110}"/>
          </ac:spMkLst>
        </pc:spChg>
        <pc:spChg chg="add mod">
          <ac:chgData name="Mioduszewska, Joanna" userId="81ce7990-eaad-4e2f-8cfd-9d7aecd250dd" providerId="ADAL" clId="{58DBB000-3DB8-4E22-BC30-07C62D71C3DD}" dt="2024-02-13T14:03:02.300" v="1309" actId="1076"/>
          <ac:spMkLst>
            <pc:docMk/>
            <pc:sldMk cId="1552949077" sldId="2147482940"/>
            <ac:spMk id="84" creationId="{C60AAD7C-912E-8A1B-71BD-4A040D922B7B}"/>
          </ac:spMkLst>
        </pc:spChg>
        <pc:spChg chg="mod">
          <ac:chgData name="Mioduszewska, Joanna" userId="81ce7990-eaad-4e2f-8cfd-9d7aecd250dd" providerId="ADAL" clId="{58DBB000-3DB8-4E22-BC30-07C62D71C3DD}" dt="2024-02-13T14:03:26.665" v="1312" actId="207"/>
          <ac:spMkLst>
            <pc:docMk/>
            <pc:sldMk cId="1552949077" sldId="2147482940"/>
            <ac:spMk id="86" creationId="{D1BCB724-2275-D5F5-CBD7-3EB07EC8A5F9}"/>
          </ac:spMkLst>
        </pc:spChg>
        <pc:spChg chg="mod">
          <ac:chgData name="Mioduszewska, Joanna" userId="81ce7990-eaad-4e2f-8cfd-9d7aecd250dd" providerId="ADAL" clId="{58DBB000-3DB8-4E22-BC30-07C62D71C3DD}" dt="2024-02-13T14:03:26.665" v="1312" actId="207"/>
          <ac:spMkLst>
            <pc:docMk/>
            <pc:sldMk cId="1552949077" sldId="2147482940"/>
            <ac:spMk id="87" creationId="{6EEE59DC-8880-18B0-F66F-F741E9E5D7E8}"/>
          </ac:spMkLst>
        </pc:spChg>
        <pc:spChg chg="mod">
          <ac:chgData name="Mioduszewska, Joanna" userId="81ce7990-eaad-4e2f-8cfd-9d7aecd250dd" providerId="ADAL" clId="{58DBB000-3DB8-4E22-BC30-07C62D71C3DD}" dt="2024-02-13T14:03:26.665" v="1312" actId="207"/>
          <ac:spMkLst>
            <pc:docMk/>
            <pc:sldMk cId="1552949077" sldId="2147482940"/>
            <ac:spMk id="88" creationId="{596907E1-BB8C-E98D-50B8-239C6413FDCF}"/>
          </ac:spMkLst>
        </pc:spChg>
        <pc:spChg chg="add mod">
          <ac:chgData name="Mioduszewska, Joanna" userId="81ce7990-eaad-4e2f-8cfd-9d7aecd250dd" providerId="ADAL" clId="{58DBB000-3DB8-4E22-BC30-07C62D71C3DD}" dt="2024-02-13T14:03:02.300" v="1309" actId="1076"/>
          <ac:spMkLst>
            <pc:docMk/>
            <pc:sldMk cId="1552949077" sldId="2147482940"/>
            <ac:spMk id="89" creationId="{F99A7A18-E7D4-C116-ADE8-E5601FC3E02B}"/>
          </ac:spMkLst>
        </pc:spChg>
        <pc:spChg chg="mod">
          <ac:chgData name="Mioduszewska, Joanna" userId="81ce7990-eaad-4e2f-8cfd-9d7aecd250dd" providerId="ADAL" clId="{58DBB000-3DB8-4E22-BC30-07C62D71C3DD}" dt="2024-02-13T14:03:22.952" v="1311" actId="207"/>
          <ac:spMkLst>
            <pc:docMk/>
            <pc:sldMk cId="1552949077" sldId="2147482940"/>
            <ac:spMk id="91" creationId="{45CA44BE-FE9A-F5AD-CCAF-53FF9D2FF69A}"/>
          </ac:spMkLst>
        </pc:spChg>
        <pc:spChg chg="mod">
          <ac:chgData name="Mioduszewska, Joanna" userId="81ce7990-eaad-4e2f-8cfd-9d7aecd250dd" providerId="ADAL" clId="{58DBB000-3DB8-4E22-BC30-07C62D71C3DD}" dt="2024-02-13T14:03:22.952" v="1311" actId="207"/>
          <ac:spMkLst>
            <pc:docMk/>
            <pc:sldMk cId="1552949077" sldId="2147482940"/>
            <ac:spMk id="92" creationId="{E5442CA8-C971-CD2A-FA37-7119DFE5E933}"/>
          </ac:spMkLst>
        </pc:spChg>
        <pc:spChg chg="mod">
          <ac:chgData name="Mioduszewska, Joanna" userId="81ce7990-eaad-4e2f-8cfd-9d7aecd250dd" providerId="ADAL" clId="{58DBB000-3DB8-4E22-BC30-07C62D71C3DD}" dt="2024-02-13T14:03:22.952" v="1311" actId="207"/>
          <ac:spMkLst>
            <pc:docMk/>
            <pc:sldMk cId="1552949077" sldId="2147482940"/>
            <ac:spMk id="93" creationId="{10DF1BCF-3A25-51BE-4923-96B06A1DABF0}"/>
          </ac:spMkLst>
        </pc:spChg>
        <pc:spChg chg="add mod">
          <ac:chgData name="Mioduszewska, Joanna" userId="81ce7990-eaad-4e2f-8cfd-9d7aecd250dd" providerId="ADAL" clId="{58DBB000-3DB8-4E22-BC30-07C62D71C3DD}" dt="2024-02-13T14:03:02.300" v="1309" actId="1076"/>
          <ac:spMkLst>
            <pc:docMk/>
            <pc:sldMk cId="1552949077" sldId="2147482940"/>
            <ac:spMk id="94" creationId="{D59CC0FF-DF4B-5B2B-98E8-4BC07C7554EC}"/>
          </ac:spMkLst>
        </pc:spChg>
        <pc:spChg chg="mod">
          <ac:chgData name="Mioduszewska, Joanna" userId="81ce7990-eaad-4e2f-8cfd-9d7aecd250dd" providerId="ADAL" clId="{58DBB000-3DB8-4E22-BC30-07C62D71C3DD}" dt="2024-02-13T14:03:29.321" v="1313" actId="207"/>
          <ac:spMkLst>
            <pc:docMk/>
            <pc:sldMk cId="1552949077" sldId="2147482940"/>
            <ac:spMk id="96" creationId="{ED3C055A-0AA3-7472-1A21-4FE444D03BDC}"/>
          </ac:spMkLst>
        </pc:spChg>
        <pc:spChg chg="mod">
          <ac:chgData name="Mioduszewska, Joanna" userId="81ce7990-eaad-4e2f-8cfd-9d7aecd250dd" providerId="ADAL" clId="{58DBB000-3DB8-4E22-BC30-07C62D71C3DD}" dt="2024-02-13T14:03:29.321" v="1313" actId="207"/>
          <ac:spMkLst>
            <pc:docMk/>
            <pc:sldMk cId="1552949077" sldId="2147482940"/>
            <ac:spMk id="97" creationId="{DFFB0685-041B-FADF-F8B9-6BC55350BBC3}"/>
          </ac:spMkLst>
        </pc:spChg>
        <pc:spChg chg="mod">
          <ac:chgData name="Mioduszewska, Joanna" userId="81ce7990-eaad-4e2f-8cfd-9d7aecd250dd" providerId="ADAL" clId="{58DBB000-3DB8-4E22-BC30-07C62D71C3DD}" dt="2024-02-13T14:03:29.321" v="1313" actId="207"/>
          <ac:spMkLst>
            <pc:docMk/>
            <pc:sldMk cId="1552949077" sldId="2147482940"/>
            <ac:spMk id="98" creationId="{1BA79CC2-9379-0C98-C1B1-4422288C019C}"/>
          </ac:spMkLst>
        </pc:spChg>
        <pc:spChg chg="add mod">
          <ac:chgData name="Mioduszewska, Joanna" userId="81ce7990-eaad-4e2f-8cfd-9d7aecd250dd" providerId="ADAL" clId="{58DBB000-3DB8-4E22-BC30-07C62D71C3DD}" dt="2024-02-13T14:03:02.300" v="1309" actId="1076"/>
          <ac:spMkLst>
            <pc:docMk/>
            <pc:sldMk cId="1552949077" sldId="2147482940"/>
            <ac:spMk id="99" creationId="{8575D333-8AC3-A673-927A-933F3C7D86E4}"/>
          </ac:spMkLst>
        </pc:spChg>
        <pc:spChg chg="add del mod">
          <ac:chgData name="Mioduszewska, Joanna" userId="81ce7990-eaad-4e2f-8cfd-9d7aecd250dd" providerId="ADAL" clId="{58DBB000-3DB8-4E22-BC30-07C62D71C3DD}" dt="2024-02-12T15:33:27.686" v="429" actId="478"/>
          <ac:spMkLst>
            <pc:docMk/>
            <pc:sldMk cId="1552949077" sldId="2147482940"/>
            <ac:spMk id="100" creationId="{9B7745AD-E3F5-29F8-D9EB-0C465B79C0FC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0" creationId="{9CDD90B5-D111-EBD0-D3EF-58883588E9B0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1" creationId="{934C52D2-C66F-ACC8-24E6-E6685608C0B6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2" creationId="{40EDCA4D-84E1-070B-46C1-6B13D1B065DA}"/>
          </ac:spMkLst>
        </pc:spChg>
        <pc:spChg chg="mod">
          <ac:chgData name="Mioduszewska, Joanna" userId="81ce7990-eaad-4e2f-8cfd-9d7aecd250dd" providerId="ADAL" clId="{58DBB000-3DB8-4E22-BC30-07C62D71C3DD}" dt="2024-02-12T15:33:54.473" v="431"/>
          <ac:spMkLst>
            <pc:docMk/>
            <pc:sldMk cId="1552949077" sldId="2147482940"/>
            <ac:spMk id="102" creationId="{9FA8F70E-5B1F-BC45-B473-C221D4BCF90E}"/>
          </ac:spMkLst>
        </pc:spChg>
        <pc:spChg chg="mod">
          <ac:chgData name="Mioduszewska, Joanna" userId="81ce7990-eaad-4e2f-8cfd-9d7aecd250dd" providerId="ADAL" clId="{58DBB000-3DB8-4E22-BC30-07C62D71C3DD}" dt="2024-02-12T15:33:54.473" v="431"/>
          <ac:spMkLst>
            <pc:docMk/>
            <pc:sldMk cId="1552949077" sldId="2147482940"/>
            <ac:spMk id="103" creationId="{546D5645-DDFE-9AFD-E095-0F8E82642435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3" creationId="{554E99D8-F225-42BA-1721-F90A990FEAA8}"/>
          </ac:spMkLst>
        </pc:spChg>
        <pc:spChg chg="mod">
          <ac:chgData name="Mioduszewska, Joanna" userId="81ce7990-eaad-4e2f-8cfd-9d7aecd250dd" providerId="ADAL" clId="{58DBB000-3DB8-4E22-BC30-07C62D71C3DD}" dt="2024-02-12T15:33:54.473" v="431"/>
          <ac:spMkLst>
            <pc:docMk/>
            <pc:sldMk cId="1552949077" sldId="2147482940"/>
            <ac:spMk id="104" creationId="{57625BE2-E80F-D6C3-E2AC-B66E06ECFC4B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4" creationId="{7E114344-7144-A58A-37CC-A37DCD7058C3}"/>
          </ac:spMkLst>
        </pc:spChg>
        <pc:spChg chg="add del mod">
          <ac:chgData name="Mioduszewska, Joanna" userId="81ce7990-eaad-4e2f-8cfd-9d7aecd250dd" providerId="ADAL" clId="{58DBB000-3DB8-4E22-BC30-07C62D71C3DD}" dt="2024-02-12T15:34:03.651" v="433" actId="478"/>
          <ac:spMkLst>
            <pc:docMk/>
            <pc:sldMk cId="1552949077" sldId="2147482940"/>
            <ac:spMk id="105" creationId="{267F3820-5EF1-033E-1FF3-BB55B9AA2628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5" creationId="{2A62646D-EB1E-3D6E-F506-D1293494897D}"/>
          </ac:spMkLst>
        </pc:spChg>
        <pc:spChg chg="mod">
          <ac:chgData name="Mioduszewska, Joanna" userId="81ce7990-eaad-4e2f-8cfd-9d7aecd250dd" providerId="ADAL" clId="{58DBB000-3DB8-4E22-BC30-07C62D71C3DD}" dt="2024-02-13T14:04:23.865" v="1324" actId="207"/>
          <ac:spMkLst>
            <pc:docMk/>
            <pc:sldMk cId="1552949077" sldId="2147482940"/>
            <ac:spMk id="107" creationId="{E9865515-3C99-7050-A45C-1248FE22EA27}"/>
          </ac:spMkLst>
        </pc:spChg>
        <pc:spChg chg="mod">
          <ac:chgData name="Mioduszewska, Joanna" userId="81ce7990-eaad-4e2f-8cfd-9d7aecd250dd" providerId="ADAL" clId="{58DBB000-3DB8-4E22-BC30-07C62D71C3DD}" dt="2024-02-13T14:04:14.508" v="1322" actId="207"/>
          <ac:spMkLst>
            <pc:docMk/>
            <pc:sldMk cId="1552949077" sldId="2147482940"/>
            <ac:spMk id="108" creationId="{5645295A-6BEF-146C-2426-F612ADF4EA9F}"/>
          </ac:spMkLst>
        </pc:spChg>
        <pc:spChg chg="mod">
          <ac:chgData name="Mioduszewska, Joanna" userId="81ce7990-eaad-4e2f-8cfd-9d7aecd250dd" providerId="ADAL" clId="{58DBB000-3DB8-4E22-BC30-07C62D71C3DD}" dt="2024-02-13T14:04:06.424" v="1320" actId="207"/>
          <ac:spMkLst>
            <pc:docMk/>
            <pc:sldMk cId="1552949077" sldId="2147482940"/>
            <ac:spMk id="109" creationId="{5AE67CEB-477D-AF54-726F-01FC9F39B9C4}"/>
          </ac:spMkLst>
        </pc:spChg>
        <pc:spChg chg="mod ord">
          <ac:chgData name="Mioduszewska, Joanna" userId="81ce7990-eaad-4e2f-8cfd-9d7aecd250dd" providerId="ADAL" clId="{58DBB000-3DB8-4E22-BC30-07C62D71C3DD}" dt="2024-02-13T14:03:58.672" v="1318" actId="207"/>
          <ac:spMkLst>
            <pc:docMk/>
            <pc:sldMk cId="1552949077" sldId="2147482940"/>
            <ac:spMk id="110" creationId="{43344780-96BA-C111-CEBD-EA97E463A0D0}"/>
          </ac:spMkLst>
        </pc:spChg>
        <pc:spChg chg="mod">
          <ac:chgData name="Mioduszewska, Joanna" userId="81ce7990-eaad-4e2f-8cfd-9d7aecd250dd" providerId="ADAL" clId="{58DBB000-3DB8-4E22-BC30-07C62D71C3DD}" dt="2024-02-13T14:03:40.605" v="1316" actId="207"/>
          <ac:spMkLst>
            <pc:docMk/>
            <pc:sldMk cId="1552949077" sldId="2147482940"/>
            <ac:spMk id="111" creationId="{215637DA-37D6-A908-49BE-8EEF12C937DF}"/>
          </ac:spMkLst>
        </pc:spChg>
        <pc:spChg chg="mod">
          <ac:chgData name="Mioduszewska, Joanna" userId="81ce7990-eaad-4e2f-8cfd-9d7aecd250dd" providerId="ADAL" clId="{58DBB000-3DB8-4E22-BC30-07C62D71C3DD}" dt="2024-02-13T14:03:31.382" v="1314" actId="207"/>
          <ac:spMkLst>
            <pc:docMk/>
            <pc:sldMk cId="1552949077" sldId="2147482940"/>
            <ac:spMk id="113" creationId="{EC8B5431-996F-81AE-52BC-4EE394A184B5}"/>
          </ac:spMkLst>
        </pc:spChg>
        <pc:spChg chg="mod">
          <ac:chgData name="Mioduszewska, Joanna" userId="81ce7990-eaad-4e2f-8cfd-9d7aecd250dd" providerId="ADAL" clId="{58DBB000-3DB8-4E22-BC30-07C62D71C3DD}" dt="2024-02-13T14:03:31.382" v="1314" actId="207"/>
          <ac:spMkLst>
            <pc:docMk/>
            <pc:sldMk cId="1552949077" sldId="2147482940"/>
            <ac:spMk id="114" creationId="{BD05C9F6-15F4-2476-4FC1-F5B7DF9A609E}"/>
          </ac:spMkLst>
        </pc:spChg>
        <pc:spChg chg="mod">
          <ac:chgData name="Mioduszewska, Joanna" userId="81ce7990-eaad-4e2f-8cfd-9d7aecd250dd" providerId="ADAL" clId="{58DBB000-3DB8-4E22-BC30-07C62D71C3DD}" dt="2024-02-13T14:03:31.382" v="1314" actId="207"/>
          <ac:spMkLst>
            <pc:docMk/>
            <pc:sldMk cId="1552949077" sldId="2147482940"/>
            <ac:spMk id="115" creationId="{C60E4FA2-B1CE-9795-0CDE-50ECE879F9A1}"/>
          </ac:spMkLst>
        </pc:spChg>
        <pc:spChg chg="add mod">
          <ac:chgData name="Mioduszewska, Joanna" userId="81ce7990-eaad-4e2f-8cfd-9d7aecd250dd" providerId="ADAL" clId="{58DBB000-3DB8-4E22-BC30-07C62D71C3DD}" dt="2024-02-13T14:03:02.300" v="1309" actId="1076"/>
          <ac:spMkLst>
            <pc:docMk/>
            <pc:sldMk cId="1552949077" sldId="2147482940"/>
            <ac:spMk id="116" creationId="{AD8B7E20-F2AE-1A94-81E2-52B87C3B47B6}"/>
          </ac:spMkLst>
        </pc:spChg>
        <pc:spChg chg="mod">
          <ac:chgData name="Mioduszewska, Joanna" userId="81ce7990-eaad-4e2f-8cfd-9d7aecd250dd" providerId="ADAL" clId="{58DBB000-3DB8-4E22-BC30-07C62D71C3DD}" dt="2024-02-13T14:03:33.909" v="1315" actId="207"/>
          <ac:spMkLst>
            <pc:docMk/>
            <pc:sldMk cId="1552949077" sldId="2147482940"/>
            <ac:spMk id="118" creationId="{E8F3B8A0-DE40-B1B2-9E47-FAAD3EDB14B0}"/>
          </ac:spMkLst>
        </pc:spChg>
        <pc:spChg chg="mod">
          <ac:chgData name="Mioduszewska, Joanna" userId="81ce7990-eaad-4e2f-8cfd-9d7aecd250dd" providerId="ADAL" clId="{58DBB000-3DB8-4E22-BC30-07C62D71C3DD}" dt="2024-02-13T14:03:33.909" v="1315" actId="207"/>
          <ac:spMkLst>
            <pc:docMk/>
            <pc:sldMk cId="1552949077" sldId="2147482940"/>
            <ac:spMk id="119" creationId="{D8C14797-C18A-59F1-5476-09A2DAF03806}"/>
          </ac:spMkLst>
        </pc:spChg>
        <pc:spChg chg="mod">
          <ac:chgData name="Mioduszewska, Joanna" userId="81ce7990-eaad-4e2f-8cfd-9d7aecd250dd" providerId="ADAL" clId="{58DBB000-3DB8-4E22-BC30-07C62D71C3DD}" dt="2024-02-13T14:03:33.909" v="1315" actId="207"/>
          <ac:spMkLst>
            <pc:docMk/>
            <pc:sldMk cId="1552949077" sldId="2147482940"/>
            <ac:spMk id="120" creationId="{C94F31F2-D69E-309D-DED3-CD6D33F2C520}"/>
          </ac:spMkLst>
        </pc:spChg>
        <pc:spChg chg="add mod">
          <ac:chgData name="Mioduszewska, Joanna" userId="81ce7990-eaad-4e2f-8cfd-9d7aecd250dd" providerId="ADAL" clId="{58DBB000-3DB8-4E22-BC30-07C62D71C3DD}" dt="2024-02-13T14:03:02.300" v="1309" actId="1076"/>
          <ac:spMkLst>
            <pc:docMk/>
            <pc:sldMk cId="1552949077" sldId="2147482940"/>
            <ac:spMk id="121" creationId="{50EA1321-F59F-A4AC-660C-1AC78E2C1A2B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22" creationId="{A14ADDB3-A085-027B-8FA4-300602D76AE4}"/>
          </ac:spMkLst>
        </pc:spChg>
        <pc:spChg chg="add mod">
          <ac:chgData name="Mioduszewska, Joanna" userId="81ce7990-eaad-4e2f-8cfd-9d7aecd250dd" providerId="ADAL" clId="{58DBB000-3DB8-4E22-BC30-07C62D71C3DD}" dt="2024-02-13T13:25:08.108" v="892" actId="1076"/>
          <ac:spMkLst>
            <pc:docMk/>
            <pc:sldMk cId="1552949077" sldId="2147482940"/>
            <ac:spMk id="123" creationId="{948202AF-1ED2-FCB7-D2AA-6D7EFC03D08A}"/>
          </ac:spMkLst>
        </pc:spChg>
        <pc:spChg chg="add del">
          <ac:chgData name="Mioduszewska, Joanna" userId="81ce7990-eaad-4e2f-8cfd-9d7aecd250dd" providerId="ADAL" clId="{58DBB000-3DB8-4E22-BC30-07C62D71C3DD}" dt="2024-02-12T15:47:08.310" v="478"/>
          <ac:spMkLst>
            <pc:docMk/>
            <pc:sldMk cId="1552949077" sldId="2147482940"/>
            <ac:spMk id="124" creationId="{49782CD1-85F0-234D-3E3A-A10E2885841C}"/>
          </ac:spMkLst>
        </pc:spChg>
        <pc:spChg chg="add del">
          <ac:chgData name="Mioduszewska, Joanna" userId="81ce7990-eaad-4e2f-8cfd-9d7aecd250dd" providerId="ADAL" clId="{58DBB000-3DB8-4E22-BC30-07C62D71C3DD}" dt="2024-02-12T15:47:08.310" v="478"/>
          <ac:spMkLst>
            <pc:docMk/>
            <pc:sldMk cId="1552949077" sldId="2147482940"/>
            <ac:spMk id="125" creationId="{2F4EC256-5709-B365-D19F-41BE271589C5}"/>
          </ac:spMkLst>
        </pc:spChg>
        <pc:spChg chg="add del">
          <ac:chgData name="Mioduszewska, Joanna" userId="81ce7990-eaad-4e2f-8cfd-9d7aecd250dd" providerId="ADAL" clId="{58DBB000-3DB8-4E22-BC30-07C62D71C3DD}" dt="2024-02-12T15:47:08.310" v="478"/>
          <ac:spMkLst>
            <pc:docMk/>
            <pc:sldMk cId="1552949077" sldId="2147482940"/>
            <ac:spMk id="126" creationId="{2285FAED-21FD-191D-5490-79F87C15ACCA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26" creationId="{C74BEFE4-6F14-BB70-B3C1-37BF60898032}"/>
          </ac:spMkLst>
        </pc:spChg>
        <pc:spChg chg="add del">
          <ac:chgData name="Mioduszewska, Joanna" userId="81ce7990-eaad-4e2f-8cfd-9d7aecd250dd" providerId="ADAL" clId="{58DBB000-3DB8-4E22-BC30-07C62D71C3DD}" dt="2024-02-12T15:47:08.310" v="478"/>
          <ac:spMkLst>
            <pc:docMk/>
            <pc:sldMk cId="1552949077" sldId="2147482940"/>
            <ac:spMk id="127" creationId="{F067ABF5-D560-6821-117A-C7176529D3CF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92" creationId="{736AB5FF-0DBA-9728-84E3-1AAAFE32864E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93" creationId="{9B27E18F-FB40-6C3E-4C3D-1EBF1130FB0E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94" creationId="{50C06BCA-C7F4-D2E4-B5F6-E91C64C04AD4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95" creationId="{44214FF7-B0F3-BF4A-3449-A2E57C11BFAF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96" creationId="{B387352E-741F-D53A-8427-6BB03414FEE1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97" creationId="{DC916645-4F5A-0C86-0886-AF59C220937F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98" creationId="{52BBD47C-5FB4-9F5E-46DF-07E0EEE91D7E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99" creationId="{B37F11F9-79FE-5318-4AFE-F40000786F60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00" creationId="{0A74F907-119B-1AF1-AF01-4B0E9087FD5D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01" creationId="{063B9355-81D1-F119-7E8E-0B0655E1F6C0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02" creationId="{487D35A2-B64D-B8D9-E15F-51D4459524A2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03" creationId="{422A7D18-A043-765E-5AB7-A5DFFF11F6E6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07" creationId="{8421D894-82B4-0DEA-6E9B-BCB632CF8D74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08" creationId="{C76D1B0F-49FC-F272-2D22-48171CD6DA75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09" creationId="{DB2E319D-58BC-EFC4-2572-A058917E6A58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11" creationId="{D05ABBD3-0BF9-8AE0-99DA-4DBF26C8A868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12" creationId="{5742D90B-6B2D-D1A7-C099-CCA90DA53E34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14" creationId="{0F30A444-C4E5-F866-F870-8D34E8541A8B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15" creationId="{4A5CAADF-6E22-BA1C-0F97-BC8AFBDC78D7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17" creationId="{49F4B115-171B-3115-9CDA-9064A6E3370E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18" creationId="{BEE48676-B789-7470-5F37-13D01B1CCDFD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20" creationId="{1F57D18C-AC11-3DCC-AF06-20A6B33BCC7E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21" creationId="{9D0C0408-9984-0059-A9C9-C59C70A9F1DE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22" creationId="{669153E2-B962-F991-14E4-99DA98E70AAD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25" creationId="{E3BC43FF-F059-D3B0-431C-8DC0BF4FDDDD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28" creationId="{1967F54A-BFB6-C8EB-16CE-EE4EF440D0AD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29" creationId="{E4C061DB-4A6D-4D79-2211-5695C349F0BC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30" creationId="{4AC0E885-99B4-3C68-FFA0-099A43FFCFED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32" creationId="{4CC1A782-6A64-3046-29E9-3B4EA57D2B64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33" creationId="{4D7E9E18-2C18-A832-778B-46DF5DF1217E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34" creationId="{98F4BBA3-B699-8141-197A-0E9839E0FF61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35" creationId="{B8808D7C-6902-5518-2F02-9E3BFEF15967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36" creationId="{8D9C1BED-E995-2110-81A9-BC612E0846B6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39" creationId="{EB5A8992-998F-A4A9-DABA-0E9B5B03F853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40" creationId="{42A5F6FB-63E6-2144-8EFF-5CE0EC195E13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41" creationId="{28FFE085-D859-C626-74B8-287B31F3FBC1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42" creationId="{1E11B6D2-2DBB-68E8-288B-473ECAA1F17D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43" creationId="{2B69FAAC-E67C-79F4-19BA-82F0C82A8712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44" creationId="{1B0CB252-FF74-B262-A515-8E321292B0B2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45" creationId="{A9C5627A-FCEB-07C9-9606-75F3517C9C3A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46" creationId="{DBFB800E-3164-FE25-08DF-DDC76A55ADDC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47" creationId="{3DA3E10B-3997-8CB8-CC43-1819FCD73AD6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48" creationId="{A2CDDE3A-7DC7-5FD3-02B7-BD42A791077B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49" creationId="{0D27A694-24E6-75FD-BD75-D4EC039F770F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50" creationId="{01DF3E90-85D1-986A-53C5-EB6EC4E545A4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51" creationId="{94019617-FD1B-6490-13C9-6346AC30B3A7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52" creationId="{4F46FAED-C5CE-4D7F-1360-87A1F59A3027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53" creationId="{DA8FCFEE-9CB8-1818-453F-9D9EE77D7883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54" creationId="{A66CC7EC-9FC1-AB94-0EC0-38335257F50C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55" creationId="{3F3E0A58-BA2F-177D-56F1-9EE3972BF5B1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56" creationId="{381E4E28-B4EA-9C44-B7CC-908087166D20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57" creationId="{DF8CB64E-558B-9178-EB33-056F86E6C0F7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61" creationId="{E99D8975-81FC-B860-CC1A-0273AFC8139A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65" creationId="{ABFF16E8-019F-F3ED-44F4-64615063F18C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66" creationId="{AA2E2BC7-7186-F43F-EF21-415B4F05844E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67" creationId="{F81ECDA4-CA53-5A2D-FA8D-B4B9B13D835A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68" creationId="{9F4F9211-DBCB-F513-6294-7B38491F1D9C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69" creationId="{E2133FE7-A007-25B8-5E73-4DA7AC3E27BD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70" creationId="{998EC016-2B66-C2B9-4124-3B0868FDF35F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71" creationId="{4335BC7E-86C3-82A3-7A20-F28C99EDAD01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72" creationId="{41F85A3A-772F-0883-4AD1-C0FCEA128E86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73" creationId="{0337BD6A-EB39-892E-DFDD-753F305B079B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74" creationId="{FF13E038-8808-37F4-60D3-67BD6F5778B0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75" creationId="{AE0A22FC-EA69-2155-6474-F2D73AD4A54C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76" creationId="{AC42C513-C685-6673-75E3-A6AFB26BEB43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77" creationId="{ACA5A219-1556-914B-9DD4-3BB91E19FD9F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79" creationId="{206C0B20-D322-D4BE-3DB4-3D99EB66C572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80" creationId="{7321E1DC-789E-CB85-7F60-616F00DA9459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81" creationId="{66AF7860-C56E-9425-CF63-07F43DC2638A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82" creationId="{950C1AF0-88C7-E72F-0D9C-FEA230C794D5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83" creationId="{01A9B8AC-AE15-4ADA-5FEF-AB202154C475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84" creationId="{E74A9B70-2AF2-B68E-4560-88C33F67DC90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89" creationId="{C16B49B5-F27B-605B-5D81-574C064755DC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91" creationId="{F6DF4D72-0E55-1048-6B73-2FD2B7861444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93" creationId="{EAD6F9EC-AC49-296F-E5F8-CC7FFA9A31C0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94" creationId="{8B258DD0-A243-8C32-96D7-97350B94198C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95" creationId="{43DD0D9B-2CCB-9B48-84DF-5D95A68577C8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96" creationId="{C01C8435-8679-60F2-4FDD-9F1C416ED52D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297" creationId="{EDFF516C-B464-8AC1-70EF-44D879253205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00" creationId="{C9DBCB94-1FA9-D7E2-1693-CC83ACF7FD55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01" creationId="{312BAA4B-4E8A-DEFC-D5D5-F5EB9B76096F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02" creationId="{534E5CF3-7BC7-17A1-38EF-DFE83928C48F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03" creationId="{09704BF6-68D9-314C-759E-EEA8E58617C1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04" creationId="{C7CCB99D-1633-232B-12A0-1CFB51DDF4A3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05" creationId="{D1EE1F00-1136-A85B-2A5E-7A2DB576D80C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06" creationId="{D0CF94D6-253F-3AA8-7EBE-7811173FA3A2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07" creationId="{840BAE88-E0FB-C645-FFE1-68D55E0AAADA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08" creationId="{17E7F5A4-4BC9-3C93-E759-0AF062A6901D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09" creationId="{8615D2A7-2A66-50D5-3A3C-D356911E88A8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10" creationId="{C0913C99-72C9-2A8C-3476-931082CBB6E9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12" creationId="{E08BE4E3-87EF-E87A-D79F-AA9FF7376A48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13" creationId="{E373E31F-9A55-A9D3-2890-10130947F1BC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16" creationId="{94DCC879-1012-118B-9732-E8E97754FD8E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17" creationId="{B176814A-2042-7D02-BACF-11ACECE221F7}"/>
          </ac:spMkLst>
        </pc:spChg>
        <pc:spChg chg="del">
          <ac:chgData name="Mioduszewska, Joanna" userId="81ce7990-eaad-4e2f-8cfd-9d7aecd250dd" providerId="ADAL" clId="{58DBB000-3DB8-4E22-BC30-07C62D71C3DD}" dt="2024-02-13T13:48:52.756" v="1163" actId="478"/>
          <ac:spMkLst>
            <pc:docMk/>
            <pc:sldMk cId="1552949077" sldId="2147482940"/>
            <ac:spMk id="355" creationId="{520DE371-5AF1-F8FF-8707-45EE4454FB90}"/>
          </ac:spMkLst>
        </pc:spChg>
        <pc:spChg chg="del">
          <ac:chgData name="Mioduszewska, Joanna" userId="81ce7990-eaad-4e2f-8cfd-9d7aecd250dd" providerId="ADAL" clId="{58DBB000-3DB8-4E22-BC30-07C62D71C3DD}" dt="2024-02-13T13:48:55.382" v="1165" actId="478"/>
          <ac:spMkLst>
            <pc:docMk/>
            <pc:sldMk cId="1552949077" sldId="2147482940"/>
            <ac:spMk id="356" creationId="{45893D60-F6F4-C53C-3A02-E32909DD2E69}"/>
          </ac:spMkLst>
        </pc:spChg>
        <pc:spChg chg="del">
          <ac:chgData name="Mioduszewska, Joanna" userId="81ce7990-eaad-4e2f-8cfd-9d7aecd250dd" providerId="ADAL" clId="{58DBB000-3DB8-4E22-BC30-07C62D71C3DD}" dt="2024-02-13T13:49:12.185" v="1167" actId="478"/>
          <ac:spMkLst>
            <pc:docMk/>
            <pc:sldMk cId="1552949077" sldId="2147482940"/>
            <ac:spMk id="357" creationId="{E15DB0F8-FBE2-D8CC-A4FB-F6A6E1AAAE0A}"/>
          </ac:spMkLst>
        </pc:spChg>
        <pc:spChg chg="del">
          <ac:chgData name="Mioduszewska, Joanna" userId="81ce7990-eaad-4e2f-8cfd-9d7aecd250dd" providerId="ADAL" clId="{58DBB000-3DB8-4E22-BC30-07C62D71C3DD}" dt="2024-02-13T13:49:14.988" v="1169" actId="478"/>
          <ac:spMkLst>
            <pc:docMk/>
            <pc:sldMk cId="1552949077" sldId="2147482940"/>
            <ac:spMk id="358" creationId="{DDA5DDE7-3083-CDF4-FE22-D3B32B014AAD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59" creationId="{FEF796DC-D72C-B293-9104-459D69DB9202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60" creationId="{ACAC2425-8E07-EA10-6779-D7FB7EA56643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61" creationId="{F7B4F341-89E0-EE4D-8659-73F16FC398F1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62" creationId="{01E19D81-8071-24EB-3A67-9217A5964825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63" creationId="{0B1A94FB-51F0-A477-287C-7FD97F22DEFF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64" creationId="{3871614C-7A96-054F-9ABC-103A103ABDFF}"/>
          </ac:spMkLst>
        </pc:spChg>
        <pc:spChg chg="del">
          <ac:chgData name="Mioduszewska, Joanna" userId="81ce7990-eaad-4e2f-8cfd-9d7aecd250dd" providerId="ADAL" clId="{58DBB000-3DB8-4E22-BC30-07C62D71C3DD}" dt="2024-02-13T13:40:52.290" v="1029" actId="478"/>
          <ac:spMkLst>
            <pc:docMk/>
            <pc:sldMk cId="1552949077" sldId="2147482940"/>
            <ac:spMk id="365" creationId="{EE782C3F-C94F-3415-05E2-30C77D58C065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66" creationId="{E1AA05BF-82E9-1F50-E1EC-126F054D3BA3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67" creationId="{0333D63D-E562-E5AE-17FC-95878FBE661E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68" creationId="{071FFD07-8426-4F06-D893-541016D3224E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69" creationId="{744783C5-9AE7-60AD-4F5B-98F1D5BB05BA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72" creationId="{C82515D3-15F3-EFD3-F90F-BEAF0FC168C5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73" creationId="{E98925E2-75E5-6380-8C08-05C760D221F1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74" creationId="{17EF799E-FD56-64DF-F42B-7A7041C9F268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75" creationId="{9C86BED2-D0B8-2939-CD4E-09C1CB4C8015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76" creationId="{5D45EE69-1D14-93EF-FA14-7B38A9EF1B23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77" creationId="{8AFCAFD7-2BE0-FCED-6BF2-D3E77E9189B8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78" creationId="{953BECC2-EB57-F3A6-D4D9-ABD2206E66D8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79" creationId="{F9F53832-F04E-8DF8-DE9F-1B1F09A9C4C9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80" creationId="{4BE9A081-B6C8-E3F3-B719-B50B201E0D8E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81" creationId="{D0E3D45F-795A-86CF-F8A8-D75AA94E7129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82" creationId="{369CB164-1611-9D35-3AFF-A0E65B14BE36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383" creationId="{735A105A-82D4-DDAE-3FDE-56EE2885F7CF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24" creationId="{E4EAD264-6C25-3CE4-BEEB-930B68501FB5}"/>
          </ac:spMkLst>
        </pc:spChg>
        <pc:spChg chg="mod topLvl">
          <ac:chgData name="Mioduszewska, Joanna" userId="81ce7990-eaad-4e2f-8cfd-9d7aecd250dd" providerId="ADAL" clId="{58DBB000-3DB8-4E22-BC30-07C62D71C3DD}" dt="2024-02-13T13:55:55.249" v="1258" actId="1076"/>
          <ac:spMkLst>
            <pc:docMk/>
            <pc:sldMk cId="1552949077" sldId="2147482940"/>
            <ac:spMk id="1025" creationId="{3E7B8531-117C-BDFE-D91B-1418F221CF9A}"/>
          </ac:spMkLst>
        </pc:spChg>
        <pc:spChg chg="mod topLvl">
          <ac:chgData name="Mioduszewska, Joanna" userId="81ce7990-eaad-4e2f-8cfd-9d7aecd250dd" providerId="ADAL" clId="{58DBB000-3DB8-4E22-BC30-07C62D71C3DD}" dt="2024-02-13T14:01:34.988" v="1300" actId="207"/>
          <ac:spMkLst>
            <pc:docMk/>
            <pc:sldMk cId="1552949077" sldId="2147482940"/>
            <ac:spMk id="1026" creationId="{4EE0572D-BA31-6EDD-4DF0-7CA50A620A35}"/>
          </ac:spMkLst>
        </pc:spChg>
        <pc:spChg chg="mod topLvl">
          <ac:chgData name="Mioduszewska, Joanna" userId="81ce7990-eaad-4e2f-8cfd-9d7aecd250dd" providerId="ADAL" clId="{58DBB000-3DB8-4E22-BC30-07C62D71C3DD}" dt="2024-02-13T14:00:16.962" v="1292" actId="20577"/>
          <ac:spMkLst>
            <pc:docMk/>
            <pc:sldMk cId="1552949077" sldId="2147482940"/>
            <ac:spMk id="1027" creationId="{C848F8A0-5A35-5167-3DFD-F8EE8C916F51}"/>
          </ac:spMkLst>
        </pc:spChg>
        <pc:spChg chg="mod ord topLvl">
          <ac:chgData name="Mioduszewska, Joanna" userId="81ce7990-eaad-4e2f-8cfd-9d7aecd250dd" providerId="ADAL" clId="{58DBB000-3DB8-4E22-BC30-07C62D71C3DD}" dt="2024-02-13T13:58:01.950" v="1269" actId="167"/>
          <ac:spMkLst>
            <pc:docMk/>
            <pc:sldMk cId="1552949077" sldId="2147482940"/>
            <ac:spMk id="1028" creationId="{9238BAFB-6840-765E-5909-431ED6EA4F64}"/>
          </ac:spMkLst>
        </pc:spChg>
        <pc:spChg chg="mod ord topLvl">
          <ac:chgData name="Mioduszewska, Joanna" userId="81ce7990-eaad-4e2f-8cfd-9d7aecd250dd" providerId="ADAL" clId="{58DBB000-3DB8-4E22-BC30-07C62D71C3DD}" dt="2024-02-13T14:04:54.175" v="1325" actId="1037"/>
          <ac:spMkLst>
            <pc:docMk/>
            <pc:sldMk cId="1552949077" sldId="2147482940"/>
            <ac:spMk id="1029" creationId="{95D48B8E-EE79-66DE-D0CB-F1C0874BA1AE}"/>
          </ac:spMkLst>
        </pc:spChg>
        <pc:spChg chg="mod topLvl">
          <ac:chgData name="Mioduszewska, Joanna" userId="81ce7990-eaad-4e2f-8cfd-9d7aecd250dd" providerId="ADAL" clId="{58DBB000-3DB8-4E22-BC30-07C62D71C3DD}" dt="2024-02-13T14:00:08.215" v="1288" actId="1076"/>
          <ac:spMkLst>
            <pc:docMk/>
            <pc:sldMk cId="1552949077" sldId="2147482940"/>
            <ac:spMk id="1031" creationId="{FE65D1B8-A8EF-256A-3B2C-00E82D80E85A}"/>
          </ac:spMkLst>
        </pc:spChg>
        <pc:spChg chg="mod topLvl">
          <ac:chgData name="Mioduszewska, Joanna" userId="81ce7990-eaad-4e2f-8cfd-9d7aecd250dd" providerId="ADAL" clId="{58DBB000-3DB8-4E22-BC30-07C62D71C3DD}" dt="2024-02-13T13:59:46.835" v="1284" actId="1076"/>
          <ac:spMkLst>
            <pc:docMk/>
            <pc:sldMk cId="1552949077" sldId="2147482940"/>
            <ac:spMk id="1032" creationId="{F360E5C4-44C6-AC93-A9AE-BA868987D058}"/>
          </ac:spMkLst>
        </pc:spChg>
        <pc:spChg chg="mod topLvl">
          <ac:chgData name="Mioduszewska, Joanna" userId="81ce7990-eaad-4e2f-8cfd-9d7aecd250dd" providerId="ADAL" clId="{58DBB000-3DB8-4E22-BC30-07C62D71C3DD}" dt="2024-02-13T14:01:55.010" v="1302" actId="207"/>
          <ac:spMkLst>
            <pc:docMk/>
            <pc:sldMk cId="1552949077" sldId="2147482940"/>
            <ac:spMk id="1033" creationId="{35D62320-8A1B-1D08-466D-25899862E8A6}"/>
          </ac:spMkLst>
        </pc:spChg>
        <pc:spChg chg="mod topLvl">
          <ac:chgData name="Mioduszewska, Joanna" userId="81ce7990-eaad-4e2f-8cfd-9d7aecd250dd" providerId="ADAL" clId="{58DBB000-3DB8-4E22-BC30-07C62D71C3DD}" dt="2024-02-13T14:00:05.370" v="1287" actId="1076"/>
          <ac:spMkLst>
            <pc:docMk/>
            <pc:sldMk cId="1552949077" sldId="2147482940"/>
            <ac:spMk id="1034" creationId="{65509118-98B0-F7C9-F472-8328DC7CA7B3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37" creationId="{C36D5038-279A-F0B8-B1A2-A3DA75B656AE}"/>
          </ac:spMkLst>
        </pc:spChg>
        <pc:spChg chg="del mod topLvl">
          <ac:chgData name="Mioduszewska, Joanna" userId="81ce7990-eaad-4e2f-8cfd-9d7aecd250dd" providerId="ADAL" clId="{58DBB000-3DB8-4E22-BC30-07C62D71C3DD}" dt="2024-02-12T15:52:16.742" v="551" actId="478"/>
          <ac:spMkLst>
            <pc:docMk/>
            <pc:sldMk cId="1552949077" sldId="2147482940"/>
            <ac:spMk id="1038" creationId="{28AFC93E-2042-F2EA-6FED-BAABDD98DF63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40" creationId="{41D408BF-45C1-81C0-ABF0-A3CE3832974C}"/>
          </ac:spMkLst>
        </pc:spChg>
        <pc:spChg chg="add del">
          <ac:chgData name="Mioduszewska, Joanna" userId="81ce7990-eaad-4e2f-8cfd-9d7aecd250dd" providerId="ADAL" clId="{58DBB000-3DB8-4E22-BC30-07C62D71C3DD}" dt="2024-02-12T15:54:30.489" v="578"/>
          <ac:spMkLst>
            <pc:docMk/>
            <pc:sldMk cId="1552949077" sldId="2147482940"/>
            <ac:spMk id="1040" creationId="{A9FB4FED-6CE2-6CC4-8926-C2AA658B0175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41" creationId="{3EF002D7-4F82-6B9F-872E-37E5853EAA74}"/>
          </ac:spMkLst>
        </pc:spChg>
        <pc:spChg chg="add del">
          <ac:chgData name="Mioduszewska, Joanna" userId="81ce7990-eaad-4e2f-8cfd-9d7aecd250dd" providerId="ADAL" clId="{58DBB000-3DB8-4E22-BC30-07C62D71C3DD}" dt="2024-02-12T15:54:30.489" v="578"/>
          <ac:spMkLst>
            <pc:docMk/>
            <pc:sldMk cId="1552949077" sldId="2147482940"/>
            <ac:spMk id="1041" creationId="{44B01ACA-1717-FAE5-2E53-3D9E00145238}"/>
          </ac:spMkLst>
        </pc:spChg>
        <pc:spChg chg="add mod">
          <ac:chgData name="Mioduszewska, Joanna" userId="81ce7990-eaad-4e2f-8cfd-9d7aecd250dd" providerId="ADAL" clId="{58DBB000-3DB8-4E22-BC30-07C62D71C3DD}" dt="2024-02-13T13:49:49.758" v="1172" actId="1076"/>
          <ac:spMkLst>
            <pc:docMk/>
            <pc:sldMk cId="1552949077" sldId="2147482940"/>
            <ac:spMk id="1042" creationId="{31F4EC59-94D7-06A4-9A83-98D27A79C964}"/>
          </ac:spMkLst>
        </pc:spChg>
        <pc:spChg chg="add mod">
          <ac:chgData name="Mioduszewska, Joanna" userId="81ce7990-eaad-4e2f-8cfd-9d7aecd250dd" providerId="ADAL" clId="{58DBB000-3DB8-4E22-BC30-07C62D71C3DD}" dt="2024-02-13T13:49:49.758" v="1172" actId="1076"/>
          <ac:spMkLst>
            <pc:docMk/>
            <pc:sldMk cId="1552949077" sldId="2147482940"/>
            <ac:spMk id="1043" creationId="{EDED8728-9C2A-DC7D-DD23-186E702CEB45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47" creationId="{D5945F55-950D-F20C-0E4F-7C5D0A0ADBE1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48" creationId="{D26A429A-4B13-6DA8-E0B1-F7AD6FBA6F0C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53" creationId="{816F3B4A-CB27-EF2E-677A-3C77CE67547B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56" creationId="{AC6D52C8-8200-15D5-E50E-4CE75644D076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57" creationId="{4B46289C-A7AC-11BA-B745-BB48FA6CEE5F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59" creationId="{6D1FFC2A-3391-14CB-4A7C-C792BB9E729C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60" creationId="{54142C2B-7B89-17A3-9CB4-A1192F781343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61" creationId="{132B9837-6E1B-2FD0-FA11-D4DF2C14A029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62" creationId="{3FAC93D2-CC6D-8523-F909-9FAE3F3F5361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63" creationId="{8095AB58-3FD0-D566-4B2C-95E985E6E1D7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67" creationId="{202E17D2-7E4F-61B5-18A7-07ED910B9BEB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69" creationId="{51649AC7-C1D4-FE1D-27B4-DC36339D8952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73" creationId="{81B5DB94-5B85-0967-D22C-443DACED3488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74" creationId="{C6080D25-67F4-5B8B-0D12-DF587978E778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75" creationId="{739B7D91-951A-5EDF-EDEF-136C94A420DE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76" creationId="{1A5EBBB0-E817-584B-D975-9788100CA1AB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77" creationId="{AA109C4E-C6FC-ADB1-899D-1713F0CB0F4E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78" creationId="{B314B1E1-3FE9-770D-1F08-131466F035B1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80" creationId="{CD71B328-07E5-B279-1F67-F82B2C78935E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83" creationId="{3ED49272-E2A4-4FBC-8431-F5AB7360838A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86" creationId="{A7D53BE5-65D4-ACC1-D64A-99C99B4CF362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87" creationId="{A8825FE4-1B5C-90ED-AFAA-A5147620A849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88" creationId="{B913A419-240D-3860-4267-9551EAFFB398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91" creationId="{5DC9D8C5-0074-698C-B2AC-6E8129E749E3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93" creationId="{0C4F879C-473A-425B-79C9-F62F4496AC59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94" creationId="{067F99AB-60ED-E3FE-F5DB-B38EB410EFA9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98" creationId="{3B0C604C-61BE-8619-A294-5A0661CD4571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099" creationId="{0AFAF34C-A8E6-6D6B-79F8-F7108657B86F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00" creationId="{B1795040-1711-191C-F949-700BF2300482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01" creationId="{170CCB44-324B-E219-5189-13504BE2352F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02" creationId="{FF67D892-0D56-CE07-BD21-3DD2BA9DAAC4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03" creationId="{0933E01C-E76F-350B-802E-A62A1BAC12FB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04" creationId="{13E24A04-C59C-3DEE-34EA-BF48F7BD5A47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05" creationId="{3F5FDDA7-C699-0399-7EA0-B6A58ADB3871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06" creationId="{AC3D56E5-B94E-4843-925D-F9E80ED4BBB6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07" creationId="{719C1BD2-6AA9-9388-5DA5-0ECE397FD2D7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08" creationId="{5BE9F8C9-BF4D-9A8A-0EEC-047C107B32C6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09" creationId="{62ABC1FF-7F47-79CB-5F3E-E00531B8509E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10" creationId="{D30ED520-2E42-0441-A075-CE2E63CDDF16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11" creationId="{88D6A32C-D27A-968E-162E-592A2F32547F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12" creationId="{ADAF820A-83B8-C45E-7FD5-BA8A68497EED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14" creationId="{0D9BC268-C5A1-BAEB-50D1-8F0E50F1AA9E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15" creationId="{A782C7A7-47FB-3701-0868-4D8587036C76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16" creationId="{1A071516-5275-779A-1DED-651B895A2164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17" creationId="{82A087B4-1345-4962-293C-997C994A5880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18" creationId="{F972218D-B823-4439-E4E2-072E37E3DD9F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19" creationId="{1AFB7475-D419-2655-DFD0-A9013A804E52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20" creationId="{E8798FA6-FBA2-E71F-ADB9-792551D858CD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21" creationId="{1D852DC9-161A-39A1-4712-FE97B900056F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22" creationId="{ABB68E8F-93E1-9A1D-154F-B66153AB2C1D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23" creationId="{DFF20942-05EE-B665-FEFA-E44F0B6F9803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24" creationId="{255E7097-0CF1-FF26-E464-32E054AD7F6D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25" creationId="{95B10463-D54E-9C6D-0C5A-061BDA2320D0}"/>
          </ac:spMkLst>
        </pc:spChg>
        <pc:spChg chg="mod">
          <ac:chgData name="Mioduszewska, Joanna" userId="81ce7990-eaad-4e2f-8cfd-9d7aecd250dd" providerId="ADAL" clId="{58DBB000-3DB8-4E22-BC30-07C62D71C3DD}" dt="2024-02-13T13:23:40.185" v="875"/>
          <ac:spMkLst>
            <pc:docMk/>
            <pc:sldMk cId="1552949077" sldId="2147482940"/>
            <ac:spMk id="1126" creationId="{488ECB70-292F-6652-02D7-6DE48D7B4048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29" creationId="{E657FD2A-61AA-9B39-3986-A1ED0E655DFC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30" creationId="{BF6D2721-C1BA-E007-ABD2-BC91FB62C6CD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31" creationId="{73ACB8D9-A457-D9BF-5C55-6B5DE2DC632D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32" creationId="{1B7664D6-A9B0-4AB7-7C36-386EFCBAE9F5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33" creationId="{E86BDB0B-B5A7-C129-3804-4959CFCB12A0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34" creationId="{400A1E52-A55C-E096-863E-33D617DA0C30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35" creationId="{D10D3385-5AC7-8218-77A6-9635EBF1C125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38" creationId="{A256E796-800F-234B-53C9-139349DD1DFC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40" creationId="{56F38855-AE1D-3C73-571F-502C4DA442BC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43" creationId="{A0E846D2-4BEF-CEC9-A800-8948A20AC841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45" creationId="{7E037F85-B1E1-5A80-0BEA-D6F65C6C4F23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46" creationId="{51F95D0F-6178-AF0E-4B91-910263149F84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48" creationId="{42B533EE-69DE-AAC5-8A69-D89A3A32F3AD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49" creationId="{7794979B-6427-08C4-9E44-13FE4F3D1208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54" creationId="{5761254A-7CBC-DA37-065F-40793739220B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57" creationId="{E1FCDFE3-D5DF-152E-10FC-34326E3D352C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58" creationId="{95A6D0EB-35BB-D291-98F1-DA798C85D942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60" creationId="{1095369B-3FD8-35F4-5B54-D0D8D7B1E3F9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61" creationId="{D2B98EF4-9C5F-305B-5A09-4B40BB8C3ADB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62" creationId="{80187206-5A5E-EC78-A3D2-2F3C87B556F4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63" creationId="{867C54CA-6752-BD52-7EBD-B7385BADD3C6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64" creationId="{422EACB5-021E-DA65-69DD-78E1A87A3990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68" creationId="{38A51131-B939-E1DB-62A8-73098FFE78EB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70" creationId="{17D1383D-06D3-5035-C60B-8DBA4FEB06B3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74" creationId="{5F4389C7-F45D-D429-C79F-04568BD8B194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75" creationId="{CA18AC36-68DA-126F-9298-7676EAF7E02D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76" creationId="{9D0FD7EB-349B-797F-F6EF-19FE9F72206A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77" creationId="{4361E03A-2C07-4070-E765-98A0F7D6F90B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78" creationId="{DDA80690-B9D3-C668-0054-2184D9003F2F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79" creationId="{1FCE937B-1253-BECC-19B3-C24F45A1067C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81" creationId="{115404B5-D044-4495-B958-7B8935DBCDBD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84" creationId="{0B091F2C-9372-254B-E5A9-E0C0287D0ABB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87" creationId="{0AC5108A-DCB8-41B3-7CCC-FCE3DE45B8BB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88" creationId="{7E88C314-7C8B-7A66-934F-4B573FFA0FF3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89" creationId="{963AE89E-7343-4829-6C0D-3271F0F5AC1A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90" creationId="{22F6D4E7-550A-F9FB-D3D8-6DF0EB09BA19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91" creationId="{687F3513-0D8A-A48B-1795-B04442A96CE6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92" creationId="{3CFB6444-582E-ED53-D216-B1DA5CA4B9E1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193" creationId="{3C30569D-6E90-913E-2AE7-6A8CF5A35871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00" creationId="{965E6DA0-C816-EE2C-C775-82518C56B8B5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04" creationId="{564C73BC-670F-ABB1-C124-2896FD54E03C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05" creationId="{0C285F20-282F-536B-91B6-6F97871F98F2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06" creationId="{DEA95521-21F4-712C-5B37-ABB9AD578AE2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07" creationId="{E92D325E-887B-0647-A329-203829F1831B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08" creationId="{31CE46AB-0ACF-7B33-2367-D70C5909ED9E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09" creationId="{CB2BB288-00B2-8702-1D9B-B31A4FCFDA71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10" creationId="{A5B2F8CE-4180-D504-64EC-7D2BD0CF3509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11" creationId="{DBD44B3B-E7F8-FD80-70BE-B706206CB4DE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12" creationId="{81796974-CEF4-FFFA-D763-C1D58A4CBE4A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13" creationId="{101A564D-89E9-E7B0-FE67-56862C65C3E0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14" creationId="{E3EB0935-ABB4-0DD3-D903-468E108709CC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15" creationId="{BFB54F28-8FAF-9397-E1DA-020BB67A59C1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16" creationId="{73909A84-E439-F4D7-C865-9B19F7F5F05A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18" creationId="{C01F5D6E-41F9-A74E-336B-7D453B8ADC22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19" creationId="{6FEB7A2E-E2A3-9A5F-37DF-A5F957C6A29E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20" creationId="{4F49B392-EACF-5CF7-FC91-63657E22E4B0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21" creationId="{5376E367-1958-4FA5-0EDC-F3795372ADFF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22" creationId="{EE8237FF-F35E-0294-E88C-9F57C112BCD3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23" creationId="{8CC026FC-2139-327A-2133-28EC6BE8A278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24" creationId="{5B4768B0-E489-EDCE-A14E-287B793C404C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25" creationId="{7692C65E-2DC6-1336-1210-46F976C6622A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26" creationId="{7D9FE9C6-62C4-0084-FDF3-6FA29B254B03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27" creationId="{8C1D9949-3C45-E05C-61E9-0549DB43E81C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28" creationId="{AD3A7D5B-5EEF-BCB3-FC62-7CE9BA792DE1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29" creationId="{C3702939-4C4E-8AE1-B1D9-21C48C2BF82D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30" creationId="{2FCD4B1C-4512-877A-F464-15C4E2664FE8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33" creationId="{D7B8235A-3428-2530-2593-C47585B4C146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34" creationId="{6F26C9EC-8CFD-1CE1-9048-95318F58F5D8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35" creationId="{9C0846F1-24D5-470B-3133-977A41AB7DA0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36" creationId="{E3C86038-8DBC-C7C8-6131-2682C4B8B73E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37" creationId="{BA72C1E4-2EF8-8A04-B654-564B992DB918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38" creationId="{477DA4CB-C2EA-BFD4-A7C4-CE4DE99721D0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39" creationId="{8BFB574C-DE0B-4BA6-1E51-E71DB0BE7723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40" creationId="{9ADD0E25-8B64-CF88-F46C-84A324896066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41" creationId="{775D5B47-7A65-291E-E45F-C188DCDF4419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42" creationId="{C692AE87-BA81-2547-1AE7-7AC1AE9D90E6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43" creationId="{40577BCE-258D-39A8-1AE4-0019807AE951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45" creationId="{9AEFA280-015E-1C0F-AC2C-EF4DA5FB8A1C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46" creationId="{7F3CC7F0-4A15-8395-C68E-756762B4172A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49" creationId="{CEBECAF4-854A-F071-1E41-F925B7F672B7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50" creationId="{FDA71AAC-D6A8-6DB3-FD20-4B49718ABE16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55" creationId="{355AFE17-262B-CDF3-D7B7-C72A282AD66B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56" creationId="{BE5BDFD0-4A15-B0B0-CF0D-763D2A6622B7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57" creationId="{19FA91F6-45EB-CC01-6041-0923B8F812F1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58" creationId="{70221F02-10E9-0F49-2075-63381BAA400D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59" creationId="{FDE5354F-CD24-58D6-2500-853858ED20D0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60" creationId="{C415FD79-BC79-6303-7681-1E149DE00396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61" creationId="{E994BBC9-31E5-DBE0-4EB2-86EF2D1BE4FC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62" creationId="{FB93AAA7-8214-6EC6-BCAD-31E53CE3D056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63" creationId="{C7198D94-3E3D-BE65-E8BA-9E29E39D2789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64" creationId="{05004571-3F05-3D88-9882-E0FB968024BF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67" creationId="{A71EE5BC-4FA5-F44C-8FDE-030C0A9C60FA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68" creationId="{FB020F00-99D6-8A82-8016-380429F8F491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69" creationId="{0B8308F0-30EE-9FBF-740D-E89EA9C77879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70" creationId="{1DF44283-6354-61E6-1362-7EA9A4DD5D83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71" creationId="{B1BC0A02-C289-C24D-AEEA-53C7FD428310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72" creationId="{F15923B9-3F87-9438-7A3E-3CE3A4DA33EA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73" creationId="{E69B409B-620A-208A-AE39-09FC867CB806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74" creationId="{54D14CF8-B9A0-D8D7-90B0-BEBFBB43B9B8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75" creationId="{7CE0B0E6-CF35-CC1B-5C1D-1AC40067E3C9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76" creationId="{35A30E00-59B6-97EE-3EDA-6A26EFB8AF49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77" creationId="{35FF00F8-0932-3D25-0123-DDC33054CF97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78" creationId="{98AFF366-B686-942A-E293-D81BE365F849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79" creationId="{96CEEEF9-36E5-E281-853B-C8F079F3D05B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82" creationId="{A7ACDFDC-E0E3-DD34-886D-AB8AB809DC93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84" creationId="{1F24D692-EC65-66B3-72FA-1926FE700C94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85" creationId="{3D30CBA7-FAA6-28F3-B763-7833FF36C36E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89" creationId="{BBAE9E10-736C-A83D-1B40-940FA1BD8EDA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90" creationId="{A6F9C16A-C02A-58B1-8662-80DDD2092A0C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91" creationId="{79FACA8F-9A64-9B6A-BD01-CCEC9415AED8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92" creationId="{96946217-0ED7-8EB9-8454-C38538D6F323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93" creationId="{252D422C-F7FA-FB4B-C885-505283025680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94" creationId="{6B9AA0E9-5EFD-25D8-E8E7-37666D9E8F50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95" creationId="{91235A99-D32A-CE52-1261-B8504867CD8F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96" creationId="{E80CE464-A3AC-F275-4F18-C02ABE6E3360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97" creationId="{596D863E-E678-5E4C-CA25-C055C29C3376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98" creationId="{32943A51-823F-8B0A-05D5-5C7549F7BA15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299" creationId="{820D3689-22C4-D339-8B67-D6BE37CEDC62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300" creationId="{88A33393-FA5E-4276-1E15-51C1826090C2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301" creationId="{CE7147E5-BF60-15C9-CFF7-9F64B9E5FE69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302" creationId="{591C67FB-A205-FBB2-5FE7-62E9BEA28484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303" creationId="{55E0CF8E-0381-8E78-731C-1D5F9A3877BB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305" creationId="{E5E598FB-51B5-FEFA-364C-01BF0233D327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306" creationId="{0F005793-B740-60FB-3297-CE0EE614EF45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307" creationId="{939615E9-D5A4-F93D-F518-12C10B7CE650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308" creationId="{F9BFEDC9-4CF2-ACB0-B6D3-D5AF7EFBE923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309" creationId="{018F6D5E-5AF7-B5BA-624C-AF126B83AC65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310" creationId="{D2EF9007-0A12-853E-C041-D0E14B4A647B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311" creationId="{3413366D-5FF4-8730-2B39-4E64EC900FF8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312" creationId="{6EB7E3C8-0C47-26D1-ADC0-6DFFCFFFD61F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313" creationId="{C26AAF62-C6C4-010B-E341-1FEFC37D49D0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314" creationId="{4D58AF27-0942-21C4-06AE-62E49811398D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315" creationId="{782D2C70-377F-78D7-802F-7337E84F758C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316" creationId="{4DD1B11C-DFCB-C0B0-C47D-316D99B9F213}"/>
          </ac:spMkLst>
        </pc:spChg>
        <pc:spChg chg="mod">
          <ac:chgData name="Mioduszewska, Joanna" userId="81ce7990-eaad-4e2f-8cfd-9d7aecd250dd" providerId="ADAL" clId="{58DBB000-3DB8-4E22-BC30-07C62D71C3DD}" dt="2024-02-13T13:33:51.198" v="972"/>
          <ac:spMkLst>
            <pc:docMk/>
            <pc:sldMk cId="1552949077" sldId="2147482940"/>
            <ac:spMk id="1317" creationId="{F49AAB4B-5407-BB45-8B1E-C2E3950D9131}"/>
          </ac:spMkLst>
        </pc:spChg>
        <pc:spChg chg="add del mod">
          <ac:chgData name="Mioduszewska, Joanna" userId="81ce7990-eaad-4e2f-8cfd-9d7aecd250dd" providerId="ADAL" clId="{58DBB000-3DB8-4E22-BC30-07C62D71C3DD}" dt="2024-02-13T13:34:43.984" v="982" actId="478"/>
          <ac:spMkLst>
            <pc:docMk/>
            <pc:sldMk cId="1552949077" sldId="2147482940"/>
            <ac:spMk id="1319" creationId="{D36B5F89-FAB7-1011-1423-293736576F5F}"/>
          </ac:spMkLst>
        </pc:spChg>
        <pc:spChg chg="add mod">
          <ac:chgData name="Mioduszewska, Joanna" userId="81ce7990-eaad-4e2f-8cfd-9d7aecd250dd" providerId="ADAL" clId="{58DBB000-3DB8-4E22-BC30-07C62D71C3DD}" dt="2024-02-13T13:36:28.284" v="1000" actId="14100"/>
          <ac:spMkLst>
            <pc:docMk/>
            <pc:sldMk cId="1552949077" sldId="2147482940"/>
            <ac:spMk id="1320" creationId="{24686CBF-DC08-FDBA-EB3B-4912EB68DFA0}"/>
          </ac:spMkLst>
        </pc:spChg>
        <pc:spChg chg="add mod">
          <ac:chgData name="Mioduszewska, Joanna" userId="81ce7990-eaad-4e2f-8cfd-9d7aecd250dd" providerId="ADAL" clId="{58DBB000-3DB8-4E22-BC30-07C62D71C3DD}" dt="2024-02-13T13:36:38.407" v="1003" actId="20577"/>
          <ac:spMkLst>
            <pc:docMk/>
            <pc:sldMk cId="1552949077" sldId="2147482940"/>
            <ac:spMk id="1321" creationId="{904BE0D2-BA79-F23D-AD31-DD1EC9979E3C}"/>
          </ac:spMkLst>
        </pc:spChg>
        <pc:spChg chg="mod">
          <ac:chgData name="Mioduszewska, Joanna" userId="81ce7990-eaad-4e2f-8cfd-9d7aecd250dd" providerId="ADAL" clId="{58DBB000-3DB8-4E22-BC30-07C62D71C3DD}" dt="2024-02-13T13:39:16.005" v="1020" actId="404"/>
          <ac:spMkLst>
            <pc:docMk/>
            <pc:sldMk cId="1552949077" sldId="2147482940"/>
            <ac:spMk id="1323" creationId="{C5B5DC25-9813-BB41-3EDD-CE85682A15CC}"/>
          </ac:spMkLst>
        </pc:spChg>
        <pc:spChg chg="mod">
          <ac:chgData name="Mioduszewska, Joanna" userId="81ce7990-eaad-4e2f-8cfd-9d7aecd250dd" providerId="ADAL" clId="{58DBB000-3DB8-4E22-BC30-07C62D71C3DD}" dt="2024-02-13T13:39:16.005" v="1020" actId="404"/>
          <ac:spMkLst>
            <pc:docMk/>
            <pc:sldMk cId="1552949077" sldId="2147482940"/>
            <ac:spMk id="1324" creationId="{B4BA6000-9AA0-1C40-368E-B7F311D5EC09}"/>
          </ac:spMkLst>
        </pc:spChg>
        <pc:spChg chg="mod">
          <ac:chgData name="Mioduszewska, Joanna" userId="81ce7990-eaad-4e2f-8cfd-9d7aecd250dd" providerId="ADAL" clId="{58DBB000-3DB8-4E22-BC30-07C62D71C3DD}" dt="2024-02-13T13:39:16.005" v="1020" actId="404"/>
          <ac:spMkLst>
            <pc:docMk/>
            <pc:sldMk cId="1552949077" sldId="2147482940"/>
            <ac:spMk id="1325" creationId="{C111A398-E74D-51B4-D565-118102A3BC01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26" creationId="{6A7FE0EA-0F63-AA03-3FE5-1A534AC46995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27" creationId="{CC0CA0BB-4DCD-38C9-F608-C32533FD028B}"/>
          </ac:spMkLst>
        </pc:spChg>
        <pc:spChg chg="mod">
          <ac:chgData name="Mioduszewska, Joanna" userId="81ce7990-eaad-4e2f-8cfd-9d7aecd250dd" providerId="ADAL" clId="{58DBB000-3DB8-4E22-BC30-07C62D71C3DD}" dt="2024-02-13T13:39:16.005" v="1020" actId="404"/>
          <ac:spMkLst>
            <pc:docMk/>
            <pc:sldMk cId="1552949077" sldId="2147482940"/>
            <ac:spMk id="1328" creationId="{5495B0A9-6EF3-CDD6-BC0C-83B27818C32C}"/>
          </ac:spMkLst>
        </pc:spChg>
        <pc:spChg chg="mod">
          <ac:chgData name="Mioduszewska, Joanna" userId="81ce7990-eaad-4e2f-8cfd-9d7aecd250dd" providerId="ADAL" clId="{58DBB000-3DB8-4E22-BC30-07C62D71C3DD}" dt="2024-02-13T13:39:16.005" v="1020" actId="404"/>
          <ac:spMkLst>
            <pc:docMk/>
            <pc:sldMk cId="1552949077" sldId="2147482940"/>
            <ac:spMk id="1329" creationId="{F23E4A40-37FC-5B16-5E8E-BC43CAF984A9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30" creationId="{BCFEB74C-F8A9-575D-3D6F-F390721C0AB0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31" creationId="{4101A941-BF2A-2040-EF7F-0AA3920D139C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32" creationId="{53D88F4A-619B-CCE2-3744-3CEA25F0C81F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33" creationId="{036FED0D-342F-0CC6-4E1D-DF4D30565864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34" creationId="{BA8A5896-7CE4-9941-90AF-11216F0E03D9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35" creationId="{BDA17A0C-0D7A-0ADE-C534-E60125067DE3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36" creationId="{8B418A46-592C-F508-C476-5F002D97BA15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37" creationId="{BF5174D2-FEBA-FB3D-559E-6EF4D5678BDB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38" creationId="{3F28B386-842B-FA2D-9CB9-398C3BF85C63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40" creationId="{C52FCE39-7EBA-0E0C-6874-919B7AC31E95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41" creationId="{2C4DE794-1A2A-9400-6D58-6771D705FA3E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43" creationId="{965033E1-44AC-9A91-660E-9B8DE7ED4BC5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44" creationId="{5F22F185-CB92-C39C-0E41-6E5ADD5B27C1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46" creationId="{C08755BC-C3E5-B57D-43E7-C97FE691E4CC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47" creationId="{D84F2B0D-26AE-B3FB-1FDC-826837A23AE1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49" creationId="{3F2BA755-4713-1147-B0CE-69989E6A338D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50" creationId="{15D797B5-2F00-5BF4-67DA-7B14E3887F20}"/>
          </ac:spMkLst>
        </pc:spChg>
        <pc:spChg chg="mod">
          <ac:chgData name="Mioduszewska, Joanna" userId="81ce7990-eaad-4e2f-8cfd-9d7aecd250dd" providerId="ADAL" clId="{58DBB000-3DB8-4E22-BC30-07C62D71C3DD}" dt="2024-02-13T13:39:16.005" v="1020" actId="404"/>
          <ac:spMkLst>
            <pc:docMk/>
            <pc:sldMk cId="1552949077" sldId="2147482940"/>
            <ac:spMk id="1351" creationId="{4CC9285E-EF54-C7CC-F56A-AA7E1878304D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55" creationId="{06193616-49EC-0139-BBC7-AF61C556F304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56" creationId="{2CE36BDF-5522-28C6-E3C1-8E46E7EF36ED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57" creationId="{0C79928C-C85B-7C9D-EEAA-5534B4AA1D8E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59" creationId="{3A8A6FC9-13F7-2995-4C91-D49835198923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60" creationId="{69BEC6FE-067C-091B-9BB9-CF3A74BB52F0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61" creationId="{F55E1F70-54C0-47E0-ACFB-0D6752ACA181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62" creationId="{1D7F03E1-CDA6-F2D5-CD7A-89E153E3580E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63" creationId="{E65FF4C3-8375-E4E1-2596-10753428C663}"/>
          </ac:spMkLst>
        </pc:spChg>
        <pc:spChg chg="mod">
          <ac:chgData name="Mioduszewska, Joanna" userId="81ce7990-eaad-4e2f-8cfd-9d7aecd250dd" providerId="ADAL" clId="{58DBB000-3DB8-4E22-BC30-07C62D71C3DD}" dt="2024-02-13T13:39:16.005" v="1020" actId="404"/>
          <ac:spMkLst>
            <pc:docMk/>
            <pc:sldMk cId="1552949077" sldId="2147482940"/>
            <ac:spMk id="1366" creationId="{8CEC6BAF-4185-7DB8-12D2-E14F6B567CDB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67" creationId="{965FD03B-8CC3-2B1F-D095-0368D3C1FB41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68" creationId="{7938D40C-ACB7-CB59-52CA-D9C3C8703770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69" creationId="{17BC33CC-9AE0-3D9A-1FA9-C1F916AE0480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70" creationId="{8774030E-D70C-9920-8F32-56308CCBDA77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71" creationId="{676AF48C-8243-670D-D594-00262088DAB8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72" creationId="{D859A9BD-2143-FE85-289D-9A5B25BEA96F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73" creationId="{F53ECF6E-6DC5-E516-07C8-3323A8C4613B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74" creationId="{24C18948-CB21-0D37-39D2-C9A4DBF8E2ED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75" creationId="{86A42599-D63E-7A43-5B43-E2E35429C276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76" creationId="{F1343B97-97A4-8F94-13D6-44DA145442F0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77" creationId="{51317257-1A80-1113-0ACF-4E68B587F585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78" creationId="{A0ABBF22-387E-7404-DBEC-8B9DD343CE67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79" creationId="{218D37BA-2DA5-C23F-E791-D57AAE35BB05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80" creationId="{8994DD9F-CE3D-D72C-C303-208195943CDA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81" creationId="{B133F6A3-9D29-D001-D213-6C79726A5AF4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82" creationId="{5B93C717-BF00-C57C-8BC3-55C4B5882FA0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83" creationId="{FD45A454-F56C-7840-C22C-08BBC1D8811C}"/>
          </ac:spMkLst>
        </pc:spChg>
        <pc:spChg chg="mod">
          <ac:chgData name="Mioduszewska, Joanna" userId="81ce7990-eaad-4e2f-8cfd-9d7aecd250dd" providerId="ADAL" clId="{58DBB000-3DB8-4E22-BC30-07C62D71C3DD}" dt="2024-02-13T13:38:20.679" v="1008" actId="255"/>
          <ac:spMkLst>
            <pc:docMk/>
            <pc:sldMk cId="1552949077" sldId="2147482940"/>
            <ac:spMk id="1384" creationId="{163184FA-6E96-E142-13C4-FD0245CF74ED}"/>
          </ac:spMkLst>
        </pc:spChg>
        <pc:spChg chg="add del mod">
          <ac:chgData name="Mioduszewska, Joanna" userId="81ce7990-eaad-4e2f-8cfd-9d7aecd250dd" providerId="ADAL" clId="{58DBB000-3DB8-4E22-BC30-07C62D71C3DD}" dt="2024-02-13T13:40:15.716" v="1023"/>
          <ac:spMkLst>
            <pc:docMk/>
            <pc:sldMk cId="1552949077" sldId="2147482940"/>
            <ac:spMk id="1385" creationId="{7352AA52-9687-4787-40F8-7C6FE9FD25D6}"/>
          </ac:spMkLst>
        </pc:spChg>
        <pc:spChg chg="add del mod">
          <ac:chgData name="Mioduszewska, Joanna" userId="81ce7990-eaad-4e2f-8cfd-9d7aecd250dd" providerId="ADAL" clId="{58DBB000-3DB8-4E22-BC30-07C62D71C3DD}" dt="2024-02-13T13:40:15.716" v="1023"/>
          <ac:spMkLst>
            <pc:docMk/>
            <pc:sldMk cId="1552949077" sldId="2147482940"/>
            <ac:spMk id="1386" creationId="{5B46AA7A-D880-C9C2-5C67-F5D9657B4E3D}"/>
          </ac:spMkLst>
        </pc:spChg>
        <pc:spChg chg="mod">
          <ac:chgData name="Mioduszewska, Joanna" userId="81ce7990-eaad-4e2f-8cfd-9d7aecd250dd" providerId="ADAL" clId="{58DBB000-3DB8-4E22-BC30-07C62D71C3DD}" dt="2024-02-13T13:40:12.561" v="1022"/>
          <ac:spMkLst>
            <pc:docMk/>
            <pc:sldMk cId="1552949077" sldId="2147482940"/>
            <ac:spMk id="1388" creationId="{9B64EDE3-51B1-846E-C7DA-8F4C57F9EC33}"/>
          </ac:spMkLst>
        </pc:spChg>
        <pc:spChg chg="mod">
          <ac:chgData name="Mioduszewska, Joanna" userId="81ce7990-eaad-4e2f-8cfd-9d7aecd250dd" providerId="ADAL" clId="{58DBB000-3DB8-4E22-BC30-07C62D71C3DD}" dt="2024-02-13T13:40:12.561" v="1022"/>
          <ac:spMkLst>
            <pc:docMk/>
            <pc:sldMk cId="1552949077" sldId="2147482940"/>
            <ac:spMk id="1389" creationId="{7E0649E0-3B29-2F34-C11C-E5FE6113BC72}"/>
          </ac:spMkLst>
        </pc:spChg>
        <pc:spChg chg="mod">
          <ac:chgData name="Mioduszewska, Joanna" userId="81ce7990-eaad-4e2f-8cfd-9d7aecd250dd" providerId="ADAL" clId="{58DBB000-3DB8-4E22-BC30-07C62D71C3DD}" dt="2024-02-13T13:40:12.561" v="1022"/>
          <ac:spMkLst>
            <pc:docMk/>
            <pc:sldMk cId="1552949077" sldId="2147482940"/>
            <ac:spMk id="1390" creationId="{8DE813F0-05B6-9FBA-F0C4-18B36FC9CB11}"/>
          </ac:spMkLst>
        </pc:spChg>
        <pc:spChg chg="mod">
          <ac:chgData name="Mioduszewska, Joanna" userId="81ce7990-eaad-4e2f-8cfd-9d7aecd250dd" providerId="ADAL" clId="{58DBB000-3DB8-4E22-BC30-07C62D71C3DD}" dt="2024-02-13T13:40:12.561" v="1022"/>
          <ac:spMkLst>
            <pc:docMk/>
            <pc:sldMk cId="1552949077" sldId="2147482940"/>
            <ac:spMk id="1391" creationId="{CA6599C5-E434-9851-DADE-0E40153D00C8}"/>
          </ac:spMkLst>
        </pc:spChg>
        <pc:spChg chg="mod">
          <ac:chgData name="Mioduszewska, Joanna" userId="81ce7990-eaad-4e2f-8cfd-9d7aecd250dd" providerId="ADAL" clId="{58DBB000-3DB8-4E22-BC30-07C62D71C3DD}" dt="2024-02-13T13:40:12.561" v="1022"/>
          <ac:spMkLst>
            <pc:docMk/>
            <pc:sldMk cId="1552949077" sldId="2147482940"/>
            <ac:spMk id="1392" creationId="{7A80C134-E81E-ADAC-2CD2-A610284AAD4B}"/>
          </ac:spMkLst>
        </pc:spChg>
        <pc:spChg chg="mod">
          <ac:chgData name="Mioduszewska, Joanna" userId="81ce7990-eaad-4e2f-8cfd-9d7aecd250dd" providerId="ADAL" clId="{58DBB000-3DB8-4E22-BC30-07C62D71C3DD}" dt="2024-02-13T13:40:12.561" v="1022"/>
          <ac:spMkLst>
            <pc:docMk/>
            <pc:sldMk cId="1552949077" sldId="2147482940"/>
            <ac:spMk id="1393" creationId="{8467EFD1-28C8-EDE0-FB54-7EC561D579FC}"/>
          </ac:spMkLst>
        </pc:spChg>
        <pc:spChg chg="mod">
          <ac:chgData name="Mioduszewska, Joanna" userId="81ce7990-eaad-4e2f-8cfd-9d7aecd250dd" providerId="ADAL" clId="{58DBB000-3DB8-4E22-BC30-07C62D71C3DD}" dt="2024-02-13T13:40:12.561" v="1022"/>
          <ac:spMkLst>
            <pc:docMk/>
            <pc:sldMk cId="1552949077" sldId="2147482940"/>
            <ac:spMk id="1394" creationId="{3CCBFA3C-9034-83A3-A83F-D9915ED2F5E9}"/>
          </ac:spMkLst>
        </pc:spChg>
        <pc:spChg chg="mod">
          <ac:chgData name="Mioduszewska, Joanna" userId="81ce7990-eaad-4e2f-8cfd-9d7aecd250dd" providerId="ADAL" clId="{58DBB000-3DB8-4E22-BC30-07C62D71C3DD}" dt="2024-02-13T13:40:12.561" v="1022"/>
          <ac:spMkLst>
            <pc:docMk/>
            <pc:sldMk cId="1552949077" sldId="2147482940"/>
            <ac:spMk id="1395" creationId="{52CC5E45-F772-45D2-E570-A7C29901A113}"/>
          </ac:spMkLst>
        </pc:spChg>
        <pc:spChg chg="mod">
          <ac:chgData name="Mioduszewska, Joanna" userId="81ce7990-eaad-4e2f-8cfd-9d7aecd250dd" providerId="ADAL" clId="{58DBB000-3DB8-4E22-BC30-07C62D71C3DD}" dt="2024-02-13T13:40:12.561" v="1022"/>
          <ac:spMkLst>
            <pc:docMk/>
            <pc:sldMk cId="1552949077" sldId="2147482940"/>
            <ac:spMk id="1396" creationId="{3C2003F1-1F6C-C594-BC83-833B53F1B7EA}"/>
          </ac:spMkLst>
        </pc:spChg>
        <pc:spChg chg="add del mod">
          <ac:chgData name="Mioduszewska, Joanna" userId="81ce7990-eaad-4e2f-8cfd-9d7aecd250dd" providerId="ADAL" clId="{58DBB000-3DB8-4E22-BC30-07C62D71C3DD}" dt="2024-02-13T13:40:15.716" v="1023"/>
          <ac:spMkLst>
            <pc:docMk/>
            <pc:sldMk cId="1552949077" sldId="2147482940"/>
            <ac:spMk id="1397" creationId="{B780A2A4-03B4-D3A4-F01E-5A99F6EC8937}"/>
          </ac:spMkLst>
        </pc:spChg>
        <pc:spChg chg="add del mod">
          <ac:chgData name="Mioduszewska, Joanna" userId="81ce7990-eaad-4e2f-8cfd-9d7aecd250dd" providerId="ADAL" clId="{58DBB000-3DB8-4E22-BC30-07C62D71C3DD}" dt="2024-02-13T13:40:15.716" v="1023"/>
          <ac:spMkLst>
            <pc:docMk/>
            <pc:sldMk cId="1552949077" sldId="2147482940"/>
            <ac:spMk id="1398" creationId="{4555D58F-9C1A-AA6C-0422-93029F5B5384}"/>
          </ac:spMkLst>
        </pc:spChg>
        <pc:spChg chg="mod">
          <ac:chgData name="Mioduszewska, Joanna" userId="81ce7990-eaad-4e2f-8cfd-9d7aecd250dd" providerId="ADAL" clId="{58DBB000-3DB8-4E22-BC30-07C62D71C3DD}" dt="2024-02-13T13:40:12.561" v="1022"/>
          <ac:spMkLst>
            <pc:docMk/>
            <pc:sldMk cId="1552949077" sldId="2147482940"/>
            <ac:spMk id="1400" creationId="{E402D912-A33C-A96B-7392-37F573FC1860}"/>
          </ac:spMkLst>
        </pc:spChg>
        <pc:spChg chg="mod">
          <ac:chgData name="Mioduszewska, Joanna" userId="81ce7990-eaad-4e2f-8cfd-9d7aecd250dd" providerId="ADAL" clId="{58DBB000-3DB8-4E22-BC30-07C62D71C3DD}" dt="2024-02-13T13:40:12.561" v="1022"/>
          <ac:spMkLst>
            <pc:docMk/>
            <pc:sldMk cId="1552949077" sldId="2147482940"/>
            <ac:spMk id="1401" creationId="{C4E81862-F5D6-2B2F-A9BA-59B8007D9EFA}"/>
          </ac:spMkLst>
        </pc:spChg>
        <pc:spChg chg="mod">
          <ac:chgData name="Mioduszewska, Joanna" userId="81ce7990-eaad-4e2f-8cfd-9d7aecd250dd" providerId="ADAL" clId="{58DBB000-3DB8-4E22-BC30-07C62D71C3DD}" dt="2024-02-13T13:40:12.561" v="1022"/>
          <ac:spMkLst>
            <pc:docMk/>
            <pc:sldMk cId="1552949077" sldId="2147482940"/>
            <ac:spMk id="1402" creationId="{691B085C-7443-37A4-1536-4B95F6E2F207}"/>
          </ac:spMkLst>
        </pc:spChg>
        <pc:spChg chg="mod">
          <ac:chgData name="Mioduszewska, Joanna" userId="81ce7990-eaad-4e2f-8cfd-9d7aecd250dd" providerId="ADAL" clId="{58DBB000-3DB8-4E22-BC30-07C62D71C3DD}" dt="2024-02-13T13:40:12.561" v="1022"/>
          <ac:spMkLst>
            <pc:docMk/>
            <pc:sldMk cId="1552949077" sldId="2147482940"/>
            <ac:spMk id="1403" creationId="{8CA51B04-1094-BB79-0D96-1A0B84E74556}"/>
          </ac:spMkLst>
        </pc:spChg>
        <pc:spChg chg="mod">
          <ac:chgData name="Mioduszewska, Joanna" userId="81ce7990-eaad-4e2f-8cfd-9d7aecd250dd" providerId="ADAL" clId="{58DBB000-3DB8-4E22-BC30-07C62D71C3DD}" dt="2024-02-13T13:40:12.561" v="1022"/>
          <ac:spMkLst>
            <pc:docMk/>
            <pc:sldMk cId="1552949077" sldId="2147482940"/>
            <ac:spMk id="1404" creationId="{D62E2202-4BC8-649B-8C3F-81FFB2F03AFF}"/>
          </ac:spMkLst>
        </pc:spChg>
        <pc:spChg chg="mod">
          <ac:chgData name="Mioduszewska, Joanna" userId="81ce7990-eaad-4e2f-8cfd-9d7aecd250dd" providerId="ADAL" clId="{58DBB000-3DB8-4E22-BC30-07C62D71C3DD}" dt="2024-02-13T13:40:12.561" v="1022"/>
          <ac:spMkLst>
            <pc:docMk/>
            <pc:sldMk cId="1552949077" sldId="2147482940"/>
            <ac:spMk id="1405" creationId="{BD75D7A3-EFFC-9690-9103-987A1551D9A2}"/>
          </ac:spMkLst>
        </pc:spChg>
        <pc:spChg chg="add del mod">
          <ac:chgData name="Mioduszewska, Joanna" userId="81ce7990-eaad-4e2f-8cfd-9d7aecd250dd" providerId="ADAL" clId="{58DBB000-3DB8-4E22-BC30-07C62D71C3DD}" dt="2024-02-13T13:40:15.716" v="1023"/>
          <ac:spMkLst>
            <pc:docMk/>
            <pc:sldMk cId="1552949077" sldId="2147482940"/>
            <ac:spMk id="1406" creationId="{8F2C6411-B6D5-7B79-82C7-6437C2EE9417}"/>
          </ac:spMkLst>
        </pc:spChg>
        <pc:spChg chg="add del mod">
          <ac:chgData name="Mioduszewska, Joanna" userId="81ce7990-eaad-4e2f-8cfd-9d7aecd250dd" providerId="ADAL" clId="{58DBB000-3DB8-4E22-BC30-07C62D71C3DD}" dt="2024-02-13T13:40:15.716" v="1023"/>
          <ac:spMkLst>
            <pc:docMk/>
            <pc:sldMk cId="1552949077" sldId="2147482940"/>
            <ac:spMk id="1407" creationId="{E95ADA00-764A-3574-9588-D6DA8921CD1F}"/>
          </ac:spMkLst>
        </pc:spChg>
        <pc:spChg chg="mod">
          <ac:chgData name="Mioduszewska, Joanna" userId="81ce7990-eaad-4e2f-8cfd-9d7aecd250dd" providerId="ADAL" clId="{58DBB000-3DB8-4E22-BC30-07C62D71C3DD}" dt="2024-02-13T13:40:12.561" v="1022"/>
          <ac:spMkLst>
            <pc:docMk/>
            <pc:sldMk cId="1552949077" sldId="2147482940"/>
            <ac:spMk id="1409" creationId="{5DBC8FF9-1E3D-66FA-413A-CAFAD336DB4F}"/>
          </ac:spMkLst>
        </pc:spChg>
        <pc:spChg chg="mod">
          <ac:chgData name="Mioduszewska, Joanna" userId="81ce7990-eaad-4e2f-8cfd-9d7aecd250dd" providerId="ADAL" clId="{58DBB000-3DB8-4E22-BC30-07C62D71C3DD}" dt="2024-02-13T13:40:12.561" v="1022"/>
          <ac:spMkLst>
            <pc:docMk/>
            <pc:sldMk cId="1552949077" sldId="2147482940"/>
            <ac:spMk id="1410" creationId="{4E4593EA-FCEE-F648-052D-442594DD85D5}"/>
          </ac:spMkLst>
        </pc:spChg>
        <pc:spChg chg="add del mod">
          <ac:chgData name="Mioduszewska, Joanna" userId="81ce7990-eaad-4e2f-8cfd-9d7aecd250dd" providerId="ADAL" clId="{58DBB000-3DB8-4E22-BC30-07C62D71C3DD}" dt="2024-02-13T13:40:15.716" v="1023"/>
          <ac:spMkLst>
            <pc:docMk/>
            <pc:sldMk cId="1552949077" sldId="2147482940"/>
            <ac:spMk id="1411" creationId="{3BB50CB2-3651-36CE-A629-EAE8E20D6FF5}"/>
          </ac:spMkLst>
        </pc:spChg>
        <pc:spChg chg="add del mod">
          <ac:chgData name="Mioduszewska, Joanna" userId="81ce7990-eaad-4e2f-8cfd-9d7aecd250dd" providerId="ADAL" clId="{58DBB000-3DB8-4E22-BC30-07C62D71C3DD}" dt="2024-02-13T13:40:15.716" v="1023"/>
          <ac:spMkLst>
            <pc:docMk/>
            <pc:sldMk cId="1552949077" sldId="2147482940"/>
            <ac:spMk id="1412" creationId="{66CC2EE4-21C8-D4E6-0147-E8835A217672}"/>
          </ac:spMkLst>
        </pc:spChg>
        <pc:spChg chg="add del mod">
          <ac:chgData name="Mioduszewska, Joanna" userId="81ce7990-eaad-4e2f-8cfd-9d7aecd250dd" providerId="ADAL" clId="{58DBB000-3DB8-4E22-BC30-07C62D71C3DD}" dt="2024-02-13T13:40:15.716" v="1023"/>
          <ac:spMkLst>
            <pc:docMk/>
            <pc:sldMk cId="1552949077" sldId="2147482940"/>
            <ac:spMk id="1414" creationId="{486278D6-1488-295A-7193-FBED6E773630}"/>
          </ac:spMkLst>
        </pc:spChg>
        <pc:spChg chg="add del mod">
          <ac:chgData name="Mioduszewska, Joanna" userId="81ce7990-eaad-4e2f-8cfd-9d7aecd250dd" providerId="ADAL" clId="{58DBB000-3DB8-4E22-BC30-07C62D71C3DD}" dt="2024-02-13T13:40:15.716" v="1023"/>
          <ac:spMkLst>
            <pc:docMk/>
            <pc:sldMk cId="1552949077" sldId="2147482940"/>
            <ac:spMk id="1415" creationId="{8811BE1E-1F41-875A-EE1F-928AB62A4D18}"/>
          </ac:spMkLst>
        </pc:spChg>
        <pc:spChg chg="add del mod">
          <ac:chgData name="Mioduszewska, Joanna" userId="81ce7990-eaad-4e2f-8cfd-9d7aecd250dd" providerId="ADAL" clId="{58DBB000-3DB8-4E22-BC30-07C62D71C3DD}" dt="2024-02-13T13:40:15.716" v="1023"/>
          <ac:spMkLst>
            <pc:docMk/>
            <pc:sldMk cId="1552949077" sldId="2147482940"/>
            <ac:spMk id="1417" creationId="{A183BC7D-FA9A-08C0-8E13-63DF0F919928}"/>
          </ac:spMkLst>
        </pc:spChg>
        <pc:spChg chg="add del mod">
          <ac:chgData name="Mioduszewska, Joanna" userId="81ce7990-eaad-4e2f-8cfd-9d7aecd250dd" providerId="ADAL" clId="{58DBB000-3DB8-4E22-BC30-07C62D71C3DD}" dt="2024-02-13T13:40:15.716" v="1023"/>
          <ac:spMkLst>
            <pc:docMk/>
            <pc:sldMk cId="1552949077" sldId="2147482940"/>
            <ac:spMk id="1418" creationId="{06DA01AA-84D4-6D70-E35F-065E77822490}"/>
          </ac:spMkLst>
        </pc:spChg>
        <pc:spChg chg="add del mod">
          <ac:chgData name="Mioduszewska, Joanna" userId="81ce7990-eaad-4e2f-8cfd-9d7aecd250dd" providerId="ADAL" clId="{58DBB000-3DB8-4E22-BC30-07C62D71C3DD}" dt="2024-02-13T13:40:15.716" v="1023"/>
          <ac:spMkLst>
            <pc:docMk/>
            <pc:sldMk cId="1552949077" sldId="2147482940"/>
            <ac:spMk id="1419" creationId="{91136ECF-1A52-1F64-5121-F76D3CF61A33}"/>
          </ac:spMkLst>
        </pc:spChg>
        <pc:spChg chg="add del mod">
          <ac:chgData name="Mioduszewska, Joanna" userId="81ce7990-eaad-4e2f-8cfd-9d7aecd250dd" providerId="ADAL" clId="{58DBB000-3DB8-4E22-BC30-07C62D71C3DD}" dt="2024-02-13T13:40:15.716" v="1023"/>
          <ac:spMkLst>
            <pc:docMk/>
            <pc:sldMk cId="1552949077" sldId="2147482940"/>
            <ac:spMk id="1420" creationId="{1EE08D17-AC8D-822A-5488-C365A7D9F880}"/>
          </ac:spMkLst>
        </pc:spChg>
        <pc:spChg chg="add del mod">
          <ac:chgData name="Mioduszewska, Joanna" userId="81ce7990-eaad-4e2f-8cfd-9d7aecd250dd" providerId="ADAL" clId="{58DBB000-3DB8-4E22-BC30-07C62D71C3DD}" dt="2024-02-13T13:40:15.716" v="1023"/>
          <ac:spMkLst>
            <pc:docMk/>
            <pc:sldMk cId="1552949077" sldId="2147482940"/>
            <ac:spMk id="1421" creationId="{214CFFC2-DF02-2750-C062-D5DA9D0A5137}"/>
          </ac:spMkLst>
        </pc:spChg>
        <pc:spChg chg="mod topLvl">
          <ac:chgData name="Mioduszewska, Joanna" userId="81ce7990-eaad-4e2f-8cfd-9d7aecd250dd" providerId="ADAL" clId="{58DBB000-3DB8-4E22-BC30-07C62D71C3DD}" dt="2024-02-13T13:47:58.321" v="1144" actId="12788"/>
          <ac:spMkLst>
            <pc:docMk/>
            <pc:sldMk cId="1552949077" sldId="2147482940"/>
            <ac:spMk id="1423" creationId="{07A06055-B656-71DE-4006-03A03534B5A4}"/>
          </ac:spMkLst>
        </pc:spChg>
        <pc:spChg chg="mod topLvl">
          <ac:chgData name="Mioduszewska, Joanna" userId="81ce7990-eaad-4e2f-8cfd-9d7aecd250dd" providerId="ADAL" clId="{58DBB000-3DB8-4E22-BC30-07C62D71C3DD}" dt="2024-02-13T13:45:59.881" v="1102" actId="1076"/>
          <ac:spMkLst>
            <pc:docMk/>
            <pc:sldMk cId="1552949077" sldId="2147482940"/>
            <ac:spMk id="1424" creationId="{75C59698-C832-3EFD-A83D-1549E0A5EF3D}"/>
          </ac:spMkLst>
        </pc:spChg>
        <pc:spChg chg="mod topLvl">
          <ac:chgData name="Mioduszewska, Joanna" userId="81ce7990-eaad-4e2f-8cfd-9d7aecd250dd" providerId="ADAL" clId="{58DBB000-3DB8-4E22-BC30-07C62D71C3DD}" dt="2024-02-13T13:48:08.110" v="1145" actId="12788"/>
          <ac:spMkLst>
            <pc:docMk/>
            <pc:sldMk cId="1552949077" sldId="2147482940"/>
            <ac:spMk id="1426" creationId="{29F0BFFD-6CA6-E882-4C30-2830B0117CEC}"/>
          </ac:spMkLst>
        </pc:spChg>
        <pc:spChg chg="mod topLvl">
          <ac:chgData name="Mioduszewska, Joanna" userId="81ce7990-eaad-4e2f-8cfd-9d7aecd250dd" providerId="ADAL" clId="{58DBB000-3DB8-4E22-BC30-07C62D71C3DD}" dt="2024-02-13T13:49:27.641" v="1171" actId="14100"/>
          <ac:spMkLst>
            <pc:docMk/>
            <pc:sldMk cId="1552949077" sldId="2147482940"/>
            <ac:spMk id="1427" creationId="{01502C37-689F-D5B3-0CF4-3170FD28E8EE}"/>
          </ac:spMkLst>
        </pc:spChg>
        <pc:spChg chg="mod topLvl">
          <ac:chgData name="Mioduszewska, Joanna" userId="81ce7990-eaad-4e2f-8cfd-9d7aecd250dd" providerId="ADAL" clId="{58DBB000-3DB8-4E22-BC30-07C62D71C3DD}" dt="2024-02-13T13:48:17.788" v="1147" actId="12788"/>
          <ac:spMkLst>
            <pc:docMk/>
            <pc:sldMk cId="1552949077" sldId="2147482940"/>
            <ac:spMk id="1429" creationId="{0CFC5FB8-214D-FF61-D6B1-ADA9A6F5F155}"/>
          </ac:spMkLst>
        </pc:spChg>
        <pc:spChg chg="mod topLvl">
          <ac:chgData name="Mioduszewska, Joanna" userId="81ce7990-eaad-4e2f-8cfd-9d7aecd250dd" providerId="ADAL" clId="{58DBB000-3DB8-4E22-BC30-07C62D71C3DD}" dt="2024-02-13T13:46:50.276" v="1123" actId="1076"/>
          <ac:spMkLst>
            <pc:docMk/>
            <pc:sldMk cId="1552949077" sldId="2147482940"/>
            <ac:spMk id="1430" creationId="{F4D04B70-9FCE-DC57-13E5-2FF3E6FD894B}"/>
          </ac:spMkLst>
        </pc:spChg>
        <pc:spChg chg="mod topLvl">
          <ac:chgData name="Mioduszewska, Joanna" userId="81ce7990-eaad-4e2f-8cfd-9d7aecd250dd" providerId="ADAL" clId="{58DBB000-3DB8-4E22-BC30-07C62D71C3DD}" dt="2024-02-13T13:47:51.211" v="1143" actId="12788"/>
          <ac:spMkLst>
            <pc:docMk/>
            <pc:sldMk cId="1552949077" sldId="2147482940"/>
            <ac:spMk id="1432" creationId="{EF4AEA5C-CECF-F97D-1ECD-2ED93D8812D9}"/>
          </ac:spMkLst>
        </pc:spChg>
        <pc:spChg chg="mod topLvl">
          <ac:chgData name="Mioduszewska, Joanna" userId="81ce7990-eaad-4e2f-8cfd-9d7aecd250dd" providerId="ADAL" clId="{58DBB000-3DB8-4E22-BC30-07C62D71C3DD}" dt="2024-02-13T13:45:42.716" v="1095" actId="14100"/>
          <ac:spMkLst>
            <pc:docMk/>
            <pc:sldMk cId="1552949077" sldId="2147482940"/>
            <ac:spMk id="1433" creationId="{45DFF908-DF8A-E051-3FE2-923DA50EA5B5}"/>
          </ac:spMkLst>
        </pc:spChg>
        <pc:spChg chg="mod topLvl">
          <ac:chgData name="Mioduszewska, Joanna" userId="81ce7990-eaad-4e2f-8cfd-9d7aecd250dd" providerId="ADAL" clId="{58DBB000-3DB8-4E22-BC30-07C62D71C3DD}" dt="2024-02-13T13:48:13.250" v="1146" actId="12788"/>
          <ac:spMkLst>
            <pc:docMk/>
            <pc:sldMk cId="1552949077" sldId="2147482940"/>
            <ac:spMk id="1435" creationId="{30C52ECB-2E3C-43C3-9615-4520799594FE}"/>
          </ac:spMkLst>
        </pc:spChg>
        <pc:spChg chg="mod topLvl">
          <ac:chgData name="Mioduszewska, Joanna" userId="81ce7990-eaad-4e2f-8cfd-9d7aecd250dd" providerId="ADAL" clId="{58DBB000-3DB8-4E22-BC30-07C62D71C3DD}" dt="2024-02-13T13:46:39.683" v="1119" actId="1076"/>
          <ac:spMkLst>
            <pc:docMk/>
            <pc:sldMk cId="1552949077" sldId="2147482940"/>
            <ac:spMk id="1436" creationId="{7B767D56-F005-0853-49BC-FB3222192449}"/>
          </ac:spMkLst>
        </pc:spChg>
        <pc:spChg chg="mod topLvl">
          <ac:chgData name="Mioduszewska, Joanna" userId="81ce7990-eaad-4e2f-8cfd-9d7aecd250dd" providerId="ADAL" clId="{58DBB000-3DB8-4E22-BC30-07C62D71C3DD}" dt="2024-02-13T13:48:38.665" v="1157" actId="403"/>
          <ac:spMkLst>
            <pc:docMk/>
            <pc:sldMk cId="1552949077" sldId="2147482940"/>
            <ac:spMk id="1438" creationId="{8813D7C8-E7FF-72C9-4420-E3B89E15B69C}"/>
          </ac:spMkLst>
        </pc:spChg>
        <pc:spChg chg="mod topLvl">
          <ac:chgData name="Mioduszewska, Joanna" userId="81ce7990-eaad-4e2f-8cfd-9d7aecd250dd" providerId="ADAL" clId="{58DBB000-3DB8-4E22-BC30-07C62D71C3DD}" dt="2024-02-13T13:48:38.665" v="1157" actId="403"/>
          <ac:spMkLst>
            <pc:docMk/>
            <pc:sldMk cId="1552949077" sldId="2147482940"/>
            <ac:spMk id="1439" creationId="{A2F20B9B-8A55-B189-D772-3376EAE6D9D1}"/>
          </ac:spMkLst>
        </pc:spChg>
        <pc:spChg chg="mod topLvl">
          <ac:chgData name="Mioduszewska, Joanna" userId="81ce7990-eaad-4e2f-8cfd-9d7aecd250dd" providerId="ADAL" clId="{58DBB000-3DB8-4E22-BC30-07C62D71C3DD}" dt="2024-02-13T13:48:38.665" v="1157" actId="403"/>
          <ac:spMkLst>
            <pc:docMk/>
            <pc:sldMk cId="1552949077" sldId="2147482940"/>
            <ac:spMk id="1440" creationId="{A9F8BC78-7021-D90B-F451-98289DE339F2}"/>
          </ac:spMkLst>
        </pc:spChg>
        <pc:spChg chg="mod topLvl">
          <ac:chgData name="Mioduszewska, Joanna" userId="81ce7990-eaad-4e2f-8cfd-9d7aecd250dd" providerId="ADAL" clId="{58DBB000-3DB8-4E22-BC30-07C62D71C3DD}" dt="2024-02-13T13:48:38.665" v="1157" actId="403"/>
          <ac:spMkLst>
            <pc:docMk/>
            <pc:sldMk cId="1552949077" sldId="2147482940"/>
            <ac:spMk id="1441" creationId="{9E38D2FF-B76E-A1A9-653F-CA7128AE86E0}"/>
          </ac:spMkLst>
        </pc:spChg>
        <pc:spChg chg="mod topLvl">
          <ac:chgData name="Mioduszewska, Joanna" userId="81ce7990-eaad-4e2f-8cfd-9d7aecd250dd" providerId="ADAL" clId="{58DBB000-3DB8-4E22-BC30-07C62D71C3DD}" dt="2024-02-13T13:48:38.665" v="1157" actId="403"/>
          <ac:spMkLst>
            <pc:docMk/>
            <pc:sldMk cId="1552949077" sldId="2147482940"/>
            <ac:spMk id="1442" creationId="{8A551DD4-B338-5977-8E3E-2F336C22AC07}"/>
          </ac:spMkLst>
        </pc:spChg>
        <pc:spChg chg="mod">
          <ac:chgData name="Mioduszewska, Joanna" userId="81ce7990-eaad-4e2f-8cfd-9d7aecd250dd" providerId="ADAL" clId="{58DBB000-3DB8-4E22-BC30-07C62D71C3DD}" dt="2024-02-13T13:47:14.422" v="1133" actId="207"/>
          <ac:spMkLst>
            <pc:docMk/>
            <pc:sldMk cId="1552949077" sldId="2147482940"/>
            <ac:spMk id="1443" creationId="{FCC2E238-16D9-7D7C-451F-C4E26E753778}"/>
          </ac:spMkLst>
        </pc:spChg>
        <pc:spChg chg="mod">
          <ac:chgData name="Mioduszewska, Joanna" userId="81ce7990-eaad-4e2f-8cfd-9d7aecd250dd" providerId="ADAL" clId="{58DBB000-3DB8-4E22-BC30-07C62D71C3DD}" dt="2024-02-13T13:47:14.422" v="1133" actId="207"/>
          <ac:spMkLst>
            <pc:docMk/>
            <pc:sldMk cId="1552949077" sldId="2147482940"/>
            <ac:spMk id="1444" creationId="{96272BBB-487D-42BC-9452-3FDE51C0C26E}"/>
          </ac:spMkLst>
        </pc:spChg>
        <pc:spChg chg="mod">
          <ac:chgData name="Mioduszewska, Joanna" userId="81ce7990-eaad-4e2f-8cfd-9d7aecd250dd" providerId="ADAL" clId="{58DBB000-3DB8-4E22-BC30-07C62D71C3DD}" dt="2024-02-13T13:46:31.950" v="1116" actId="207"/>
          <ac:spMkLst>
            <pc:docMk/>
            <pc:sldMk cId="1552949077" sldId="2147482940"/>
            <ac:spMk id="1445" creationId="{A4CD7E3B-D647-B86F-1880-590A134502DE}"/>
          </ac:spMkLst>
        </pc:spChg>
        <pc:spChg chg="mod">
          <ac:chgData name="Mioduszewska, Joanna" userId="81ce7990-eaad-4e2f-8cfd-9d7aecd250dd" providerId="ADAL" clId="{58DBB000-3DB8-4E22-BC30-07C62D71C3DD}" dt="2024-02-13T13:46:31.950" v="1116" actId="207"/>
          <ac:spMkLst>
            <pc:docMk/>
            <pc:sldMk cId="1552949077" sldId="2147482940"/>
            <ac:spMk id="1446" creationId="{2FB303DA-0E48-8FD6-9EDA-0F8CCD228CBA}"/>
          </ac:spMkLst>
        </pc:spChg>
        <pc:spChg chg="mod">
          <ac:chgData name="Mioduszewska, Joanna" userId="81ce7990-eaad-4e2f-8cfd-9d7aecd250dd" providerId="ADAL" clId="{58DBB000-3DB8-4E22-BC30-07C62D71C3DD}" dt="2024-02-13T13:46:31.950" v="1116" actId="207"/>
          <ac:spMkLst>
            <pc:docMk/>
            <pc:sldMk cId="1552949077" sldId="2147482940"/>
            <ac:spMk id="1447" creationId="{4F68DBD4-6E64-E43B-6FB1-F6922D2B18CD}"/>
          </ac:spMkLst>
        </pc:spChg>
        <pc:spChg chg="mod">
          <ac:chgData name="Mioduszewska, Joanna" userId="81ce7990-eaad-4e2f-8cfd-9d7aecd250dd" providerId="ADAL" clId="{58DBB000-3DB8-4E22-BC30-07C62D71C3DD}" dt="2024-02-13T13:46:31.950" v="1116" actId="207"/>
          <ac:spMkLst>
            <pc:docMk/>
            <pc:sldMk cId="1552949077" sldId="2147482940"/>
            <ac:spMk id="1448" creationId="{64D8534E-99C5-87DA-199B-E4407F03CC6C}"/>
          </ac:spMkLst>
        </pc:spChg>
        <pc:spChg chg="mod">
          <ac:chgData name="Mioduszewska, Joanna" userId="81ce7990-eaad-4e2f-8cfd-9d7aecd250dd" providerId="ADAL" clId="{58DBB000-3DB8-4E22-BC30-07C62D71C3DD}" dt="2024-02-13T13:46:31.950" v="1116" actId="207"/>
          <ac:spMkLst>
            <pc:docMk/>
            <pc:sldMk cId="1552949077" sldId="2147482940"/>
            <ac:spMk id="1449" creationId="{655E484F-C0DA-2BDB-1499-DA2E4C1B45B5}"/>
          </ac:spMkLst>
        </pc:spChg>
        <pc:spChg chg="mod">
          <ac:chgData name="Mioduszewska, Joanna" userId="81ce7990-eaad-4e2f-8cfd-9d7aecd250dd" providerId="ADAL" clId="{58DBB000-3DB8-4E22-BC30-07C62D71C3DD}" dt="2024-02-13T13:46:31.950" v="1116" actId="207"/>
          <ac:spMkLst>
            <pc:docMk/>
            <pc:sldMk cId="1552949077" sldId="2147482940"/>
            <ac:spMk id="1450" creationId="{B0B71571-8303-790E-2151-24FE2B2575D9}"/>
          </ac:spMkLst>
        </pc:spChg>
        <pc:spChg chg="mod">
          <ac:chgData name="Mioduszewska, Joanna" userId="81ce7990-eaad-4e2f-8cfd-9d7aecd250dd" providerId="ADAL" clId="{58DBB000-3DB8-4E22-BC30-07C62D71C3DD}" dt="2024-02-13T13:40:57.580" v="1030" actId="165"/>
          <ac:spMkLst>
            <pc:docMk/>
            <pc:sldMk cId="1552949077" sldId="2147482940"/>
            <ac:spMk id="1451" creationId="{ECDB36D5-F9F4-9BD7-8F10-26384518016B}"/>
          </ac:spMkLst>
        </pc:spChg>
        <pc:spChg chg="mod">
          <ac:chgData name="Mioduszewska, Joanna" userId="81ce7990-eaad-4e2f-8cfd-9d7aecd250dd" providerId="ADAL" clId="{58DBB000-3DB8-4E22-BC30-07C62D71C3DD}" dt="2024-02-13T13:40:57.580" v="1030" actId="165"/>
          <ac:spMkLst>
            <pc:docMk/>
            <pc:sldMk cId="1552949077" sldId="2147482940"/>
            <ac:spMk id="1452" creationId="{53D6E0CE-C475-373E-C3F7-F02DAED92F7A}"/>
          </ac:spMkLst>
        </pc:spChg>
        <pc:spChg chg="mod">
          <ac:chgData name="Mioduszewska, Joanna" userId="81ce7990-eaad-4e2f-8cfd-9d7aecd250dd" providerId="ADAL" clId="{58DBB000-3DB8-4E22-BC30-07C62D71C3DD}" dt="2024-02-13T13:40:57.580" v="1030" actId="165"/>
          <ac:spMkLst>
            <pc:docMk/>
            <pc:sldMk cId="1552949077" sldId="2147482940"/>
            <ac:spMk id="1453" creationId="{3FB655EC-C683-45AA-B363-00DD54F34452}"/>
          </ac:spMkLst>
        </pc:spChg>
        <pc:spChg chg="mod">
          <ac:chgData name="Mioduszewska, Joanna" userId="81ce7990-eaad-4e2f-8cfd-9d7aecd250dd" providerId="ADAL" clId="{58DBB000-3DB8-4E22-BC30-07C62D71C3DD}" dt="2024-02-13T13:40:57.580" v="1030" actId="165"/>
          <ac:spMkLst>
            <pc:docMk/>
            <pc:sldMk cId="1552949077" sldId="2147482940"/>
            <ac:spMk id="1454" creationId="{BDB23337-E979-2B70-B17D-A60A0C92472B}"/>
          </ac:spMkLst>
        </pc:spChg>
        <pc:spChg chg="mod">
          <ac:chgData name="Mioduszewska, Joanna" userId="81ce7990-eaad-4e2f-8cfd-9d7aecd250dd" providerId="ADAL" clId="{58DBB000-3DB8-4E22-BC30-07C62D71C3DD}" dt="2024-02-13T13:40:57.580" v="1030" actId="165"/>
          <ac:spMkLst>
            <pc:docMk/>
            <pc:sldMk cId="1552949077" sldId="2147482940"/>
            <ac:spMk id="1455" creationId="{F8E9E6EB-4A45-2378-99C1-C8ED1C9FEDAA}"/>
          </ac:spMkLst>
        </pc:spChg>
        <pc:spChg chg="mod">
          <ac:chgData name="Mioduszewska, Joanna" userId="81ce7990-eaad-4e2f-8cfd-9d7aecd250dd" providerId="ADAL" clId="{58DBB000-3DB8-4E22-BC30-07C62D71C3DD}" dt="2024-02-13T13:40:57.580" v="1030" actId="165"/>
          <ac:spMkLst>
            <pc:docMk/>
            <pc:sldMk cId="1552949077" sldId="2147482940"/>
            <ac:spMk id="1456" creationId="{86F1C391-A87E-3CFE-EF08-3D553E56B0B1}"/>
          </ac:spMkLst>
        </pc:spChg>
        <pc:spChg chg="mod">
          <ac:chgData name="Mioduszewska, Joanna" userId="81ce7990-eaad-4e2f-8cfd-9d7aecd250dd" providerId="ADAL" clId="{58DBB000-3DB8-4E22-BC30-07C62D71C3DD}" dt="2024-02-13T13:40:57.580" v="1030" actId="165"/>
          <ac:spMkLst>
            <pc:docMk/>
            <pc:sldMk cId="1552949077" sldId="2147482940"/>
            <ac:spMk id="1457" creationId="{5E38CEE6-C71C-17D2-0959-2491A2A29F26}"/>
          </ac:spMkLst>
        </pc:spChg>
        <pc:spChg chg="mod">
          <ac:chgData name="Mioduszewska, Joanna" userId="81ce7990-eaad-4e2f-8cfd-9d7aecd250dd" providerId="ADAL" clId="{58DBB000-3DB8-4E22-BC30-07C62D71C3DD}" dt="2024-02-13T13:40:57.580" v="1030" actId="165"/>
          <ac:spMkLst>
            <pc:docMk/>
            <pc:sldMk cId="1552949077" sldId="2147482940"/>
            <ac:spMk id="1458" creationId="{969DC788-4D0E-AFA8-F3DF-76003386FCDF}"/>
          </ac:spMkLst>
        </pc:spChg>
        <pc:spChg chg="mod">
          <ac:chgData name="Mioduszewska, Joanna" userId="81ce7990-eaad-4e2f-8cfd-9d7aecd250dd" providerId="ADAL" clId="{58DBB000-3DB8-4E22-BC30-07C62D71C3DD}" dt="2024-02-13T13:40:57.580" v="1030" actId="165"/>
          <ac:spMkLst>
            <pc:docMk/>
            <pc:sldMk cId="1552949077" sldId="2147482940"/>
            <ac:spMk id="1459" creationId="{6E29D585-E5CB-CE62-20FD-3A9E4E0A53AC}"/>
          </ac:spMkLst>
        </pc:spChg>
        <pc:spChg chg="add mod">
          <ac:chgData name="Mioduszewska, Joanna" userId="81ce7990-eaad-4e2f-8cfd-9d7aecd250dd" providerId="ADAL" clId="{58DBB000-3DB8-4E22-BC30-07C62D71C3DD}" dt="2024-02-13T13:54:55.122" v="1250" actId="20577"/>
          <ac:spMkLst>
            <pc:docMk/>
            <pc:sldMk cId="1552949077" sldId="2147482940"/>
            <ac:spMk id="1460" creationId="{6CD7B4CB-8F5B-9F4A-486A-9401C19F97F4}"/>
          </ac:spMkLst>
        </pc:spChg>
        <pc:grpChg chg="add del mod">
          <ac:chgData name="Mioduszewska, Joanna" userId="81ce7990-eaad-4e2f-8cfd-9d7aecd250dd" providerId="ADAL" clId="{58DBB000-3DB8-4E22-BC30-07C62D71C3DD}" dt="2024-02-13T12:51:58.103" v="718" actId="478"/>
          <ac:grpSpMkLst>
            <pc:docMk/>
            <pc:sldMk cId="1552949077" sldId="2147482940"/>
            <ac:grpSpMk id="9" creationId="{27850560-A8A5-5D5B-1A85-3F4D33073540}"/>
          </ac:grpSpMkLst>
        </pc:grpChg>
        <pc:grpChg chg="add del mod">
          <ac:chgData name="Mioduszewska, Joanna" userId="81ce7990-eaad-4e2f-8cfd-9d7aecd250dd" providerId="ADAL" clId="{58DBB000-3DB8-4E22-BC30-07C62D71C3DD}" dt="2024-02-12T15:37:42.047" v="453" actId="478"/>
          <ac:grpSpMkLst>
            <pc:docMk/>
            <pc:sldMk cId="1552949077" sldId="2147482940"/>
            <ac:grpSpMk id="9" creationId="{C69C586C-998C-B743-33B0-5C17F52BFC33}"/>
          </ac:grpSpMkLst>
        </pc:grpChg>
        <pc:grpChg chg="add del mod">
          <ac:chgData name="Mioduszewska, Joanna" userId="81ce7990-eaad-4e2f-8cfd-9d7aecd250dd" providerId="ADAL" clId="{58DBB000-3DB8-4E22-BC30-07C62D71C3DD}" dt="2024-02-12T15:25:35.444" v="241" actId="165"/>
          <ac:grpSpMkLst>
            <pc:docMk/>
            <pc:sldMk cId="1552949077" sldId="2147482940"/>
            <ac:grpSpMk id="21" creationId="{84E88D3A-3D83-4D22-7567-CF7EFEFC646E}"/>
          </ac:grpSpMkLst>
        </pc:grpChg>
        <pc:grpChg chg="add mod">
          <ac:chgData name="Mioduszewska, Joanna" userId="81ce7990-eaad-4e2f-8cfd-9d7aecd250dd" providerId="ADAL" clId="{58DBB000-3DB8-4E22-BC30-07C62D71C3DD}" dt="2024-02-13T13:32:07.467" v="963" actId="207"/>
          <ac:grpSpMkLst>
            <pc:docMk/>
            <pc:sldMk cId="1552949077" sldId="2147482940"/>
            <ac:grpSpMk id="24" creationId="{AFE023A9-9D12-F4CC-DFF1-FCA49B4395A8}"/>
          </ac:grpSpMkLst>
        </pc:grpChg>
        <pc:grpChg chg="add del mod">
          <ac:chgData name="Mioduszewska, Joanna" userId="81ce7990-eaad-4e2f-8cfd-9d7aecd250dd" providerId="ADAL" clId="{58DBB000-3DB8-4E22-BC30-07C62D71C3DD}" dt="2024-02-12T15:25:35.444" v="241" actId="165"/>
          <ac:grpSpMkLst>
            <pc:docMk/>
            <pc:sldMk cId="1552949077" sldId="2147482940"/>
            <ac:grpSpMk id="25" creationId="{D8940677-EA59-A201-E3D9-569712A1AE60}"/>
          </ac:grpSpMkLst>
        </pc:grpChg>
        <pc:grpChg chg="add mod">
          <ac:chgData name="Mioduszewska, Joanna" userId="81ce7990-eaad-4e2f-8cfd-9d7aecd250dd" providerId="ADAL" clId="{58DBB000-3DB8-4E22-BC30-07C62D71C3DD}" dt="2024-02-13T13:32:37.135" v="971" actId="207"/>
          <ac:grpSpMkLst>
            <pc:docMk/>
            <pc:sldMk cId="1552949077" sldId="2147482940"/>
            <ac:grpSpMk id="28" creationId="{7425B6EA-E337-DDF4-2CF2-B4F26DDDE1CE}"/>
          </ac:grpSpMkLst>
        </pc:grpChg>
        <pc:grpChg chg="add del mod">
          <ac:chgData name="Mioduszewska, Joanna" userId="81ce7990-eaad-4e2f-8cfd-9d7aecd250dd" providerId="ADAL" clId="{58DBB000-3DB8-4E22-BC30-07C62D71C3DD}" dt="2024-02-12T15:25:35.444" v="241" actId="165"/>
          <ac:grpSpMkLst>
            <pc:docMk/>
            <pc:sldMk cId="1552949077" sldId="2147482940"/>
            <ac:grpSpMk id="31" creationId="{7B288032-240D-64A1-1A1E-99C16F7986AB}"/>
          </ac:grpSpMkLst>
        </pc:grpChg>
        <pc:grpChg chg="del">
          <ac:chgData name="Mioduszewska, Joanna" userId="81ce7990-eaad-4e2f-8cfd-9d7aecd250dd" providerId="ADAL" clId="{58DBB000-3DB8-4E22-BC30-07C62D71C3DD}" dt="2024-02-13T13:48:56.330" v="1166" actId="478"/>
          <ac:grpSpMkLst>
            <pc:docMk/>
            <pc:sldMk cId="1552949077" sldId="2147482940"/>
            <ac:grpSpMk id="47" creationId="{00B02FCB-7E30-92CF-CD77-808E9C6C0E12}"/>
          </ac:grpSpMkLst>
        </pc:grpChg>
        <pc:grpChg chg="add mod">
          <ac:chgData name="Mioduszewska, Joanna" userId="81ce7990-eaad-4e2f-8cfd-9d7aecd250dd" providerId="ADAL" clId="{58DBB000-3DB8-4E22-BC30-07C62D71C3DD}" dt="2024-02-13T13:32:25.731" v="967" actId="207"/>
          <ac:grpSpMkLst>
            <pc:docMk/>
            <pc:sldMk cId="1552949077" sldId="2147482940"/>
            <ac:grpSpMk id="49" creationId="{8FD81A47-1887-CF7E-F09D-1F82EB1B5B39}"/>
          </ac:grpSpMkLst>
        </pc:grpChg>
        <pc:grpChg chg="add del mod">
          <ac:chgData name="Mioduszewska, Joanna" userId="81ce7990-eaad-4e2f-8cfd-9d7aecd250dd" providerId="ADAL" clId="{58DBB000-3DB8-4E22-BC30-07C62D71C3DD}" dt="2024-02-12T15:25:35.444" v="241" actId="165"/>
          <ac:grpSpMkLst>
            <pc:docMk/>
            <pc:sldMk cId="1552949077" sldId="2147482940"/>
            <ac:grpSpMk id="50" creationId="{D4432B22-C4A2-23F0-A6C9-5EF5164C08DB}"/>
          </ac:grpSpMkLst>
        </pc:grpChg>
        <pc:grpChg chg="add del mod">
          <ac:chgData name="Mioduszewska, Joanna" userId="81ce7990-eaad-4e2f-8cfd-9d7aecd250dd" providerId="ADAL" clId="{58DBB000-3DB8-4E22-BC30-07C62D71C3DD}" dt="2024-02-13T13:12:46.900" v="787" actId="478"/>
          <ac:grpSpMkLst>
            <pc:docMk/>
            <pc:sldMk cId="1552949077" sldId="2147482940"/>
            <ac:grpSpMk id="53" creationId="{854D8C98-BF69-AD1C-FC2A-74A576E6DF0B}"/>
          </ac:grpSpMkLst>
        </pc:grpChg>
        <pc:grpChg chg="add del mod">
          <ac:chgData name="Mioduszewska, Joanna" userId="81ce7990-eaad-4e2f-8cfd-9d7aecd250dd" providerId="ADAL" clId="{58DBB000-3DB8-4E22-BC30-07C62D71C3DD}" dt="2024-02-12T15:25:35.444" v="241" actId="165"/>
          <ac:grpSpMkLst>
            <pc:docMk/>
            <pc:sldMk cId="1552949077" sldId="2147482940"/>
            <ac:grpSpMk id="54" creationId="{8CD2EB1B-5301-9FBD-5D99-5389B28D0EBD}"/>
          </ac:grpSpMkLst>
        </pc:grpChg>
        <pc:grpChg chg="add mod">
          <ac:chgData name="Mioduszewska, Joanna" userId="81ce7990-eaad-4e2f-8cfd-9d7aecd250dd" providerId="ADAL" clId="{58DBB000-3DB8-4E22-BC30-07C62D71C3DD}" dt="2024-02-13T13:32:31.001" v="969" actId="207"/>
          <ac:grpSpMkLst>
            <pc:docMk/>
            <pc:sldMk cId="1552949077" sldId="2147482940"/>
            <ac:grpSpMk id="57" creationId="{FAA085A2-9B13-7317-4560-4074AE8EA234}"/>
          </ac:grpSpMkLst>
        </pc:grpChg>
        <pc:grpChg chg="add del mod">
          <ac:chgData name="Mioduszewska, Joanna" userId="81ce7990-eaad-4e2f-8cfd-9d7aecd250dd" providerId="ADAL" clId="{58DBB000-3DB8-4E22-BC30-07C62D71C3DD}" dt="2024-02-12T15:25:35.444" v="241" actId="165"/>
          <ac:grpSpMkLst>
            <pc:docMk/>
            <pc:sldMk cId="1552949077" sldId="2147482940"/>
            <ac:grpSpMk id="58" creationId="{B77E9CE8-0180-089B-DF2C-CA19C033C11A}"/>
          </ac:grpSpMkLst>
        </pc:grpChg>
        <pc:grpChg chg="add mod">
          <ac:chgData name="Mioduszewska, Joanna" userId="81ce7990-eaad-4e2f-8cfd-9d7aecd250dd" providerId="ADAL" clId="{58DBB000-3DB8-4E22-BC30-07C62D71C3DD}" dt="2024-02-13T13:32:19.016" v="965" actId="207"/>
          <ac:grpSpMkLst>
            <pc:docMk/>
            <pc:sldMk cId="1552949077" sldId="2147482940"/>
            <ac:grpSpMk id="61" creationId="{97EA18B5-1100-E4E1-2902-DB0E51D79A9A}"/>
          </ac:grpSpMkLst>
        </pc:grpChg>
        <pc:grpChg chg="add del mod">
          <ac:chgData name="Mioduszewska, Joanna" userId="81ce7990-eaad-4e2f-8cfd-9d7aecd250dd" providerId="ADAL" clId="{58DBB000-3DB8-4E22-BC30-07C62D71C3DD}" dt="2024-02-12T15:25:35.444" v="241" actId="165"/>
          <ac:grpSpMkLst>
            <pc:docMk/>
            <pc:sldMk cId="1552949077" sldId="2147482940"/>
            <ac:grpSpMk id="65" creationId="{BAA58CE2-0B3E-89DC-2C3A-64F0B63A5BBA}"/>
          </ac:grpSpMkLst>
        </pc:grpChg>
        <pc:grpChg chg="add del mod">
          <ac:chgData name="Mioduszewska, Joanna" userId="81ce7990-eaad-4e2f-8cfd-9d7aecd250dd" providerId="ADAL" clId="{58DBB000-3DB8-4E22-BC30-07C62D71C3DD}" dt="2024-02-12T15:25:35.444" v="241" actId="165"/>
          <ac:grpSpMkLst>
            <pc:docMk/>
            <pc:sldMk cId="1552949077" sldId="2147482940"/>
            <ac:grpSpMk id="70" creationId="{0722C881-6C60-5EB7-9251-9A0F9148E24B}"/>
          </ac:grpSpMkLst>
        </pc:grpChg>
        <pc:grpChg chg="add del mod">
          <ac:chgData name="Mioduszewska, Joanna" userId="81ce7990-eaad-4e2f-8cfd-9d7aecd250dd" providerId="ADAL" clId="{58DBB000-3DB8-4E22-BC30-07C62D71C3DD}" dt="2024-02-13T13:23:42.448" v="876"/>
          <ac:grpSpMkLst>
            <pc:docMk/>
            <pc:sldMk cId="1552949077" sldId="2147482940"/>
            <ac:grpSpMk id="75" creationId="{A0A780E0-4C4C-B456-7424-4B1892353CC1}"/>
          </ac:grpSpMkLst>
        </pc:grpChg>
        <pc:grpChg chg="add del mod">
          <ac:chgData name="Mioduszewska, Joanna" userId="81ce7990-eaad-4e2f-8cfd-9d7aecd250dd" providerId="ADAL" clId="{58DBB000-3DB8-4E22-BC30-07C62D71C3DD}" dt="2024-02-12T15:31:04.779" v="395" actId="478"/>
          <ac:grpSpMkLst>
            <pc:docMk/>
            <pc:sldMk cId="1552949077" sldId="2147482940"/>
            <ac:grpSpMk id="76" creationId="{617A79FE-C959-B761-9C4B-AA644F956E37}"/>
          </ac:grpSpMkLst>
        </pc:grpChg>
        <pc:grpChg chg="add del mod">
          <ac:chgData name="Mioduszewska, Joanna" userId="81ce7990-eaad-4e2f-8cfd-9d7aecd250dd" providerId="ADAL" clId="{58DBB000-3DB8-4E22-BC30-07C62D71C3DD}" dt="2024-02-13T14:03:17.334" v="1310" actId="207"/>
          <ac:grpSpMkLst>
            <pc:docMk/>
            <pc:sldMk cId="1552949077" sldId="2147482940"/>
            <ac:grpSpMk id="77" creationId="{D1590162-32E6-194A-2607-22B978911DD3}"/>
          </ac:grpSpMkLst>
        </pc:grpChg>
        <pc:grpChg chg="add del mod">
          <ac:chgData name="Mioduszewska, Joanna" userId="81ce7990-eaad-4e2f-8cfd-9d7aecd250dd" providerId="ADAL" clId="{58DBB000-3DB8-4E22-BC30-07C62D71C3DD}" dt="2024-02-12T15:31:04.779" v="395" actId="478"/>
          <ac:grpSpMkLst>
            <pc:docMk/>
            <pc:sldMk cId="1552949077" sldId="2147482940"/>
            <ac:grpSpMk id="78" creationId="{5417B6A2-B76A-B9FF-45EF-07BF7BCC3CB3}"/>
          </ac:grpSpMkLst>
        </pc:grpChg>
        <pc:grpChg chg="add del mod">
          <ac:chgData name="Mioduszewska, Joanna" userId="81ce7990-eaad-4e2f-8cfd-9d7aecd250dd" providerId="ADAL" clId="{58DBB000-3DB8-4E22-BC30-07C62D71C3DD}" dt="2024-02-12T15:31:04.779" v="395" actId="478"/>
          <ac:grpSpMkLst>
            <pc:docMk/>
            <pc:sldMk cId="1552949077" sldId="2147482940"/>
            <ac:grpSpMk id="79" creationId="{D22033F0-BD40-3E5B-DFDE-05F26F347BE2}"/>
          </ac:grpSpMkLst>
        </pc:grpChg>
        <pc:grpChg chg="add del mod">
          <ac:chgData name="Mioduszewska, Joanna" userId="81ce7990-eaad-4e2f-8cfd-9d7aecd250dd" providerId="ADAL" clId="{58DBB000-3DB8-4E22-BC30-07C62D71C3DD}" dt="2024-02-12T15:31:15.507" v="398" actId="478"/>
          <ac:grpSpMkLst>
            <pc:docMk/>
            <pc:sldMk cId="1552949077" sldId="2147482940"/>
            <ac:grpSpMk id="80" creationId="{F1ADBFBF-7A14-8BC8-1E1E-BECD8F06001C}"/>
          </ac:grpSpMkLst>
        </pc:grpChg>
        <pc:grpChg chg="add del mod">
          <ac:chgData name="Mioduszewska, Joanna" userId="81ce7990-eaad-4e2f-8cfd-9d7aecd250dd" providerId="ADAL" clId="{58DBB000-3DB8-4E22-BC30-07C62D71C3DD}" dt="2024-02-12T15:31:16.452" v="399" actId="478"/>
          <ac:grpSpMkLst>
            <pc:docMk/>
            <pc:sldMk cId="1552949077" sldId="2147482940"/>
            <ac:grpSpMk id="81" creationId="{1EDD8CCB-2E03-5CA2-1E3C-EF15811BE87E}"/>
          </ac:grpSpMkLst>
        </pc:grpChg>
        <pc:grpChg chg="add del mod">
          <ac:chgData name="Mioduszewska, Joanna" userId="81ce7990-eaad-4e2f-8cfd-9d7aecd250dd" providerId="ADAL" clId="{58DBB000-3DB8-4E22-BC30-07C62D71C3DD}" dt="2024-02-12T15:31:04.779" v="395" actId="478"/>
          <ac:grpSpMkLst>
            <pc:docMk/>
            <pc:sldMk cId="1552949077" sldId="2147482940"/>
            <ac:grpSpMk id="82" creationId="{07E4F4EB-778B-1636-3E58-31B5F50C1595}"/>
          </ac:grpSpMkLst>
        </pc:grpChg>
        <pc:grpChg chg="add del mod">
          <ac:chgData name="Mioduszewska, Joanna" userId="81ce7990-eaad-4e2f-8cfd-9d7aecd250dd" providerId="ADAL" clId="{58DBB000-3DB8-4E22-BC30-07C62D71C3DD}" dt="2024-02-12T15:31:17.304" v="400" actId="478"/>
          <ac:grpSpMkLst>
            <pc:docMk/>
            <pc:sldMk cId="1552949077" sldId="2147482940"/>
            <ac:grpSpMk id="83" creationId="{87FA90BC-6CFB-5540-4034-552BEAC898E6}"/>
          </ac:grpSpMkLst>
        </pc:grpChg>
        <pc:grpChg chg="add mod">
          <ac:chgData name="Mioduszewska, Joanna" userId="81ce7990-eaad-4e2f-8cfd-9d7aecd250dd" providerId="ADAL" clId="{58DBB000-3DB8-4E22-BC30-07C62D71C3DD}" dt="2024-02-13T14:03:26.665" v="1312" actId="207"/>
          <ac:grpSpMkLst>
            <pc:docMk/>
            <pc:sldMk cId="1552949077" sldId="2147482940"/>
            <ac:grpSpMk id="85" creationId="{8E9EE9BC-26D1-C7DE-9B77-44BBD74280A0}"/>
          </ac:grpSpMkLst>
        </pc:grpChg>
        <pc:grpChg chg="add del mod">
          <ac:chgData name="Mioduszewska, Joanna" userId="81ce7990-eaad-4e2f-8cfd-9d7aecd250dd" providerId="ADAL" clId="{58DBB000-3DB8-4E22-BC30-07C62D71C3DD}" dt="2024-02-13T14:03:22.952" v="1311" actId="207"/>
          <ac:grpSpMkLst>
            <pc:docMk/>
            <pc:sldMk cId="1552949077" sldId="2147482940"/>
            <ac:grpSpMk id="90" creationId="{1468C721-AD3F-060A-320A-5FF2C232FC93}"/>
          </ac:grpSpMkLst>
        </pc:grpChg>
        <pc:grpChg chg="add mod">
          <ac:chgData name="Mioduszewska, Joanna" userId="81ce7990-eaad-4e2f-8cfd-9d7aecd250dd" providerId="ADAL" clId="{58DBB000-3DB8-4E22-BC30-07C62D71C3DD}" dt="2024-02-13T14:03:29.321" v="1313" actId="207"/>
          <ac:grpSpMkLst>
            <pc:docMk/>
            <pc:sldMk cId="1552949077" sldId="2147482940"/>
            <ac:grpSpMk id="95" creationId="{B12147EB-1DF0-38B9-D8A3-6150D79C0A78}"/>
          </ac:grpSpMkLst>
        </pc:grpChg>
        <pc:grpChg chg="add del mod">
          <ac:chgData name="Mioduszewska, Joanna" userId="81ce7990-eaad-4e2f-8cfd-9d7aecd250dd" providerId="ADAL" clId="{58DBB000-3DB8-4E22-BC30-07C62D71C3DD}" dt="2024-02-12T15:34:03.651" v="433" actId="478"/>
          <ac:grpSpMkLst>
            <pc:docMk/>
            <pc:sldMk cId="1552949077" sldId="2147482940"/>
            <ac:grpSpMk id="101" creationId="{A4203B9C-F953-DDFB-E6B2-24A709D18B93}"/>
          </ac:grpSpMkLst>
        </pc:grpChg>
        <pc:grpChg chg="add mod">
          <ac:chgData name="Mioduszewska, Joanna" userId="81ce7990-eaad-4e2f-8cfd-9d7aecd250dd" providerId="ADAL" clId="{58DBB000-3DB8-4E22-BC30-07C62D71C3DD}" dt="2024-02-13T14:02:55.178" v="1308" actId="14100"/>
          <ac:grpSpMkLst>
            <pc:docMk/>
            <pc:sldMk cId="1552949077" sldId="2147482940"/>
            <ac:grpSpMk id="106" creationId="{1135B53F-9932-B281-75E9-6C4117A9094F}"/>
          </ac:grpSpMkLst>
        </pc:grpChg>
        <pc:grpChg chg="add mod">
          <ac:chgData name="Mioduszewska, Joanna" userId="81ce7990-eaad-4e2f-8cfd-9d7aecd250dd" providerId="ADAL" clId="{58DBB000-3DB8-4E22-BC30-07C62D71C3DD}" dt="2024-02-13T14:03:31.382" v="1314" actId="207"/>
          <ac:grpSpMkLst>
            <pc:docMk/>
            <pc:sldMk cId="1552949077" sldId="2147482940"/>
            <ac:grpSpMk id="112" creationId="{AD21D642-CF38-375F-8AB6-F8E032B1F31B}"/>
          </ac:grpSpMkLst>
        </pc:grpChg>
        <pc:grpChg chg="add mod">
          <ac:chgData name="Mioduszewska, Joanna" userId="81ce7990-eaad-4e2f-8cfd-9d7aecd250dd" providerId="ADAL" clId="{58DBB000-3DB8-4E22-BC30-07C62D71C3DD}" dt="2024-02-13T14:03:33.909" v="1315" actId="207"/>
          <ac:grpSpMkLst>
            <pc:docMk/>
            <pc:sldMk cId="1552949077" sldId="2147482940"/>
            <ac:grpSpMk id="117" creationId="{DDF2A6A3-AA3B-EC7D-649E-C88996DB773B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127" creationId="{3DEF60AA-0770-1367-10E9-5A260D46D474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205" creationId="{FBFAE1BF-037F-9D84-5417-F10052930C6D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210" creationId="{A04A910D-179B-6DCF-E342-B0F92D697AEE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213" creationId="{A3D47A34-A2E4-18F1-771C-D9E606F2A8B3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216" creationId="{374F903B-4796-B6EF-1980-E099E32E36E0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260" creationId="{4B74F433-67A0-3028-1A3C-36945528351F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262" creationId="{C6BD9AB9-8526-B88D-420B-B6E0114555DE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263" creationId="{174AC0B7-68A8-0B1A-E66A-04A610D3140B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264" creationId="{ECBEB9E2-5ACE-5D5D-8F61-48F32AE8697F}"/>
          </ac:grpSpMkLst>
        </pc:grpChg>
        <pc:grpChg chg="del">
          <ac:chgData name="Mioduszewska, Joanna" userId="81ce7990-eaad-4e2f-8cfd-9d7aecd250dd" providerId="ADAL" clId="{58DBB000-3DB8-4E22-BC30-07C62D71C3DD}" dt="2024-02-13T13:48:49.760" v="1161" actId="478"/>
          <ac:grpSpMkLst>
            <pc:docMk/>
            <pc:sldMk cId="1552949077" sldId="2147482940"/>
            <ac:grpSpMk id="285" creationId="{C592E709-2024-BDF5-944E-3A75936A21EB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298" creationId="{17AEFB6A-E4FF-1D17-C987-70250DFE3517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299" creationId="{8B1584EC-0F3C-64D7-CA39-63E5885C1C57}"/>
          </ac:grpSpMkLst>
        </pc:grpChg>
        <pc:grpChg chg="del">
          <ac:chgData name="Mioduszewska, Joanna" userId="81ce7990-eaad-4e2f-8cfd-9d7aecd250dd" providerId="ADAL" clId="{58DBB000-3DB8-4E22-BC30-07C62D71C3DD}" dt="2024-02-13T13:49:17.340" v="1170" actId="478"/>
          <ac:grpSpMkLst>
            <pc:docMk/>
            <pc:sldMk cId="1552949077" sldId="2147482940"/>
            <ac:grpSpMk id="322" creationId="{04B734C9-8C10-BD6D-1466-D4E1DCCD4817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370" creationId="{AD01D8FD-FBBC-662C-65E8-EFE8A1CECB98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371" creationId="{7A4DF7E4-D023-3B05-C237-90E0073E48D7}"/>
          </ac:grpSpMkLst>
        </pc:grpChg>
        <pc:grpChg chg="add del mod">
          <ac:chgData name="Mioduszewska, Joanna" userId="81ce7990-eaad-4e2f-8cfd-9d7aecd250dd" providerId="ADAL" clId="{58DBB000-3DB8-4E22-BC30-07C62D71C3DD}" dt="2024-02-12T15:51:37.640" v="542" actId="165"/>
          <ac:grpSpMkLst>
            <pc:docMk/>
            <pc:sldMk cId="1552949077" sldId="2147482940"/>
            <ac:grpSpMk id="1024" creationId="{CC14D70B-09C5-6218-A4D6-5EBC62B675CC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1036" creationId="{A887E69E-8FDA-429E-9C5D-AFEB9B624F04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1038" creationId="{E58CC512-1C45-61E3-6756-3AAF5D85A241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1046" creationId="{AED65320-B9FD-B66C-97C7-28F682B3E877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1049" creationId="{98BC610F-56D7-43D1-8E46-0BF6DECA67F1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1052" creationId="{7656D908-8864-E0EB-C21B-FB52670F390F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1054" creationId="{CB41ADFD-8B77-4F2A-E909-20595E0664DC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1064" creationId="{76881EDD-8FEA-CB91-AAAE-8D4FE5CACCF2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1065" creationId="{4684260B-78EE-06F9-029C-7CFF0C0CAAF4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1066" creationId="{96D134FA-A5A6-945C-5698-46ECBA0427CF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1068" creationId="{20E89EDC-E974-F97A-F4C2-1426933A8AB1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1070" creationId="{378DBEF1-F320-37E6-9567-D0359126832B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1071" creationId="{31DF748A-465B-DE9C-ABC4-F84736E7AF99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1072" creationId="{7683BB4F-421B-A136-E4E1-6919004847A6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1082" creationId="{F7E96029-15C7-86BD-F9B2-1A90845AA7D4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1089" creationId="{70A422DA-5087-BFA9-7926-FAB647158E2D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1090" creationId="{4EDEB434-9225-1D4E-9DFE-50AC0930F302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1092" creationId="{88E6595A-0578-5AA5-28CF-F30C2278F0EF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1095" creationId="{6A006F6E-0155-98DD-72E5-D13B0D0E8844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1096" creationId="{F54D099E-5B69-EF16-698D-DC606FBE11AF}"/>
          </ac:grpSpMkLst>
        </pc:grpChg>
        <pc:grpChg chg="mod">
          <ac:chgData name="Mioduszewska, Joanna" userId="81ce7990-eaad-4e2f-8cfd-9d7aecd250dd" providerId="ADAL" clId="{58DBB000-3DB8-4E22-BC30-07C62D71C3DD}" dt="2024-02-13T13:23:40.185" v="875"/>
          <ac:grpSpMkLst>
            <pc:docMk/>
            <pc:sldMk cId="1552949077" sldId="2147482940"/>
            <ac:grpSpMk id="1097" creationId="{CBE03473-9340-9CC4-3498-EA747A9B6665}"/>
          </ac:grpSpMkLst>
        </pc:grpChg>
        <pc:grpChg chg="add del mod">
          <ac:chgData name="Mioduszewska, Joanna" userId="81ce7990-eaad-4e2f-8cfd-9d7aecd250dd" providerId="ADAL" clId="{58DBB000-3DB8-4E22-BC30-07C62D71C3DD}" dt="2024-02-13T13:33:53.627" v="973"/>
          <ac:grpSpMkLst>
            <pc:docMk/>
            <pc:sldMk cId="1552949077" sldId="2147482940"/>
            <ac:grpSpMk id="1128" creationId="{27F6C2F9-1281-3709-6BB1-D6C8DCBBCCBD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139" creationId="{987C0107-6A91-B9C6-9FDF-D902CD93E9C2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142" creationId="{CF04F266-A882-F5C2-DADD-5AEAACF7EC4D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144" creationId="{9156FBAB-F1B7-2168-1B21-168C631FDF03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147" creationId="{091B298A-B12F-BF50-1996-29828AE8C6A9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150" creationId="{88567150-AB98-F857-F824-192821D6AA29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153" creationId="{D507EFFC-BAF3-1F9A-1031-FA559192A8B9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155" creationId="{987516F1-6853-22AD-54E7-CD9E94F7D578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165" creationId="{67EFAA72-317F-5268-8442-E22203A316A1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166" creationId="{3BB20664-432C-EE1B-BA0D-2B9C624DFA54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167" creationId="{6A23772E-0A26-EE7B-3D72-5B8FA5F567D5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169" creationId="{7DC0CBBF-AB38-BDE7-61A2-337EFDF34D02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171" creationId="{280DD6EF-A477-5D44-718B-06B53C4A8CDD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172" creationId="{012E776E-B0EA-9F35-12B3-552B0DA5856A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173" creationId="{A4701025-61FA-B64A-BAC7-B5A826ABDCF2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183" creationId="{3DC98901-D9DB-A569-3873-DC2ED83E1B7E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195" creationId="{12346201-5197-6A74-C9CE-A64B502C9C82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199" creationId="{38F66952-40EF-3324-A407-7595EAEF052E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201" creationId="{DDA9FDE5-FDA9-CA29-26AD-97274785507C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202" creationId="{F03BDB9B-AF76-2CF2-21FF-63834F495790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203" creationId="{E6A56FC6-8B4F-EB88-718F-290E335F85B9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231" creationId="{1EAC84C1-C68E-0E50-7896-95466B447C98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232" creationId="{23A017D7-4039-A127-F7BA-35B303F9615A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265" creationId="{9A351AA8-CA50-E93D-8704-5702BAAB4043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266" creationId="{059A6587-79F0-CE21-3E7F-B2E9784239AD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280" creationId="{A2445F31-E898-B766-3402-F384FEBE7642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281" creationId="{EBF6768A-7BAA-8526-46D5-9A22E0C6483B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283" creationId="{6F03872A-3C22-F3F2-2018-9F150811A571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286" creationId="{A64C8BFC-61F7-8D07-158A-76E30A20CED8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287" creationId="{94AF502A-4995-AE6B-C28D-538590B8BF98}"/>
          </ac:grpSpMkLst>
        </pc:grpChg>
        <pc:grpChg chg="mod">
          <ac:chgData name="Mioduszewska, Joanna" userId="81ce7990-eaad-4e2f-8cfd-9d7aecd250dd" providerId="ADAL" clId="{58DBB000-3DB8-4E22-BC30-07C62D71C3DD}" dt="2024-02-13T13:33:51.198" v="972"/>
          <ac:grpSpMkLst>
            <pc:docMk/>
            <pc:sldMk cId="1552949077" sldId="2147482940"/>
            <ac:grpSpMk id="1288" creationId="{F3AA9BCA-CEC8-0A57-6160-4DB8ACB496EE}"/>
          </ac:grpSpMkLst>
        </pc:grpChg>
        <pc:grpChg chg="add del mod">
          <ac:chgData name="Mioduszewska, Joanna" userId="81ce7990-eaad-4e2f-8cfd-9d7aecd250dd" providerId="ADAL" clId="{58DBB000-3DB8-4E22-BC30-07C62D71C3DD}" dt="2024-02-13T13:39:31.370" v="1021" actId="478"/>
          <ac:grpSpMkLst>
            <pc:docMk/>
            <pc:sldMk cId="1552949077" sldId="2147482940"/>
            <ac:grpSpMk id="1322" creationId="{838A8A65-7C18-78BE-F2A3-DA23DD0C3D31}"/>
          </ac:grpSpMkLst>
        </pc:grpChg>
        <pc:grpChg chg="mod">
          <ac:chgData name="Mioduszewska, Joanna" userId="81ce7990-eaad-4e2f-8cfd-9d7aecd250dd" providerId="ADAL" clId="{58DBB000-3DB8-4E22-BC30-07C62D71C3DD}" dt="2024-02-13T13:38:07.192" v="1004"/>
          <ac:grpSpMkLst>
            <pc:docMk/>
            <pc:sldMk cId="1552949077" sldId="2147482940"/>
            <ac:grpSpMk id="1339" creationId="{3296EFBD-1081-DB6C-8B64-13ABFC4CB90F}"/>
          </ac:grpSpMkLst>
        </pc:grpChg>
        <pc:grpChg chg="mod">
          <ac:chgData name="Mioduszewska, Joanna" userId="81ce7990-eaad-4e2f-8cfd-9d7aecd250dd" providerId="ADAL" clId="{58DBB000-3DB8-4E22-BC30-07C62D71C3DD}" dt="2024-02-13T13:38:07.192" v="1004"/>
          <ac:grpSpMkLst>
            <pc:docMk/>
            <pc:sldMk cId="1552949077" sldId="2147482940"/>
            <ac:grpSpMk id="1342" creationId="{CE693521-D9F9-EA90-12C0-4916FD46A775}"/>
          </ac:grpSpMkLst>
        </pc:grpChg>
        <pc:grpChg chg="mod">
          <ac:chgData name="Mioduszewska, Joanna" userId="81ce7990-eaad-4e2f-8cfd-9d7aecd250dd" providerId="ADAL" clId="{58DBB000-3DB8-4E22-BC30-07C62D71C3DD}" dt="2024-02-13T13:38:07.192" v="1004"/>
          <ac:grpSpMkLst>
            <pc:docMk/>
            <pc:sldMk cId="1552949077" sldId="2147482940"/>
            <ac:grpSpMk id="1345" creationId="{002C2FD9-06AF-6BED-8B76-1DDB93182761}"/>
          </ac:grpSpMkLst>
        </pc:grpChg>
        <pc:grpChg chg="add del mod">
          <ac:chgData name="Mioduszewska, Joanna" userId="81ce7990-eaad-4e2f-8cfd-9d7aecd250dd" providerId="ADAL" clId="{58DBB000-3DB8-4E22-BC30-07C62D71C3DD}" dt="2024-02-13T13:40:15.716" v="1023"/>
          <ac:grpSpMkLst>
            <pc:docMk/>
            <pc:sldMk cId="1552949077" sldId="2147482940"/>
            <ac:grpSpMk id="1387" creationId="{1C17A418-4EEF-22BA-871A-2936AF51C599}"/>
          </ac:grpSpMkLst>
        </pc:grpChg>
        <pc:grpChg chg="add del mod">
          <ac:chgData name="Mioduszewska, Joanna" userId="81ce7990-eaad-4e2f-8cfd-9d7aecd250dd" providerId="ADAL" clId="{58DBB000-3DB8-4E22-BC30-07C62D71C3DD}" dt="2024-02-13T13:40:15.716" v="1023"/>
          <ac:grpSpMkLst>
            <pc:docMk/>
            <pc:sldMk cId="1552949077" sldId="2147482940"/>
            <ac:grpSpMk id="1399" creationId="{06284CB5-78F3-7B86-DE2C-CD43F7F79826}"/>
          </ac:grpSpMkLst>
        </pc:grpChg>
        <pc:grpChg chg="add del mod">
          <ac:chgData name="Mioduszewska, Joanna" userId="81ce7990-eaad-4e2f-8cfd-9d7aecd250dd" providerId="ADAL" clId="{58DBB000-3DB8-4E22-BC30-07C62D71C3DD}" dt="2024-02-13T13:40:15.716" v="1023"/>
          <ac:grpSpMkLst>
            <pc:docMk/>
            <pc:sldMk cId="1552949077" sldId="2147482940"/>
            <ac:grpSpMk id="1408" creationId="{40824EAC-22A1-3786-3738-CB61C74788E0}"/>
          </ac:grpSpMkLst>
        </pc:grpChg>
        <pc:grpChg chg="add del mod">
          <ac:chgData name="Mioduszewska, Joanna" userId="81ce7990-eaad-4e2f-8cfd-9d7aecd250dd" providerId="ADAL" clId="{58DBB000-3DB8-4E22-BC30-07C62D71C3DD}" dt="2024-02-13T13:40:57.580" v="1030" actId="165"/>
          <ac:grpSpMkLst>
            <pc:docMk/>
            <pc:sldMk cId="1552949077" sldId="2147482940"/>
            <ac:grpSpMk id="1422" creationId="{A0AA46AB-8985-C780-3B9C-9BA6FD1B81EB}"/>
          </ac:grpSpMkLst>
        </pc:grpChg>
        <pc:grpChg chg="mod topLvl">
          <ac:chgData name="Mioduszewska, Joanna" userId="81ce7990-eaad-4e2f-8cfd-9d7aecd250dd" providerId="ADAL" clId="{58DBB000-3DB8-4E22-BC30-07C62D71C3DD}" dt="2024-02-13T13:46:09.049" v="1105" actId="1076"/>
          <ac:grpSpMkLst>
            <pc:docMk/>
            <pc:sldMk cId="1552949077" sldId="2147482940"/>
            <ac:grpSpMk id="1425" creationId="{84C9E6F4-7EDF-FF58-7A0E-B6298D70CE23}"/>
          </ac:grpSpMkLst>
        </pc:grpChg>
        <pc:grpChg chg="mod topLvl">
          <ac:chgData name="Mioduszewska, Joanna" userId="81ce7990-eaad-4e2f-8cfd-9d7aecd250dd" providerId="ADAL" clId="{58DBB000-3DB8-4E22-BC30-07C62D71C3DD}" dt="2024-02-13T13:46:31.950" v="1116" actId="207"/>
          <ac:grpSpMkLst>
            <pc:docMk/>
            <pc:sldMk cId="1552949077" sldId="2147482940"/>
            <ac:grpSpMk id="1428" creationId="{70458526-07A2-0E14-DD58-E93AD6A1778A}"/>
          </ac:grpSpMkLst>
        </pc:grpChg>
        <pc:grpChg chg="mod topLvl">
          <ac:chgData name="Mioduszewska, Joanna" userId="81ce7990-eaad-4e2f-8cfd-9d7aecd250dd" providerId="ADAL" clId="{58DBB000-3DB8-4E22-BC30-07C62D71C3DD}" dt="2024-02-13T13:47:14.422" v="1133" actId="207"/>
          <ac:grpSpMkLst>
            <pc:docMk/>
            <pc:sldMk cId="1552949077" sldId="2147482940"/>
            <ac:grpSpMk id="1431" creationId="{FD5C4C10-8897-E72A-0D18-8E0BF2842044}"/>
          </ac:grpSpMkLst>
        </pc:grpChg>
        <pc:graphicFrameChg chg="add del mod modGraphic">
          <ac:chgData name="Mioduszewska, Joanna" userId="81ce7990-eaad-4e2f-8cfd-9d7aecd250dd" providerId="ADAL" clId="{58DBB000-3DB8-4E22-BC30-07C62D71C3DD}" dt="2024-02-12T15:31:14.107" v="397" actId="478"/>
          <ac:graphicFrameMkLst>
            <pc:docMk/>
            <pc:sldMk cId="1552949077" sldId="2147482940"/>
            <ac:graphicFrameMk id="20" creationId="{F8BDF880-3937-D18A-B8BE-B5A3F0BB0427}"/>
          </ac:graphicFrameMkLst>
        </pc:graphicFrameChg>
        <pc:picChg chg="add del mod">
          <ac:chgData name="Mioduszewska, Joanna" userId="81ce7990-eaad-4e2f-8cfd-9d7aecd250dd" providerId="ADAL" clId="{58DBB000-3DB8-4E22-BC30-07C62D71C3DD}" dt="2024-02-12T15:44:41.182" v="473" actId="478"/>
          <ac:picMkLst>
            <pc:docMk/>
            <pc:sldMk cId="1552949077" sldId="2147482940"/>
            <ac:picMk id="122" creationId="{FF77C585-BE44-79CE-1A08-617C76E3A0AA}"/>
          </ac:picMkLst>
        </pc:picChg>
        <pc:picChg chg="mod">
          <ac:chgData name="Mioduszewska, Joanna" userId="81ce7990-eaad-4e2f-8cfd-9d7aecd250dd" providerId="ADAL" clId="{58DBB000-3DB8-4E22-BC30-07C62D71C3DD}" dt="2024-02-13T13:23:40.185" v="875"/>
          <ac:picMkLst>
            <pc:docMk/>
            <pc:sldMk cId="1552949077" sldId="2147482940"/>
            <ac:picMk id="219" creationId="{F610D90C-3333-0E87-D4DF-311CFDB9D9C8}"/>
          </ac:picMkLst>
        </pc:picChg>
        <pc:picChg chg="mod">
          <ac:chgData name="Mioduszewska, Joanna" userId="81ce7990-eaad-4e2f-8cfd-9d7aecd250dd" providerId="ADAL" clId="{58DBB000-3DB8-4E22-BC30-07C62D71C3DD}" dt="2024-02-13T13:23:40.185" v="875"/>
          <ac:picMkLst>
            <pc:docMk/>
            <pc:sldMk cId="1552949077" sldId="2147482940"/>
            <ac:picMk id="231" creationId="{4844534E-8867-15EF-D223-D683FDE8E106}"/>
          </ac:picMkLst>
        </pc:picChg>
        <pc:picChg chg="mod">
          <ac:chgData name="Mioduszewska, Joanna" userId="81ce7990-eaad-4e2f-8cfd-9d7aecd250dd" providerId="ADAL" clId="{58DBB000-3DB8-4E22-BC30-07C62D71C3DD}" dt="2024-02-13T13:23:40.185" v="875"/>
          <ac:picMkLst>
            <pc:docMk/>
            <pc:sldMk cId="1552949077" sldId="2147482940"/>
            <ac:picMk id="278" creationId="{80C0FCC5-1564-0264-AFCB-CAA67AEAFD2E}"/>
          </ac:picMkLst>
        </pc:picChg>
        <pc:picChg chg="del">
          <ac:chgData name="Mioduszewska, Joanna" userId="81ce7990-eaad-4e2f-8cfd-9d7aecd250dd" providerId="ADAL" clId="{58DBB000-3DB8-4E22-BC30-07C62D71C3DD}" dt="2024-02-13T13:49:13.156" v="1168" actId="478"/>
          <ac:picMkLst>
            <pc:docMk/>
            <pc:sldMk cId="1552949077" sldId="2147482940"/>
            <ac:picMk id="290" creationId="{A92FE2FC-13DD-475A-F953-02B5245EEFFB}"/>
          </ac:picMkLst>
        </pc:picChg>
        <pc:picChg chg="del">
          <ac:chgData name="Mioduszewska, Joanna" userId="81ce7990-eaad-4e2f-8cfd-9d7aecd250dd" providerId="ADAL" clId="{58DBB000-3DB8-4E22-BC30-07C62D71C3DD}" dt="2024-02-13T13:48:53.979" v="1164" actId="478"/>
          <ac:picMkLst>
            <pc:docMk/>
            <pc:sldMk cId="1552949077" sldId="2147482940"/>
            <ac:picMk id="292" creationId="{071ED58D-8075-DC35-A51C-0A966E4EEB3E}"/>
          </ac:picMkLst>
        </pc:picChg>
        <pc:picChg chg="mod">
          <ac:chgData name="Mioduszewska, Joanna" userId="81ce7990-eaad-4e2f-8cfd-9d7aecd250dd" providerId="ADAL" clId="{58DBB000-3DB8-4E22-BC30-07C62D71C3DD}" dt="2024-02-13T13:23:40.185" v="875"/>
          <ac:picMkLst>
            <pc:docMk/>
            <pc:sldMk cId="1552949077" sldId="2147482940"/>
            <ac:picMk id="311" creationId="{80A3FB06-0A44-6038-1CD7-7C8D56459FE5}"/>
          </ac:picMkLst>
        </pc:picChg>
        <pc:picChg chg="add del">
          <ac:chgData name="Mioduszewska, Joanna" userId="81ce7990-eaad-4e2f-8cfd-9d7aecd250dd" providerId="ADAL" clId="{58DBB000-3DB8-4E22-BC30-07C62D71C3DD}" dt="2024-02-12T15:47:08.310" v="478"/>
          <ac:picMkLst>
            <pc:docMk/>
            <pc:sldMk cId="1552949077" sldId="2147482940"/>
            <ac:picMk id="1030" creationId="{E4D49E16-4816-E7DA-B9C2-8B7A6920B86B}"/>
          </ac:picMkLst>
        </pc:picChg>
        <pc:picChg chg="mod topLvl">
          <ac:chgData name="Mioduszewska, Joanna" userId="81ce7990-eaad-4e2f-8cfd-9d7aecd250dd" providerId="ADAL" clId="{58DBB000-3DB8-4E22-BC30-07C62D71C3DD}" dt="2024-02-13T13:55:42.588" v="1256" actId="1076"/>
          <ac:picMkLst>
            <pc:docMk/>
            <pc:sldMk cId="1552949077" sldId="2147482940"/>
            <ac:picMk id="1035" creationId="{AB6EDD87-AE9F-3A42-8848-84AE8B33CFB9}"/>
          </ac:picMkLst>
        </pc:picChg>
        <pc:picChg chg="del mod topLvl">
          <ac:chgData name="Mioduszewska, Joanna" userId="81ce7990-eaad-4e2f-8cfd-9d7aecd250dd" providerId="ADAL" clId="{58DBB000-3DB8-4E22-BC30-07C62D71C3DD}" dt="2024-02-12T15:52:28.027" v="554" actId="478"/>
          <ac:picMkLst>
            <pc:docMk/>
            <pc:sldMk cId="1552949077" sldId="2147482940"/>
            <ac:picMk id="1036" creationId="{EC53D6E2-0E74-490A-9959-5326ACB9F89C}"/>
          </ac:picMkLst>
        </pc:picChg>
        <pc:picChg chg="del mod topLvl">
          <ac:chgData name="Mioduszewska, Joanna" userId="81ce7990-eaad-4e2f-8cfd-9d7aecd250dd" providerId="ADAL" clId="{58DBB000-3DB8-4E22-BC30-07C62D71C3DD}" dt="2024-02-12T15:52:19.055" v="552" actId="478"/>
          <ac:picMkLst>
            <pc:docMk/>
            <pc:sldMk cId="1552949077" sldId="2147482940"/>
            <ac:picMk id="1037" creationId="{E62C6187-2016-BEDA-1ABA-7CDA0E2E7B5F}"/>
          </ac:picMkLst>
        </pc:picChg>
        <pc:picChg chg="mod topLvl">
          <ac:chgData name="Mioduszewska, Joanna" userId="81ce7990-eaad-4e2f-8cfd-9d7aecd250dd" providerId="ADAL" clId="{58DBB000-3DB8-4E22-BC30-07C62D71C3DD}" dt="2024-02-13T14:00:01.581" v="1286" actId="1076"/>
          <ac:picMkLst>
            <pc:docMk/>
            <pc:sldMk cId="1552949077" sldId="2147482940"/>
            <ac:picMk id="1039" creationId="{686DB8D0-9748-E225-2829-FD4F289CDB12}"/>
          </ac:picMkLst>
        </pc:picChg>
        <pc:picChg chg="add mod">
          <ac:chgData name="Mioduszewska, Joanna" userId="81ce7990-eaad-4e2f-8cfd-9d7aecd250dd" providerId="ADAL" clId="{58DBB000-3DB8-4E22-BC30-07C62D71C3DD}" dt="2024-02-13T13:58:29.217" v="1273" actId="1076"/>
          <ac:picMkLst>
            <pc:docMk/>
            <pc:sldMk cId="1552949077" sldId="2147482940"/>
            <ac:picMk id="1044" creationId="{803BB366-6C01-B9F9-DEA8-612BF280FBEC}"/>
          </ac:picMkLst>
        </pc:picChg>
        <pc:picChg chg="add mod">
          <ac:chgData name="Mioduszewska, Joanna" userId="81ce7990-eaad-4e2f-8cfd-9d7aecd250dd" providerId="ADAL" clId="{58DBB000-3DB8-4E22-BC30-07C62D71C3DD}" dt="2024-02-13T13:58:34.253" v="1274" actId="1076"/>
          <ac:picMkLst>
            <pc:docMk/>
            <pc:sldMk cId="1552949077" sldId="2147482940"/>
            <ac:picMk id="1045" creationId="{1634B42C-F51E-62E8-45F3-D15D21CB4E51}"/>
          </ac:picMkLst>
        </pc:picChg>
        <pc:picChg chg="mod">
          <ac:chgData name="Mioduszewska, Joanna" userId="81ce7990-eaad-4e2f-8cfd-9d7aecd250dd" providerId="ADAL" clId="{58DBB000-3DB8-4E22-BC30-07C62D71C3DD}" dt="2024-02-13T13:23:40.185" v="875"/>
          <ac:picMkLst>
            <pc:docMk/>
            <pc:sldMk cId="1552949077" sldId="2147482940"/>
            <ac:picMk id="1113" creationId="{7AFB162C-AB35-2078-91FA-DB97D6D20DDF}"/>
          </ac:picMkLst>
        </pc:picChg>
        <pc:picChg chg="add del mod">
          <ac:chgData name="Mioduszewska, Joanna" userId="81ce7990-eaad-4e2f-8cfd-9d7aecd250dd" providerId="ADAL" clId="{58DBB000-3DB8-4E22-BC30-07C62D71C3DD}" dt="2024-02-13T13:25:24.801" v="893" actId="478"/>
          <ac:picMkLst>
            <pc:docMk/>
            <pc:sldMk cId="1552949077" sldId="2147482940"/>
            <ac:picMk id="1127" creationId="{57AEF971-675E-A33F-FFCB-2B27E6752573}"/>
          </ac:picMkLst>
        </pc:picChg>
        <pc:picChg chg="mod">
          <ac:chgData name="Mioduszewska, Joanna" userId="81ce7990-eaad-4e2f-8cfd-9d7aecd250dd" providerId="ADAL" clId="{58DBB000-3DB8-4E22-BC30-07C62D71C3DD}" dt="2024-02-13T13:33:51.198" v="972"/>
          <ac:picMkLst>
            <pc:docMk/>
            <pc:sldMk cId="1552949077" sldId="2147482940"/>
            <ac:picMk id="1217" creationId="{7FD3CEDD-56C7-4B99-D3F8-354C07BA17FB}"/>
          </ac:picMkLst>
        </pc:picChg>
        <pc:picChg chg="mod">
          <ac:chgData name="Mioduszewska, Joanna" userId="81ce7990-eaad-4e2f-8cfd-9d7aecd250dd" providerId="ADAL" clId="{58DBB000-3DB8-4E22-BC30-07C62D71C3DD}" dt="2024-02-13T13:33:51.198" v="972"/>
          <ac:picMkLst>
            <pc:docMk/>
            <pc:sldMk cId="1552949077" sldId="2147482940"/>
            <ac:picMk id="1244" creationId="{BD21E58B-2743-1384-A6E0-BF0A2CE22F45}"/>
          </ac:picMkLst>
        </pc:picChg>
        <pc:picChg chg="mod">
          <ac:chgData name="Mioduszewska, Joanna" userId="81ce7990-eaad-4e2f-8cfd-9d7aecd250dd" providerId="ADAL" clId="{58DBB000-3DB8-4E22-BC30-07C62D71C3DD}" dt="2024-02-13T13:33:51.198" v="972"/>
          <ac:picMkLst>
            <pc:docMk/>
            <pc:sldMk cId="1552949077" sldId="2147482940"/>
            <ac:picMk id="1304" creationId="{D2AC02A9-2164-AE11-CAD6-8221EB7D5014}"/>
          </ac:picMkLst>
        </pc:picChg>
        <pc:picChg chg="add mod">
          <ac:chgData name="Mioduszewska, Joanna" userId="81ce7990-eaad-4e2f-8cfd-9d7aecd250dd" providerId="ADAL" clId="{58DBB000-3DB8-4E22-BC30-07C62D71C3DD}" dt="2024-02-13T13:34:11.682" v="980" actId="1076"/>
          <ac:picMkLst>
            <pc:docMk/>
            <pc:sldMk cId="1552949077" sldId="2147482940"/>
            <ac:picMk id="1318" creationId="{95A5805B-A578-197F-CDA6-9922F67DF90B}"/>
          </ac:picMkLst>
        </pc:picChg>
        <pc:picChg chg="mod">
          <ac:chgData name="Mioduszewska, Joanna" userId="81ce7990-eaad-4e2f-8cfd-9d7aecd250dd" providerId="ADAL" clId="{58DBB000-3DB8-4E22-BC30-07C62D71C3DD}" dt="2024-02-13T13:38:07.192" v="1004"/>
          <ac:picMkLst>
            <pc:docMk/>
            <pc:sldMk cId="1552949077" sldId="2147482940"/>
            <ac:picMk id="1348" creationId="{C36FE4BF-9D25-1AF0-75FC-12E8C41EE737}"/>
          </ac:picMkLst>
        </pc:picChg>
        <pc:picChg chg="mod">
          <ac:chgData name="Mioduszewska, Joanna" userId="81ce7990-eaad-4e2f-8cfd-9d7aecd250dd" providerId="ADAL" clId="{58DBB000-3DB8-4E22-BC30-07C62D71C3DD}" dt="2024-02-13T13:38:07.192" v="1004"/>
          <ac:picMkLst>
            <pc:docMk/>
            <pc:sldMk cId="1552949077" sldId="2147482940"/>
            <ac:picMk id="1358" creationId="{382068D4-4AEC-F830-418E-935CE97A58F5}"/>
          </ac:picMkLst>
        </pc:picChg>
        <pc:picChg chg="add del mod">
          <ac:chgData name="Mioduszewska, Joanna" userId="81ce7990-eaad-4e2f-8cfd-9d7aecd250dd" providerId="ADAL" clId="{58DBB000-3DB8-4E22-BC30-07C62D71C3DD}" dt="2024-02-13T13:40:15.716" v="1023"/>
          <ac:picMkLst>
            <pc:docMk/>
            <pc:sldMk cId="1552949077" sldId="2147482940"/>
            <ac:picMk id="1413" creationId="{0DED845B-80C4-CE35-AE72-53C9C12C6C86}"/>
          </ac:picMkLst>
        </pc:picChg>
        <pc:picChg chg="add del mod">
          <ac:chgData name="Mioduszewska, Joanna" userId="81ce7990-eaad-4e2f-8cfd-9d7aecd250dd" providerId="ADAL" clId="{58DBB000-3DB8-4E22-BC30-07C62D71C3DD}" dt="2024-02-13T13:40:15.716" v="1023"/>
          <ac:picMkLst>
            <pc:docMk/>
            <pc:sldMk cId="1552949077" sldId="2147482940"/>
            <ac:picMk id="1416" creationId="{F5D471C3-FC17-919D-8A5A-556B83FB1A5B}"/>
          </ac:picMkLst>
        </pc:picChg>
        <pc:picChg chg="mod topLvl">
          <ac:chgData name="Mioduszewska, Joanna" userId="81ce7990-eaad-4e2f-8cfd-9d7aecd250dd" providerId="ADAL" clId="{58DBB000-3DB8-4E22-BC30-07C62D71C3DD}" dt="2024-02-13T13:45:24.295" v="1092" actId="1076"/>
          <ac:picMkLst>
            <pc:docMk/>
            <pc:sldMk cId="1552949077" sldId="2147482940"/>
            <ac:picMk id="1434" creationId="{AFAD0A88-A924-CCCD-BC26-309A679D36A5}"/>
          </ac:picMkLst>
        </pc:picChg>
        <pc:picChg chg="mod topLvl">
          <ac:chgData name="Mioduszewska, Joanna" userId="81ce7990-eaad-4e2f-8cfd-9d7aecd250dd" providerId="ADAL" clId="{58DBB000-3DB8-4E22-BC30-07C62D71C3DD}" dt="2024-02-13T13:46:43.162" v="1120" actId="1076"/>
          <ac:picMkLst>
            <pc:docMk/>
            <pc:sldMk cId="1552949077" sldId="2147482940"/>
            <ac:picMk id="1437" creationId="{950AB9E7-A9AE-ADF9-CB73-F8D511C7D7E4}"/>
          </ac:picMkLst>
        </pc:picChg>
        <pc:cxnChg chg="del">
          <ac:chgData name="Mioduszewska, Joanna" userId="81ce7990-eaad-4e2f-8cfd-9d7aecd250dd" providerId="ADAL" clId="{58DBB000-3DB8-4E22-BC30-07C62D71C3DD}" dt="2024-02-13T13:24:43.165" v="886" actId="478"/>
          <ac:cxnSpMkLst>
            <pc:docMk/>
            <pc:sldMk cId="1552949077" sldId="2147482940"/>
            <ac:cxnSpMk id="63" creationId="{6A63BB6E-9EAD-115F-0A81-2D2042F29EFF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124" creationId="{2AA05EFF-81FC-6C84-927B-EC78C7660050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125" creationId="{7DC4DF26-91F7-9A1A-BAA1-A98F1BA6578A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204" creationId="{1B6E5E82-2FC5-2FF0-E5AB-D111BC259E44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206" creationId="{E6001AA6-411A-75B5-0EE3-08B72CC6E1B0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224" creationId="{A66D346D-6626-2DC9-52DB-A90652457731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226" creationId="{B0A415FA-7735-A0E0-CFA6-3BE56475BE00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227" creationId="{C961A6E7-B352-43DA-0DD7-4BAB25EDF95C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237" creationId="{83D09419-89F6-7898-6B24-8C31007DF79C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238" creationId="{5E41AEB0-7341-BBD7-9665-F3617814F210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258" creationId="{5DAD8925-63EC-F47B-9CE6-20D4AFCD4338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259" creationId="{8E55E870-3527-1396-A18B-3BDA5E0E8B03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314" creationId="{47AC52C9-AD12-9D1C-D343-F053AA71E620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315" creationId="{4F0EE9FF-74BD-E88D-C1E6-7493E1814D2F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318" creationId="{E13F7186-60AF-3D4A-A956-0C055CC4D9C0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319" creationId="{00404FD3-0657-085D-EB11-2A430A435A8A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320" creationId="{ABF60CBE-4380-56FB-5CA4-8295FD394A46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321" creationId="{F6C2D2EF-D297-3D7D-DDFC-D7D82542D05E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1030" creationId="{F349A380-E901-B9F1-0751-99A76F12B64C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1050" creationId="{C31A24ED-F80C-4BCA-5F52-1AFF34FEAE76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1051" creationId="{2D138986-B477-5499-6DCF-201D79F5CDE1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1055" creationId="{AD43B9F8-2E58-823F-9A7F-1BEB8C28362D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1058" creationId="{98DF7254-0121-1E13-32C4-92CBD0C1F4C8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1079" creationId="{720952A3-1C4E-3911-7B79-BF3940602066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1081" creationId="{ACF50793-1D6C-1077-E4CB-4D7998F6504F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1084" creationId="{CE403096-8C9D-0231-A838-1E052EA58EBA}"/>
          </ac:cxnSpMkLst>
        </pc:cxnChg>
        <pc:cxnChg chg="mod">
          <ac:chgData name="Mioduszewska, Joanna" userId="81ce7990-eaad-4e2f-8cfd-9d7aecd250dd" providerId="ADAL" clId="{58DBB000-3DB8-4E22-BC30-07C62D71C3DD}" dt="2024-02-13T13:23:40.185" v="875"/>
          <ac:cxnSpMkLst>
            <pc:docMk/>
            <pc:sldMk cId="1552949077" sldId="2147482940"/>
            <ac:cxnSpMk id="1085" creationId="{C13BC2D6-53D5-CCA7-8ABF-48C95AE4C859}"/>
          </ac:cxnSpMkLst>
        </pc:cxnChg>
        <pc:cxnChg chg="mod">
          <ac:chgData name="Mioduszewska, Joanna" userId="81ce7990-eaad-4e2f-8cfd-9d7aecd250dd" providerId="ADAL" clId="{58DBB000-3DB8-4E22-BC30-07C62D71C3DD}" dt="2024-02-13T13:33:51.198" v="972"/>
          <ac:cxnSpMkLst>
            <pc:docMk/>
            <pc:sldMk cId="1552949077" sldId="2147482940"/>
            <ac:cxnSpMk id="1136" creationId="{717F58AC-5819-A8EE-1B50-3637367D8EAB}"/>
          </ac:cxnSpMkLst>
        </pc:cxnChg>
        <pc:cxnChg chg="mod">
          <ac:chgData name="Mioduszewska, Joanna" userId="81ce7990-eaad-4e2f-8cfd-9d7aecd250dd" providerId="ADAL" clId="{58DBB000-3DB8-4E22-BC30-07C62D71C3DD}" dt="2024-02-13T13:33:51.198" v="972"/>
          <ac:cxnSpMkLst>
            <pc:docMk/>
            <pc:sldMk cId="1552949077" sldId="2147482940"/>
            <ac:cxnSpMk id="1137" creationId="{FF246D8B-31B4-A564-0ACB-9F19B6A0A3DC}"/>
          </ac:cxnSpMkLst>
        </pc:cxnChg>
        <pc:cxnChg chg="mod">
          <ac:chgData name="Mioduszewska, Joanna" userId="81ce7990-eaad-4e2f-8cfd-9d7aecd250dd" providerId="ADAL" clId="{58DBB000-3DB8-4E22-BC30-07C62D71C3DD}" dt="2024-02-13T13:33:51.198" v="972"/>
          <ac:cxnSpMkLst>
            <pc:docMk/>
            <pc:sldMk cId="1552949077" sldId="2147482940"/>
            <ac:cxnSpMk id="1141" creationId="{E7D474AA-E387-359C-6955-BD0CC80AB16A}"/>
          </ac:cxnSpMkLst>
        </pc:cxnChg>
        <pc:cxnChg chg="mod">
          <ac:chgData name="Mioduszewska, Joanna" userId="81ce7990-eaad-4e2f-8cfd-9d7aecd250dd" providerId="ADAL" clId="{58DBB000-3DB8-4E22-BC30-07C62D71C3DD}" dt="2024-02-13T13:33:51.198" v="972"/>
          <ac:cxnSpMkLst>
            <pc:docMk/>
            <pc:sldMk cId="1552949077" sldId="2147482940"/>
            <ac:cxnSpMk id="1151" creationId="{05490277-78EE-FCFE-3F75-4CFF967EBC38}"/>
          </ac:cxnSpMkLst>
        </pc:cxnChg>
        <pc:cxnChg chg="mod">
          <ac:chgData name="Mioduszewska, Joanna" userId="81ce7990-eaad-4e2f-8cfd-9d7aecd250dd" providerId="ADAL" clId="{58DBB000-3DB8-4E22-BC30-07C62D71C3DD}" dt="2024-02-13T13:33:51.198" v="972"/>
          <ac:cxnSpMkLst>
            <pc:docMk/>
            <pc:sldMk cId="1552949077" sldId="2147482940"/>
            <ac:cxnSpMk id="1152" creationId="{56B76B89-401A-8613-98B1-84A77DD7F972}"/>
          </ac:cxnSpMkLst>
        </pc:cxnChg>
        <pc:cxnChg chg="mod">
          <ac:chgData name="Mioduszewska, Joanna" userId="81ce7990-eaad-4e2f-8cfd-9d7aecd250dd" providerId="ADAL" clId="{58DBB000-3DB8-4E22-BC30-07C62D71C3DD}" dt="2024-02-13T13:33:51.198" v="972"/>
          <ac:cxnSpMkLst>
            <pc:docMk/>
            <pc:sldMk cId="1552949077" sldId="2147482940"/>
            <ac:cxnSpMk id="1156" creationId="{A4A434B5-F579-8A37-0344-D8F8DDF8E64E}"/>
          </ac:cxnSpMkLst>
        </pc:cxnChg>
        <pc:cxnChg chg="mod">
          <ac:chgData name="Mioduszewska, Joanna" userId="81ce7990-eaad-4e2f-8cfd-9d7aecd250dd" providerId="ADAL" clId="{58DBB000-3DB8-4E22-BC30-07C62D71C3DD}" dt="2024-02-13T13:33:51.198" v="972"/>
          <ac:cxnSpMkLst>
            <pc:docMk/>
            <pc:sldMk cId="1552949077" sldId="2147482940"/>
            <ac:cxnSpMk id="1159" creationId="{4E6646DE-3439-A91C-46EC-C20C1C152D14}"/>
          </ac:cxnSpMkLst>
        </pc:cxnChg>
        <pc:cxnChg chg="mod">
          <ac:chgData name="Mioduszewska, Joanna" userId="81ce7990-eaad-4e2f-8cfd-9d7aecd250dd" providerId="ADAL" clId="{58DBB000-3DB8-4E22-BC30-07C62D71C3DD}" dt="2024-02-13T13:33:51.198" v="972"/>
          <ac:cxnSpMkLst>
            <pc:docMk/>
            <pc:sldMk cId="1552949077" sldId="2147482940"/>
            <ac:cxnSpMk id="1180" creationId="{1CCBEDD6-48E6-105F-5728-499F04D8CC03}"/>
          </ac:cxnSpMkLst>
        </pc:cxnChg>
        <pc:cxnChg chg="mod">
          <ac:chgData name="Mioduszewska, Joanna" userId="81ce7990-eaad-4e2f-8cfd-9d7aecd250dd" providerId="ADAL" clId="{58DBB000-3DB8-4E22-BC30-07C62D71C3DD}" dt="2024-02-13T13:33:51.198" v="972"/>
          <ac:cxnSpMkLst>
            <pc:docMk/>
            <pc:sldMk cId="1552949077" sldId="2147482940"/>
            <ac:cxnSpMk id="1182" creationId="{A982E5EE-A6AF-AA3B-06BE-1674376AAEBD}"/>
          </ac:cxnSpMkLst>
        </pc:cxnChg>
        <pc:cxnChg chg="mod">
          <ac:chgData name="Mioduszewska, Joanna" userId="81ce7990-eaad-4e2f-8cfd-9d7aecd250dd" providerId="ADAL" clId="{58DBB000-3DB8-4E22-BC30-07C62D71C3DD}" dt="2024-02-13T13:33:51.198" v="972"/>
          <ac:cxnSpMkLst>
            <pc:docMk/>
            <pc:sldMk cId="1552949077" sldId="2147482940"/>
            <ac:cxnSpMk id="1185" creationId="{5F74B90D-37AC-844E-31AE-BE00101AD89C}"/>
          </ac:cxnSpMkLst>
        </pc:cxnChg>
        <pc:cxnChg chg="mod">
          <ac:chgData name="Mioduszewska, Joanna" userId="81ce7990-eaad-4e2f-8cfd-9d7aecd250dd" providerId="ADAL" clId="{58DBB000-3DB8-4E22-BC30-07C62D71C3DD}" dt="2024-02-13T13:33:51.198" v="972"/>
          <ac:cxnSpMkLst>
            <pc:docMk/>
            <pc:sldMk cId="1552949077" sldId="2147482940"/>
            <ac:cxnSpMk id="1186" creationId="{C9FE3515-FCEA-FBB2-ADF8-B5C2E51D7004}"/>
          </ac:cxnSpMkLst>
        </pc:cxnChg>
        <pc:cxnChg chg="mod">
          <ac:chgData name="Mioduszewska, Joanna" userId="81ce7990-eaad-4e2f-8cfd-9d7aecd250dd" providerId="ADAL" clId="{58DBB000-3DB8-4E22-BC30-07C62D71C3DD}" dt="2024-02-13T13:33:51.198" v="972"/>
          <ac:cxnSpMkLst>
            <pc:docMk/>
            <pc:sldMk cId="1552949077" sldId="2147482940"/>
            <ac:cxnSpMk id="1194" creationId="{0C15104A-0147-74F4-F606-AF69E274E756}"/>
          </ac:cxnSpMkLst>
        </pc:cxnChg>
        <pc:cxnChg chg="mod">
          <ac:chgData name="Mioduszewska, Joanna" userId="81ce7990-eaad-4e2f-8cfd-9d7aecd250dd" providerId="ADAL" clId="{58DBB000-3DB8-4E22-BC30-07C62D71C3DD}" dt="2024-02-13T13:33:51.198" v="972"/>
          <ac:cxnSpMkLst>
            <pc:docMk/>
            <pc:sldMk cId="1552949077" sldId="2147482940"/>
            <ac:cxnSpMk id="1196" creationId="{1A1B4D2F-6413-6D55-99B8-8ABCD04D67EC}"/>
          </ac:cxnSpMkLst>
        </pc:cxnChg>
        <pc:cxnChg chg="mod">
          <ac:chgData name="Mioduszewska, Joanna" userId="81ce7990-eaad-4e2f-8cfd-9d7aecd250dd" providerId="ADAL" clId="{58DBB000-3DB8-4E22-BC30-07C62D71C3DD}" dt="2024-02-13T13:33:51.198" v="972"/>
          <ac:cxnSpMkLst>
            <pc:docMk/>
            <pc:sldMk cId="1552949077" sldId="2147482940"/>
            <ac:cxnSpMk id="1197" creationId="{79869236-E95F-D750-9543-4AF0EC5B8A8E}"/>
          </ac:cxnSpMkLst>
        </pc:cxnChg>
        <pc:cxnChg chg="mod">
          <ac:chgData name="Mioduszewska, Joanna" userId="81ce7990-eaad-4e2f-8cfd-9d7aecd250dd" providerId="ADAL" clId="{58DBB000-3DB8-4E22-BC30-07C62D71C3DD}" dt="2024-02-13T13:33:51.198" v="972"/>
          <ac:cxnSpMkLst>
            <pc:docMk/>
            <pc:sldMk cId="1552949077" sldId="2147482940"/>
            <ac:cxnSpMk id="1198" creationId="{F8A01ED0-5190-0582-A210-23B0D297A30C}"/>
          </ac:cxnSpMkLst>
        </pc:cxnChg>
        <pc:cxnChg chg="mod">
          <ac:chgData name="Mioduszewska, Joanna" userId="81ce7990-eaad-4e2f-8cfd-9d7aecd250dd" providerId="ADAL" clId="{58DBB000-3DB8-4E22-BC30-07C62D71C3DD}" dt="2024-02-13T13:33:51.198" v="972"/>
          <ac:cxnSpMkLst>
            <pc:docMk/>
            <pc:sldMk cId="1552949077" sldId="2147482940"/>
            <ac:cxnSpMk id="1247" creationId="{25BDB6C5-2038-A7E4-000F-4FD2646E85D8}"/>
          </ac:cxnSpMkLst>
        </pc:cxnChg>
        <pc:cxnChg chg="mod">
          <ac:chgData name="Mioduszewska, Joanna" userId="81ce7990-eaad-4e2f-8cfd-9d7aecd250dd" providerId="ADAL" clId="{58DBB000-3DB8-4E22-BC30-07C62D71C3DD}" dt="2024-02-13T13:33:51.198" v="972"/>
          <ac:cxnSpMkLst>
            <pc:docMk/>
            <pc:sldMk cId="1552949077" sldId="2147482940"/>
            <ac:cxnSpMk id="1248" creationId="{CA6CE53A-1560-E296-F7D6-25D5D9EF7788}"/>
          </ac:cxnSpMkLst>
        </pc:cxnChg>
        <pc:cxnChg chg="mod">
          <ac:chgData name="Mioduszewska, Joanna" userId="81ce7990-eaad-4e2f-8cfd-9d7aecd250dd" providerId="ADAL" clId="{58DBB000-3DB8-4E22-BC30-07C62D71C3DD}" dt="2024-02-13T13:33:51.198" v="972"/>
          <ac:cxnSpMkLst>
            <pc:docMk/>
            <pc:sldMk cId="1552949077" sldId="2147482940"/>
            <ac:cxnSpMk id="1251" creationId="{F8C5DED7-F3ED-6AB6-2DFE-309F02885490}"/>
          </ac:cxnSpMkLst>
        </pc:cxnChg>
        <pc:cxnChg chg="mod">
          <ac:chgData name="Mioduszewska, Joanna" userId="81ce7990-eaad-4e2f-8cfd-9d7aecd250dd" providerId="ADAL" clId="{58DBB000-3DB8-4E22-BC30-07C62D71C3DD}" dt="2024-02-13T13:33:51.198" v="972"/>
          <ac:cxnSpMkLst>
            <pc:docMk/>
            <pc:sldMk cId="1552949077" sldId="2147482940"/>
            <ac:cxnSpMk id="1252" creationId="{57C7AE2C-8E08-5C7C-FD7F-6496A7C4C96F}"/>
          </ac:cxnSpMkLst>
        </pc:cxnChg>
        <pc:cxnChg chg="mod">
          <ac:chgData name="Mioduszewska, Joanna" userId="81ce7990-eaad-4e2f-8cfd-9d7aecd250dd" providerId="ADAL" clId="{58DBB000-3DB8-4E22-BC30-07C62D71C3DD}" dt="2024-02-13T13:33:51.198" v="972"/>
          <ac:cxnSpMkLst>
            <pc:docMk/>
            <pc:sldMk cId="1552949077" sldId="2147482940"/>
            <ac:cxnSpMk id="1253" creationId="{62E729BD-2115-B6EA-87DF-6A53D80F5D54}"/>
          </ac:cxnSpMkLst>
        </pc:cxnChg>
        <pc:cxnChg chg="mod">
          <ac:chgData name="Mioduszewska, Joanna" userId="81ce7990-eaad-4e2f-8cfd-9d7aecd250dd" providerId="ADAL" clId="{58DBB000-3DB8-4E22-BC30-07C62D71C3DD}" dt="2024-02-13T13:33:51.198" v="972"/>
          <ac:cxnSpMkLst>
            <pc:docMk/>
            <pc:sldMk cId="1552949077" sldId="2147482940"/>
            <ac:cxnSpMk id="1254" creationId="{164CE8D3-F86D-CC21-2534-10A4293999D9}"/>
          </ac:cxnSpMkLst>
        </pc:cxnChg>
        <pc:cxnChg chg="mod">
          <ac:chgData name="Mioduszewska, Joanna" userId="81ce7990-eaad-4e2f-8cfd-9d7aecd250dd" providerId="ADAL" clId="{58DBB000-3DB8-4E22-BC30-07C62D71C3DD}" dt="2024-02-13T13:39:31.370" v="1021" actId="478"/>
          <ac:cxnSpMkLst>
            <pc:docMk/>
            <pc:sldMk cId="1552949077" sldId="2147482940"/>
            <ac:cxnSpMk id="1352" creationId="{1FFBDB62-5DEB-A33A-3422-D9BA99A81B5B}"/>
          </ac:cxnSpMkLst>
        </pc:cxnChg>
        <pc:cxnChg chg="mod">
          <ac:chgData name="Mioduszewska, Joanna" userId="81ce7990-eaad-4e2f-8cfd-9d7aecd250dd" providerId="ADAL" clId="{58DBB000-3DB8-4E22-BC30-07C62D71C3DD}" dt="2024-02-13T13:39:31.370" v="1021" actId="478"/>
          <ac:cxnSpMkLst>
            <pc:docMk/>
            <pc:sldMk cId="1552949077" sldId="2147482940"/>
            <ac:cxnSpMk id="1353" creationId="{0E74FCB3-83D7-755F-14A3-0190C3C7092A}"/>
          </ac:cxnSpMkLst>
        </pc:cxnChg>
        <pc:cxnChg chg="mod">
          <ac:chgData name="Mioduszewska, Joanna" userId="81ce7990-eaad-4e2f-8cfd-9d7aecd250dd" providerId="ADAL" clId="{58DBB000-3DB8-4E22-BC30-07C62D71C3DD}" dt="2024-02-13T13:39:31.370" v="1021" actId="478"/>
          <ac:cxnSpMkLst>
            <pc:docMk/>
            <pc:sldMk cId="1552949077" sldId="2147482940"/>
            <ac:cxnSpMk id="1354" creationId="{D1D52EBA-4D1C-1148-F702-B94F0CDA4FC9}"/>
          </ac:cxnSpMkLst>
        </pc:cxnChg>
        <pc:cxnChg chg="mod">
          <ac:chgData name="Mioduszewska, Joanna" userId="81ce7990-eaad-4e2f-8cfd-9d7aecd250dd" providerId="ADAL" clId="{58DBB000-3DB8-4E22-BC30-07C62D71C3DD}" dt="2024-02-13T13:39:31.370" v="1021" actId="478"/>
          <ac:cxnSpMkLst>
            <pc:docMk/>
            <pc:sldMk cId="1552949077" sldId="2147482940"/>
            <ac:cxnSpMk id="1364" creationId="{9054A271-76FA-580A-28EA-B393AB370AE4}"/>
          </ac:cxnSpMkLst>
        </pc:cxnChg>
        <pc:cxnChg chg="mod">
          <ac:chgData name="Mioduszewska, Joanna" userId="81ce7990-eaad-4e2f-8cfd-9d7aecd250dd" providerId="ADAL" clId="{58DBB000-3DB8-4E22-BC30-07C62D71C3DD}" dt="2024-02-13T13:38:07.192" v="1004"/>
          <ac:cxnSpMkLst>
            <pc:docMk/>
            <pc:sldMk cId="1552949077" sldId="2147482940"/>
            <ac:cxnSpMk id="1365" creationId="{232B693B-38B3-8140-7433-6230F4568C46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ioduszewska, Joanna" userId="81ce7990-eaad-4e2f-8cfd-9d7aecd250dd" providerId="ADAL" clId="{58DBB000-3DB8-4E22-BC30-07C62D71C3DD}" dt="2024-02-13T13:17:50.788" v="866"/>
              <pc2:cmMkLst xmlns:pc2="http://schemas.microsoft.com/office/powerpoint/2019/9/main/command">
                <pc:docMk/>
                <pc:sldMk cId="1552949077" sldId="2147482940"/>
                <pc2:cmMk id="{E57D5374-6956-48B0-8467-00E26793CE40}"/>
              </pc2:cmMkLst>
            </pc226:cmChg>
          </p:ext>
        </pc:extLst>
      </pc:sldChg>
    </pc:docChg>
  </pc:docChgLst>
  <pc:docChgLst>
    <pc:chgData name="Walo, Waldemar" userId="S::waldemar.walo@accenture.com::e8298971-bfde-4c68-9aeb-c92007efa38f" providerId="AD" clId="Web-{9605990C-F610-53EB-9FCA-F81D4EBAE44E}"/>
    <pc:docChg chg="modSld sldOrd">
      <pc:chgData name="Walo, Waldemar" userId="S::waldemar.walo@accenture.com::e8298971-bfde-4c68-9aeb-c92007efa38f" providerId="AD" clId="Web-{9605990C-F610-53EB-9FCA-F81D4EBAE44E}" dt="2024-02-08T11:17:17.200" v="41"/>
      <pc:docMkLst>
        <pc:docMk/>
      </pc:docMkLst>
      <pc:sldChg chg="ord">
        <pc:chgData name="Walo, Waldemar" userId="S::waldemar.walo@accenture.com::e8298971-bfde-4c68-9aeb-c92007efa38f" providerId="AD" clId="Web-{9605990C-F610-53EB-9FCA-F81D4EBAE44E}" dt="2024-02-08T11:17:17.200" v="41"/>
        <pc:sldMkLst>
          <pc:docMk/>
          <pc:sldMk cId="1453358053" sldId="2134804482"/>
        </pc:sldMkLst>
      </pc:sldChg>
      <pc:sldChg chg="modSp">
        <pc:chgData name="Walo, Waldemar" userId="S::waldemar.walo@accenture.com::e8298971-bfde-4c68-9aeb-c92007efa38f" providerId="AD" clId="Web-{9605990C-F610-53EB-9FCA-F81D4EBAE44E}" dt="2024-02-08T11:03:19.533" v="1" actId="1076"/>
        <pc:sldMkLst>
          <pc:docMk/>
          <pc:sldMk cId="3537976678" sldId="2147482926"/>
        </pc:sldMkLst>
        <pc:spChg chg="mod">
          <ac:chgData name="Walo, Waldemar" userId="S::waldemar.walo@accenture.com::e8298971-bfde-4c68-9aeb-c92007efa38f" providerId="AD" clId="Web-{9605990C-F610-53EB-9FCA-F81D4EBAE44E}" dt="2024-02-08T11:03:19.533" v="1" actId="1076"/>
          <ac:spMkLst>
            <pc:docMk/>
            <pc:sldMk cId="3537976678" sldId="2147482926"/>
            <ac:spMk id="365" creationId="{EE782C3F-C94F-3415-05E2-30C77D58C065}"/>
          </ac:spMkLst>
        </pc:spChg>
      </pc:sldChg>
      <pc:sldChg chg="modSp">
        <pc:chgData name="Walo, Waldemar" userId="S::waldemar.walo@accenture.com::e8298971-bfde-4c68-9aeb-c92007efa38f" providerId="AD" clId="Web-{9605990C-F610-53EB-9FCA-F81D4EBAE44E}" dt="2024-02-08T11:08:31.465" v="40" actId="1076"/>
        <pc:sldMkLst>
          <pc:docMk/>
          <pc:sldMk cId="2521263186" sldId="2147482927"/>
        </pc:sldMkLst>
        <pc:spChg chg="mod">
          <ac:chgData name="Walo, Waldemar" userId="S::waldemar.walo@accenture.com::e8298971-bfde-4c68-9aeb-c92007efa38f" providerId="AD" clId="Web-{9605990C-F610-53EB-9FCA-F81D4EBAE44E}" dt="2024-02-08T11:08:31.152" v="29" actId="1076"/>
          <ac:spMkLst>
            <pc:docMk/>
            <pc:sldMk cId="2521263186" sldId="2147482927"/>
            <ac:spMk id="68" creationId="{2558906F-C64F-EF33-2CE7-EE97543099D3}"/>
          </ac:spMkLst>
        </pc:spChg>
        <pc:spChg chg="mod">
          <ac:chgData name="Walo, Waldemar" userId="S::waldemar.walo@accenture.com::e8298971-bfde-4c68-9aeb-c92007efa38f" providerId="AD" clId="Web-{9605990C-F610-53EB-9FCA-F81D4EBAE44E}" dt="2024-02-08T11:08:31.168" v="30" actId="1076"/>
          <ac:spMkLst>
            <pc:docMk/>
            <pc:sldMk cId="2521263186" sldId="2147482927"/>
            <ac:spMk id="72" creationId="{CCCFAC07-3EB2-FA6A-3A82-2958ED1F5B27}"/>
          </ac:spMkLst>
        </pc:spChg>
        <pc:spChg chg="mod">
          <ac:chgData name="Walo, Waldemar" userId="S::waldemar.walo@accenture.com::e8298971-bfde-4c68-9aeb-c92007efa38f" providerId="AD" clId="Web-{9605990C-F610-53EB-9FCA-F81D4EBAE44E}" dt="2024-02-08T11:08:31.199" v="31" actId="1076"/>
          <ac:spMkLst>
            <pc:docMk/>
            <pc:sldMk cId="2521263186" sldId="2147482927"/>
            <ac:spMk id="73" creationId="{07F84233-924F-17DC-8C7F-2B01BAB0267E}"/>
          </ac:spMkLst>
        </pc:spChg>
        <pc:spChg chg="mod">
          <ac:chgData name="Walo, Waldemar" userId="S::waldemar.walo@accenture.com::e8298971-bfde-4c68-9aeb-c92007efa38f" providerId="AD" clId="Web-{9605990C-F610-53EB-9FCA-F81D4EBAE44E}" dt="2024-02-08T11:08:31.356" v="36" actId="1076"/>
          <ac:spMkLst>
            <pc:docMk/>
            <pc:sldMk cId="2521263186" sldId="2147482927"/>
            <ac:spMk id="355" creationId="{520DE371-5AF1-F8FF-8707-45EE4454FB90}"/>
          </ac:spMkLst>
        </pc:spChg>
        <pc:spChg chg="mod">
          <ac:chgData name="Walo, Waldemar" userId="S::waldemar.walo@accenture.com::e8298971-bfde-4c68-9aeb-c92007efa38f" providerId="AD" clId="Web-{9605990C-F610-53EB-9FCA-F81D4EBAE44E}" dt="2024-02-08T11:08:31.371" v="37" actId="1076"/>
          <ac:spMkLst>
            <pc:docMk/>
            <pc:sldMk cId="2521263186" sldId="2147482927"/>
            <ac:spMk id="356" creationId="{45893D60-F6F4-C53C-3A02-E32909DD2E69}"/>
          </ac:spMkLst>
        </pc:spChg>
        <pc:spChg chg="mod">
          <ac:chgData name="Walo, Waldemar" userId="S::waldemar.walo@accenture.com::e8298971-bfde-4c68-9aeb-c92007efa38f" providerId="AD" clId="Web-{9605990C-F610-53EB-9FCA-F81D4EBAE44E}" dt="2024-02-08T11:08:31.387" v="38" actId="1076"/>
          <ac:spMkLst>
            <pc:docMk/>
            <pc:sldMk cId="2521263186" sldId="2147482927"/>
            <ac:spMk id="357" creationId="{E15DB0F8-FBE2-D8CC-A4FB-F6A6E1AAAE0A}"/>
          </ac:spMkLst>
        </pc:spChg>
        <pc:spChg chg="mod">
          <ac:chgData name="Walo, Waldemar" userId="S::waldemar.walo@accenture.com::e8298971-bfde-4c68-9aeb-c92007efa38f" providerId="AD" clId="Web-{9605990C-F610-53EB-9FCA-F81D4EBAE44E}" dt="2024-02-08T11:08:31.402" v="39" actId="1076"/>
          <ac:spMkLst>
            <pc:docMk/>
            <pc:sldMk cId="2521263186" sldId="2147482927"/>
            <ac:spMk id="358" creationId="{DDA5DDE7-3083-CDF4-FE22-D3B32B014AAD}"/>
          </ac:spMkLst>
        </pc:spChg>
        <pc:spChg chg="mod">
          <ac:chgData name="Walo, Waldemar" userId="S::waldemar.walo@accenture.com::e8298971-bfde-4c68-9aeb-c92007efa38f" providerId="AD" clId="Web-{9605990C-F610-53EB-9FCA-F81D4EBAE44E}" dt="2024-02-08T11:08:31.137" v="28" actId="1076"/>
          <ac:spMkLst>
            <pc:docMk/>
            <pc:sldMk cId="2521263186" sldId="2147482927"/>
            <ac:spMk id="365" creationId="{EE782C3F-C94F-3415-05E2-30C77D58C065}"/>
          </ac:spMkLst>
        </pc:spChg>
        <pc:grpChg chg="mod">
          <ac:chgData name="Walo, Waldemar" userId="S::waldemar.walo@accenture.com::e8298971-bfde-4c68-9aeb-c92007efa38f" providerId="AD" clId="Web-{9605990C-F610-53EB-9FCA-F81D4EBAE44E}" dt="2024-02-08T11:08:31.465" v="40" actId="1076"/>
          <ac:grpSpMkLst>
            <pc:docMk/>
            <pc:sldMk cId="2521263186" sldId="2147482927"/>
            <ac:grpSpMk id="47" creationId="{00B02FCB-7E30-92CF-CD77-808E9C6C0E12}"/>
          </ac:grpSpMkLst>
        </pc:grpChg>
        <pc:grpChg chg="mod">
          <ac:chgData name="Walo, Waldemar" userId="S::waldemar.walo@accenture.com::e8298971-bfde-4c68-9aeb-c92007efa38f" providerId="AD" clId="Web-{9605990C-F610-53EB-9FCA-F81D4EBAE44E}" dt="2024-02-08T11:08:31.215" v="32" actId="1076"/>
          <ac:grpSpMkLst>
            <pc:docMk/>
            <pc:sldMk cId="2521263186" sldId="2147482927"/>
            <ac:grpSpMk id="285" creationId="{C592E709-2024-BDF5-944E-3A75936A21EB}"/>
          </ac:grpSpMkLst>
        </pc:grpChg>
        <pc:grpChg chg="mod">
          <ac:chgData name="Walo, Waldemar" userId="S::waldemar.walo@accenture.com::e8298971-bfde-4c68-9aeb-c92007efa38f" providerId="AD" clId="Web-{9605990C-F610-53EB-9FCA-F81D4EBAE44E}" dt="2024-02-08T11:08:31.340" v="35" actId="1076"/>
          <ac:grpSpMkLst>
            <pc:docMk/>
            <pc:sldMk cId="2521263186" sldId="2147482927"/>
            <ac:grpSpMk id="322" creationId="{04B734C9-8C10-BD6D-1466-D4E1DCCD4817}"/>
          </ac:grpSpMkLst>
        </pc:grpChg>
        <pc:picChg chg="mod">
          <ac:chgData name="Walo, Waldemar" userId="S::waldemar.walo@accenture.com::e8298971-bfde-4c68-9aeb-c92007efa38f" providerId="AD" clId="Web-{9605990C-F610-53EB-9FCA-F81D4EBAE44E}" dt="2024-02-08T11:08:31.231" v="33" actId="1076"/>
          <ac:picMkLst>
            <pc:docMk/>
            <pc:sldMk cId="2521263186" sldId="2147482927"/>
            <ac:picMk id="290" creationId="{A92FE2FC-13DD-475A-F953-02B5245EEFFB}"/>
          </ac:picMkLst>
        </pc:picChg>
        <pc:picChg chg="mod">
          <ac:chgData name="Walo, Waldemar" userId="S::waldemar.walo@accenture.com::e8298971-bfde-4c68-9aeb-c92007efa38f" providerId="AD" clId="Web-{9605990C-F610-53EB-9FCA-F81D4EBAE44E}" dt="2024-02-08T11:08:31.246" v="34" actId="1076"/>
          <ac:picMkLst>
            <pc:docMk/>
            <pc:sldMk cId="2521263186" sldId="2147482927"/>
            <ac:picMk id="292" creationId="{071ED58D-8075-DC35-A51C-0A966E4EEB3E}"/>
          </ac:picMkLst>
        </pc:picChg>
      </pc:sldChg>
    </pc:docChg>
  </pc:docChgLst>
  <pc:docChgLst>
    <pc:chgData name="Jach, Agnieszka" userId="366b1e26-79c5-4729-9a9f-9e1f21bd2899" providerId="ADAL" clId="{0ACDEE21-7E7A-4193-B1BD-D60DB9C00496}"/>
    <pc:docChg chg="undo custSel modSld">
      <pc:chgData name="Jach, Agnieszka" userId="366b1e26-79c5-4729-9a9f-9e1f21bd2899" providerId="ADAL" clId="{0ACDEE21-7E7A-4193-B1BD-D60DB9C00496}" dt="2024-01-31T17:51:57.978" v="973" actId="20577"/>
      <pc:docMkLst>
        <pc:docMk/>
      </pc:docMkLst>
      <pc:sldChg chg="addSp modSp">
        <pc:chgData name="Jach, Agnieszka" userId="366b1e26-79c5-4729-9a9f-9e1f21bd2899" providerId="ADAL" clId="{0ACDEE21-7E7A-4193-B1BD-D60DB9C00496}" dt="2024-01-31T17:39:06.087" v="645" actId="1076"/>
        <pc:sldMkLst>
          <pc:docMk/>
          <pc:sldMk cId="65895056" sldId="2147138070"/>
        </pc:sldMkLst>
        <pc:picChg chg="add mod">
          <ac:chgData name="Jach, Agnieszka" userId="366b1e26-79c5-4729-9a9f-9e1f21bd2899" providerId="ADAL" clId="{0ACDEE21-7E7A-4193-B1BD-D60DB9C00496}" dt="2024-01-31T17:39:06.087" v="645" actId="1076"/>
          <ac:picMkLst>
            <pc:docMk/>
            <pc:sldMk cId="65895056" sldId="2147138070"/>
            <ac:picMk id="1026" creationId="{EAE8F506-B6B5-CDBD-1CB6-3DAEE3560826}"/>
          </ac:picMkLst>
        </pc:picChg>
      </pc:sldChg>
      <pc:sldChg chg="addSp modSp mod">
        <pc:chgData name="Jach, Agnieszka" userId="366b1e26-79c5-4729-9a9f-9e1f21bd2899" providerId="ADAL" clId="{0ACDEE21-7E7A-4193-B1BD-D60DB9C00496}" dt="2024-01-31T17:51:57.978" v="973" actId="20577"/>
        <pc:sldMkLst>
          <pc:docMk/>
          <pc:sldMk cId="2817505528" sldId="2147482932"/>
        </pc:sldMkLst>
        <pc:spChg chg="add mod">
          <ac:chgData name="Jach, Agnieszka" userId="366b1e26-79c5-4729-9a9f-9e1f21bd2899" providerId="ADAL" clId="{0ACDEE21-7E7A-4193-B1BD-D60DB9C00496}" dt="2024-01-31T17:51:57.978" v="973" actId="20577"/>
          <ac:spMkLst>
            <pc:docMk/>
            <pc:sldMk cId="2817505528" sldId="2147482932"/>
            <ac:spMk id="2" creationId="{F1B76CB5-0A49-A99F-059F-D0F325905256}"/>
          </ac:spMkLst>
        </pc:spChg>
      </pc:sldChg>
      <pc:sldChg chg="addSp delSp modSp mod modNotesTx">
        <pc:chgData name="Jach, Agnieszka" userId="366b1e26-79c5-4729-9a9f-9e1f21bd2899" providerId="ADAL" clId="{0ACDEE21-7E7A-4193-B1BD-D60DB9C00496}" dt="2024-01-31T17:51:00.918" v="944" actId="207"/>
        <pc:sldMkLst>
          <pc:docMk/>
          <pc:sldMk cId="1350600069" sldId="2147482933"/>
        </pc:sldMkLst>
        <pc:spChg chg="add mod">
          <ac:chgData name="Jach, Agnieszka" userId="366b1e26-79c5-4729-9a9f-9e1f21bd2899" providerId="ADAL" clId="{0ACDEE21-7E7A-4193-B1BD-D60DB9C00496}" dt="2024-01-31T17:46:09.037" v="790" actId="21"/>
          <ac:spMkLst>
            <pc:docMk/>
            <pc:sldMk cId="1350600069" sldId="2147482933"/>
            <ac:spMk id="2" creationId="{99616B6C-E4E0-BE14-7F22-E2625BBEC818}"/>
          </ac:spMkLst>
        </pc:spChg>
        <pc:spChg chg="add mod">
          <ac:chgData name="Jach, Agnieszka" userId="366b1e26-79c5-4729-9a9f-9e1f21bd2899" providerId="ADAL" clId="{0ACDEE21-7E7A-4193-B1BD-D60DB9C00496}" dt="2024-01-31T17:50:49.798" v="943" actId="14100"/>
          <ac:spMkLst>
            <pc:docMk/>
            <pc:sldMk cId="1350600069" sldId="2147482933"/>
            <ac:spMk id="3" creationId="{68119D76-7A2B-41A4-8A8C-87E5A20238E2}"/>
          </ac:spMkLst>
        </pc:spChg>
        <pc:spChg chg="add del mod">
          <ac:chgData name="Jach, Agnieszka" userId="366b1e26-79c5-4729-9a9f-9e1f21bd2899" providerId="ADAL" clId="{0ACDEE21-7E7A-4193-B1BD-D60DB9C00496}" dt="2024-01-31T17:45:35.971" v="768" actId="478"/>
          <ac:spMkLst>
            <pc:docMk/>
            <pc:sldMk cId="1350600069" sldId="2147482933"/>
            <ac:spMk id="6" creationId="{28D374C8-E827-16C2-CB23-50354FCD4578}"/>
          </ac:spMkLst>
        </pc:spChg>
        <pc:spChg chg="add mod">
          <ac:chgData name="Jach, Agnieszka" userId="366b1e26-79c5-4729-9a9f-9e1f21bd2899" providerId="ADAL" clId="{0ACDEE21-7E7A-4193-B1BD-D60DB9C00496}" dt="2024-01-31T17:50:49.798" v="943" actId="14100"/>
          <ac:spMkLst>
            <pc:docMk/>
            <pc:sldMk cId="1350600069" sldId="2147482933"/>
            <ac:spMk id="7" creationId="{A4A9A8B3-9ED4-3266-0F0C-D228EBA3817C}"/>
          </ac:spMkLst>
        </pc:spChg>
        <pc:spChg chg="add mod">
          <ac:chgData name="Jach, Agnieszka" userId="366b1e26-79c5-4729-9a9f-9e1f21bd2899" providerId="ADAL" clId="{0ACDEE21-7E7A-4193-B1BD-D60DB9C00496}" dt="2024-01-31T17:50:49.798" v="943" actId="14100"/>
          <ac:spMkLst>
            <pc:docMk/>
            <pc:sldMk cId="1350600069" sldId="2147482933"/>
            <ac:spMk id="8" creationId="{41B837C5-044D-E415-AF68-87ABEF286893}"/>
          </ac:spMkLst>
        </pc:spChg>
        <pc:spChg chg="add mod">
          <ac:chgData name="Jach, Agnieszka" userId="366b1e26-79c5-4729-9a9f-9e1f21bd2899" providerId="ADAL" clId="{0ACDEE21-7E7A-4193-B1BD-D60DB9C00496}" dt="2024-01-31T17:50:49.798" v="943" actId="14100"/>
          <ac:spMkLst>
            <pc:docMk/>
            <pc:sldMk cId="1350600069" sldId="2147482933"/>
            <ac:spMk id="9" creationId="{BB3FF6DF-D7BA-CCEA-5033-24C0A6735C2B}"/>
          </ac:spMkLst>
        </pc:spChg>
        <pc:spChg chg="add del mod">
          <ac:chgData name="Jach, Agnieszka" userId="366b1e26-79c5-4729-9a9f-9e1f21bd2899" providerId="ADAL" clId="{0ACDEE21-7E7A-4193-B1BD-D60DB9C00496}" dt="2024-01-31T17:46:19.582" v="793" actId="478"/>
          <ac:spMkLst>
            <pc:docMk/>
            <pc:sldMk cId="1350600069" sldId="2147482933"/>
            <ac:spMk id="62" creationId="{50A77A45-EC64-9BCB-1017-B27D9D6EB553}"/>
          </ac:spMkLst>
        </pc:spChg>
        <pc:spChg chg="mod">
          <ac:chgData name="Jach, Agnieszka" userId="366b1e26-79c5-4729-9a9f-9e1f21bd2899" providerId="ADAL" clId="{0ACDEE21-7E7A-4193-B1BD-D60DB9C00496}" dt="2024-01-31T17:51:00.918" v="944" actId="207"/>
          <ac:spMkLst>
            <pc:docMk/>
            <pc:sldMk cId="1350600069" sldId="2147482933"/>
            <ac:spMk id="223" creationId="{67B414D4-390F-192B-3D6A-7D2A064E6D50}"/>
          </ac:spMkLst>
        </pc:spChg>
        <pc:cxnChg chg="add del">
          <ac:chgData name="Jach, Agnieszka" userId="366b1e26-79c5-4729-9a9f-9e1f21bd2899" providerId="ADAL" clId="{0ACDEE21-7E7A-4193-B1BD-D60DB9C00496}" dt="2024-01-31T17:46:16.506" v="792" actId="478"/>
          <ac:cxnSpMkLst>
            <pc:docMk/>
            <pc:sldMk cId="1350600069" sldId="2147482933"/>
            <ac:cxnSpMk id="63" creationId="{0C545D33-DF7D-8FCC-9F2E-3850AD6CBACA}"/>
          </ac:cxnSpMkLst>
        </pc:cxnChg>
      </pc:sldChg>
    </pc:docChg>
  </pc:docChgLst>
  <pc:docChgLst>
    <pc:chgData name="Biolik, Joanna" userId="7237554e-7084-45da-b3a3-93bd49020d95" providerId="ADAL" clId="{C5D3BA67-B722-4BDA-BBDC-2FA390BCC675}"/>
    <pc:docChg chg="modSld">
      <pc:chgData name="Biolik, Joanna" userId="7237554e-7084-45da-b3a3-93bd49020d95" providerId="ADAL" clId="{C5D3BA67-B722-4BDA-BBDC-2FA390BCC675}" dt="2024-03-06T10:46:23.096" v="1" actId="1076"/>
      <pc:docMkLst>
        <pc:docMk/>
      </pc:docMkLst>
      <pc:sldChg chg="modSp mod">
        <pc:chgData name="Biolik, Joanna" userId="7237554e-7084-45da-b3a3-93bd49020d95" providerId="ADAL" clId="{C5D3BA67-B722-4BDA-BBDC-2FA390BCC675}" dt="2024-03-06T10:46:23.096" v="1" actId="1076"/>
        <pc:sldMkLst>
          <pc:docMk/>
          <pc:sldMk cId="1453358053" sldId="2134804482"/>
        </pc:sldMkLst>
        <pc:spChg chg="mod">
          <ac:chgData name="Biolik, Joanna" userId="7237554e-7084-45da-b3a3-93bd49020d95" providerId="ADAL" clId="{C5D3BA67-B722-4BDA-BBDC-2FA390BCC675}" dt="2024-03-06T10:46:23.096" v="1" actId="1076"/>
          <ac:spMkLst>
            <pc:docMk/>
            <pc:sldMk cId="1453358053" sldId="2134804482"/>
            <ac:spMk id="4" creationId="{5822273A-7788-3EB4-7095-6C344839B3FA}"/>
          </ac:spMkLst>
        </pc:spChg>
      </pc:sldChg>
    </pc:docChg>
  </pc:docChgLst>
  <pc:docChgLst>
    <pc:chgData name="Jasek, Mariusz" userId="S::mariusz.jasek@accenture.com::c6e5a964-643c-47e9-a565-c46783867bc0" providerId="AD" clId="Web-{5126F034-DED5-FFC6-C61B-309D81F0E92D}"/>
    <pc:docChg chg="modSld">
      <pc:chgData name="Jasek, Mariusz" userId="S::mariusz.jasek@accenture.com::c6e5a964-643c-47e9-a565-c46783867bc0" providerId="AD" clId="Web-{5126F034-DED5-FFC6-C61B-309D81F0E92D}" dt="2024-02-16T16:28:31.254" v="6" actId="20577"/>
      <pc:docMkLst>
        <pc:docMk/>
      </pc:docMkLst>
      <pc:sldChg chg="modSp">
        <pc:chgData name="Jasek, Mariusz" userId="S::mariusz.jasek@accenture.com::c6e5a964-643c-47e9-a565-c46783867bc0" providerId="AD" clId="Web-{5126F034-DED5-FFC6-C61B-309D81F0E92D}" dt="2024-02-16T16:28:31.254" v="6" actId="20577"/>
        <pc:sldMkLst>
          <pc:docMk/>
          <pc:sldMk cId="2183524872" sldId="2147482937"/>
        </pc:sldMkLst>
        <pc:spChg chg="mod">
          <ac:chgData name="Jasek, Mariusz" userId="S::mariusz.jasek@accenture.com::c6e5a964-643c-47e9-a565-c46783867bc0" providerId="AD" clId="Web-{5126F034-DED5-FFC6-C61B-309D81F0E92D}" dt="2024-02-16T16:28:31.254" v="6" actId="20577"/>
          <ac:spMkLst>
            <pc:docMk/>
            <pc:sldMk cId="2183524872" sldId="2147482937"/>
            <ac:spMk id="23" creationId="{B7696B20-C7BC-AA6E-019B-EED1089A2278}"/>
          </ac:spMkLst>
        </pc:spChg>
      </pc:sldChg>
    </pc:docChg>
  </pc:docChgLst>
  <pc:docChgLst>
    <pc:chgData name="Jach, Agnieszka" userId="S::agnieszka.jach@accenture.com::366b1e26-79c5-4729-9a9f-9e1f21bd2899" providerId="AD" clId="Web-{6B257736-6146-507C-F824-44AD2FA35D46}"/>
    <pc:docChg chg="addSld modSld modSection">
      <pc:chgData name="Jach, Agnieszka" userId="S::agnieszka.jach@accenture.com::366b1e26-79c5-4729-9a9f-9e1f21bd2899" providerId="AD" clId="Web-{6B257736-6146-507C-F824-44AD2FA35D46}" dt="2024-01-31T17:20:38.811" v="24" actId="20577"/>
      <pc:docMkLst>
        <pc:docMk/>
      </pc:docMkLst>
      <pc:sldChg chg="addSp modSp">
        <pc:chgData name="Jach, Agnieszka" userId="S::agnieszka.jach@accenture.com::366b1e26-79c5-4729-9a9f-9e1f21bd2899" providerId="AD" clId="Web-{6B257736-6146-507C-F824-44AD2FA35D46}" dt="2024-01-31T17:20:11.404" v="5" actId="1076"/>
        <pc:sldMkLst>
          <pc:docMk/>
          <pc:sldMk cId="65895056" sldId="2147138070"/>
        </pc:sldMkLst>
        <pc:picChg chg="add mod">
          <ac:chgData name="Jach, Agnieszka" userId="S::agnieszka.jach@accenture.com::366b1e26-79c5-4729-9a9f-9e1f21bd2899" providerId="AD" clId="Web-{6B257736-6146-507C-F824-44AD2FA35D46}" dt="2024-01-31T17:20:00.075" v="4" actId="1076"/>
          <ac:picMkLst>
            <pc:docMk/>
            <pc:sldMk cId="65895056" sldId="2147138070"/>
            <ac:picMk id="2" creationId="{6E7CAE8C-E8B6-5A62-2605-33F6F3007A06}"/>
          </ac:picMkLst>
        </pc:picChg>
        <pc:picChg chg="mod">
          <ac:chgData name="Jach, Agnieszka" userId="S::agnieszka.jach@accenture.com::366b1e26-79c5-4729-9a9f-9e1f21bd2899" providerId="AD" clId="Web-{6B257736-6146-507C-F824-44AD2FA35D46}" dt="2024-01-31T17:20:11.404" v="5" actId="1076"/>
          <ac:picMkLst>
            <pc:docMk/>
            <pc:sldMk cId="65895056" sldId="2147138070"/>
            <ac:picMk id="19" creationId="{248FA84C-08AC-0480-082A-D6DB49B78DAC}"/>
          </ac:picMkLst>
        </pc:picChg>
        <pc:picChg chg="mod">
          <ac:chgData name="Jach, Agnieszka" userId="S::agnieszka.jach@accenture.com::366b1e26-79c5-4729-9a9f-9e1f21bd2899" providerId="AD" clId="Web-{6B257736-6146-507C-F824-44AD2FA35D46}" dt="2024-01-31T17:19:47.231" v="2" actId="1076"/>
          <ac:picMkLst>
            <pc:docMk/>
            <pc:sldMk cId="65895056" sldId="2147138070"/>
            <ac:picMk id="21" creationId="{6871E088-F57D-3B65-B31C-D893DC179C2B}"/>
          </ac:picMkLst>
        </pc:picChg>
      </pc:sldChg>
      <pc:sldChg chg="modSp add replId">
        <pc:chgData name="Jach, Agnieszka" userId="S::agnieszka.jach@accenture.com::366b1e26-79c5-4729-9a9f-9e1f21bd2899" providerId="AD" clId="Web-{6B257736-6146-507C-F824-44AD2FA35D46}" dt="2024-01-31T17:20:38.811" v="24" actId="20577"/>
        <pc:sldMkLst>
          <pc:docMk/>
          <pc:sldMk cId="1350600069" sldId="2147482933"/>
        </pc:sldMkLst>
        <pc:spChg chg="mod">
          <ac:chgData name="Jach, Agnieszka" userId="S::agnieszka.jach@accenture.com::366b1e26-79c5-4729-9a9f-9e1f21bd2899" providerId="AD" clId="Web-{6B257736-6146-507C-F824-44AD2FA35D46}" dt="2024-01-31T17:20:38.811" v="24" actId="20577"/>
          <ac:spMkLst>
            <pc:docMk/>
            <pc:sldMk cId="1350600069" sldId="2147482933"/>
            <ac:spMk id="223" creationId="{67B414D4-390F-192B-3D6A-7D2A064E6D50}"/>
          </ac:spMkLst>
        </pc:spChg>
      </pc:sldChg>
    </pc:docChg>
  </pc:docChgLst>
  <pc:docChgLst>
    <pc:chgData name="Jasek, Mariusz" userId="c6e5a964-643c-47e9-a565-c46783867bc0" providerId="ADAL" clId="{D71CD504-3088-4283-AAC2-C09191576A91}"/>
    <pc:docChg chg="undo custSel modSld">
      <pc:chgData name="Jasek, Mariusz" userId="c6e5a964-643c-47e9-a565-c46783867bc0" providerId="ADAL" clId="{D71CD504-3088-4283-AAC2-C09191576A91}" dt="2024-02-16T16:40:29.697" v="75" actId="20577"/>
      <pc:docMkLst>
        <pc:docMk/>
      </pc:docMkLst>
      <pc:sldChg chg="addSp delSp modSp mod">
        <pc:chgData name="Jasek, Mariusz" userId="c6e5a964-643c-47e9-a565-c46783867bc0" providerId="ADAL" clId="{D71CD504-3088-4283-AAC2-C09191576A91}" dt="2024-02-16T16:40:29.697" v="75" actId="20577"/>
        <pc:sldMkLst>
          <pc:docMk/>
          <pc:sldMk cId="2936093006" sldId="2147482925"/>
        </pc:sldMkLst>
        <pc:spChg chg="add del mod">
          <ac:chgData name="Jasek, Mariusz" userId="c6e5a964-643c-47e9-a565-c46783867bc0" providerId="ADAL" clId="{D71CD504-3088-4283-AAC2-C09191576A91}" dt="2024-02-16T16:36:00.283" v="2" actId="478"/>
          <ac:spMkLst>
            <pc:docMk/>
            <pc:sldMk cId="2936093006" sldId="2147482925"/>
            <ac:spMk id="3" creationId="{F1C2BCF4-A35D-FFEF-9F54-AEDF8E098177}"/>
          </ac:spMkLst>
        </pc:spChg>
        <pc:spChg chg="add mod">
          <ac:chgData name="Jasek, Mariusz" userId="c6e5a964-643c-47e9-a565-c46783867bc0" providerId="ADAL" clId="{D71CD504-3088-4283-AAC2-C09191576A91}" dt="2024-02-16T16:38:50.718" v="31" actId="1076"/>
          <ac:spMkLst>
            <pc:docMk/>
            <pc:sldMk cId="2936093006" sldId="2147482925"/>
            <ac:spMk id="6" creationId="{FB7EB223-BBA9-5A8B-2440-5F4A1ACB8407}"/>
          </ac:spMkLst>
        </pc:spChg>
        <pc:spChg chg="add mod">
          <ac:chgData name="Jasek, Mariusz" userId="c6e5a964-643c-47e9-a565-c46783867bc0" providerId="ADAL" clId="{D71CD504-3088-4283-AAC2-C09191576A91}" dt="2024-02-16T16:38:24.505" v="26" actId="14100"/>
          <ac:spMkLst>
            <pc:docMk/>
            <pc:sldMk cId="2936093006" sldId="2147482925"/>
            <ac:spMk id="7" creationId="{DA8290FA-8141-7713-515C-35623ACA9428}"/>
          </ac:spMkLst>
        </pc:spChg>
        <pc:spChg chg="add mod">
          <ac:chgData name="Jasek, Mariusz" userId="c6e5a964-643c-47e9-a565-c46783867bc0" providerId="ADAL" clId="{D71CD504-3088-4283-AAC2-C09191576A91}" dt="2024-02-16T16:36:47.993" v="9" actId="1076"/>
          <ac:spMkLst>
            <pc:docMk/>
            <pc:sldMk cId="2936093006" sldId="2147482925"/>
            <ac:spMk id="8" creationId="{64D29541-E8D8-E797-BE3A-7A30ACFC91E2}"/>
          </ac:spMkLst>
        </pc:spChg>
        <pc:spChg chg="add mod">
          <ac:chgData name="Jasek, Mariusz" userId="c6e5a964-643c-47e9-a565-c46783867bc0" providerId="ADAL" clId="{D71CD504-3088-4283-AAC2-C09191576A91}" dt="2024-02-16T16:40:24.006" v="74" actId="790"/>
          <ac:spMkLst>
            <pc:docMk/>
            <pc:sldMk cId="2936093006" sldId="2147482925"/>
            <ac:spMk id="12" creationId="{55A09025-86D6-0D1B-B946-8EACB0342C78}"/>
          </ac:spMkLst>
        </pc:spChg>
        <pc:spChg chg="add mod">
          <ac:chgData name="Jasek, Mariusz" userId="c6e5a964-643c-47e9-a565-c46783867bc0" providerId="ADAL" clId="{D71CD504-3088-4283-AAC2-C09191576A91}" dt="2024-02-16T16:40:24.006" v="74" actId="790"/>
          <ac:spMkLst>
            <pc:docMk/>
            <pc:sldMk cId="2936093006" sldId="2147482925"/>
            <ac:spMk id="13" creationId="{81D263DB-10CB-877D-D728-B10C248FEB22}"/>
          </ac:spMkLst>
        </pc:spChg>
        <pc:spChg chg="add del mod">
          <ac:chgData name="Jasek, Mariusz" userId="c6e5a964-643c-47e9-a565-c46783867bc0" providerId="ADAL" clId="{D71CD504-3088-4283-AAC2-C09191576A91}" dt="2024-02-16T16:36:02.721" v="3" actId="478"/>
          <ac:spMkLst>
            <pc:docMk/>
            <pc:sldMk cId="2936093006" sldId="2147482925"/>
            <ac:spMk id="14" creationId="{BC8FD62F-0FCD-4947-C46F-B2DBB24A3188}"/>
          </ac:spMkLst>
        </pc:spChg>
        <pc:spChg chg="add del mod">
          <ac:chgData name="Jasek, Mariusz" userId="c6e5a964-643c-47e9-a565-c46783867bc0" providerId="ADAL" clId="{D71CD504-3088-4283-AAC2-C09191576A91}" dt="2024-02-16T16:36:02.721" v="3" actId="478"/>
          <ac:spMkLst>
            <pc:docMk/>
            <pc:sldMk cId="2936093006" sldId="2147482925"/>
            <ac:spMk id="15" creationId="{74019A59-5A4E-35A6-8EE0-1EB6198A9508}"/>
          </ac:spMkLst>
        </pc:spChg>
        <pc:spChg chg="add 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7" creationId="{05F336E2-2EE1-5671-2608-360D7377C07C}"/>
          </ac:spMkLst>
        </pc:spChg>
        <pc:spChg chg="add 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8" creationId="{A4C66AD8-EF51-2FCB-7B8C-CA61C7B778EC}"/>
          </ac:spMkLst>
        </pc:spChg>
        <pc:spChg chg="add mod">
          <ac:chgData name="Jasek, Mariusz" userId="c6e5a964-643c-47e9-a565-c46783867bc0" providerId="ADAL" clId="{D71CD504-3088-4283-AAC2-C09191576A91}" dt="2024-02-16T16:38:46.369" v="30" actId="1076"/>
          <ac:spMkLst>
            <pc:docMk/>
            <pc:sldMk cId="2936093006" sldId="2147482925"/>
            <ac:spMk id="20" creationId="{E658F1D0-74CD-721C-05FA-C69ABEA66AA5}"/>
          </ac:spMkLst>
        </pc:spChg>
        <pc:spChg chg="add mod">
          <ac:chgData name="Jasek, Mariusz" userId="c6e5a964-643c-47e9-a565-c46783867bc0" providerId="ADAL" clId="{D71CD504-3088-4283-AAC2-C09191576A91}" dt="2024-02-16T16:38:16.266" v="24" actId="1076"/>
          <ac:spMkLst>
            <pc:docMk/>
            <pc:sldMk cId="2936093006" sldId="2147482925"/>
            <ac:spMk id="21" creationId="{0F268472-B173-5102-3A78-F188D7BE9C01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23" creationId="{6579FC19-3243-396D-B7F6-CE1527C4B72C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24" creationId="{6502FCD0-B0B8-60B7-2775-A37CFB833B38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25" creationId="{7B9855C1-6ACC-EFB7-5862-D3346AEDCE05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27" creationId="{AE696E6A-2783-5B72-38C7-111729D6FD30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28" creationId="{72E46876-33BC-D2FE-5685-46D75AB50D9A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31" creationId="{8EDAE8BA-8702-E375-68F2-5690177392C5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48" creationId="{E44FC789-789C-C4A7-7CE6-A2DCECDC6EA3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49" creationId="{0D94A9F0-393B-CAF9-9E20-6B883A5E10DF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50" creationId="{2AA280C8-E03B-3E6C-9661-21EC347BAEB0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52" creationId="{D3B1BA21-8D9E-557F-F0EE-02968EBFD377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53" creationId="{133A3EC6-64DF-3546-E4FC-DB537976E2B5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54" creationId="{B5FA8937-B6DB-7197-3C9A-EC8B2911802C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56" creationId="{BE38C3A1-EE1F-D515-6FFD-C0B3920980D1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57" creationId="{5CA731DD-04EA-2B45-3FDE-D54EF5CEEB5C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58" creationId="{7B4629FA-AA03-D116-782C-D469ABCB4078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60" creationId="{3BBE87F6-834B-AD03-6D9E-57973BE4360C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61" creationId="{FE49ABBE-0D4A-D13A-92D0-2E175C80F16A}"/>
          </ac:spMkLst>
        </pc:spChg>
        <pc:spChg chg="del">
          <ac:chgData name="Jasek, Mariusz" userId="c6e5a964-643c-47e9-a565-c46783867bc0" providerId="ADAL" clId="{D71CD504-3088-4283-AAC2-C09191576A91}" dt="2024-02-16T16:35:57.799" v="1" actId="478"/>
          <ac:spMkLst>
            <pc:docMk/>
            <pc:sldMk cId="2936093006" sldId="2147482925"/>
            <ac:spMk id="62" creationId="{49AF690D-26F3-1CDB-6F4D-838976866FF7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64" creationId="{6ECFAD77-D14A-B2B0-57FE-927E930B9D60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66" creationId="{478C27D0-FE16-97D0-52DB-1609841126DD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67" creationId="{9D866909-F52D-FC45-F8EB-CAA86C870929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69" creationId="{D582FC26-54A9-0282-FD95-E8DBEC2A0B46}"/>
          </ac:spMkLst>
        </pc:spChg>
        <pc:spChg chg="add mod">
          <ac:chgData name="Jasek, Mariusz" userId="c6e5a964-643c-47e9-a565-c46783867bc0" providerId="ADAL" clId="{D71CD504-3088-4283-AAC2-C09191576A91}" dt="2024-02-16T16:39:25.956" v="36" actId="1076"/>
          <ac:spMkLst>
            <pc:docMk/>
            <pc:sldMk cId="2936093006" sldId="2147482925"/>
            <ac:spMk id="70" creationId="{F32C0E74-32B3-9D41-148B-E1A26BA0FA3E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75" creationId="{564D2832-23E9-4AFE-A6C0-C7D96489E26D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76" creationId="{DE4977D7-6E21-7185-75B4-8A98B97A4BC1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77" creationId="{281B9794-CDE8-FF1B-ED2B-ABC1E5FCE980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79" creationId="{88838CC4-2724-C233-2F92-089B0F679403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80" creationId="{728EC46A-5CF7-1CB1-4E2A-025E5153B2F9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81" creationId="{5CFF3B81-ECEB-D05E-1733-510CC279AB1A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83" creationId="{1CDAEFF1-3188-9505-D4C6-DD70B7EBF101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84" creationId="{26FCAAE7-3C9B-B380-BC57-A62C5CDD63C0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85" creationId="{11FB0C84-3BCC-6830-4B58-436A748B05F2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87" creationId="{164EA525-D2CF-EF5E-6A15-E4A086854B91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88" creationId="{CCA1C90B-D419-FD31-7BA9-23E66F0C1953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89" creationId="{7DD870C8-7621-4EDD-B8DB-40EF5E59D62D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91" creationId="{5EEB5578-46F3-96B7-BC09-D9D71CC62FB6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92" creationId="{FDCAB4B9-1344-5C77-6424-4BBA1585C5BC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93" creationId="{26AD0EF7-B3B9-561E-9BAF-3C6740606ED7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95" creationId="{4668B272-371B-40EB-48CE-3DB406E8D1FF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96" creationId="{58C7FCA5-56AC-73CA-F136-285B93C1E11B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97" creationId="{2AB7C8D8-3C4C-A477-3E83-2628C6AD202D}"/>
          </ac:spMkLst>
        </pc:spChg>
        <pc:spChg chg="add mod">
          <ac:chgData name="Jasek, Mariusz" userId="c6e5a964-643c-47e9-a565-c46783867bc0" providerId="ADAL" clId="{D71CD504-3088-4283-AAC2-C09191576A91}" dt="2024-02-16T16:40:03.111" v="68" actId="1076"/>
          <ac:spMkLst>
            <pc:docMk/>
            <pc:sldMk cId="2936093006" sldId="2147482925"/>
            <ac:spMk id="98" creationId="{8BE48602-111B-5698-E262-0FDB6E18E0E3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00" creationId="{767270E9-F52F-EBD3-4A0A-C281C7BDF090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01" creationId="{561FF47B-E8C1-78F6-AB77-3C1F0BAA8B96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02" creationId="{41FDE543-5F8D-79B7-ED9C-04A27A338A97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04" creationId="{7DD5AA71-2000-A754-2657-4B1A38ECA99B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05" creationId="{2A887DC5-258C-C668-C431-C11A0C117323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06" creationId="{B08D7EA3-5C7E-2206-3DDA-8F9908B35A03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08" creationId="{38340560-EFA5-924A-BE99-A62CA2E9BAA5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09" creationId="{E2DA38E2-DB97-5D0D-F80E-0FED77033095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10" creationId="{5B325149-5CEA-2C2F-97C9-E015D6B6616A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12" creationId="{49CE7AD3-61FE-92F5-90F7-14D42C4A1D51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13" creationId="{436F5C55-8517-C02F-140A-C1F9075D4999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14" creationId="{55179846-2140-6323-1992-BF8FEA99BFA4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16" creationId="{7BB4E78D-2C83-D43B-5DA0-BC98E65B87E8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17" creationId="{C4825E9D-BCF0-F5CD-C4EA-838D3CE7BC02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18" creationId="{F4D8EE0A-FB11-BCBA-46A3-90C8ED07CB04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20" creationId="{EC024CE1-3DD5-6AB0-B221-FF8F76FC483D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21" creationId="{BF2FE029-3A3A-E7B9-4A19-55F3B5E98599}"/>
          </ac:spMkLst>
        </pc:spChg>
        <pc:spChg chg="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22" creationId="{F1E459D9-1DEB-598D-BA07-04269095E242}"/>
          </ac:spMkLst>
        </pc:spChg>
        <pc:spChg chg="add 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23" creationId="{3BCD47CC-403A-D581-B5C0-0D406FBF0531}"/>
          </ac:spMkLst>
        </pc:spChg>
        <pc:spChg chg="add 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24" creationId="{F23AAF0D-7B59-0855-DF3B-DDACEACFB4D9}"/>
          </ac:spMkLst>
        </pc:spChg>
        <pc:spChg chg="add 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25" creationId="{29CB5304-EDFE-CCCD-F47E-497EC45F096D}"/>
          </ac:spMkLst>
        </pc:spChg>
        <pc:spChg chg="add mod">
          <ac:chgData name="Jasek, Mariusz" userId="c6e5a964-643c-47e9-a565-c46783867bc0" providerId="ADAL" clId="{D71CD504-3088-4283-AAC2-C09191576A91}" dt="2024-02-16T16:35:52.831" v="0"/>
          <ac:spMkLst>
            <pc:docMk/>
            <pc:sldMk cId="2936093006" sldId="2147482925"/>
            <ac:spMk id="126" creationId="{D8C2DD75-E2CF-1864-99B4-732AFACBF82B}"/>
          </ac:spMkLst>
        </pc:spChg>
        <pc:grpChg chg="add mod">
          <ac:chgData name="Jasek, Mariusz" userId="c6e5a964-643c-47e9-a565-c46783867bc0" providerId="ADAL" clId="{D71CD504-3088-4283-AAC2-C09191576A91}" dt="2024-02-16T16:36:58.141" v="10" actId="1076"/>
          <ac:grpSpMkLst>
            <pc:docMk/>
            <pc:sldMk cId="2936093006" sldId="2147482925"/>
            <ac:grpSpMk id="22" creationId="{F4A4F12B-7CD8-7A69-024F-B5885AA78102}"/>
          </ac:grpSpMkLst>
        </pc:grpChg>
        <pc:grpChg chg="add mod">
          <ac:chgData name="Jasek, Mariusz" userId="c6e5a964-643c-47e9-a565-c46783867bc0" providerId="ADAL" clId="{D71CD504-3088-4283-AAC2-C09191576A91}" dt="2024-02-16T16:36:58.141" v="10" actId="1076"/>
          <ac:grpSpMkLst>
            <pc:docMk/>
            <pc:sldMk cId="2936093006" sldId="2147482925"/>
            <ac:grpSpMk id="26" creationId="{EC5E026D-0D74-76CE-F59F-3B6BDC1F23F2}"/>
          </ac:grpSpMkLst>
        </pc:grpChg>
        <pc:grpChg chg="add mod">
          <ac:chgData name="Jasek, Mariusz" userId="c6e5a964-643c-47e9-a565-c46783867bc0" providerId="ADAL" clId="{D71CD504-3088-4283-AAC2-C09191576A91}" dt="2024-02-16T16:36:58.141" v="10" actId="1076"/>
          <ac:grpSpMkLst>
            <pc:docMk/>
            <pc:sldMk cId="2936093006" sldId="2147482925"/>
            <ac:grpSpMk id="46" creationId="{EBB8E189-DAAB-93FD-EFA9-51E0F5649930}"/>
          </ac:grpSpMkLst>
        </pc:grpChg>
        <pc:grpChg chg="add mod">
          <ac:chgData name="Jasek, Mariusz" userId="c6e5a964-643c-47e9-a565-c46783867bc0" providerId="ADAL" clId="{D71CD504-3088-4283-AAC2-C09191576A91}" dt="2024-02-16T16:36:58.141" v="10" actId="1076"/>
          <ac:grpSpMkLst>
            <pc:docMk/>
            <pc:sldMk cId="2936093006" sldId="2147482925"/>
            <ac:grpSpMk id="51" creationId="{06B34604-3F94-1F03-EFAC-9992CA09FE88}"/>
          </ac:grpSpMkLst>
        </pc:grpChg>
        <pc:grpChg chg="add mod">
          <ac:chgData name="Jasek, Mariusz" userId="c6e5a964-643c-47e9-a565-c46783867bc0" providerId="ADAL" clId="{D71CD504-3088-4283-AAC2-C09191576A91}" dt="2024-02-16T16:36:58.141" v="10" actId="1076"/>
          <ac:grpSpMkLst>
            <pc:docMk/>
            <pc:sldMk cId="2936093006" sldId="2147482925"/>
            <ac:grpSpMk id="55" creationId="{6CC8144E-A265-916E-1019-AA692D50F97C}"/>
          </ac:grpSpMkLst>
        </pc:grpChg>
        <pc:grpChg chg="add mod">
          <ac:chgData name="Jasek, Mariusz" userId="c6e5a964-643c-47e9-a565-c46783867bc0" providerId="ADAL" clId="{D71CD504-3088-4283-AAC2-C09191576A91}" dt="2024-02-16T16:36:58.141" v="10" actId="1076"/>
          <ac:grpSpMkLst>
            <pc:docMk/>
            <pc:sldMk cId="2936093006" sldId="2147482925"/>
            <ac:grpSpMk id="59" creationId="{256C5907-8571-D465-1B2F-7BEC4490E4FB}"/>
          </ac:grpSpMkLst>
        </pc:grpChg>
        <pc:grpChg chg="add mod">
          <ac:chgData name="Jasek, Mariusz" userId="c6e5a964-643c-47e9-a565-c46783867bc0" providerId="ADAL" clId="{D71CD504-3088-4283-AAC2-C09191576A91}" dt="2024-02-16T16:36:58.141" v="10" actId="1076"/>
          <ac:grpSpMkLst>
            <pc:docMk/>
            <pc:sldMk cId="2936093006" sldId="2147482925"/>
            <ac:grpSpMk id="65" creationId="{4F50DCF1-470E-53D7-274F-2FAB462A62E0}"/>
          </ac:grpSpMkLst>
        </pc:grpChg>
        <pc:grpChg chg="add mod">
          <ac:chgData name="Jasek, Mariusz" userId="c6e5a964-643c-47e9-a565-c46783867bc0" providerId="ADAL" clId="{D71CD504-3088-4283-AAC2-C09191576A91}" dt="2024-02-16T16:40:03.111" v="68" actId="1076"/>
          <ac:grpSpMkLst>
            <pc:docMk/>
            <pc:sldMk cId="2936093006" sldId="2147482925"/>
            <ac:grpSpMk id="74" creationId="{8FEB2E01-A02C-481E-4122-D119711C84C6}"/>
          </ac:grpSpMkLst>
        </pc:grpChg>
        <pc:grpChg chg="add mod">
          <ac:chgData name="Jasek, Mariusz" userId="c6e5a964-643c-47e9-a565-c46783867bc0" providerId="ADAL" clId="{D71CD504-3088-4283-AAC2-C09191576A91}" dt="2024-02-16T16:40:03.111" v="68" actId="1076"/>
          <ac:grpSpMkLst>
            <pc:docMk/>
            <pc:sldMk cId="2936093006" sldId="2147482925"/>
            <ac:grpSpMk id="78" creationId="{BF7191FD-DB10-B264-251C-1A6C3D701ED1}"/>
          </ac:grpSpMkLst>
        </pc:grpChg>
        <pc:grpChg chg="add mod">
          <ac:chgData name="Jasek, Mariusz" userId="c6e5a964-643c-47e9-a565-c46783867bc0" providerId="ADAL" clId="{D71CD504-3088-4283-AAC2-C09191576A91}" dt="2024-02-16T16:40:03.111" v="68" actId="1076"/>
          <ac:grpSpMkLst>
            <pc:docMk/>
            <pc:sldMk cId="2936093006" sldId="2147482925"/>
            <ac:grpSpMk id="82" creationId="{2162F00D-FB0C-4350-CB50-B4D86F4D8E57}"/>
          </ac:grpSpMkLst>
        </pc:grpChg>
        <pc:grpChg chg="add mod">
          <ac:chgData name="Jasek, Mariusz" userId="c6e5a964-643c-47e9-a565-c46783867bc0" providerId="ADAL" clId="{D71CD504-3088-4283-AAC2-C09191576A91}" dt="2024-02-16T16:40:03.111" v="68" actId="1076"/>
          <ac:grpSpMkLst>
            <pc:docMk/>
            <pc:sldMk cId="2936093006" sldId="2147482925"/>
            <ac:grpSpMk id="86" creationId="{0BCFB937-A1A3-B4DA-CA87-0B978EE1C3A3}"/>
          </ac:grpSpMkLst>
        </pc:grpChg>
        <pc:grpChg chg="add mod">
          <ac:chgData name="Jasek, Mariusz" userId="c6e5a964-643c-47e9-a565-c46783867bc0" providerId="ADAL" clId="{D71CD504-3088-4283-AAC2-C09191576A91}" dt="2024-02-16T16:40:03.111" v="68" actId="1076"/>
          <ac:grpSpMkLst>
            <pc:docMk/>
            <pc:sldMk cId="2936093006" sldId="2147482925"/>
            <ac:grpSpMk id="90" creationId="{2F78220C-91FD-A442-3D13-510A6FCABFDE}"/>
          </ac:grpSpMkLst>
        </pc:grpChg>
        <pc:grpChg chg="add mod">
          <ac:chgData name="Jasek, Mariusz" userId="c6e5a964-643c-47e9-a565-c46783867bc0" providerId="ADAL" clId="{D71CD504-3088-4283-AAC2-C09191576A91}" dt="2024-02-16T16:40:03.111" v="68" actId="1076"/>
          <ac:grpSpMkLst>
            <pc:docMk/>
            <pc:sldMk cId="2936093006" sldId="2147482925"/>
            <ac:grpSpMk id="94" creationId="{1A73401A-0D7B-F638-BF7B-EDD42440A1FC}"/>
          </ac:grpSpMkLst>
        </pc:grpChg>
        <pc:grpChg chg="add mod">
          <ac:chgData name="Jasek, Mariusz" userId="c6e5a964-643c-47e9-a565-c46783867bc0" providerId="ADAL" clId="{D71CD504-3088-4283-AAC2-C09191576A91}" dt="2024-02-16T16:40:03.111" v="68" actId="1076"/>
          <ac:grpSpMkLst>
            <pc:docMk/>
            <pc:sldMk cId="2936093006" sldId="2147482925"/>
            <ac:grpSpMk id="99" creationId="{BBA5C9F2-09C1-4AA1-8824-E73C6205F9D5}"/>
          </ac:grpSpMkLst>
        </pc:grpChg>
        <pc:grpChg chg="add mod">
          <ac:chgData name="Jasek, Mariusz" userId="c6e5a964-643c-47e9-a565-c46783867bc0" providerId="ADAL" clId="{D71CD504-3088-4283-AAC2-C09191576A91}" dt="2024-02-16T16:40:03.111" v="68" actId="1076"/>
          <ac:grpSpMkLst>
            <pc:docMk/>
            <pc:sldMk cId="2936093006" sldId="2147482925"/>
            <ac:grpSpMk id="103" creationId="{E7DD0F7B-8703-CBF7-4C44-7DD148C05F91}"/>
          </ac:grpSpMkLst>
        </pc:grpChg>
        <pc:grpChg chg="add mod">
          <ac:chgData name="Jasek, Mariusz" userId="c6e5a964-643c-47e9-a565-c46783867bc0" providerId="ADAL" clId="{D71CD504-3088-4283-AAC2-C09191576A91}" dt="2024-02-16T16:36:58.141" v="10" actId="1076"/>
          <ac:grpSpMkLst>
            <pc:docMk/>
            <pc:sldMk cId="2936093006" sldId="2147482925"/>
            <ac:grpSpMk id="107" creationId="{5CC64D59-5099-75E5-E3CF-2F20506515CD}"/>
          </ac:grpSpMkLst>
        </pc:grpChg>
        <pc:grpChg chg="add mod">
          <ac:chgData name="Jasek, Mariusz" userId="c6e5a964-643c-47e9-a565-c46783867bc0" providerId="ADAL" clId="{D71CD504-3088-4283-AAC2-C09191576A91}" dt="2024-02-16T16:35:52.831" v="0"/>
          <ac:grpSpMkLst>
            <pc:docMk/>
            <pc:sldMk cId="2936093006" sldId="2147482925"/>
            <ac:grpSpMk id="111" creationId="{4624CC94-2AA9-D6AD-7887-BE3A18D55933}"/>
          </ac:grpSpMkLst>
        </pc:grpChg>
        <pc:grpChg chg="add mod">
          <ac:chgData name="Jasek, Mariusz" userId="c6e5a964-643c-47e9-a565-c46783867bc0" providerId="ADAL" clId="{D71CD504-3088-4283-AAC2-C09191576A91}" dt="2024-02-16T16:35:52.831" v="0"/>
          <ac:grpSpMkLst>
            <pc:docMk/>
            <pc:sldMk cId="2936093006" sldId="2147482925"/>
            <ac:grpSpMk id="115" creationId="{CEBAA119-4E2B-A3F8-F099-2589D7B46CAC}"/>
          </ac:grpSpMkLst>
        </pc:grpChg>
        <pc:grpChg chg="add mod">
          <ac:chgData name="Jasek, Mariusz" userId="c6e5a964-643c-47e9-a565-c46783867bc0" providerId="ADAL" clId="{D71CD504-3088-4283-AAC2-C09191576A91}" dt="2024-02-16T16:35:52.831" v="0"/>
          <ac:grpSpMkLst>
            <pc:docMk/>
            <pc:sldMk cId="2936093006" sldId="2147482925"/>
            <ac:grpSpMk id="119" creationId="{838F39A0-7BDF-51B3-B1D4-9DBC83EEDB25}"/>
          </ac:grpSpMkLst>
        </pc:grpChg>
        <pc:graphicFrameChg chg="add mod">
          <ac:chgData name="Jasek, Mariusz" userId="c6e5a964-643c-47e9-a565-c46783867bc0" providerId="ADAL" clId="{D71CD504-3088-4283-AAC2-C09191576A91}" dt="2024-02-16T16:38:12.699" v="23" actId="1076"/>
          <ac:graphicFrameMkLst>
            <pc:docMk/>
            <pc:sldMk cId="2936093006" sldId="2147482925"/>
            <ac:graphicFrameMk id="2" creationId="{8E7A8C16-F0C3-B830-1F6E-43D9DBAEBC34}"/>
          </ac:graphicFrameMkLst>
        </pc:graphicFrameChg>
        <pc:graphicFrameChg chg="add mod">
          <ac:chgData name="Jasek, Mariusz" userId="c6e5a964-643c-47e9-a565-c46783867bc0" providerId="ADAL" clId="{D71CD504-3088-4283-AAC2-C09191576A91}" dt="2024-02-16T16:37:57.282" v="22" actId="555"/>
          <ac:graphicFrameMkLst>
            <pc:docMk/>
            <pc:sldMk cId="2936093006" sldId="2147482925"/>
            <ac:graphicFrameMk id="9" creationId="{655453C9-16D9-F93E-E99C-7CECA2DF5BA7}"/>
          </ac:graphicFrameMkLst>
        </pc:graphicFrameChg>
        <pc:graphicFrameChg chg="add mod">
          <ac:chgData name="Jasek, Mariusz" userId="c6e5a964-643c-47e9-a565-c46783867bc0" providerId="ADAL" clId="{D71CD504-3088-4283-AAC2-C09191576A91}" dt="2024-02-16T16:37:57.282" v="22" actId="555"/>
          <ac:graphicFrameMkLst>
            <pc:docMk/>
            <pc:sldMk cId="2936093006" sldId="2147482925"/>
            <ac:graphicFrameMk id="10" creationId="{EB303D03-B640-3622-3496-9723B46D6776}"/>
          </ac:graphicFrameMkLst>
        </pc:graphicFrameChg>
        <pc:graphicFrameChg chg="add mod">
          <ac:chgData name="Jasek, Mariusz" userId="c6e5a964-643c-47e9-a565-c46783867bc0" providerId="ADAL" clId="{D71CD504-3088-4283-AAC2-C09191576A91}" dt="2024-02-16T16:37:57.282" v="22" actId="555"/>
          <ac:graphicFrameMkLst>
            <pc:docMk/>
            <pc:sldMk cId="2936093006" sldId="2147482925"/>
            <ac:graphicFrameMk id="11" creationId="{A5F166E8-5B94-8931-D96F-28B16FF9858C}"/>
          </ac:graphicFrameMkLst>
        </pc:graphicFrameChg>
        <pc:graphicFrameChg chg="add mod modGraphic">
          <ac:chgData name="Jasek, Mariusz" userId="c6e5a964-643c-47e9-a565-c46783867bc0" providerId="ADAL" clId="{D71CD504-3088-4283-AAC2-C09191576A91}" dt="2024-02-16T16:40:29.697" v="75" actId="20577"/>
          <ac:graphicFrameMkLst>
            <pc:docMk/>
            <pc:sldMk cId="2936093006" sldId="2147482925"/>
            <ac:graphicFrameMk id="16" creationId="{37C5FDCF-8DE1-8093-BB2F-F249079BC406}"/>
          </ac:graphicFrameMkLst>
        </pc:graphicFrameChg>
        <pc:graphicFrameChg chg="add mod">
          <ac:chgData name="Jasek, Mariusz" userId="c6e5a964-643c-47e9-a565-c46783867bc0" providerId="ADAL" clId="{D71CD504-3088-4283-AAC2-C09191576A91}" dt="2024-02-16T16:38:46.369" v="30" actId="1076"/>
          <ac:graphicFrameMkLst>
            <pc:docMk/>
            <pc:sldMk cId="2936093006" sldId="2147482925"/>
            <ac:graphicFrameMk id="19" creationId="{E9A32DC7-7E52-60BB-36E5-A269DF80DBDA}"/>
          </ac:graphicFrameMkLst>
        </pc:graphicFrameChg>
        <pc:graphicFrameChg chg="add mod">
          <ac:chgData name="Jasek, Mariusz" userId="c6e5a964-643c-47e9-a565-c46783867bc0" providerId="ADAL" clId="{D71CD504-3088-4283-AAC2-C09191576A91}" dt="2024-02-16T16:40:03.111" v="68" actId="1076"/>
          <ac:graphicFrameMkLst>
            <pc:docMk/>
            <pc:sldMk cId="2936093006" sldId="2147482925"/>
            <ac:graphicFrameMk id="71" creationId="{DA514A66-A37F-23CC-B752-45153A251DA5}"/>
          </ac:graphicFrameMkLst>
        </pc:graphicFrameChg>
        <pc:cxnChg chg="del">
          <ac:chgData name="Jasek, Mariusz" userId="c6e5a964-643c-47e9-a565-c46783867bc0" providerId="ADAL" clId="{D71CD504-3088-4283-AAC2-C09191576A91}" dt="2024-02-16T16:35:57.799" v="1" actId="478"/>
          <ac:cxnSpMkLst>
            <pc:docMk/>
            <pc:sldMk cId="2936093006" sldId="2147482925"/>
            <ac:cxnSpMk id="63" creationId="{6A63BB6E-9EAD-115F-0A81-2D2042F29EFF}"/>
          </ac:cxnSpMkLst>
        </pc:cxnChg>
      </pc:sldChg>
    </pc:docChg>
  </pc:docChgLst>
  <pc:docChgLst>
    <pc:chgData name="Jach, Agnieszka" userId="366b1e26-79c5-4729-9a9f-9e1f21bd2899" providerId="ADAL" clId="{FD2E9E02-2E3B-45C4-B92D-228FB85A9C47}"/>
    <pc:docChg chg="modSld">
      <pc:chgData name="Jach, Agnieszka" userId="366b1e26-79c5-4729-9a9f-9e1f21bd2899" providerId="ADAL" clId="{FD2E9E02-2E3B-45C4-B92D-228FB85A9C47}" dt="2024-03-22T12:26:04.612" v="89" actId="20577"/>
      <pc:docMkLst>
        <pc:docMk/>
      </pc:docMkLst>
      <pc:sldChg chg="addSp modSp mod">
        <pc:chgData name="Jach, Agnieszka" userId="366b1e26-79c5-4729-9a9f-9e1f21bd2899" providerId="ADAL" clId="{FD2E9E02-2E3B-45C4-B92D-228FB85A9C47}" dt="2024-03-22T12:26:04.612" v="89" actId="20577"/>
        <pc:sldMkLst>
          <pc:docMk/>
          <pc:sldMk cId="1350600069" sldId="2147482933"/>
        </pc:sldMkLst>
        <pc:spChg chg="add mod">
          <ac:chgData name="Jach, Agnieszka" userId="366b1e26-79c5-4729-9a9f-9e1f21bd2899" providerId="ADAL" clId="{FD2E9E02-2E3B-45C4-B92D-228FB85A9C47}" dt="2024-03-22T12:25:27.736" v="68" actId="404"/>
          <ac:spMkLst>
            <pc:docMk/>
            <pc:sldMk cId="1350600069" sldId="2147482933"/>
            <ac:spMk id="11" creationId="{152DF589-3C17-9AD5-60AE-775B5C979BAC}"/>
          </ac:spMkLst>
        </pc:spChg>
        <pc:graphicFrameChg chg="add mod modGraphic">
          <ac:chgData name="Jach, Agnieszka" userId="366b1e26-79c5-4729-9a9f-9e1f21bd2899" providerId="ADAL" clId="{FD2E9E02-2E3B-45C4-B92D-228FB85A9C47}" dt="2024-03-22T12:26:04.612" v="89" actId="20577"/>
          <ac:graphicFrameMkLst>
            <pc:docMk/>
            <pc:sldMk cId="1350600069" sldId="2147482933"/>
            <ac:graphicFrameMk id="6" creationId="{C2095113-9888-F844-4FE8-2180CBEC96D8}"/>
          </ac:graphicFrameMkLst>
        </pc:graphicFrameChg>
      </pc:sldChg>
    </pc:docChg>
  </pc:docChgLst>
  <pc:docChgLst>
    <pc:chgData name="Makuch, Monika" userId="5f32b3e3-5b05-4c85-90fd-1c5e60f186a0" providerId="ADAL" clId="{1D32D053-C30C-48C8-8D4A-08FF459BE7C6}"/>
    <pc:docChg chg="undo custSel addSld delSld modSld modMainMaster modSection">
      <pc:chgData name="Makuch, Monika" userId="5f32b3e3-5b05-4c85-90fd-1c5e60f186a0" providerId="ADAL" clId="{1D32D053-C30C-48C8-8D4A-08FF459BE7C6}" dt="2024-02-02T09:05:11.799" v="235" actId="403"/>
      <pc:docMkLst>
        <pc:docMk/>
      </pc:docMkLst>
      <pc:sldChg chg="modSp add">
        <pc:chgData name="Makuch, Monika" userId="5f32b3e3-5b05-4c85-90fd-1c5e60f186a0" providerId="ADAL" clId="{1D32D053-C30C-48C8-8D4A-08FF459BE7C6}" dt="2024-02-02T08:37:32.055" v="29"/>
        <pc:sldMkLst>
          <pc:docMk/>
          <pc:sldMk cId="1793113665" sldId="889"/>
        </pc:sldMkLst>
        <pc:spChg chg="mod">
          <ac:chgData name="Makuch, Monika" userId="5f32b3e3-5b05-4c85-90fd-1c5e60f186a0" providerId="ADAL" clId="{1D32D053-C30C-48C8-8D4A-08FF459BE7C6}" dt="2024-02-02T08:37:32.055" v="29"/>
          <ac:spMkLst>
            <pc:docMk/>
            <pc:sldMk cId="1793113665" sldId="889"/>
            <ac:spMk id="31" creationId="{32AACD0D-E1CE-805C-43A6-93DAE4327DC4}"/>
          </ac:spMkLst>
        </pc:spChg>
      </pc:sldChg>
      <pc:sldChg chg="addSp delSp modSp add mod">
        <pc:chgData name="Makuch, Monika" userId="5f32b3e3-5b05-4c85-90fd-1c5e60f186a0" providerId="ADAL" clId="{1D32D053-C30C-48C8-8D4A-08FF459BE7C6}" dt="2024-02-02T09:05:11.799" v="235" actId="403"/>
        <pc:sldMkLst>
          <pc:docMk/>
          <pc:sldMk cId="1453358053" sldId="2134804482"/>
        </pc:sldMkLst>
        <pc:spChg chg="del">
          <ac:chgData name="Makuch, Monika" userId="5f32b3e3-5b05-4c85-90fd-1c5e60f186a0" providerId="ADAL" clId="{1D32D053-C30C-48C8-8D4A-08FF459BE7C6}" dt="2024-02-02T08:55:31.872" v="151" actId="478"/>
          <ac:spMkLst>
            <pc:docMk/>
            <pc:sldMk cId="1453358053" sldId="2134804482"/>
            <ac:spMk id="3" creationId="{09910EF7-00AD-4237-93BC-F8CFBDFF8E76}"/>
          </ac:spMkLst>
        </pc:spChg>
        <pc:spChg chg="mod">
          <ac:chgData name="Makuch, Monika" userId="5f32b3e3-5b05-4c85-90fd-1c5e60f186a0" providerId="ADAL" clId="{1D32D053-C30C-48C8-8D4A-08FF459BE7C6}" dt="2024-02-02T08:59:54.412" v="195" actId="1076"/>
          <ac:spMkLst>
            <pc:docMk/>
            <pc:sldMk cId="1453358053" sldId="2134804482"/>
            <ac:spMk id="4" creationId="{5822273A-7788-3EB4-7095-6C344839B3FA}"/>
          </ac:spMkLst>
        </pc:spChg>
        <pc:spChg chg="add">
          <ac:chgData name="Makuch, Monika" userId="5f32b3e3-5b05-4c85-90fd-1c5e60f186a0" providerId="ADAL" clId="{1D32D053-C30C-48C8-8D4A-08FF459BE7C6}" dt="2024-02-02T09:00:04.904" v="196" actId="11529"/>
          <ac:spMkLst>
            <pc:docMk/>
            <pc:sldMk cId="1453358053" sldId="2134804482"/>
            <ac:spMk id="6" creationId="{10D79DCE-D71C-84B5-7B4D-2F855B407EA0}"/>
          </ac:spMkLst>
        </pc:spChg>
        <pc:graphicFrameChg chg="mod modGraphic">
          <ac:chgData name="Makuch, Monika" userId="5f32b3e3-5b05-4c85-90fd-1c5e60f186a0" providerId="ADAL" clId="{1D32D053-C30C-48C8-8D4A-08FF459BE7C6}" dt="2024-02-02T09:05:11.799" v="235" actId="403"/>
          <ac:graphicFrameMkLst>
            <pc:docMk/>
            <pc:sldMk cId="1453358053" sldId="2134804482"/>
            <ac:graphicFrameMk id="5" creationId="{F03787C1-CF32-4A56-8A80-A0AA4DB1950A}"/>
          </ac:graphicFrameMkLst>
        </pc:graphicFrameChg>
      </pc:sldChg>
      <pc:sldChg chg="add del">
        <pc:chgData name="Makuch, Monika" userId="5f32b3e3-5b05-4c85-90fd-1c5e60f186a0" providerId="ADAL" clId="{1D32D053-C30C-48C8-8D4A-08FF459BE7C6}" dt="2024-02-02T08:57:05.225" v="166" actId="47"/>
        <pc:sldMkLst>
          <pc:docMk/>
          <pc:sldMk cId="2189932213" sldId="2134804484"/>
        </pc:sldMkLst>
      </pc:sldChg>
      <pc:sldChg chg="modSp add mod">
        <pc:chgData name="Makuch, Monika" userId="5f32b3e3-5b05-4c85-90fd-1c5e60f186a0" providerId="ADAL" clId="{1D32D053-C30C-48C8-8D4A-08FF459BE7C6}" dt="2024-02-02T08:33:13.650" v="3" actId="6549"/>
        <pc:sldMkLst>
          <pc:docMk/>
          <pc:sldMk cId="2824017514" sldId="2146848406"/>
        </pc:sldMkLst>
        <pc:spChg chg="mod">
          <ac:chgData name="Makuch, Monika" userId="5f32b3e3-5b05-4c85-90fd-1c5e60f186a0" providerId="ADAL" clId="{1D32D053-C30C-48C8-8D4A-08FF459BE7C6}" dt="2024-02-02T08:33:13.650" v="3" actId="6549"/>
          <ac:spMkLst>
            <pc:docMk/>
            <pc:sldMk cId="2824017514" sldId="2146848406"/>
            <ac:spMk id="2" creationId="{7397AB4B-C513-47BD-8475-E6A7AC19119A}"/>
          </ac:spMkLst>
        </pc:spChg>
      </pc:sldChg>
      <pc:sldChg chg="delSp add mod">
        <pc:chgData name="Makuch, Monika" userId="5f32b3e3-5b05-4c85-90fd-1c5e60f186a0" providerId="ADAL" clId="{1D32D053-C30C-48C8-8D4A-08FF459BE7C6}" dt="2024-02-02T08:33:23.895" v="4" actId="478"/>
        <pc:sldMkLst>
          <pc:docMk/>
          <pc:sldMk cId="3358390338" sldId="2146848450"/>
        </pc:sldMkLst>
        <pc:spChg chg="del">
          <ac:chgData name="Makuch, Monika" userId="5f32b3e3-5b05-4c85-90fd-1c5e60f186a0" providerId="ADAL" clId="{1D32D053-C30C-48C8-8D4A-08FF459BE7C6}" dt="2024-02-02T08:33:23.895" v="4" actId="478"/>
          <ac:spMkLst>
            <pc:docMk/>
            <pc:sldMk cId="3358390338" sldId="2146848450"/>
            <ac:spMk id="2" creationId="{BA476496-5E08-478F-B457-DCCC592A3986}"/>
          </ac:spMkLst>
        </pc:spChg>
      </pc:sldChg>
      <pc:sldChg chg="modSp delCm">
        <pc:chgData name="Makuch, Monika" userId="5f32b3e3-5b05-4c85-90fd-1c5e60f186a0" providerId="ADAL" clId="{1D32D053-C30C-48C8-8D4A-08FF459BE7C6}" dt="2024-02-02T08:37:32.055" v="29"/>
        <pc:sldMkLst>
          <pc:docMk/>
          <pc:sldMk cId="3875264409" sldId="2147482920"/>
        </pc:sldMkLst>
        <pc:spChg chg="mod">
          <ac:chgData name="Makuch, Monika" userId="5f32b3e3-5b05-4c85-90fd-1c5e60f186a0" providerId="ADAL" clId="{1D32D053-C30C-48C8-8D4A-08FF459BE7C6}" dt="2024-02-02T08:37:32.055" v="29"/>
          <ac:spMkLst>
            <pc:docMk/>
            <pc:sldMk cId="3875264409" sldId="2147482920"/>
            <ac:spMk id="5" creationId="{B5F3037F-6BCE-4D35-9743-958650DE6DB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Makuch, Monika" userId="5f32b3e3-5b05-4c85-90fd-1c5e60f186a0" providerId="ADAL" clId="{1D32D053-C30C-48C8-8D4A-08FF459BE7C6}" dt="2024-02-02T08:33:55.035" v="5"/>
              <pc2:cmMkLst xmlns:pc2="http://schemas.microsoft.com/office/powerpoint/2019/9/main/command">
                <pc:docMk/>
                <pc:sldMk cId="3875264409" sldId="2147482920"/>
                <pc2:cmMk id="{3F1D4EFA-5882-43B9-BF0F-5312F91CDA01}"/>
              </pc2:cmMkLst>
            </pc226:cmChg>
          </p:ext>
        </pc:extLst>
      </pc:sldChg>
      <pc:sldChg chg="addSp modSp mod">
        <pc:chgData name="Makuch, Monika" userId="5f32b3e3-5b05-4c85-90fd-1c5e60f186a0" providerId="ADAL" clId="{1D32D053-C30C-48C8-8D4A-08FF459BE7C6}" dt="2024-02-02T08:37:52.041" v="30" actId="20577"/>
        <pc:sldMkLst>
          <pc:docMk/>
          <pc:sldMk cId="3537976678" sldId="2147482926"/>
        </pc:sldMkLst>
        <pc:spChg chg="add mod">
          <ac:chgData name="Makuch, Monika" userId="5f32b3e3-5b05-4c85-90fd-1c5e60f186a0" providerId="ADAL" clId="{1D32D053-C30C-48C8-8D4A-08FF459BE7C6}" dt="2024-02-02T08:35:59.009" v="15" actId="12"/>
          <ac:spMkLst>
            <pc:docMk/>
            <pc:sldMk cId="3537976678" sldId="2147482926"/>
            <ac:spMk id="2" creationId="{E4A59EE8-B11F-853E-A295-C920583F7CF0}"/>
          </ac:spMkLst>
        </pc:spChg>
        <pc:spChg chg="add mod">
          <ac:chgData name="Makuch, Monika" userId="5f32b3e3-5b05-4c85-90fd-1c5e60f186a0" providerId="ADAL" clId="{1D32D053-C30C-48C8-8D4A-08FF459BE7C6}" dt="2024-02-02T08:37:01.001" v="28" actId="1076"/>
          <ac:spMkLst>
            <pc:docMk/>
            <pc:sldMk cId="3537976678" sldId="2147482926"/>
            <ac:spMk id="3" creationId="{53F78C0F-BC02-B6B4-A340-5E29CBB346FB}"/>
          </ac:spMkLst>
        </pc:spChg>
        <pc:spChg chg="mod">
          <ac:chgData name="Makuch, Monika" userId="5f32b3e3-5b05-4c85-90fd-1c5e60f186a0" providerId="ADAL" clId="{1D32D053-C30C-48C8-8D4A-08FF459BE7C6}" dt="2024-02-02T08:37:52.041" v="30" actId="20577"/>
          <ac:spMkLst>
            <pc:docMk/>
            <pc:sldMk cId="3537976678" sldId="2147482926"/>
            <ac:spMk id="223" creationId="{D59545F7-0203-C7F3-1C53-BE4FF3E604E7}"/>
          </ac:spMkLst>
        </pc:spChg>
      </pc:sldChg>
      <pc:sldChg chg="add del">
        <pc:chgData name="Makuch, Monika" userId="5f32b3e3-5b05-4c85-90fd-1c5e60f186a0" providerId="ADAL" clId="{1D32D053-C30C-48C8-8D4A-08FF459BE7C6}" dt="2024-02-02T08:35:06.638" v="7"/>
        <pc:sldMkLst>
          <pc:docMk/>
          <pc:sldMk cId="2855517323" sldId="2147482934"/>
        </pc:sldMkLst>
      </pc:sldChg>
      <pc:sldChg chg="add del">
        <pc:chgData name="Makuch, Monika" userId="5f32b3e3-5b05-4c85-90fd-1c5e60f186a0" providerId="ADAL" clId="{1D32D053-C30C-48C8-8D4A-08FF459BE7C6}" dt="2024-02-02T08:35:06.638" v="7"/>
        <pc:sldMkLst>
          <pc:docMk/>
          <pc:sldMk cId="3755244686" sldId="2147482935"/>
        </pc:sldMkLst>
      </pc:sldChg>
      <pc:sldMasterChg chg="modSp modSldLayout">
        <pc:chgData name="Makuch, Monika" userId="5f32b3e3-5b05-4c85-90fd-1c5e60f186a0" providerId="ADAL" clId="{1D32D053-C30C-48C8-8D4A-08FF459BE7C6}" dt="2024-02-02T08:37:32.055" v="29"/>
        <pc:sldMasterMkLst>
          <pc:docMk/>
          <pc:sldMasterMk cId="294643346" sldId="2147483816"/>
        </pc:sldMasterMkLst>
        <pc:spChg chg="mod">
          <ac:chgData name="Makuch, Monika" userId="5f32b3e3-5b05-4c85-90fd-1c5e60f186a0" providerId="ADAL" clId="{1D32D053-C30C-48C8-8D4A-08FF459BE7C6}" dt="2024-02-02T08:37:32.055" v="29"/>
          <ac:spMkLst>
            <pc:docMk/>
            <pc:sldMasterMk cId="294643346" sldId="2147483816"/>
            <ac:spMk id="5" creationId="{B8CA602B-CE7D-43E6-B1B5-19FE60D27118}"/>
          </ac:spMkLst>
        </pc:sp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294643346" sldId="2147483816"/>
            <pc:sldLayoutMk cId="1680720211" sldId="2147484613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294643346" sldId="2147483816"/>
              <pc:sldLayoutMk cId="1680720211" sldId="2147484613"/>
              <ac:spMk id="7" creationId="{480EAEA1-D575-4107-8AFC-0CAE2D4FB3D6}"/>
            </ac:spMkLst>
          </pc:spChg>
        </pc:sldLayoutChg>
      </pc:sldMasterChg>
      <pc:sldMasterChg chg="modSldLayout">
        <pc:chgData name="Makuch, Monika" userId="5f32b3e3-5b05-4c85-90fd-1c5e60f186a0" providerId="ADAL" clId="{1D32D053-C30C-48C8-8D4A-08FF459BE7C6}" dt="2024-02-02T08:37:32.055" v="29"/>
        <pc:sldMasterMkLst>
          <pc:docMk/>
          <pc:sldMasterMk cId="4142770555" sldId="2147484171"/>
        </pc:sldMasterMkLst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4142770555" sldId="2147484171"/>
            <pc:sldLayoutMk cId="3990844838" sldId="2147484207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4142770555" sldId="2147484171"/>
              <pc:sldLayoutMk cId="3990844838" sldId="2147484207"/>
              <ac:spMk id="10" creationId="{9310B6FD-F7E2-4120-A2CE-22852AAA9F56}"/>
            </ac:spMkLst>
          </pc:spChg>
        </pc:sldLayoutChg>
      </pc:sldMasterChg>
      <pc:sldMasterChg chg="modSp modSldLayout">
        <pc:chgData name="Makuch, Monika" userId="5f32b3e3-5b05-4c85-90fd-1c5e60f186a0" providerId="ADAL" clId="{1D32D053-C30C-48C8-8D4A-08FF459BE7C6}" dt="2024-02-02T08:37:32.055" v="29"/>
        <pc:sldMasterMkLst>
          <pc:docMk/>
          <pc:sldMasterMk cId="16169106" sldId="2147484214"/>
        </pc:sldMasterMkLst>
        <pc:spChg chg="mod">
          <ac:chgData name="Makuch, Monika" userId="5f32b3e3-5b05-4c85-90fd-1c5e60f186a0" providerId="ADAL" clId="{1D32D053-C30C-48C8-8D4A-08FF459BE7C6}" dt="2024-02-02T08:37:32.055" v="29"/>
          <ac:spMkLst>
            <pc:docMk/>
            <pc:sldMasterMk cId="16169106" sldId="2147484214"/>
            <ac:spMk id="10" creationId="{9624E0B2-760E-457A-8367-213CE89D650B}"/>
          </ac:spMkLst>
        </pc:sp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1622096233" sldId="2147484225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1622096233" sldId="2147484225"/>
              <ac:spMk id="5" creationId="{7FB0387B-1E9C-4EB7-9BA3-83AB796E35C7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260517062" sldId="2147484226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260517062" sldId="2147484226"/>
              <ac:spMk id="13" creationId="{EC3F0890-0DED-4AD1-9A02-BD56F8554BDC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4110686339" sldId="2147484227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4110686339" sldId="2147484227"/>
              <ac:spMk id="15" creationId="{C230B8D6-1525-4D29-A117-F22A9C16F085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426754817" sldId="2147484228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426754817" sldId="2147484228"/>
              <ac:spMk id="5" creationId="{7BC1BE3C-F523-44EE-B6D4-7175CE08E157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969995526" sldId="2147484229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969995526" sldId="2147484229"/>
              <ac:spMk id="11" creationId="{E4E1CDE7-C850-4F14-8D26-8BD1EE3D6D54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4187634753" sldId="2147484230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4187634753" sldId="2147484230"/>
              <ac:spMk id="7" creationId="{3646097A-7916-4EBE-A526-09FCBD84F6A7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1297283105" sldId="2147484231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1297283105" sldId="2147484231"/>
              <ac:spMk id="9" creationId="{06E1154F-E5DD-468F-85D1-17FC4F4386D8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2724050074" sldId="2147484232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2724050074" sldId="2147484232"/>
              <ac:spMk id="9" creationId="{0A51E00B-3AD2-4131-A1AF-2681835517EC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1760046009" sldId="2147484233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1760046009" sldId="2147484233"/>
              <ac:spMk id="11" creationId="{DF77ADC1-6931-47B6-AF28-D1C74D5BB435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1197716690" sldId="2147484234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1197716690" sldId="2147484234"/>
              <ac:spMk id="11" creationId="{DF77ADC1-6931-47B6-AF28-D1C74D5BB435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2273527106" sldId="2147484235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2273527106" sldId="2147484235"/>
              <ac:spMk id="11" creationId="{DF77ADC1-6931-47B6-AF28-D1C74D5BB435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2476210284" sldId="2147484236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2476210284" sldId="2147484236"/>
              <ac:spMk id="15" creationId="{FE860E3B-7BAE-4917-8F29-26AFBD0E72B1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2454843416" sldId="2147484237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2454843416" sldId="2147484237"/>
              <ac:spMk id="23" creationId="{83000718-AD47-4F1E-8F71-56356C940652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3768154349" sldId="2147484238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3768154349" sldId="2147484238"/>
              <ac:spMk id="33" creationId="{57676F53-2AF5-4F44-9119-3C3347D1DA0B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1615778973" sldId="2147484239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1615778973" sldId="2147484239"/>
              <ac:spMk id="33" creationId="{57676F53-2AF5-4F44-9119-3C3347D1DA0B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1671771250" sldId="2147484240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1671771250" sldId="2147484240"/>
              <ac:spMk id="13" creationId="{9310CF55-0D9B-41F8-8D1E-8BA74BC232B7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3835793315" sldId="2147484241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3835793315" sldId="2147484241"/>
              <ac:spMk id="37" creationId="{BD665DCA-734C-4077-92CB-D7A9FCD67D98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907632545" sldId="2147484242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907632545" sldId="2147484242"/>
              <ac:spMk id="29" creationId="{F748F9AD-5F56-42EC-9922-780EBA4436E9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3425264122" sldId="2147484243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3425264122" sldId="2147484243"/>
              <ac:spMk id="50" creationId="{A671D4FB-2F86-4AF3-89D0-D61D543789F5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3024553545" sldId="2147484244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3024553545" sldId="2147484244"/>
              <ac:spMk id="11" creationId="{AF384B1D-1AA1-4DD2-A317-08008594FFD8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1171211406" sldId="2147484245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1171211406" sldId="2147484245"/>
              <ac:spMk id="15" creationId="{E567C369-8A33-4851-8646-E53D6E8D8CC7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2386720047" sldId="2147484246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2386720047" sldId="2147484246"/>
              <ac:spMk id="7" creationId="{2D868995-C37B-451B-AE1C-89DE71F21353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3500430346" sldId="2147484247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3500430346" sldId="2147484247"/>
              <ac:spMk id="7" creationId="{2D868995-C37B-451B-AE1C-89DE71F21353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361643257" sldId="2147484248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361643257" sldId="2147484248"/>
              <ac:spMk id="21" creationId="{3B3ABE64-A2B2-4267-83DE-C2D349057BCF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120262525" sldId="2147484249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120262525" sldId="2147484249"/>
              <ac:spMk id="22" creationId="{272DDB3A-459D-40AA-A5E7-DDCDD2DEA3B8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2608384275" sldId="2147484250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2608384275" sldId="2147484250"/>
              <ac:spMk id="10" creationId="{9310B6FD-F7E2-4120-A2CE-22852AAA9F56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1749231148" sldId="2147484251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1749231148" sldId="2147484251"/>
              <ac:spMk id="10" creationId="{8D9D8DCD-E7C3-4F1A-8A48-31319650AC37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186524145" sldId="2147484252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186524145" sldId="2147484252"/>
              <ac:spMk id="12" creationId="{2A2CFACC-0767-48E1-9FD9-763E5025E7AD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2878453836" sldId="2147484253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2878453836" sldId="2147484253"/>
              <ac:spMk id="7" creationId="{480EAEA1-D575-4107-8AFC-0CAE2D4FB3D6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554187559" sldId="2147484254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554187559" sldId="2147484254"/>
              <ac:spMk id="7" creationId="{D81D62B4-50F4-4143-BFCC-F5508365C8BA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16169106" sldId="2147484214"/>
            <pc:sldLayoutMk cId="1647500905" sldId="2147484255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16169106" sldId="2147484214"/>
              <pc:sldLayoutMk cId="1647500905" sldId="2147484255"/>
              <ac:spMk id="4" creationId="{C16BF2C1-BAA9-4BAD-9934-C110D730322C}"/>
            </ac:spMkLst>
          </pc:spChg>
        </pc:sldLayoutChg>
      </pc:sldMasterChg>
      <pc:sldMasterChg chg="modSp modSldLayout">
        <pc:chgData name="Makuch, Monika" userId="5f32b3e3-5b05-4c85-90fd-1c5e60f186a0" providerId="ADAL" clId="{1D32D053-C30C-48C8-8D4A-08FF459BE7C6}" dt="2024-02-02T08:37:32.055" v="29"/>
        <pc:sldMasterMkLst>
          <pc:docMk/>
          <pc:sldMasterMk cId="3566301427" sldId="2147484264"/>
        </pc:sldMasterMkLst>
        <pc:spChg chg="mod">
          <ac:chgData name="Makuch, Monika" userId="5f32b3e3-5b05-4c85-90fd-1c5e60f186a0" providerId="ADAL" clId="{1D32D053-C30C-48C8-8D4A-08FF459BE7C6}" dt="2024-02-02T08:37:32.055" v="29"/>
          <ac:spMkLst>
            <pc:docMk/>
            <pc:sldMasterMk cId="3566301427" sldId="2147484264"/>
            <ac:spMk id="25" creationId="{8DEAF7F0-ADBE-DA4B-80DE-727BD0E615AA}"/>
          </ac:spMkLst>
        </pc:sp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566301427" sldId="2147484264"/>
            <pc:sldLayoutMk cId="2938894302" sldId="2147484774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566301427" sldId="2147484264"/>
              <pc:sldLayoutMk cId="2938894302" sldId="2147484774"/>
              <ac:spMk id="11" creationId="{DF77ADC1-6931-47B6-AF28-D1C74D5BB435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566301427" sldId="2147484264"/>
            <pc:sldLayoutMk cId="2179124658" sldId="2147484777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566301427" sldId="2147484264"/>
              <pc:sldLayoutMk cId="2179124658" sldId="2147484777"/>
              <ac:spMk id="3" creationId="{6726978A-7D98-463D-B9B1-47CC26AC8E29}"/>
            </ac:spMkLst>
          </pc:spChg>
        </pc:sldLayoutChg>
        <pc:sldLayoutChg chg="modSp mod">
          <pc:chgData name="Makuch, Monika" userId="5f32b3e3-5b05-4c85-90fd-1c5e60f186a0" providerId="ADAL" clId="{1D32D053-C30C-48C8-8D4A-08FF459BE7C6}" dt="2024-02-02T08:33:07.981" v="2" actId="20577"/>
          <pc:sldLayoutMkLst>
            <pc:docMk/>
            <pc:sldMasterMk cId="3566301427" sldId="2147484264"/>
            <pc:sldLayoutMk cId="1885369172" sldId="2147484778"/>
          </pc:sldLayoutMkLst>
          <pc:spChg chg="mod">
            <ac:chgData name="Makuch, Monika" userId="5f32b3e3-5b05-4c85-90fd-1c5e60f186a0" providerId="ADAL" clId="{1D32D053-C30C-48C8-8D4A-08FF459BE7C6}" dt="2024-02-02T08:33:07.981" v="2" actId="20577"/>
            <ac:spMkLst>
              <pc:docMk/>
              <pc:sldMasterMk cId="3566301427" sldId="2147484264"/>
              <pc:sldLayoutMk cId="1885369172" sldId="2147484778"/>
              <ac:spMk id="3" creationId="{CA5522B8-FE7D-40FD-8F58-4F88FDEF3CAF}"/>
            </ac:spMkLst>
          </pc:spChg>
        </pc:sldLayoutChg>
      </pc:sldMasterChg>
      <pc:sldMasterChg chg="modSp modSldLayout">
        <pc:chgData name="Makuch, Monika" userId="5f32b3e3-5b05-4c85-90fd-1c5e60f186a0" providerId="ADAL" clId="{1D32D053-C30C-48C8-8D4A-08FF459BE7C6}" dt="2024-02-02T08:37:32.055" v="29"/>
        <pc:sldMasterMkLst>
          <pc:docMk/>
          <pc:sldMasterMk cId="3810170329" sldId="2147484285"/>
        </pc:sldMasterMkLst>
        <pc:spChg chg="mod">
          <ac:chgData name="Makuch, Monika" userId="5f32b3e3-5b05-4c85-90fd-1c5e60f186a0" providerId="ADAL" clId="{1D32D053-C30C-48C8-8D4A-08FF459BE7C6}" dt="2024-02-02T08:37:32.055" v="29"/>
          <ac:spMkLst>
            <pc:docMk/>
            <pc:sldMasterMk cId="3810170329" sldId="2147484285"/>
            <ac:spMk id="10" creationId="{9624E0B2-760E-457A-8367-213CE89D650B}"/>
          </ac:spMkLst>
        </pc:sp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2610279912" sldId="2147484296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2610279912" sldId="2147484296"/>
              <ac:spMk id="5" creationId="{7FB0387B-1E9C-4EB7-9BA3-83AB796E35C7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1720429251" sldId="2147484297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1720429251" sldId="2147484297"/>
              <ac:spMk id="13" creationId="{EC3F0890-0DED-4AD1-9A02-BD56F8554BDC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738028642" sldId="2147484298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738028642" sldId="2147484298"/>
              <ac:spMk id="15" creationId="{C230B8D6-1525-4D29-A117-F22A9C16F085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531872154" sldId="2147484299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531872154" sldId="2147484299"/>
              <ac:spMk id="5" creationId="{7BC1BE3C-F523-44EE-B6D4-7175CE08E157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1025458487" sldId="2147484300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1025458487" sldId="2147484300"/>
              <ac:spMk id="11" creationId="{E4E1CDE7-C850-4F14-8D26-8BD1EE3D6D54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520900313" sldId="2147484301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520900313" sldId="2147484301"/>
              <ac:spMk id="7" creationId="{3646097A-7916-4EBE-A526-09FCBD84F6A7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3237870041" sldId="2147484302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3237870041" sldId="2147484302"/>
              <ac:spMk id="9" creationId="{06E1154F-E5DD-468F-85D1-17FC4F4386D8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2253521048" sldId="2147484303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2253521048" sldId="2147484303"/>
              <ac:spMk id="9" creationId="{0A51E00B-3AD2-4131-A1AF-2681835517EC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1312507501" sldId="2147484304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1312507501" sldId="2147484304"/>
              <ac:spMk id="11" creationId="{DF77ADC1-6931-47B6-AF28-D1C74D5BB435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1594677661" sldId="2147484305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1594677661" sldId="2147484305"/>
              <ac:spMk id="11" creationId="{DF77ADC1-6931-47B6-AF28-D1C74D5BB435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3591553757" sldId="2147484306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3591553757" sldId="2147484306"/>
              <ac:spMk id="11" creationId="{DF77ADC1-6931-47B6-AF28-D1C74D5BB435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2441488891" sldId="2147484307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2441488891" sldId="2147484307"/>
              <ac:spMk id="15" creationId="{FE860E3B-7BAE-4917-8F29-26AFBD0E72B1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4114095840" sldId="2147484308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4114095840" sldId="2147484308"/>
              <ac:spMk id="23" creationId="{83000718-AD47-4F1E-8F71-56356C940652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1966659449" sldId="2147484309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1966659449" sldId="2147484309"/>
              <ac:spMk id="33" creationId="{57676F53-2AF5-4F44-9119-3C3347D1DA0B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3110755912" sldId="2147484310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3110755912" sldId="2147484310"/>
              <ac:spMk id="33" creationId="{57676F53-2AF5-4F44-9119-3C3347D1DA0B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1811513573" sldId="2147484311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1811513573" sldId="2147484311"/>
              <ac:spMk id="13" creationId="{9310CF55-0D9B-41F8-8D1E-8BA74BC232B7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4063349923" sldId="2147484312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4063349923" sldId="2147484312"/>
              <ac:spMk id="37" creationId="{BD665DCA-734C-4077-92CB-D7A9FCD67D98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2180471764" sldId="2147484313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2180471764" sldId="2147484313"/>
              <ac:spMk id="29" creationId="{F748F9AD-5F56-42EC-9922-780EBA4436E9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659971563" sldId="2147484314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659971563" sldId="2147484314"/>
              <ac:spMk id="50" creationId="{A671D4FB-2F86-4AF3-89D0-D61D543789F5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97974574" sldId="2147484315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97974574" sldId="2147484315"/>
              <ac:spMk id="11" creationId="{AF384B1D-1AA1-4DD2-A317-08008594FFD8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1769594904" sldId="2147484316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1769594904" sldId="2147484316"/>
              <ac:spMk id="15" creationId="{E567C369-8A33-4851-8646-E53D6E8D8CC7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4120855610" sldId="2147484317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4120855610" sldId="2147484317"/>
              <ac:spMk id="7" creationId="{2D868995-C37B-451B-AE1C-89DE71F21353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1730264542" sldId="2147484318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1730264542" sldId="2147484318"/>
              <ac:spMk id="7" creationId="{2D868995-C37B-451B-AE1C-89DE71F21353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446659727" sldId="2147484319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446659727" sldId="2147484319"/>
              <ac:spMk id="21" creationId="{3B3ABE64-A2B2-4267-83DE-C2D349057BCF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1053005902" sldId="2147484320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1053005902" sldId="2147484320"/>
              <ac:spMk id="22" creationId="{272DDB3A-459D-40AA-A5E7-DDCDD2DEA3B8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3281864375" sldId="2147484321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3281864375" sldId="2147484321"/>
              <ac:spMk id="10" creationId="{9310B6FD-F7E2-4120-A2CE-22852AAA9F56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1097429302" sldId="2147484322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1097429302" sldId="2147484322"/>
              <ac:spMk id="10" creationId="{8D9D8DCD-E7C3-4F1A-8A48-31319650AC37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4188471435" sldId="2147484323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4188471435" sldId="2147484323"/>
              <ac:spMk id="12" creationId="{2A2CFACC-0767-48E1-9FD9-763E5025E7AD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3134989934" sldId="2147484324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3134989934" sldId="2147484324"/>
              <ac:spMk id="7" creationId="{480EAEA1-D575-4107-8AFC-0CAE2D4FB3D6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1557755249" sldId="2147484325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1557755249" sldId="2147484325"/>
              <ac:spMk id="7" creationId="{D81D62B4-50F4-4143-BFCC-F5508365C8BA}"/>
            </ac:spMkLst>
          </pc:spChg>
        </pc:sldLayoutChg>
        <pc:sldLayoutChg chg="modSp">
          <pc:chgData name="Makuch, Monika" userId="5f32b3e3-5b05-4c85-90fd-1c5e60f186a0" providerId="ADAL" clId="{1D32D053-C30C-48C8-8D4A-08FF459BE7C6}" dt="2024-02-02T08:37:32.055" v="29"/>
          <pc:sldLayoutMkLst>
            <pc:docMk/>
            <pc:sldMasterMk cId="3810170329" sldId="2147484285"/>
            <pc:sldLayoutMk cId="1548645931" sldId="2147484326"/>
          </pc:sldLayoutMkLst>
          <pc:spChg chg="mod">
            <ac:chgData name="Makuch, Monika" userId="5f32b3e3-5b05-4c85-90fd-1c5e60f186a0" providerId="ADAL" clId="{1D32D053-C30C-48C8-8D4A-08FF459BE7C6}" dt="2024-02-02T08:37:32.055" v="29"/>
            <ac:spMkLst>
              <pc:docMk/>
              <pc:sldMasterMk cId="3810170329" sldId="2147484285"/>
              <pc:sldLayoutMk cId="1548645931" sldId="2147484326"/>
              <ac:spMk id="4" creationId="{C16BF2C1-BAA9-4BAD-9934-C110D730322C}"/>
            </ac:spMkLst>
          </pc:spChg>
        </pc:sldLayoutChg>
      </pc:sldMasterChg>
    </pc:docChg>
  </pc:docChgLst>
  <pc:docChgLst>
    <pc:chgData name="Janczewski, Piotr" userId="S::piotr.janczewski@accenture.com::2467fbf0-2ef4-434e-b40e-471cd3a495c7" providerId="AD" clId="Web-{F152DA2D-A9BB-6DEE-D4BF-78D256E242AD}"/>
    <pc:docChg chg="addSld modSld sldOrd modSection">
      <pc:chgData name="Janczewski, Piotr" userId="S::piotr.janczewski@accenture.com::2467fbf0-2ef4-434e-b40e-471cd3a495c7" providerId="AD" clId="Web-{F152DA2D-A9BB-6DEE-D4BF-78D256E242AD}" dt="2024-02-02T10:56:57.104" v="24"/>
      <pc:docMkLst>
        <pc:docMk/>
      </pc:docMkLst>
      <pc:sldChg chg="addSp delSp modSp">
        <pc:chgData name="Janczewski, Piotr" userId="S::piotr.janczewski@accenture.com::2467fbf0-2ef4-434e-b40e-471cd3a495c7" providerId="AD" clId="Web-{F152DA2D-A9BB-6DEE-D4BF-78D256E242AD}" dt="2024-02-02T08:43:13.457" v="11"/>
        <pc:sldMkLst>
          <pc:docMk/>
          <pc:sldMk cId="3875264409" sldId="2147482920"/>
        </pc:sldMkLst>
        <pc:spChg chg="del">
          <ac:chgData name="Janczewski, Piotr" userId="S::piotr.janczewski@accenture.com::2467fbf0-2ef4-434e-b40e-471cd3a495c7" providerId="AD" clId="Web-{F152DA2D-A9BB-6DEE-D4BF-78D256E242AD}" dt="2024-02-02T08:42:57.628" v="3"/>
          <ac:spMkLst>
            <pc:docMk/>
            <pc:sldMk cId="3875264409" sldId="2147482920"/>
            <ac:spMk id="2" creationId="{158ADE63-5A12-4076-9DB3-4534D587A793}"/>
          </ac:spMkLst>
        </pc:spChg>
        <pc:spChg chg="mod">
          <ac:chgData name="Janczewski, Piotr" userId="S::piotr.janczewski@accenture.com::2467fbf0-2ef4-434e-b40e-471cd3a495c7" providerId="AD" clId="Web-{F152DA2D-A9BB-6DEE-D4BF-78D256E242AD}" dt="2024-02-02T08:42:54.003" v="0" actId="20577"/>
          <ac:spMkLst>
            <pc:docMk/>
            <pc:sldMk cId="3875264409" sldId="2147482920"/>
            <ac:spMk id="3" creationId="{0F8E20E1-FCB3-4874-2BB3-CD4A6A1824F8}"/>
          </ac:spMkLst>
        </pc:spChg>
        <pc:spChg chg="add del mod">
          <ac:chgData name="Janczewski, Piotr" userId="S::piotr.janczewski@accenture.com::2467fbf0-2ef4-434e-b40e-471cd3a495c7" providerId="AD" clId="Web-{F152DA2D-A9BB-6DEE-D4BF-78D256E242AD}" dt="2024-02-02T08:43:13.457" v="11"/>
          <ac:spMkLst>
            <pc:docMk/>
            <pc:sldMk cId="3875264409" sldId="2147482920"/>
            <ac:spMk id="8" creationId="{B11425CE-BEEA-F9AD-C7D5-82F81369BC4F}"/>
          </ac:spMkLst>
        </pc:spChg>
        <pc:spChg chg="del">
          <ac:chgData name="Janczewski, Piotr" userId="S::piotr.janczewski@accenture.com::2467fbf0-2ef4-434e-b40e-471cd3a495c7" providerId="AD" clId="Web-{F152DA2D-A9BB-6DEE-D4BF-78D256E242AD}" dt="2024-02-02T08:42:54.941" v="2"/>
          <ac:spMkLst>
            <pc:docMk/>
            <pc:sldMk cId="3875264409" sldId="2147482920"/>
            <ac:spMk id="9" creationId="{E4098C91-9741-7A10-29B6-3FA99FBE919A}"/>
          </ac:spMkLst>
        </pc:spChg>
        <pc:spChg chg="mod">
          <ac:chgData name="Janczewski, Piotr" userId="S::piotr.janczewski@accenture.com::2467fbf0-2ef4-434e-b40e-471cd3a495c7" providerId="AD" clId="Web-{F152DA2D-A9BB-6DEE-D4BF-78D256E242AD}" dt="2024-02-02T08:43:06.613" v="10" actId="20577"/>
          <ac:spMkLst>
            <pc:docMk/>
            <pc:sldMk cId="3875264409" sldId="2147482920"/>
            <ac:spMk id="10" creationId="{021F06AC-44A8-FFE2-F2DB-459CA67EA039}"/>
          </ac:spMkLst>
        </pc:spChg>
        <pc:spChg chg="del">
          <ac:chgData name="Janczewski, Piotr" userId="S::piotr.janczewski@accenture.com::2467fbf0-2ef4-434e-b40e-471cd3a495c7" providerId="AD" clId="Web-{F152DA2D-A9BB-6DEE-D4BF-78D256E242AD}" dt="2024-02-02T08:42:54.941" v="1"/>
          <ac:spMkLst>
            <pc:docMk/>
            <pc:sldMk cId="3875264409" sldId="2147482920"/>
            <ac:spMk id="11" creationId="{E980EA68-A23C-1612-7400-03C59465011E}"/>
          </ac:spMkLst>
        </pc:spChg>
      </pc:sldChg>
      <pc:sldChg chg="addCm modCm">
        <pc:chgData name="Janczewski, Piotr" userId="S::piotr.janczewski@accenture.com::2467fbf0-2ef4-434e-b40e-471cd3a495c7" providerId="AD" clId="Web-{F152DA2D-A9BB-6DEE-D4BF-78D256E242AD}" dt="2024-02-02T10:56:57.104" v="24"/>
        <pc:sldMkLst>
          <pc:docMk/>
          <pc:sldMk cId="2817505528" sldId="214748293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Janczewski, Piotr" userId="S::piotr.janczewski@accenture.com::2467fbf0-2ef4-434e-b40e-471cd3a495c7" providerId="AD" clId="Web-{F152DA2D-A9BB-6DEE-D4BF-78D256E242AD}" dt="2024-02-02T10:56:57.104" v="24"/>
              <pc2:cmMkLst xmlns:pc2="http://schemas.microsoft.com/office/powerpoint/2019/9/main/command">
                <pc:docMk/>
                <pc:sldMk cId="2817505528" sldId="2147482932"/>
                <pc2:cmMk id="{E81BFC10-CD06-4A39-A1CA-6D1FC72DB716}"/>
              </pc2:cmMkLst>
            </pc226:cmChg>
          </p:ext>
        </pc:extLst>
      </pc:sldChg>
      <pc:sldChg chg="modSp add ord replId">
        <pc:chgData name="Janczewski, Piotr" userId="S::piotr.janczewski@accenture.com::2467fbf0-2ef4-434e-b40e-471cd3a495c7" providerId="AD" clId="Web-{F152DA2D-A9BB-6DEE-D4BF-78D256E242AD}" dt="2024-02-02T08:44:04.052" v="22" actId="20577"/>
        <pc:sldMkLst>
          <pc:docMk/>
          <pc:sldMk cId="2642716449" sldId="2147482934"/>
        </pc:sldMkLst>
        <pc:spChg chg="mod">
          <ac:chgData name="Janczewski, Piotr" userId="S::piotr.janczewski@accenture.com::2467fbf0-2ef4-434e-b40e-471cd3a495c7" providerId="AD" clId="Web-{F152DA2D-A9BB-6DEE-D4BF-78D256E242AD}" dt="2024-02-02T08:44:04.052" v="22" actId="20577"/>
          <ac:spMkLst>
            <pc:docMk/>
            <pc:sldMk cId="2642716449" sldId="2147482934"/>
            <ac:spMk id="223" creationId="{2ACF7A89-BBAF-9F73-E2BB-38987B2448A9}"/>
          </ac:spMkLst>
        </pc:spChg>
      </pc:sldChg>
    </pc:docChg>
  </pc:docChgLst>
  <pc:docChgLst>
    <pc:chgData name="Janczewski, Piotr" userId="S::piotr.janczewski@accenture.com::2467fbf0-2ef4-434e-b40e-471cd3a495c7" providerId="AD" clId="Web-{F3FDED61-7B79-A0E7-03B5-D67DDDAC1FE0}"/>
    <pc:docChg chg="modSld">
      <pc:chgData name="Janczewski, Piotr" userId="S::piotr.janczewski@accenture.com::2467fbf0-2ef4-434e-b40e-471cd3a495c7" providerId="AD" clId="Web-{F3FDED61-7B79-A0E7-03B5-D67DDDAC1FE0}" dt="2024-02-12T10:17:31.791" v="2"/>
      <pc:docMkLst>
        <pc:docMk/>
      </pc:docMkLst>
      <pc:sldChg chg="addSp delSp">
        <pc:chgData name="Janczewski, Piotr" userId="S::piotr.janczewski@accenture.com::2467fbf0-2ef4-434e-b40e-471cd3a495c7" providerId="AD" clId="Web-{F3FDED61-7B79-A0E7-03B5-D67DDDAC1FE0}" dt="2024-02-12T10:17:31.791" v="2"/>
        <pc:sldMkLst>
          <pc:docMk/>
          <pc:sldMk cId="3167764417" sldId="3004"/>
        </pc:sldMkLst>
        <pc:graphicFrameChg chg="add del">
          <ac:chgData name="Janczewski, Piotr" userId="S::piotr.janczewski@accenture.com::2467fbf0-2ef4-434e-b40e-471cd3a495c7" providerId="AD" clId="Web-{F3FDED61-7B79-A0E7-03B5-D67DDDAC1FE0}" dt="2024-02-12T10:17:31.791" v="2"/>
          <ac:graphicFrameMkLst>
            <pc:docMk/>
            <pc:sldMk cId="3167764417" sldId="3004"/>
            <ac:graphicFrameMk id="115" creationId="{F4A59C64-269F-45BA-B3B4-6FDA0594BD5D}"/>
          </ac:graphicFrameMkLst>
        </pc:graphicFrameChg>
      </pc:sldChg>
      <pc:sldChg chg="modSp">
        <pc:chgData name="Janczewski, Piotr" userId="S::piotr.janczewski@accenture.com::2467fbf0-2ef4-434e-b40e-471cd3a495c7" providerId="AD" clId="Web-{F3FDED61-7B79-A0E7-03B5-D67DDDAC1FE0}" dt="2024-02-12T10:12:57.656" v="0" actId="20577"/>
        <pc:sldMkLst>
          <pc:docMk/>
          <pc:sldMk cId="3875264409" sldId="2147482920"/>
        </pc:sldMkLst>
        <pc:spChg chg="mod">
          <ac:chgData name="Janczewski, Piotr" userId="S::piotr.janczewski@accenture.com::2467fbf0-2ef4-434e-b40e-471cd3a495c7" providerId="AD" clId="Web-{F3FDED61-7B79-A0E7-03B5-D67DDDAC1FE0}" dt="2024-02-12T10:12:57.656" v="0" actId="20577"/>
          <ac:spMkLst>
            <pc:docMk/>
            <pc:sldMk cId="3875264409" sldId="2147482920"/>
            <ac:spMk id="10" creationId="{021F06AC-44A8-FFE2-F2DB-459CA67EA039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782706240154212"/>
          <c:y val="0.21063664367455393"/>
          <c:w val="0.62200794337962717"/>
          <c:h val="0.9200780396419955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59C0-447D-86CB-41FCF76620B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3-59C0-447D-86CB-41FCF76620B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5-59C0-447D-86CB-41FCF76620B3}"/>
              </c:ext>
            </c:extLst>
          </c:dPt>
          <c:dPt>
            <c:idx val="6"/>
            <c:bubble3D val="0"/>
            <c:spPr>
              <a:solidFill>
                <a:srgbClr val="595194"/>
              </a:solidFill>
            </c:spPr>
            <c:extLst>
              <c:ext xmlns:c16="http://schemas.microsoft.com/office/drawing/2014/chart" uri="{C3380CC4-5D6E-409C-BE32-E72D297353CC}">
                <c16:uniqueId val="{00000007-59C0-447D-86CB-41FCF76620B3}"/>
              </c:ext>
            </c:extLst>
          </c:dPt>
          <c:dPt>
            <c:idx val="7"/>
            <c:bubble3D val="0"/>
            <c:spPr>
              <a:solidFill>
                <a:srgbClr val="826DAF"/>
              </a:solidFill>
            </c:spPr>
            <c:extLst>
              <c:ext xmlns:c16="http://schemas.microsoft.com/office/drawing/2014/chart" uri="{C3380CC4-5D6E-409C-BE32-E72D297353CC}">
                <c16:uniqueId val="{00000009-59C0-447D-86CB-41FCF76620B3}"/>
              </c:ext>
            </c:extLst>
          </c:dPt>
          <c:dPt>
            <c:idx val="8"/>
            <c:bubble3D val="0"/>
            <c:spPr>
              <a:solidFill>
                <a:srgbClr val="C30A28"/>
              </a:solidFill>
            </c:spPr>
            <c:extLst>
              <c:ext xmlns:c16="http://schemas.microsoft.com/office/drawing/2014/chart" uri="{C3380CC4-5D6E-409C-BE32-E72D297353CC}">
                <c16:uniqueId val="{0000000B-59C0-447D-86CB-41FCF76620B3}"/>
              </c:ext>
            </c:extLst>
          </c:dPt>
          <c:dPt>
            <c:idx val="9"/>
            <c:bubble3D val="0"/>
            <c:spPr>
              <a:solidFill>
                <a:srgbClr val="E04E5D"/>
              </a:solidFill>
            </c:spPr>
            <c:extLst>
              <c:ext xmlns:c16="http://schemas.microsoft.com/office/drawing/2014/chart" uri="{C3380CC4-5D6E-409C-BE32-E72D297353CC}">
                <c16:uniqueId val="{0000000D-59C0-447D-86CB-41FCF76620B3}"/>
              </c:ext>
            </c:extLst>
          </c:dPt>
          <c:dPt>
            <c:idx val="10"/>
            <c:bubble3D val="0"/>
            <c:spPr>
              <a:solidFill>
                <a:srgbClr val="052F69"/>
              </a:solidFill>
            </c:spPr>
            <c:extLst>
              <c:ext xmlns:c16="http://schemas.microsoft.com/office/drawing/2014/chart" uri="{C3380CC4-5D6E-409C-BE32-E72D297353CC}">
                <c16:uniqueId val="{0000000F-59C0-447D-86CB-41FCF76620B3}"/>
              </c:ext>
            </c:extLst>
          </c:dPt>
          <c:dPt>
            <c:idx val="11"/>
            <c:bubble3D val="0"/>
            <c:spPr>
              <a:solidFill>
                <a:srgbClr val="1F5A13"/>
              </a:solidFill>
            </c:spPr>
            <c:extLst>
              <c:ext xmlns:c16="http://schemas.microsoft.com/office/drawing/2014/chart" uri="{C3380CC4-5D6E-409C-BE32-E72D297353CC}">
                <c16:uniqueId val="{00000011-59C0-447D-86CB-41FCF76620B3}"/>
              </c:ext>
            </c:extLst>
          </c:dPt>
          <c:dPt>
            <c:idx val="12"/>
            <c:bubble3D val="0"/>
            <c:spPr>
              <a:solidFill>
                <a:srgbClr val="AC3905"/>
              </a:solidFill>
            </c:spPr>
            <c:extLst>
              <c:ext xmlns:c16="http://schemas.microsoft.com/office/drawing/2014/chart" uri="{C3380CC4-5D6E-409C-BE32-E72D297353CC}">
                <c16:uniqueId val="{00000013-59C0-447D-86CB-41FCF76620B3}"/>
              </c:ext>
            </c:extLst>
          </c:dPt>
          <c:dPt>
            <c:idx val="13"/>
            <c:bubble3D val="0"/>
            <c:spPr>
              <a:solidFill>
                <a:srgbClr val="2B2162"/>
              </a:solidFill>
            </c:spPr>
            <c:extLst>
              <c:ext xmlns:c16="http://schemas.microsoft.com/office/drawing/2014/chart" uri="{C3380CC4-5D6E-409C-BE32-E72D297353CC}">
                <c16:uniqueId val="{00000015-59C0-447D-86CB-41FCF76620B3}"/>
              </c:ext>
            </c:extLst>
          </c:dPt>
          <c:dPt>
            <c:idx val="14"/>
            <c:bubble3D val="0"/>
            <c:spPr>
              <a:solidFill>
                <a:srgbClr val="61171F"/>
              </a:solidFill>
            </c:spPr>
            <c:extLst>
              <c:ext xmlns:c16="http://schemas.microsoft.com/office/drawing/2014/chart" uri="{C3380CC4-5D6E-409C-BE32-E72D297353CC}">
                <c16:uniqueId val="{00000017-59C0-447D-86CB-41FCF76620B3}"/>
              </c:ext>
            </c:extLst>
          </c:dPt>
          <c:dPt>
            <c:idx val="15"/>
            <c:bubble3D val="0"/>
            <c:spPr>
              <a:solidFill>
                <a:srgbClr val="686868"/>
              </a:solidFill>
            </c:spPr>
            <c:extLst>
              <c:ext xmlns:c16="http://schemas.microsoft.com/office/drawing/2014/chart" uri="{C3380CC4-5D6E-409C-BE32-E72D297353CC}">
                <c16:uniqueId val="{00000019-59C0-447D-86CB-41FCF76620B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Data Science</c:v>
                </c:pt>
                <c:pt idx="1">
                  <c:v>Data Engineering</c:v>
                </c:pt>
                <c:pt idx="2">
                  <c:v>Visual Analytics </c:v>
                </c:pt>
                <c:pt idx="3">
                  <c:v>ML Ops</c:v>
                </c:pt>
                <c:pt idx="4">
                  <c:v>GenAI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5</c:v>
                </c:pt>
                <c:pt idx="1">
                  <c:v>22</c:v>
                </c:pt>
                <c:pt idx="2">
                  <c:v>10</c:v>
                </c:pt>
                <c:pt idx="3">
                  <c:v>10</c:v>
                </c:pt>
                <c:pt idx="4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59C0-447D-86CB-41FCF76620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8"/>
      </c:doughnutChart>
    </c:plotArea>
    <c:legend>
      <c:legendPos val="b"/>
      <c:layout>
        <c:manualLayout>
          <c:xMode val="edge"/>
          <c:yMode val="edge"/>
          <c:x val="1.4484090826256521E-2"/>
          <c:y val="0.76142206570372928"/>
          <c:w val="0.97103181834748697"/>
          <c:h val="0.15477179350169126"/>
        </c:manualLayout>
      </c:layout>
      <c:overlay val="0"/>
      <c:txPr>
        <a:bodyPr/>
        <a:lstStyle/>
        <a:p>
          <a:pPr>
            <a:defRPr sz="1000"/>
          </a:pPr>
          <a:endParaRPr lang="pl-PL"/>
        </a:p>
      </c:txPr>
    </c:legend>
    <c:plotVisOnly val="1"/>
    <c:dispBlanksAs val="gap"/>
    <c:showDLblsOverMax val="0"/>
  </c:chart>
  <c:txPr>
    <a:bodyPr/>
    <a:lstStyle/>
    <a:p>
      <a:pPr>
        <a:defRPr sz="1000" b="0">
          <a:latin typeface="+mn-lt"/>
          <a:cs typeface="Akkurat Light Pro"/>
        </a:defRPr>
      </a:pPr>
      <a:endParaRPr lang="pl-PL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053668209142724"/>
          <c:y val="0.23003783251742874"/>
          <c:w val="0.57618840768991542"/>
          <c:h val="0.4933862605494519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ED96-4ABB-BD69-FFEE746DF1C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3-ED96-4ABB-BD69-FFEE746DF1C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5-ED96-4ABB-BD69-FFEE746DF1C2}"/>
              </c:ext>
            </c:extLst>
          </c:dPt>
          <c:dPt>
            <c:idx val="6"/>
            <c:bubble3D val="0"/>
            <c:spPr>
              <a:solidFill>
                <a:srgbClr val="595194"/>
              </a:solidFill>
            </c:spPr>
            <c:extLst>
              <c:ext xmlns:c16="http://schemas.microsoft.com/office/drawing/2014/chart" uri="{C3380CC4-5D6E-409C-BE32-E72D297353CC}">
                <c16:uniqueId val="{00000007-ED96-4ABB-BD69-FFEE746DF1C2}"/>
              </c:ext>
            </c:extLst>
          </c:dPt>
          <c:dPt>
            <c:idx val="7"/>
            <c:bubble3D val="0"/>
            <c:spPr>
              <a:solidFill>
                <a:srgbClr val="826DAF"/>
              </a:solidFill>
            </c:spPr>
            <c:extLst>
              <c:ext xmlns:c16="http://schemas.microsoft.com/office/drawing/2014/chart" uri="{C3380CC4-5D6E-409C-BE32-E72D297353CC}">
                <c16:uniqueId val="{00000009-ED96-4ABB-BD69-FFEE746DF1C2}"/>
              </c:ext>
            </c:extLst>
          </c:dPt>
          <c:dPt>
            <c:idx val="8"/>
            <c:bubble3D val="0"/>
            <c:spPr>
              <a:solidFill>
                <a:srgbClr val="C30A28"/>
              </a:solidFill>
            </c:spPr>
            <c:extLst>
              <c:ext xmlns:c16="http://schemas.microsoft.com/office/drawing/2014/chart" uri="{C3380CC4-5D6E-409C-BE32-E72D297353CC}">
                <c16:uniqueId val="{0000000B-ED96-4ABB-BD69-FFEE746DF1C2}"/>
              </c:ext>
            </c:extLst>
          </c:dPt>
          <c:dPt>
            <c:idx val="9"/>
            <c:bubble3D val="0"/>
            <c:spPr>
              <a:solidFill>
                <a:srgbClr val="E04E5D"/>
              </a:solidFill>
            </c:spPr>
            <c:extLst>
              <c:ext xmlns:c16="http://schemas.microsoft.com/office/drawing/2014/chart" uri="{C3380CC4-5D6E-409C-BE32-E72D297353CC}">
                <c16:uniqueId val="{0000000D-ED96-4ABB-BD69-FFEE746DF1C2}"/>
              </c:ext>
            </c:extLst>
          </c:dPt>
          <c:dPt>
            <c:idx val="10"/>
            <c:bubble3D val="0"/>
            <c:spPr>
              <a:solidFill>
                <a:srgbClr val="052F69"/>
              </a:solidFill>
            </c:spPr>
            <c:extLst>
              <c:ext xmlns:c16="http://schemas.microsoft.com/office/drawing/2014/chart" uri="{C3380CC4-5D6E-409C-BE32-E72D297353CC}">
                <c16:uniqueId val="{0000000F-ED96-4ABB-BD69-FFEE746DF1C2}"/>
              </c:ext>
            </c:extLst>
          </c:dPt>
          <c:dPt>
            <c:idx val="11"/>
            <c:bubble3D val="0"/>
            <c:spPr>
              <a:solidFill>
                <a:srgbClr val="1F5A13"/>
              </a:solidFill>
            </c:spPr>
            <c:extLst>
              <c:ext xmlns:c16="http://schemas.microsoft.com/office/drawing/2014/chart" uri="{C3380CC4-5D6E-409C-BE32-E72D297353CC}">
                <c16:uniqueId val="{00000011-ED96-4ABB-BD69-FFEE746DF1C2}"/>
              </c:ext>
            </c:extLst>
          </c:dPt>
          <c:dPt>
            <c:idx val="12"/>
            <c:bubble3D val="0"/>
            <c:spPr>
              <a:solidFill>
                <a:srgbClr val="AC3905"/>
              </a:solidFill>
            </c:spPr>
            <c:extLst>
              <c:ext xmlns:c16="http://schemas.microsoft.com/office/drawing/2014/chart" uri="{C3380CC4-5D6E-409C-BE32-E72D297353CC}">
                <c16:uniqueId val="{00000013-ED96-4ABB-BD69-FFEE746DF1C2}"/>
              </c:ext>
            </c:extLst>
          </c:dPt>
          <c:dPt>
            <c:idx val="13"/>
            <c:bubble3D val="0"/>
            <c:spPr>
              <a:solidFill>
                <a:srgbClr val="2B2162"/>
              </a:solidFill>
            </c:spPr>
            <c:extLst>
              <c:ext xmlns:c16="http://schemas.microsoft.com/office/drawing/2014/chart" uri="{C3380CC4-5D6E-409C-BE32-E72D297353CC}">
                <c16:uniqueId val="{00000015-ED96-4ABB-BD69-FFEE746DF1C2}"/>
              </c:ext>
            </c:extLst>
          </c:dPt>
          <c:dPt>
            <c:idx val="14"/>
            <c:bubble3D val="0"/>
            <c:spPr>
              <a:solidFill>
                <a:srgbClr val="61171F"/>
              </a:solidFill>
            </c:spPr>
            <c:extLst>
              <c:ext xmlns:c16="http://schemas.microsoft.com/office/drawing/2014/chart" uri="{C3380CC4-5D6E-409C-BE32-E72D297353CC}">
                <c16:uniqueId val="{00000017-ED96-4ABB-BD69-FFEE746DF1C2}"/>
              </c:ext>
            </c:extLst>
          </c:dPt>
          <c:dPt>
            <c:idx val="15"/>
            <c:bubble3D val="0"/>
            <c:spPr>
              <a:solidFill>
                <a:srgbClr val="686868"/>
              </a:solidFill>
            </c:spPr>
            <c:extLst>
              <c:ext xmlns:c16="http://schemas.microsoft.com/office/drawing/2014/chart" uri="{C3380CC4-5D6E-409C-BE32-E72D297353CC}">
                <c16:uniqueId val="{00000019-ED96-4ABB-BD69-FFEE746DF1C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Financial Services</c:v>
                </c:pt>
                <c:pt idx="1">
                  <c:v>Products</c:v>
                </c:pt>
                <c:pt idx="2">
                  <c:v>Customer</c:v>
                </c:pt>
                <c:pt idx="3">
                  <c:v>CMT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8</c:v>
                </c:pt>
                <c:pt idx="1">
                  <c:v>20</c:v>
                </c:pt>
                <c:pt idx="2">
                  <c:v>10</c:v>
                </c:pt>
                <c:pt idx="3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ED96-4ABB-BD69-FFEE746DF1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8"/>
      </c:doughnutChart>
    </c:plotArea>
    <c:legend>
      <c:legendPos val="b"/>
      <c:layout>
        <c:manualLayout>
          <c:xMode val="edge"/>
          <c:yMode val="edge"/>
          <c:x val="2.7491815592693959E-2"/>
          <c:y val="0.74299035681692782"/>
          <c:w val="0.97067180166279921"/>
          <c:h val="0.17461594403036487"/>
        </c:manualLayout>
      </c:layout>
      <c:overlay val="0"/>
      <c:txPr>
        <a:bodyPr/>
        <a:lstStyle/>
        <a:p>
          <a:pPr>
            <a:defRPr sz="1000"/>
          </a:pPr>
          <a:endParaRPr lang="pl-PL"/>
        </a:p>
      </c:txPr>
    </c:legend>
    <c:plotVisOnly val="1"/>
    <c:dispBlanksAs val="gap"/>
    <c:showDLblsOverMax val="0"/>
  </c:chart>
  <c:txPr>
    <a:bodyPr/>
    <a:lstStyle/>
    <a:p>
      <a:pPr>
        <a:defRPr sz="1000" b="0">
          <a:latin typeface="+mn-lt"/>
          <a:cs typeface="Akkurat Light Pro"/>
        </a:defRPr>
      </a:pPr>
      <a:endParaRPr lang="pl-PL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8021228807809456"/>
          <c:y val="7.3333322465928955E-2"/>
          <c:w val="0.36286845530373568"/>
          <c:h val="0.89277597831673372"/>
        </c:manualLayout>
      </c:layout>
      <c:radarChart>
        <c:radarStyle val="fill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Label A</c:v>
                </c:pt>
              </c:strCache>
            </c:strRef>
          </c:tx>
          <c:spPr>
            <a:solidFill>
              <a:srgbClr val="D999FF"/>
            </a:solidFill>
            <a:ln>
              <a:noFill/>
            </a:ln>
            <a:effectLst/>
          </c:spPr>
          <c:cat>
            <c:strRef>
              <c:f>Sheet1!$B$1:$F$1</c:f>
              <c:strCache>
                <c:ptCount val="5"/>
                <c:pt idx="0">
                  <c:v>Criterion 1</c:v>
                </c:pt>
                <c:pt idx="1">
                  <c:v>Criterion 2</c:v>
                </c:pt>
                <c:pt idx="2">
                  <c:v>Criterion 3</c:v>
                </c:pt>
                <c:pt idx="3">
                  <c:v>Criterion 4</c:v>
                </c:pt>
                <c:pt idx="4">
                  <c:v>Criterion 5</c:v>
                </c:pt>
              </c:strCache>
            </c:strRef>
          </c:cat>
          <c:val>
            <c:numRef>
              <c:f>Sheet1!$B$2:$F$2</c:f>
              <c:numCache>
                <c:formatCode>General</c:formatCode>
                <c:ptCount val="5"/>
                <c:pt idx="0">
                  <c:v>60</c:v>
                </c:pt>
                <c:pt idx="1">
                  <c:v>70</c:v>
                </c:pt>
                <c:pt idx="2">
                  <c:v>70</c:v>
                </c:pt>
                <c:pt idx="3">
                  <c:v>60</c:v>
                </c:pt>
                <c:pt idx="4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F1-4AFA-B711-B4254DFB548E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Label B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strRef>
              <c:f>Sheet1!$B$1:$F$1</c:f>
              <c:strCache>
                <c:ptCount val="5"/>
                <c:pt idx="0">
                  <c:v>Criterion 1</c:v>
                </c:pt>
                <c:pt idx="1">
                  <c:v>Criterion 2</c:v>
                </c:pt>
                <c:pt idx="2">
                  <c:v>Criterion 3</c:v>
                </c:pt>
                <c:pt idx="3">
                  <c:v>Criterion 4</c:v>
                </c:pt>
                <c:pt idx="4">
                  <c:v>Criterion 5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90</c:v>
                </c:pt>
                <c:pt idx="1">
                  <c:v>50</c:v>
                </c:pt>
                <c:pt idx="2">
                  <c:v>80</c:v>
                </c:pt>
                <c:pt idx="3">
                  <c:v>20</c:v>
                </c:pt>
                <c:pt idx="4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5F1-4AFA-B711-B4254DFB548E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Label C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strRef>
              <c:f>Sheet1!$B$1:$F$1</c:f>
              <c:strCache>
                <c:ptCount val="5"/>
                <c:pt idx="0">
                  <c:v>Criterion 1</c:v>
                </c:pt>
                <c:pt idx="1">
                  <c:v>Criterion 2</c:v>
                </c:pt>
                <c:pt idx="2">
                  <c:v>Criterion 3</c:v>
                </c:pt>
                <c:pt idx="3">
                  <c:v>Criterion 4</c:v>
                </c:pt>
                <c:pt idx="4">
                  <c:v>Criterion 5</c:v>
                </c:pt>
              </c:strCache>
            </c:strRef>
          </c:cat>
          <c:val>
            <c:numRef>
              <c:f>Sheet1!$B$4:$F$4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15F1-4AFA-B711-B4254DFB54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49485584"/>
        <c:axId val="637844352"/>
      </c:radarChart>
      <c:catAx>
        <c:axId val="549485584"/>
        <c:scaling>
          <c:orientation val="minMax"/>
        </c:scaling>
        <c:delete val="1"/>
        <c:axPos val="b"/>
        <c:majorGridlines>
          <c:spPr>
            <a:ln w="6350" cap="flat" cmpd="sng" algn="ctr">
              <a:solidFill>
                <a:schemeClr val="tx1">
                  <a:tint val="7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637844352"/>
        <c:crosses val="autoZero"/>
        <c:auto val="0"/>
        <c:lblAlgn val="ctr"/>
        <c:lblOffset val="100"/>
        <c:noMultiLvlLbl val="0"/>
      </c:catAx>
      <c:valAx>
        <c:axId val="637844352"/>
        <c:scaling>
          <c:orientation val="minMax"/>
        </c:scaling>
        <c:delete val="0"/>
        <c:axPos val="l"/>
        <c:minorGridlines>
          <c:spPr>
            <a:ln w="6350" cap="flat" cmpd="sng" algn="ctr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</a:ln>
            <a:effectLst/>
          </c:spPr>
        </c:minorGridlines>
        <c:numFmt formatCode="General" sourceLinked="1"/>
        <c:majorTickMark val="none"/>
        <c:minorTickMark val="cross"/>
        <c:tickLblPos val="none"/>
        <c:spPr>
          <a:noFill/>
          <a:ln w="12700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549485584"/>
        <c:crosses val="autoZero"/>
        <c:crossBetween val="between"/>
        <c:minorUnit val="2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400">
          <a:solidFill>
            <a:schemeClr val="tx2"/>
          </a:solidFill>
        </a:defRPr>
      </a:pPr>
      <a:endParaRPr lang="pl-PL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757733773692845E-3"/>
          <c:y val="5.7403499422806072E-2"/>
          <c:w val="0.62200794337962717"/>
          <c:h val="0.9200780396419955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B21F-45D0-B56E-012649DB377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3-B21F-45D0-B56E-012649DB377B}"/>
              </c:ext>
            </c:extLst>
          </c:dPt>
          <c:dPt>
            <c:idx val="6"/>
            <c:bubble3D val="0"/>
            <c:spPr>
              <a:solidFill>
                <a:srgbClr val="595194"/>
              </a:solidFill>
            </c:spPr>
            <c:extLst>
              <c:ext xmlns:c16="http://schemas.microsoft.com/office/drawing/2014/chart" uri="{C3380CC4-5D6E-409C-BE32-E72D297353CC}">
                <c16:uniqueId val="{00000005-B21F-45D0-B56E-012649DB377B}"/>
              </c:ext>
            </c:extLst>
          </c:dPt>
          <c:dPt>
            <c:idx val="7"/>
            <c:bubble3D val="0"/>
            <c:spPr>
              <a:solidFill>
                <a:srgbClr val="826DAF"/>
              </a:solidFill>
            </c:spPr>
            <c:extLst>
              <c:ext xmlns:c16="http://schemas.microsoft.com/office/drawing/2014/chart" uri="{C3380CC4-5D6E-409C-BE32-E72D297353CC}">
                <c16:uniqueId val="{00000007-B21F-45D0-B56E-012649DB377B}"/>
              </c:ext>
            </c:extLst>
          </c:dPt>
          <c:dPt>
            <c:idx val="8"/>
            <c:bubble3D val="0"/>
            <c:spPr>
              <a:solidFill>
                <a:srgbClr val="C30A28"/>
              </a:solidFill>
            </c:spPr>
            <c:extLst>
              <c:ext xmlns:c16="http://schemas.microsoft.com/office/drawing/2014/chart" uri="{C3380CC4-5D6E-409C-BE32-E72D297353CC}">
                <c16:uniqueId val="{00000009-B21F-45D0-B56E-012649DB377B}"/>
              </c:ext>
            </c:extLst>
          </c:dPt>
          <c:dPt>
            <c:idx val="9"/>
            <c:bubble3D val="0"/>
            <c:spPr>
              <a:solidFill>
                <a:srgbClr val="E04E5D"/>
              </a:solidFill>
            </c:spPr>
            <c:extLst>
              <c:ext xmlns:c16="http://schemas.microsoft.com/office/drawing/2014/chart" uri="{C3380CC4-5D6E-409C-BE32-E72D297353CC}">
                <c16:uniqueId val="{0000000B-B21F-45D0-B56E-012649DB377B}"/>
              </c:ext>
            </c:extLst>
          </c:dPt>
          <c:dPt>
            <c:idx val="10"/>
            <c:bubble3D val="0"/>
            <c:spPr>
              <a:solidFill>
                <a:srgbClr val="052F69"/>
              </a:solidFill>
            </c:spPr>
            <c:extLst>
              <c:ext xmlns:c16="http://schemas.microsoft.com/office/drawing/2014/chart" uri="{C3380CC4-5D6E-409C-BE32-E72D297353CC}">
                <c16:uniqueId val="{0000000D-B21F-45D0-B56E-012649DB377B}"/>
              </c:ext>
            </c:extLst>
          </c:dPt>
          <c:dPt>
            <c:idx val="11"/>
            <c:bubble3D val="0"/>
            <c:spPr>
              <a:solidFill>
                <a:srgbClr val="1F5A13"/>
              </a:solidFill>
            </c:spPr>
            <c:extLst>
              <c:ext xmlns:c16="http://schemas.microsoft.com/office/drawing/2014/chart" uri="{C3380CC4-5D6E-409C-BE32-E72D297353CC}">
                <c16:uniqueId val="{0000000F-B21F-45D0-B56E-012649DB377B}"/>
              </c:ext>
            </c:extLst>
          </c:dPt>
          <c:dPt>
            <c:idx val="12"/>
            <c:bubble3D val="0"/>
            <c:spPr>
              <a:solidFill>
                <a:srgbClr val="AC3905"/>
              </a:solidFill>
            </c:spPr>
            <c:extLst>
              <c:ext xmlns:c16="http://schemas.microsoft.com/office/drawing/2014/chart" uri="{C3380CC4-5D6E-409C-BE32-E72D297353CC}">
                <c16:uniqueId val="{00000011-B21F-45D0-B56E-012649DB377B}"/>
              </c:ext>
            </c:extLst>
          </c:dPt>
          <c:dPt>
            <c:idx val="13"/>
            <c:bubble3D val="0"/>
            <c:spPr>
              <a:solidFill>
                <a:srgbClr val="2B2162"/>
              </a:solidFill>
            </c:spPr>
            <c:extLst>
              <c:ext xmlns:c16="http://schemas.microsoft.com/office/drawing/2014/chart" uri="{C3380CC4-5D6E-409C-BE32-E72D297353CC}">
                <c16:uniqueId val="{00000013-B21F-45D0-B56E-012649DB377B}"/>
              </c:ext>
            </c:extLst>
          </c:dPt>
          <c:dPt>
            <c:idx val="14"/>
            <c:bubble3D val="0"/>
            <c:spPr>
              <a:solidFill>
                <a:srgbClr val="61171F"/>
              </a:solidFill>
            </c:spPr>
            <c:extLst>
              <c:ext xmlns:c16="http://schemas.microsoft.com/office/drawing/2014/chart" uri="{C3380CC4-5D6E-409C-BE32-E72D297353CC}">
                <c16:uniqueId val="{00000015-B21F-45D0-B56E-012649DB377B}"/>
              </c:ext>
            </c:extLst>
          </c:dPt>
          <c:dPt>
            <c:idx val="15"/>
            <c:bubble3D val="0"/>
            <c:spPr>
              <a:solidFill>
                <a:srgbClr val="686868"/>
              </a:solidFill>
            </c:spPr>
            <c:extLst>
              <c:ext xmlns:c16="http://schemas.microsoft.com/office/drawing/2014/chart" uri="{C3380CC4-5D6E-409C-BE32-E72D297353CC}">
                <c16:uniqueId val="{00000017-B21F-45D0-B56E-012649DB377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Financial Services</c:v>
                </c:pt>
                <c:pt idx="1">
                  <c:v>Customer</c:v>
                </c:pt>
                <c:pt idx="2">
                  <c:v>CMT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1</c:v>
                </c:pt>
                <c:pt idx="1">
                  <c:v>23</c:v>
                </c:pt>
                <c:pt idx="2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B21F-45D0-B56E-012649DB37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8"/>
      </c:doughnutChart>
    </c:plotArea>
    <c:legend>
      <c:legendPos val="r"/>
      <c:layout>
        <c:manualLayout>
          <c:xMode val="edge"/>
          <c:yMode val="edge"/>
          <c:x val="0.60735274883155188"/>
          <c:y val="0.67653872548820548"/>
          <c:w val="0.38317080587466551"/>
          <c:h val="0.3234049313933704"/>
        </c:manualLayout>
      </c:layout>
      <c:overlay val="0"/>
      <c:txPr>
        <a:bodyPr/>
        <a:lstStyle/>
        <a:p>
          <a:pPr>
            <a:defRPr sz="800"/>
          </a:pPr>
          <a:endParaRPr lang="pl-PL"/>
        </a:p>
      </c:txPr>
    </c:legend>
    <c:plotVisOnly val="1"/>
    <c:dispBlanksAs val="gap"/>
    <c:showDLblsOverMax val="0"/>
  </c:chart>
  <c:txPr>
    <a:bodyPr/>
    <a:lstStyle/>
    <a:p>
      <a:pPr>
        <a:defRPr sz="1000" b="0">
          <a:latin typeface="+mn-lt"/>
          <a:cs typeface="Akkurat Light Pro"/>
        </a:defRPr>
      </a:pPr>
      <a:endParaRPr lang="pl-PL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GB" sz="800" b="1" noProof="0">
                <a:solidFill>
                  <a:schemeClr val="tx1"/>
                </a:solidFill>
              </a:rPr>
              <a:t>Data Science Stack</a:t>
            </a:r>
          </a:p>
        </c:rich>
      </c:tx>
      <c:layout>
        <c:manualLayout>
          <c:xMode val="edge"/>
          <c:yMode val="edge"/>
          <c:x val="0.24398991217484253"/>
          <c:y val="3.407691792536422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l-PL"/>
        </a:p>
      </c:txPr>
    </c:title>
    <c:autoTitleDeleted val="0"/>
    <c:plotArea>
      <c:layout>
        <c:manualLayout>
          <c:layoutTarget val="inner"/>
          <c:xMode val="edge"/>
          <c:yMode val="edge"/>
          <c:x val="1.6059738839604563E-2"/>
          <c:y val="0.14808203578373549"/>
          <c:w val="0.92471928700488926"/>
          <c:h val="0.719384666049312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kills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EAF-4B07-8461-A45DD761E9A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EAF-4B07-8461-A45DD761E9A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EAF-4B07-8461-A45DD761E9A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EAF-4B07-8461-A45DD761E9A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Python</c:v>
                </c:pt>
                <c:pt idx="1">
                  <c:v>SAS</c:v>
                </c:pt>
                <c:pt idx="2">
                  <c:v>R</c:v>
                </c:pt>
                <c:pt idx="3">
                  <c:v>Dataiku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3</c:v>
                </c:pt>
                <c:pt idx="1">
                  <c:v>27</c:v>
                </c:pt>
                <c:pt idx="2">
                  <c:v>25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EAF-4B07-8461-A45DD761E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612926608"/>
        <c:axId val="1612927024"/>
      </c:barChart>
      <c:catAx>
        <c:axId val="161292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endParaRPr lang="pl-PL"/>
          </a:p>
        </c:txPr>
        <c:crossAx val="1612927024"/>
        <c:crosses val="autoZero"/>
        <c:auto val="1"/>
        <c:lblAlgn val="ctr"/>
        <c:lblOffset val="100"/>
        <c:noMultiLvlLbl val="0"/>
      </c:catAx>
      <c:valAx>
        <c:axId val="161292702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612926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pl-PL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GB" sz="800" b="1" noProof="0">
                <a:solidFill>
                  <a:schemeClr val="tx1"/>
                </a:solidFill>
              </a:rPr>
              <a:t>Data Engineering Stack</a:t>
            </a:r>
          </a:p>
        </c:rich>
      </c:tx>
      <c:layout>
        <c:manualLayout>
          <c:xMode val="edge"/>
          <c:yMode val="edge"/>
          <c:x val="0.13571150649870567"/>
          <c:y val="3.40761293679008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l-PL"/>
        </a:p>
      </c:txPr>
    </c:title>
    <c:autoTitleDeleted val="0"/>
    <c:plotArea>
      <c:layout>
        <c:manualLayout>
          <c:layoutTarget val="inner"/>
          <c:xMode val="edge"/>
          <c:yMode val="edge"/>
          <c:x val="1.6059963827790451E-2"/>
          <c:y val="0.17584113344548688"/>
          <c:w val="0.92471928700488926"/>
          <c:h val="0.691625568387560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killset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022-4B4F-914C-88789E86C61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022-4B4F-914C-88789E86C61D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022-4B4F-914C-88789E86C61D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022-4B4F-914C-88789E86C61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SQL</c:v>
                </c:pt>
                <c:pt idx="1">
                  <c:v>SAS DIS </c:v>
                </c:pt>
                <c:pt idx="2">
                  <c:v>Hive</c:v>
                </c:pt>
                <c:pt idx="3">
                  <c:v>Spark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3</c:v>
                </c:pt>
                <c:pt idx="1">
                  <c:v>12</c:v>
                </c:pt>
                <c:pt idx="2">
                  <c:v>9</c:v>
                </c:pt>
                <c:pt idx="3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022-4B4F-914C-88789E86C6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612926608"/>
        <c:axId val="1612927024"/>
      </c:barChart>
      <c:catAx>
        <c:axId val="161292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endParaRPr lang="pl-PL"/>
          </a:p>
        </c:txPr>
        <c:crossAx val="1612927024"/>
        <c:crosses val="autoZero"/>
        <c:auto val="1"/>
        <c:lblAlgn val="ctr"/>
        <c:lblOffset val="100"/>
        <c:noMultiLvlLbl val="0"/>
      </c:catAx>
      <c:valAx>
        <c:axId val="161292702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612926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pl-PL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GB" sz="800" b="1" noProof="0">
                <a:solidFill>
                  <a:schemeClr val="tx1"/>
                </a:solidFill>
              </a:rPr>
              <a:t>Cloud Solutions</a:t>
            </a:r>
          </a:p>
        </c:rich>
      </c:tx>
      <c:layout>
        <c:manualLayout>
          <c:xMode val="edge"/>
          <c:yMode val="edge"/>
          <c:x val="0.22137499999999999"/>
          <c:y val="2.502718409797961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l-PL"/>
        </a:p>
      </c:txPr>
    </c:title>
    <c:autoTitleDeleted val="0"/>
    <c:plotArea>
      <c:layout>
        <c:manualLayout>
          <c:layoutTarget val="inner"/>
          <c:xMode val="edge"/>
          <c:yMode val="edge"/>
          <c:x val="2.3953212303523371E-2"/>
          <c:y val="0.25203185990534377"/>
          <c:w val="0.92471928700488926"/>
          <c:h val="0.610564103879594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kills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318-4EEF-9776-A7206FD7F59E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318-4EEF-9776-A7206FD7F59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zure</c:v>
                </c:pt>
                <c:pt idx="1">
                  <c:v>AWS</c:v>
                </c:pt>
                <c:pt idx="2">
                  <c:v>GCP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9</c:v>
                </c:pt>
                <c:pt idx="1">
                  <c:v>15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318-4EEF-9776-A7206FD7F5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612926608"/>
        <c:axId val="1612927024"/>
      </c:barChart>
      <c:catAx>
        <c:axId val="161292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endParaRPr lang="pl-PL"/>
          </a:p>
        </c:txPr>
        <c:crossAx val="1612927024"/>
        <c:crosses val="autoZero"/>
        <c:auto val="1"/>
        <c:lblAlgn val="ctr"/>
        <c:lblOffset val="100"/>
        <c:noMultiLvlLbl val="0"/>
      </c:catAx>
      <c:valAx>
        <c:axId val="161292702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612926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pl-PL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757733773692845E-3"/>
          <c:y val="5.7403499422806072E-2"/>
          <c:w val="0.62200794337962717"/>
          <c:h val="0.9200780396419955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6562-4AF7-9F18-4590A3552BA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3-6562-4AF7-9F18-4590A3552BA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5-6562-4AF7-9F18-4590A3552BA4}"/>
              </c:ext>
            </c:extLst>
          </c:dPt>
          <c:dPt>
            <c:idx val="6"/>
            <c:bubble3D val="0"/>
            <c:spPr>
              <a:solidFill>
                <a:srgbClr val="595194"/>
              </a:solidFill>
            </c:spPr>
            <c:extLst>
              <c:ext xmlns:c16="http://schemas.microsoft.com/office/drawing/2014/chart" uri="{C3380CC4-5D6E-409C-BE32-E72D297353CC}">
                <c16:uniqueId val="{00000007-6562-4AF7-9F18-4590A3552BA4}"/>
              </c:ext>
            </c:extLst>
          </c:dPt>
          <c:dPt>
            <c:idx val="7"/>
            <c:bubble3D val="0"/>
            <c:spPr>
              <a:solidFill>
                <a:srgbClr val="826DAF"/>
              </a:solidFill>
            </c:spPr>
            <c:extLst>
              <c:ext xmlns:c16="http://schemas.microsoft.com/office/drawing/2014/chart" uri="{C3380CC4-5D6E-409C-BE32-E72D297353CC}">
                <c16:uniqueId val="{00000009-6562-4AF7-9F18-4590A3552BA4}"/>
              </c:ext>
            </c:extLst>
          </c:dPt>
          <c:dPt>
            <c:idx val="8"/>
            <c:bubble3D val="0"/>
            <c:spPr>
              <a:solidFill>
                <a:srgbClr val="C30A28"/>
              </a:solidFill>
            </c:spPr>
            <c:extLst>
              <c:ext xmlns:c16="http://schemas.microsoft.com/office/drawing/2014/chart" uri="{C3380CC4-5D6E-409C-BE32-E72D297353CC}">
                <c16:uniqueId val="{0000000B-6562-4AF7-9F18-4590A3552BA4}"/>
              </c:ext>
            </c:extLst>
          </c:dPt>
          <c:dPt>
            <c:idx val="9"/>
            <c:bubble3D val="0"/>
            <c:spPr>
              <a:solidFill>
                <a:srgbClr val="E04E5D"/>
              </a:solidFill>
            </c:spPr>
            <c:extLst>
              <c:ext xmlns:c16="http://schemas.microsoft.com/office/drawing/2014/chart" uri="{C3380CC4-5D6E-409C-BE32-E72D297353CC}">
                <c16:uniqueId val="{0000000D-6562-4AF7-9F18-4590A3552BA4}"/>
              </c:ext>
            </c:extLst>
          </c:dPt>
          <c:dPt>
            <c:idx val="10"/>
            <c:bubble3D val="0"/>
            <c:spPr>
              <a:solidFill>
                <a:srgbClr val="052F69"/>
              </a:solidFill>
            </c:spPr>
            <c:extLst>
              <c:ext xmlns:c16="http://schemas.microsoft.com/office/drawing/2014/chart" uri="{C3380CC4-5D6E-409C-BE32-E72D297353CC}">
                <c16:uniqueId val="{0000000F-6562-4AF7-9F18-4590A3552BA4}"/>
              </c:ext>
            </c:extLst>
          </c:dPt>
          <c:dPt>
            <c:idx val="11"/>
            <c:bubble3D val="0"/>
            <c:spPr>
              <a:solidFill>
                <a:srgbClr val="1F5A13"/>
              </a:solidFill>
            </c:spPr>
            <c:extLst>
              <c:ext xmlns:c16="http://schemas.microsoft.com/office/drawing/2014/chart" uri="{C3380CC4-5D6E-409C-BE32-E72D297353CC}">
                <c16:uniqueId val="{00000011-6562-4AF7-9F18-4590A3552BA4}"/>
              </c:ext>
            </c:extLst>
          </c:dPt>
          <c:dPt>
            <c:idx val="12"/>
            <c:bubble3D val="0"/>
            <c:spPr>
              <a:solidFill>
                <a:srgbClr val="AC3905"/>
              </a:solidFill>
            </c:spPr>
            <c:extLst>
              <c:ext xmlns:c16="http://schemas.microsoft.com/office/drawing/2014/chart" uri="{C3380CC4-5D6E-409C-BE32-E72D297353CC}">
                <c16:uniqueId val="{00000013-6562-4AF7-9F18-4590A3552BA4}"/>
              </c:ext>
            </c:extLst>
          </c:dPt>
          <c:dPt>
            <c:idx val="13"/>
            <c:bubble3D val="0"/>
            <c:spPr>
              <a:solidFill>
                <a:srgbClr val="2B2162"/>
              </a:solidFill>
            </c:spPr>
            <c:extLst>
              <c:ext xmlns:c16="http://schemas.microsoft.com/office/drawing/2014/chart" uri="{C3380CC4-5D6E-409C-BE32-E72D297353CC}">
                <c16:uniqueId val="{00000015-6562-4AF7-9F18-4590A3552BA4}"/>
              </c:ext>
            </c:extLst>
          </c:dPt>
          <c:dPt>
            <c:idx val="14"/>
            <c:bubble3D val="0"/>
            <c:spPr>
              <a:solidFill>
                <a:srgbClr val="61171F"/>
              </a:solidFill>
            </c:spPr>
            <c:extLst>
              <c:ext xmlns:c16="http://schemas.microsoft.com/office/drawing/2014/chart" uri="{C3380CC4-5D6E-409C-BE32-E72D297353CC}">
                <c16:uniqueId val="{00000017-6562-4AF7-9F18-4590A3552BA4}"/>
              </c:ext>
            </c:extLst>
          </c:dPt>
          <c:dPt>
            <c:idx val="15"/>
            <c:bubble3D val="0"/>
            <c:spPr>
              <a:solidFill>
                <a:srgbClr val="686868"/>
              </a:solidFill>
            </c:spPr>
            <c:extLst>
              <c:ext xmlns:c16="http://schemas.microsoft.com/office/drawing/2014/chart" uri="{C3380CC4-5D6E-409C-BE32-E72D297353CC}">
                <c16:uniqueId val="{00000019-6562-4AF7-9F18-4590A3552BA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Data Science</c:v>
                </c:pt>
                <c:pt idx="1">
                  <c:v>Data Engineering</c:v>
                </c:pt>
                <c:pt idx="2">
                  <c:v>Business Intelligence</c:v>
                </c:pt>
                <c:pt idx="3">
                  <c:v>ML Op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61</c:v>
                </c:pt>
                <c:pt idx="1">
                  <c:v>23</c:v>
                </c:pt>
                <c:pt idx="2">
                  <c:v>7</c:v>
                </c:pt>
                <c:pt idx="3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6562-4AF7-9F18-4590A3552B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8"/>
      </c:doughnutChart>
    </c:plotArea>
    <c:legend>
      <c:legendPos val="r"/>
      <c:layout>
        <c:manualLayout>
          <c:xMode val="edge"/>
          <c:yMode val="edge"/>
          <c:x val="0.56213314889501365"/>
          <c:y val="0.6089545454545453"/>
          <c:w val="0.38317080587466551"/>
          <c:h val="0.33331799643314064"/>
        </c:manualLayout>
      </c:layout>
      <c:overlay val="0"/>
      <c:txPr>
        <a:bodyPr/>
        <a:lstStyle/>
        <a:p>
          <a:pPr>
            <a:defRPr sz="800"/>
          </a:pPr>
          <a:endParaRPr lang="pl-PL"/>
        </a:p>
      </c:txPr>
    </c:legend>
    <c:plotVisOnly val="1"/>
    <c:dispBlanksAs val="gap"/>
    <c:showDLblsOverMax val="0"/>
  </c:chart>
  <c:txPr>
    <a:bodyPr/>
    <a:lstStyle/>
    <a:p>
      <a:pPr>
        <a:defRPr sz="1000" b="0">
          <a:latin typeface="+mn-lt"/>
          <a:cs typeface="Akkurat Light Pro"/>
        </a:defRPr>
      </a:pPr>
      <a:endParaRPr lang="pl-PL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7FFFFD3C_5C901F5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57D5374-6956-48B0-8467-00E26793CE40}" authorId="{51B14442-2879-BEF7-5559-D03CFC51BA89}" created="2024-02-13T13:17:50.698" startDate="2024-03-04T13:46:51.473" dueDate="2024-03-04T13:46:51.473" assignedTo="{F85A7041-C1C0-B339-2366-69B2DAB3C3B1}" title="@Parol, Dariusz Daj znać proszę, co z tym zrobić?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552949077" sldId="2147482940"/>
      <ac:grpSpMk id="57" creationId="{FAA085A2-9B13-7317-4560-4074AE8EA234}"/>
    </ac:deMkLst>
    <p188:replyLst>
      <p188:reply id="{7460E364-C61F-4B6A-A136-91C4711AA99E}" authorId="{256310EA-8231-C288-D6FA-4D85DAD13B4B}" created="2024-03-04T13:46:51.472">
        <p188:txBody>
          <a:bodyPr/>
          <a:lstStyle/>
          <a:p>
            <a:r>
              <a:rPr lang="en-US"/>
              <a:t>[@Parol, Dariusz] Daj znać proszę, co z tym zrobić?</a:t>
            </a:r>
          </a:p>
        </p188:txBody>
      </p188:reply>
    </p188:replyLst>
    <p188:txBody>
      <a:bodyPr/>
      <a:lstStyle/>
      <a:p>
        <a:r>
          <a:rPr lang="pl-PL"/>
          <a:t>Możemy się chwalić czymś co inni zrobili? ☺️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>
            <p228:event time="2024-03-04T13:46:51.475" id="{884F04ED-3F97-4A12-8F14-CCAF9A16FFA8}">
              <p228:atrbtn authorId="{256310EA-8231-C288-D6FA-4D85DAD13B4B}"/>
              <p228:anchr>
                <p228:comment id="{7460E364-C61F-4B6A-A136-91C4711AA99E}"/>
              </p228:anchr>
              <p228:add/>
            </p228:event>
            <p228:event time="2024-03-04T13:46:51.475" id="{2A53165D-1E54-42EC-BD1B-EFDC0EFF5AE2}">
              <p228:atrbtn authorId="{256310EA-8231-C288-D6FA-4D85DAD13B4B}"/>
              <p228:anchr>
                <p228:comment id="{7460E364-C61F-4B6A-A136-91C4711AA99E}"/>
              </p228:anchr>
              <p228:asgn authorId="{F85A7041-C1C0-B339-2366-69B2DAB3C3B1}"/>
            </p228:event>
            <p228:event time="2024-03-04T13:46:51.475" id="{F3EE9060-445F-4001-B722-9DC0BF4E7D95}">
              <p228:atrbtn authorId="{256310EA-8231-C288-D6FA-4D85DAD13B4B}"/>
              <p228:anchr>
                <p228:comment id="{7460E364-C61F-4B6A-A136-91C4711AA99E}"/>
              </p228:anchr>
              <p228:date stDt="2024-03-04T13:46:51.473" endDt="2024-03-04T13:46:51.473"/>
            </p228:event>
            <p228:event time="2024-03-04T13:46:51.475" id="{67F41DB1-68B7-43EF-97FC-7E22B92CDC2B}">
              <p228:atrbtn authorId="{256310EA-8231-C288-D6FA-4D85DAD13B4B}"/>
              <p228:anchr>
                <p228:comment id="{7460E364-C61F-4B6A-A136-91C4711AA99E}"/>
              </p228:anchr>
              <p228:title val="@Parol, Dariusz Daj znać proszę, co z tym zrobić?"/>
            </p228:event>
          </p228:history>
        </p228:taskDetails>
      </p:ext>
    </p188:extLst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F951B72-54B7-4B80-9696-C14616C5F0E0}" type="doc">
      <dgm:prSet loTypeId="urn:microsoft.com/office/officeart/2005/8/layout/gear1" loCatId="cycle" qsTypeId="urn:microsoft.com/office/officeart/2005/8/quickstyle/simple1" qsCatId="simple" csTypeId="urn:microsoft.com/office/officeart/2005/8/colors/colorful4" csCatId="colorful" phldr="1"/>
      <dgm:spPr/>
    </dgm:pt>
    <dgm:pt modelId="{E4A896B8-FA4F-45B9-93C6-0139AACADC89}">
      <dgm:prSet phldrT="[Text]"/>
      <dgm:spPr/>
      <dgm:t>
        <a:bodyPr/>
        <a:lstStyle/>
        <a:p>
          <a:r>
            <a:rPr lang="pl-PL">
              <a:solidFill>
                <a:schemeClr val="tx1"/>
              </a:solidFill>
            </a:rPr>
            <a:t>Process &amp; Operating Model</a:t>
          </a:r>
        </a:p>
      </dgm:t>
    </dgm:pt>
    <dgm:pt modelId="{88A3BE53-B30F-4D78-A460-CBD4AA2E54C8}" type="parTrans" cxnId="{C46ABC7B-9689-4E4F-B9B4-03CCEC9EEF36}">
      <dgm:prSet/>
      <dgm:spPr/>
      <dgm:t>
        <a:bodyPr/>
        <a:lstStyle/>
        <a:p>
          <a:endParaRPr lang="pl-PL">
            <a:solidFill>
              <a:schemeClr val="tx1"/>
            </a:solidFill>
          </a:endParaRPr>
        </a:p>
      </dgm:t>
    </dgm:pt>
    <dgm:pt modelId="{CA783520-FDFB-4082-A959-A60C264386F5}" type="sibTrans" cxnId="{C46ABC7B-9689-4E4F-B9B4-03CCEC9EEF36}">
      <dgm:prSet/>
      <dgm:spPr/>
      <dgm:t>
        <a:bodyPr/>
        <a:lstStyle/>
        <a:p>
          <a:endParaRPr lang="pl-PL">
            <a:solidFill>
              <a:schemeClr val="tx1"/>
            </a:solidFill>
          </a:endParaRPr>
        </a:p>
      </dgm:t>
    </dgm:pt>
    <dgm:pt modelId="{FEF90F51-0BE3-411D-BE73-A611A33A54CD}">
      <dgm:prSet phldrT="[Text]"/>
      <dgm:spPr/>
      <dgm:t>
        <a:bodyPr/>
        <a:lstStyle/>
        <a:p>
          <a:r>
            <a:rPr lang="pl-PL">
              <a:solidFill>
                <a:schemeClr val="tx1"/>
              </a:solidFill>
            </a:rPr>
            <a:t>Tools &amp; Platform</a:t>
          </a:r>
        </a:p>
      </dgm:t>
    </dgm:pt>
    <dgm:pt modelId="{15BEABBB-52EA-4E58-A653-EC5B036D9034}" type="parTrans" cxnId="{BA53C331-394E-4409-8F5A-BF9020893E41}">
      <dgm:prSet/>
      <dgm:spPr/>
      <dgm:t>
        <a:bodyPr/>
        <a:lstStyle/>
        <a:p>
          <a:endParaRPr lang="pl-PL">
            <a:solidFill>
              <a:schemeClr val="tx1"/>
            </a:solidFill>
          </a:endParaRPr>
        </a:p>
      </dgm:t>
    </dgm:pt>
    <dgm:pt modelId="{55B4A1C2-2394-4552-8FA3-4262AF6D6875}" type="sibTrans" cxnId="{BA53C331-394E-4409-8F5A-BF9020893E41}">
      <dgm:prSet/>
      <dgm:spPr/>
      <dgm:t>
        <a:bodyPr/>
        <a:lstStyle/>
        <a:p>
          <a:endParaRPr lang="pl-PL">
            <a:solidFill>
              <a:schemeClr val="tx1"/>
            </a:solidFill>
          </a:endParaRPr>
        </a:p>
      </dgm:t>
    </dgm:pt>
    <dgm:pt modelId="{4A5B6508-7E31-4B32-91AC-9A52349833F7}">
      <dgm:prSet phldrT="[Text]"/>
      <dgm:spPr/>
      <dgm:t>
        <a:bodyPr/>
        <a:lstStyle/>
        <a:p>
          <a:r>
            <a:rPr lang="pl-PL">
              <a:solidFill>
                <a:schemeClr val="tx1"/>
              </a:solidFill>
            </a:rPr>
            <a:t>People &amp; Skills</a:t>
          </a:r>
        </a:p>
      </dgm:t>
    </dgm:pt>
    <dgm:pt modelId="{D84D377A-9DEF-4346-AF63-7EB5EFFAF842}" type="parTrans" cxnId="{D45BC4AC-DF50-4FDC-B63D-9EDEA2D1D6C5}">
      <dgm:prSet/>
      <dgm:spPr/>
      <dgm:t>
        <a:bodyPr/>
        <a:lstStyle/>
        <a:p>
          <a:endParaRPr lang="pl-PL">
            <a:solidFill>
              <a:schemeClr val="tx1"/>
            </a:solidFill>
          </a:endParaRPr>
        </a:p>
      </dgm:t>
    </dgm:pt>
    <dgm:pt modelId="{F9F27227-9550-4A86-8B5C-9D6B8085566F}" type="sibTrans" cxnId="{D45BC4AC-DF50-4FDC-B63D-9EDEA2D1D6C5}">
      <dgm:prSet/>
      <dgm:spPr/>
      <dgm:t>
        <a:bodyPr/>
        <a:lstStyle/>
        <a:p>
          <a:endParaRPr lang="pl-PL">
            <a:solidFill>
              <a:schemeClr val="tx1"/>
            </a:solidFill>
          </a:endParaRPr>
        </a:p>
      </dgm:t>
    </dgm:pt>
    <dgm:pt modelId="{E389797F-7028-4194-91B9-428130698E1D}" type="pres">
      <dgm:prSet presAssocID="{EF951B72-54B7-4B80-9696-C14616C5F0E0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4009201D-A18E-4F25-8AF6-B4A0650E460B}" type="pres">
      <dgm:prSet presAssocID="{E4A896B8-FA4F-45B9-93C6-0139AACADC89}" presName="gear1" presStyleLbl="node1" presStyleIdx="0" presStyleCnt="3">
        <dgm:presLayoutVars>
          <dgm:chMax val="1"/>
          <dgm:bulletEnabled val="1"/>
        </dgm:presLayoutVars>
      </dgm:prSet>
      <dgm:spPr/>
    </dgm:pt>
    <dgm:pt modelId="{2958EEC4-C72E-4950-9612-8A86554801B9}" type="pres">
      <dgm:prSet presAssocID="{E4A896B8-FA4F-45B9-93C6-0139AACADC89}" presName="gear1srcNode" presStyleLbl="node1" presStyleIdx="0" presStyleCnt="3"/>
      <dgm:spPr/>
    </dgm:pt>
    <dgm:pt modelId="{3B6E6ED8-5356-4757-96BC-5495118A9FB9}" type="pres">
      <dgm:prSet presAssocID="{E4A896B8-FA4F-45B9-93C6-0139AACADC89}" presName="gear1dstNode" presStyleLbl="node1" presStyleIdx="0" presStyleCnt="3"/>
      <dgm:spPr/>
    </dgm:pt>
    <dgm:pt modelId="{BB2D5CD9-CB50-4177-8432-11052230E689}" type="pres">
      <dgm:prSet presAssocID="{FEF90F51-0BE3-411D-BE73-A611A33A54CD}" presName="gear2" presStyleLbl="node1" presStyleIdx="1" presStyleCnt="3">
        <dgm:presLayoutVars>
          <dgm:chMax val="1"/>
          <dgm:bulletEnabled val="1"/>
        </dgm:presLayoutVars>
      </dgm:prSet>
      <dgm:spPr/>
    </dgm:pt>
    <dgm:pt modelId="{0EBDAB6D-12F1-47EC-A784-12A6C76C5A71}" type="pres">
      <dgm:prSet presAssocID="{FEF90F51-0BE3-411D-BE73-A611A33A54CD}" presName="gear2srcNode" presStyleLbl="node1" presStyleIdx="1" presStyleCnt="3"/>
      <dgm:spPr/>
    </dgm:pt>
    <dgm:pt modelId="{8B55E7DD-B109-4603-B90D-50B9D2D6857E}" type="pres">
      <dgm:prSet presAssocID="{FEF90F51-0BE3-411D-BE73-A611A33A54CD}" presName="gear2dstNode" presStyleLbl="node1" presStyleIdx="1" presStyleCnt="3"/>
      <dgm:spPr/>
    </dgm:pt>
    <dgm:pt modelId="{8E670AFB-D790-4E42-BEAD-6F4C44EC9B94}" type="pres">
      <dgm:prSet presAssocID="{4A5B6508-7E31-4B32-91AC-9A52349833F7}" presName="gear3" presStyleLbl="node1" presStyleIdx="2" presStyleCnt="3"/>
      <dgm:spPr/>
    </dgm:pt>
    <dgm:pt modelId="{1ED9A1E3-6D70-4A00-A5FD-7B4CFD1AB434}" type="pres">
      <dgm:prSet presAssocID="{4A5B6508-7E31-4B32-91AC-9A52349833F7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92C4F58C-C0AE-437B-99AD-FD4A4D4BD4D1}" type="pres">
      <dgm:prSet presAssocID="{4A5B6508-7E31-4B32-91AC-9A52349833F7}" presName="gear3srcNode" presStyleLbl="node1" presStyleIdx="2" presStyleCnt="3"/>
      <dgm:spPr/>
    </dgm:pt>
    <dgm:pt modelId="{F5CCA9E6-B666-4B77-A0ED-85B0FEC6DB3B}" type="pres">
      <dgm:prSet presAssocID="{4A5B6508-7E31-4B32-91AC-9A52349833F7}" presName="gear3dstNode" presStyleLbl="node1" presStyleIdx="2" presStyleCnt="3"/>
      <dgm:spPr/>
    </dgm:pt>
    <dgm:pt modelId="{4433F89B-D493-4222-AE21-D2A0342097B5}" type="pres">
      <dgm:prSet presAssocID="{CA783520-FDFB-4082-A959-A60C264386F5}" presName="connector1" presStyleLbl="sibTrans2D1" presStyleIdx="0" presStyleCnt="3"/>
      <dgm:spPr/>
    </dgm:pt>
    <dgm:pt modelId="{689C3833-4162-40AB-B46B-0DD853DDE1EB}" type="pres">
      <dgm:prSet presAssocID="{55B4A1C2-2394-4552-8FA3-4262AF6D6875}" presName="connector2" presStyleLbl="sibTrans2D1" presStyleIdx="1" presStyleCnt="3"/>
      <dgm:spPr/>
    </dgm:pt>
    <dgm:pt modelId="{127E9890-2E93-4507-B24E-DA827E86CBBF}" type="pres">
      <dgm:prSet presAssocID="{F9F27227-9550-4A86-8B5C-9D6B8085566F}" presName="connector3" presStyleLbl="sibTrans2D1" presStyleIdx="2" presStyleCnt="3"/>
      <dgm:spPr/>
    </dgm:pt>
  </dgm:ptLst>
  <dgm:cxnLst>
    <dgm:cxn modelId="{D94B9B0F-3B7E-4A21-99DA-2CB29C2EDC80}" type="presOf" srcId="{F9F27227-9550-4A86-8B5C-9D6B8085566F}" destId="{127E9890-2E93-4507-B24E-DA827E86CBBF}" srcOrd="0" destOrd="0" presId="urn:microsoft.com/office/officeart/2005/8/layout/gear1"/>
    <dgm:cxn modelId="{B12D4E24-F7E3-4513-86CB-7CAD106CBA73}" type="presOf" srcId="{4A5B6508-7E31-4B32-91AC-9A52349833F7}" destId="{F5CCA9E6-B666-4B77-A0ED-85B0FEC6DB3B}" srcOrd="3" destOrd="0" presId="urn:microsoft.com/office/officeart/2005/8/layout/gear1"/>
    <dgm:cxn modelId="{A2FBC52C-63B7-45A2-BDFF-55FA29C81ED7}" type="presOf" srcId="{4A5B6508-7E31-4B32-91AC-9A52349833F7}" destId="{92C4F58C-C0AE-437B-99AD-FD4A4D4BD4D1}" srcOrd="2" destOrd="0" presId="urn:microsoft.com/office/officeart/2005/8/layout/gear1"/>
    <dgm:cxn modelId="{BA53C331-394E-4409-8F5A-BF9020893E41}" srcId="{EF951B72-54B7-4B80-9696-C14616C5F0E0}" destId="{FEF90F51-0BE3-411D-BE73-A611A33A54CD}" srcOrd="1" destOrd="0" parTransId="{15BEABBB-52EA-4E58-A653-EC5B036D9034}" sibTransId="{55B4A1C2-2394-4552-8FA3-4262AF6D6875}"/>
    <dgm:cxn modelId="{F2171344-A045-4C7B-A71F-FC370B73B7D4}" type="presOf" srcId="{4A5B6508-7E31-4B32-91AC-9A52349833F7}" destId="{1ED9A1E3-6D70-4A00-A5FD-7B4CFD1AB434}" srcOrd="1" destOrd="0" presId="urn:microsoft.com/office/officeart/2005/8/layout/gear1"/>
    <dgm:cxn modelId="{07AF9B6B-A38C-4D79-AC17-E96DBAC151FF}" type="presOf" srcId="{FEF90F51-0BE3-411D-BE73-A611A33A54CD}" destId="{8B55E7DD-B109-4603-B90D-50B9D2D6857E}" srcOrd="2" destOrd="0" presId="urn:microsoft.com/office/officeart/2005/8/layout/gear1"/>
    <dgm:cxn modelId="{9D9AD550-F148-4BB8-82C2-A5A527DB21F2}" type="presOf" srcId="{EF951B72-54B7-4B80-9696-C14616C5F0E0}" destId="{E389797F-7028-4194-91B9-428130698E1D}" srcOrd="0" destOrd="0" presId="urn:microsoft.com/office/officeart/2005/8/layout/gear1"/>
    <dgm:cxn modelId="{DF73E858-0369-44C3-B5C1-863E458C8E58}" type="presOf" srcId="{4A5B6508-7E31-4B32-91AC-9A52349833F7}" destId="{8E670AFB-D790-4E42-BEAD-6F4C44EC9B94}" srcOrd="0" destOrd="0" presId="urn:microsoft.com/office/officeart/2005/8/layout/gear1"/>
    <dgm:cxn modelId="{C46ABC7B-9689-4E4F-B9B4-03CCEC9EEF36}" srcId="{EF951B72-54B7-4B80-9696-C14616C5F0E0}" destId="{E4A896B8-FA4F-45B9-93C6-0139AACADC89}" srcOrd="0" destOrd="0" parTransId="{88A3BE53-B30F-4D78-A460-CBD4AA2E54C8}" sibTransId="{CA783520-FDFB-4082-A959-A60C264386F5}"/>
    <dgm:cxn modelId="{5351248C-D51D-473A-9AF6-2A01117676A0}" type="presOf" srcId="{FEF90F51-0BE3-411D-BE73-A611A33A54CD}" destId="{0EBDAB6D-12F1-47EC-A784-12A6C76C5A71}" srcOrd="1" destOrd="0" presId="urn:microsoft.com/office/officeart/2005/8/layout/gear1"/>
    <dgm:cxn modelId="{0DDDAE96-A9AD-46B8-BF99-EACDC49A5D45}" type="presOf" srcId="{55B4A1C2-2394-4552-8FA3-4262AF6D6875}" destId="{689C3833-4162-40AB-B46B-0DD853DDE1EB}" srcOrd="0" destOrd="0" presId="urn:microsoft.com/office/officeart/2005/8/layout/gear1"/>
    <dgm:cxn modelId="{D45BC4AC-DF50-4FDC-B63D-9EDEA2D1D6C5}" srcId="{EF951B72-54B7-4B80-9696-C14616C5F0E0}" destId="{4A5B6508-7E31-4B32-91AC-9A52349833F7}" srcOrd="2" destOrd="0" parTransId="{D84D377A-9DEF-4346-AF63-7EB5EFFAF842}" sibTransId="{F9F27227-9550-4A86-8B5C-9D6B8085566F}"/>
    <dgm:cxn modelId="{48FC6BBD-963C-48E8-8FBD-9A28FDD7B294}" type="presOf" srcId="{FEF90F51-0BE3-411D-BE73-A611A33A54CD}" destId="{BB2D5CD9-CB50-4177-8432-11052230E689}" srcOrd="0" destOrd="0" presId="urn:microsoft.com/office/officeart/2005/8/layout/gear1"/>
    <dgm:cxn modelId="{4E17BCBF-8507-44B8-81F7-E044E1B8D537}" type="presOf" srcId="{E4A896B8-FA4F-45B9-93C6-0139AACADC89}" destId="{3B6E6ED8-5356-4757-96BC-5495118A9FB9}" srcOrd="2" destOrd="0" presId="urn:microsoft.com/office/officeart/2005/8/layout/gear1"/>
    <dgm:cxn modelId="{2A18DCE8-BA63-4DBB-BC59-06BF423901A1}" type="presOf" srcId="{CA783520-FDFB-4082-A959-A60C264386F5}" destId="{4433F89B-D493-4222-AE21-D2A0342097B5}" srcOrd="0" destOrd="0" presId="urn:microsoft.com/office/officeart/2005/8/layout/gear1"/>
    <dgm:cxn modelId="{4D59FEEC-6971-47BA-B249-2E1083FD9EE9}" type="presOf" srcId="{E4A896B8-FA4F-45B9-93C6-0139AACADC89}" destId="{4009201D-A18E-4F25-8AF6-B4A0650E460B}" srcOrd="0" destOrd="0" presId="urn:microsoft.com/office/officeart/2005/8/layout/gear1"/>
    <dgm:cxn modelId="{B44B4AED-74BE-49D7-9C66-CE798DD32DF8}" type="presOf" srcId="{E4A896B8-FA4F-45B9-93C6-0139AACADC89}" destId="{2958EEC4-C72E-4950-9612-8A86554801B9}" srcOrd="1" destOrd="0" presId="urn:microsoft.com/office/officeart/2005/8/layout/gear1"/>
    <dgm:cxn modelId="{0B70F0B3-8DC2-4034-8A63-F0ECCC9047F0}" type="presParOf" srcId="{E389797F-7028-4194-91B9-428130698E1D}" destId="{4009201D-A18E-4F25-8AF6-B4A0650E460B}" srcOrd="0" destOrd="0" presId="urn:microsoft.com/office/officeart/2005/8/layout/gear1"/>
    <dgm:cxn modelId="{515EDAA9-74BD-41FF-8BF1-4DD73B5851F8}" type="presParOf" srcId="{E389797F-7028-4194-91B9-428130698E1D}" destId="{2958EEC4-C72E-4950-9612-8A86554801B9}" srcOrd="1" destOrd="0" presId="urn:microsoft.com/office/officeart/2005/8/layout/gear1"/>
    <dgm:cxn modelId="{4B0595B1-6E34-494F-B37E-91FABF5C8F96}" type="presParOf" srcId="{E389797F-7028-4194-91B9-428130698E1D}" destId="{3B6E6ED8-5356-4757-96BC-5495118A9FB9}" srcOrd="2" destOrd="0" presId="urn:microsoft.com/office/officeart/2005/8/layout/gear1"/>
    <dgm:cxn modelId="{D5C8F66C-F5E1-4BA3-B82F-221F031A6638}" type="presParOf" srcId="{E389797F-7028-4194-91B9-428130698E1D}" destId="{BB2D5CD9-CB50-4177-8432-11052230E689}" srcOrd="3" destOrd="0" presId="urn:microsoft.com/office/officeart/2005/8/layout/gear1"/>
    <dgm:cxn modelId="{589EA592-F143-490F-89E7-C5BF54F40F65}" type="presParOf" srcId="{E389797F-7028-4194-91B9-428130698E1D}" destId="{0EBDAB6D-12F1-47EC-A784-12A6C76C5A71}" srcOrd="4" destOrd="0" presId="urn:microsoft.com/office/officeart/2005/8/layout/gear1"/>
    <dgm:cxn modelId="{4AB70F27-3E1D-4B1D-A327-7C7C6E64A281}" type="presParOf" srcId="{E389797F-7028-4194-91B9-428130698E1D}" destId="{8B55E7DD-B109-4603-B90D-50B9D2D6857E}" srcOrd="5" destOrd="0" presId="urn:microsoft.com/office/officeart/2005/8/layout/gear1"/>
    <dgm:cxn modelId="{9D0BAA63-8B40-4A16-8DD8-E8B7B8CD8115}" type="presParOf" srcId="{E389797F-7028-4194-91B9-428130698E1D}" destId="{8E670AFB-D790-4E42-BEAD-6F4C44EC9B94}" srcOrd="6" destOrd="0" presId="urn:microsoft.com/office/officeart/2005/8/layout/gear1"/>
    <dgm:cxn modelId="{9CEE2C5B-CC05-4939-B246-87D63468D0F8}" type="presParOf" srcId="{E389797F-7028-4194-91B9-428130698E1D}" destId="{1ED9A1E3-6D70-4A00-A5FD-7B4CFD1AB434}" srcOrd="7" destOrd="0" presId="urn:microsoft.com/office/officeart/2005/8/layout/gear1"/>
    <dgm:cxn modelId="{EE30D720-64DC-498F-8C10-3B8CE14A7E3A}" type="presParOf" srcId="{E389797F-7028-4194-91B9-428130698E1D}" destId="{92C4F58C-C0AE-437B-99AD-FD4A4D4BD4D1}" srcOrd="8" destOrd="0" presId="urn:microsoft.com/office/officeart/2005/8/layout/gear1"/>
    <dgm:cxn modelId="{BD9E2464-9352-4615-BC0D-DD7032B72C9B}" type="presParOf" srcId="{E389797F-7028-4194-91B9-428130698E1D}" destId="{F5CCA9E6-B666-4B77-A0ED-85B0FEC6DB3B}" srcOrd="9" destOrd="0" presId="urn:microsoft.com/office/officeart/2005/8/layout/gear1"/>
    <dgm:cxn modelId="{3FEDA51C-3E7B-41C4-B2D8-87741E44A81C}" type="presParOf" srcId="{E389797F-7028-4194-91B9-428130698E1D}" destId="{4433F89B-D493-4222-AE21-D2A0342097B5}" srcOrd="10" destOrd="0" presId="urn:microsoft.com/office/officeart/2005/8/layout/gear1"/>
    <dgm:cxn modelId="{7482824F-2166-4F7A-BF65-1874F21F4423}" type="presParOf" srcId="{E389797F-7028-4194-91B9-428130698E1D}" destId="{689C3833-4162-40AB-B46B-0DD853DDE1EB}" srcOrd="11" destOrd="0" presId="urn:microsoft.com/office/officeart/2005/8/layout/gear1"/>
    <dgm:cxn modelId="{F0DA5391-6005-47B0-B90C-2F8F641DD44D}" type="presParOf" srcId="{E389797F-7028-4194-91B9-428130698E1D}" destId="{127E9890-2E93-4507-B24E-DA827E86CBBF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09201D-A18E-4F25-8AF6-B4A0650E460B}">
      <dsp:nvSpPr>
        <dsp:cNvPr id="0" name=""/>
        <dsp:cNvSpPr/>
      </dsp:nvSpPr>
      <dsp:spPr>
        <a:xfrm>
          <a:off x="1326833" y="960120"/>
          <a:ext cx="1173480" cy="1173480"/>
        </a:xfrm>
        <a:prstGeom prst="gear9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700" kern="1200">
              <a:solidFill>
                <a:schemeClr val="tx1"/>
              </a:solidFill>
            </a:rPr>
            <a:t>Process &amp; Operating Model</a:t>
          </a:r>
        </a:p>
      </dsp:txBody>
      <dsp:txXfrm>
        <a:off x="1562755" y="1235002"/>
        <a:ext cx="701636" cy="603193"/>
      </dsp:txXfrm>
    </dsp:sp>
    <dsp:sp modelId="{BB2D5CD9-CB50-4177-8432-11052230E689}">
      <dsp:nvSpPr>
        <dsp:cNvPr id="0" name=""/>
        <dsp:cNvSpPr/>
      </dsp:nvSpPr>
      <dsp:spPr>
        <a:xfrm>
          <a:off x="644080" y="682752"/>
          <a:ext cx="853440" cy="853440"/>
        </a:xfrm>
        <a:prstGeom prst="gear6">
          <a:avLst/>
        </a:prstGeom>
        <a:solidFill>
          <a:schemeClr val="accent4">
            <a:hueOff val="-1125458"/>
            <a:satOff val="30612"/>
            <a:lumOff val="1176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700" kern="1200">
              <a:solidFill>
                <a:schemeClr val="tx1"/>
              </a:solidFill>
            </a:rPr>
            <a:t>Tools &amp; Platform</a:t>
          </a:r>
        </a:p>
      </dsp:txBody>
      <dsp:txXfrm>
        <a:off x="858936" y="898907"/>
        <a:ext cx="423728" cy="421130"/>
      </dsp:txXfrm>
    </dsp:sp>
    <dsp:sp modelId="{8E670AFB-D790-4E42-BEAD-6F4C44EC9B94}">
      <dsp:nvSpPr>
        <dsp:cNvPr id="0" name=""/>
        <dsp:cNvSpPr/>
      </dsp:nvSpPr>
      <dsp:spPr>
        <a:xfrm rot="20700000">
          <a:off x="1122094" y="93965"/>
          <a:ext cx="836197" cy="836197"/>
        </a:xfrm>
        <a:prstGeom prst="gear6">
          <a:avLst/>
        </a:prstGeom>
        <a:solidFill>
          <a:schemeClr val="accent4">
            <a:hueOff val="-2250916"/>
            <a:satOff val="61224"/>
            <a:lumOff val="2352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700" kern="1200">
              <a:solidFill>
                <a:schemeClr val="tx1"/>
              </a:solidFill>
            </a:rPr>
            <a:t>People &amp; Skills</a:t>
          </a:r>
        </a:p>
      </dsp:txBody>
      <dsp:txXfrm rot="-20700000">
        <a:off x="1305496" y="277368"/>
        <a:ext cx="469392" cy="469392"/>
      </dsp:txXfrm>
    </dsp:sp>
    <dsp:sp modelId="{4433F89B-D493-4222-AE21-D2A0342097B5}">
      <dsp:nvSpPr>
        <dsp:cNvPr id="0" name=""/>
        <dsp:cNvSpPr/>
      </dsp:nvSpPr>
      <dsp:spPr>
        <a:xfrm>
          <a:off x="1215712" y="794589"/>
          <a:ext cx="1502054" cy="1502054"/>
        </a:xfrm>
        <a:prstGeom prst="circularArrow">
          <a:avLst>
            <a:gd name="adj1" fmla="val 4688"/>
            <a:gd name="adj2" fmla="val 299029"/>
            <a:gd name="adj3" fmla="val 2431239"/>
            <a:gd name="adj4" fmla="val 16058148"/>
            <a:gd name="adj5" fmla="val 5469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9C3833-4162-40AB-B46B-0DD853DDE1EB}">
      <dsp:nvSpPr>
        <dsp:cNvPr id="0" name=""/>
        <dsp:cNvSpPr/>
      </dsp:nvSpPr>
      <dsp:spPr>
        <a:xfrm>
          <a:off x="492938" y="502761"/>
          <a:ext cx="1091336" cy="1091336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4">
            <a:hueOff val="-1125458"/>
            <a:satOff val="30612"/>
            <a:lumOff val="1176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7E9890-2E93-4507-B24E-DA827E86CBBF}">
      <dsp:nvSpPr>
        <dsp:cNvPr id="0" name=""/>
        <dsp:cNvSpPr/>
      </dsp:nvSpPr>
      <dsp:spPr>
        <a:xfrm>
          <a:off x="928673" y="-80349"/>
          <a:ext cx="1176680" cy="117668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4">
            <a:hueOff val="-2250916"/>
            <a:satOff val="61224"/>
            <a:lumOff val="2352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4670DF6-AD21-476E-82FF-8361C14DE32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A51351-1F32-49B9-A13A-411E78D5553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2D8DB7-0398-491F-859B-0596AA23808A}" type="datetimeFigureOut">
              <a:rPr lang="pl-PL" smtClean="0"/>
              <a:t>27.03.2024</a:t>
            </a:fld>
            <a:endParaRPr lang="pl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FA9AE0-235D-4DC1-BD03-DD72A998A3D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D0F36B-8B9A-419C-8339-21D660CEF61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8AE0F0-2D3E-4902-ADBA-913378CC0122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833297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FAC857-EED9-5445-B32A-AEC3D42E55FB}" type="datetimeFigureOut">
              <a:rPr lang="en-GB" smtClean="0"/>
              <a:t>27/03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89AB23-81E6-B746-835C-06EDCD5CCB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32976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kxdocuments.accenture.com/contribution/3ec44282-bff6-44d7-98fa-4bf1c4bd3213" TargetMode="External"/><Relationship Id="rId7" Type="http://schemas.openxmlformats.org/officeDocument/2006/relationships/hyperlink" Target="https://mediaexchange.accenture.com/media/t/1_zrxox0xg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kxdocuments.accenture.com/contribution/17e6402d-7e82-44ab-b97a-e6e1f272073a" TargetMode="External"/><Relationship Id="rId5" Type="http://schemas.openxmlformats.org/officeDocument/2006/relationships/hyperlink" Target="https://kxdocuments.accenture.com/contribution/3cf05576-1a33-4892-ac03-fd617d4f94c6" TargetMode="External"/><Relationship Id="rId4" Type="http://schemas.openxmlformats.org/officeDocument/2006/relationships/hyperlink" Target="https://kxdocuments.accenture.com/contribution/9c034aa7-a9c2-447c-9395-ac05ef82c83b" TargetMode="Externa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kxdocuments.accenture.com/contribution/3ec44282-bff6-44d7-98fa-4bf1c4bd3213" TargetMode="External"/><Relationship Id="rId7" Type="http://schemas.openxmlformats.org/officeDocument/2006/relationships/hyperlink" Target="https://mediaexchange.accenture.com/media/t/1_zrxox0xg" TargetMode="External"/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kxdocuments.accenture.com/contribution/17e6402d-7e82-44ab-b97a-e6e1f272073a" TargetMode="External"/><Relationship Id="rId5" Type="http://schemas.openxmlformats.org/officeDocument/2006/relationships/hyperlink" Target="https://kxdocuments.accenture.com/contribution/3cf05576-1a33-4892-ac03-fd617d4f94c6" TargetMode="External"/><Relationship Id="rId4" Type="http://schemas.openxmlformats.org/officeDocument/2006/relationships/hyperlink" Target="https://kxdocuments.accenture.com/contribution/9c034aa7-a9c2-447c-9395-ac05ef82c83b" TargetMode="Externa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kxdocuments.accenture.com/contribution/3ec44282-bff6-44d7-98fa-4bf1c4bd3213" TargetMode="External"/><Relationship Id="rId7" Type="http://schemas.openxmlformats.org/officeDocument/2006/relationships/hyperlink" Target="https://mediaexchange.accenture.com/media/t/1_zrxox0xg" TargetMode="External"/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kxdocuments.accenture.com/contribution/17e6402d-7e82-44ab-b97a-e6e1f272073a" TargetMode="External"/><Relationship Id="rId5" Type="http://schemas.openxmlformats.org/officeDocument/2006/relationships/hyperlink" Target="https://kxdocuments.accenture.com/contribution/3cf05576-1a33-4892-ac03-fd617d4f94c6" TargetMode="External"/><Relationship Id="rId4" Type="http://schemas.openxmlformats.org/officeDocument/2006/relationships/hyperlink" Target="https://kxdocuments.accenture.com/contribution/9c034aa7-a9c2-447c-9395-ac05ef82c83b" TargetMode="Externa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kxdocuments.accenture.com/contribution/3ec44282-bff6-44d7-98fa-4bf1c4bd3213" TargetMode="External"/><Relationship Id="rId7" Type="http://schemas.openxmlformats.org/officeDocument/2006/relationships/hyperlink" Target="https://mediaexchange.accenture.com/media/t/1_zrxox0xg" TargetMode="External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kxdocuments.accenture.com/contribution/17e6402d-7e82-44ab-b97a-e6e1f272073a" TargetMode="External"/><Relationship Id="rId5" Type="http://schemas.openxmlformats.org/officeDocument/2006/relationships/hyperlink" Target="https://kxdocuments.accenture.com/contribution/3cf05576-1a33-4892-ac03-fd617d4f94c6" TargetMode="External"/><Relationship Id="rId4" Type="http://schemas.openxmlformats.org/officeDocument/2006/relationships/hyperlink" Target="https://kxdocuments.accenture.com/contribution/9c034aa7-a9c2-447c-9395-ac05ef82c83b" TargetMode="Externa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kxdocuments.accenture.com/contribution/3ec44282-bff6-44d7-98fa-4bf1c4bd3213" TargetMode="External"/><Relationship Id="rId7" Type="http://schemas.openxmlformats.org/officeDocument/2006/relationships/hyperlink" Target="https://mediaexchange.accenture.com/media/t/1_zrxox0xg" TargetMode="External"/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kxdocuments.accenture.com/contribution/17e6402d-7e82-44ab-b97a-e6e1f272073a" TargetMode="External"/><Relationship Id="rId5" Type="http://schemas.openxmlformats.org/officeDocument/2006/relationships/hyperlink" Target="https://kxdocuments.accenture.com/contribution/3cf05576-1a33-4892-ac03-fd617d4f94c6" TargetMode="External"/><Relationship Id="rId4" Type="http://schemas.openxmlformats.org/officeDocument/2006/relationships/hyperlink" Target="https://kxdocuments.accenture.com/contribution/9c034aa7-a9c2-447c-9395-ac05ef82c83b" TargetMode="Externa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kxdocuments.accenture.com/contribution/3ec44282-bff6-44d7-98fa-4bf1c4bd3213" TargetMode="External"/><Relationship Id="rId7" Type="http://schemas.openxmlformats.org/officeDocument/2006/relationships/hyperlink" Target="https://mediaexchange.accenture.com/media/t/1_zrxox0xg" TargetMode="External"/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kxdocuments.accenture.com/contribution/17e6402d-7e82-44ab-b97a-e6e1f272073a" TargetMode="External"/><Relationship Id="rId5" Type="http://schemas.openxmlformats.org/officeDocument/2006/relationships/hyperlink" Target="https://kxdocuments.accenture.com/contribution/3cf05576-1a33-4892-ac03-fd617d4f94c6" TargetMode="External"/><Relationship Id="rId4" Type="http://schemas.openxmlformats.org/officeDocument/2006/relationships/hyperlink" Target="https://kxdocuments.accenture.com/contribution/9c034aa7-a9c2-447c-9395-ac05ef82c83b" TargetMode="Externa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kxdocuments.accenture.com/contribution/3ec44282-bff6-44d7-98fa-4bf1c4bd3213" TargetMode="External"/><Relationship Id="rId7" Type="http://schemas.openxmlformats.org/officeDocument/2006/relationships/hyperlink" Target="https://mediaexchange.accenture.com/media/t/1_zrxox0xg" TargetMode="External"/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kxdocuments.accenture.com/contribution/17e6402d-7e82-44ab-b97a-e6e1f272073a" TargetMode="External"/><Relationship Id="rId5" Type="http://schemas.openxmlformats.org/officeDocument/2006/relationships/hyperlink" Target="https://kxdocuments.accenture.com/contribution/3cf05576-1a33-4892-ac03-fd617d4f94c6" TargetMode="External"/><Relationship Id="rId4" Type="http://schemas.openxmlformats.org/officeDocument/2006/relationships/hyperlink" Target="https://kxdocuments.accenture.com/contribution/9c034aa7-a9c2-447c-9395-ac05ef82c83b" TargetMode="Externa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kxdocuments.accenture.com/contribution/3ec44282-bff6-44d7-98fa-4bf1c4bd3213" TargetMode="External"/><Relationship Id="rId7" Type="http://schemas.openxmlformats.org/officeDocument/2006/relationships/hyperlink" Target="https://mediaexchange.accenture.com/media/t/1_zrxox0xg" TargetMode="External"/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kxdocuments.accenture.com/contribution/17e6402d-7e82-44ab-b97a-e6e1f272073a" TargetMode="External"/><Relationship Id="rId5" Type="http://schemas.openxmlformats.org/officeDocument/2006/relationships/hyperlink" Target="https://kxdocuments.accenture.com/contribution/3cf05576-1a33-4892-ac03-fd617d4f94c6" TargetMode="External"/><Relationship Id="rId4" Type="http://schemas.openxmlformats.org/officeDocument/2006/relationships/hyperlink" Target="https://kxdocuments.accenture.com/contribution/9c034aa7-a9c2-447c-9395-ac05ef82c83b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kxdocuments.accenture.com/contribution/3ec44282-bff6-44d7-98fa-4bf1c4bd3213" TargetMode="External"/><Relationship Id="rId7" Type="http://schemas.openxmlformats.org/officeDocument/2006/relationships/hyperlink" Target="https://mediaexchange.accenture.com/media/t/1_zrxox0xg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kxdocuments.accenture.com/contribution/17e6402d-7e82-44ab-b97a-e6e1f272073a" TargetMode="External"/><Relationship Id="rId5" Type="http://schemas.openxmlformats.org/officeDocument/2006/relationships/hyperlink" Target="https://kxdocuments.accenture.com/contribution/3cf05576-1a33-4892-ac03-fd617d4f94c6" TargetMode="External"/><Relationship Id="rId4" Type="http://schemas.openxmlformats.org/officeDocument/2006/relationships/hyperlink" Target="https://kxdocuments.accenture.com/contribution/9c034aa7-a9c2-447c-9395-ac05ef82c83b" TargetMode="Externa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kxdocuments.accenture.com/contribution/3ec44282-bff6-44d7-98fa-4bf1c4bd3213" TargetMode="External"/><Relationship Id="rId7" Type="http://schemas.openxmlformats.org/officeDocument/2006/relationships/hyperlink" Target="https://mediaexchange.accenture.com/media/t/1_zrxox0xg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kxdocuments.accenture.com/contribution/17e6402d-7e82-44ab-b97a-e6e1f272073a" TargetMode="External"/><Relationship Id="rId5" Type="http://schemas.openxmlformats.org/officeDocument/2006/relationships/hyperlink" Target="https://kxdocuments.accenture.com/contribution/3cf05576-1a33-4892-ac03-fd617d4f94c6" TargetMode="External"/><Relationship Id="rId4" Type="http://schemas.openxmlformats.org/officeDocument/2006/relationships/hyperlink" Target="https://kxdocuments.accenture.com/contribution/9c034aa7-a9c2-447c-9395-ac05ef82c83b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kxdocuments.accenture.com/contribution/3ec44282-bff6-44d7-98fa-4bf1c4bd3213" TargetMode="External"/><Relationship Id="rId7" Type="http://schemas.openxmlformats.org/officeDocument/2006/relationships/hyperlink" Target="https://mediaexchange.accenture.com/media/t/1_zrxox0xg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kxdocuments.accenture.com/contribution/17e6402d-7e82-44ab-b97a-e6e1f272073a" TargetMode="External"/><Relationship Id="rId5" Type="http://schemas.openxmlformats.org/officeDocument/2006/relationships/hyperlink" Target="https://kxdocuments.accenture.com/contribution/3cf05576-1a33-4892-ac03-fd617d4f94c6" TargetMode="External"/><Relationship Id="rId4" Type="http://schemas.openxmlformats.org/officeDocument/2006/relationships/hyperlink" Target="https://kxdocuments.accenture.com/contribution/9c034aa7-a9c2-447c-9395-ac05ef82c83b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5816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70502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r>
              <a:rPr lang="en-US" b="1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SC&amp;O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Fulfill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Manufactur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Procure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Service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3"/>
              </a:rPr>
              <a:t>Intelligent Supply Chain Solutions =&gt; ISCS STAGE 0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4"/>
              </a:rPr>
              <a:t>Fast assessment for forecast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4"/>
              </a:rPr>
              <a:t>Fast assessment for inventory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5"/>
              </a:rPr>
              <a:t>Demand 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6"/>
              </a:rPr>
              <a:t>Supply 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7"/>
              </a:rPr>
              <a:t>Inventory Optimiza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1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T&amp;O</a:t>
            </a:r>
            <a:r>
              <a:rPr lang="en-US" b="1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 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endParaRPr lang="pl-PL"/>
          </a:p>
          <a:p>
            <a:pPr algn="l" rtl="0" fontAlgn="base"/>
            <a:r>
              <a:rPr lang="en-US" b="0" i="0" u="sng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Customer, marketing &amp; sales analytics: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Customer insights &amp; strategy 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AI powered care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Pricing execu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Revenue growth manage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Route to market optimiza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Marketing insights &amp; personalization Marketing effectiveness &amp; </a:t>
            </a:r>
            <a:r>
              <a:rPr lang="en-US" b="0" i="0" u="none" strike="noStrike" err="1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attr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r>
              <a:rPr lang="pl-PL"/>
              <a:t>CFO &amp;EV:L</a:t>
            </a:r>
          </a:p>
          <a:p>
            <a:r>
              <a:rPr lang="en-US" b="0" i="0" u="none" strike="noStrike" err="1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Fincrime</a:t>
            </a: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, AML, Risk MGMT</a:t>
            </a:r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83329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r>
              <a:rPr lang="en-US" b="1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SC&amp;O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Fulfill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Manufactur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Procure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Service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3"/>
              </a:rPr>
              <a:t>Intelligent Supply Chain Solutions =&gt; ISCS STAGE 0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4"/>
              </a:rPr>
              <a:t>Fast assessment for forecast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4"/>
              </a:rPr>
              <a:t>Fast assessment for inventory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5"/>
              </a:rPr>
              <a:t>Demand 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6"/>
              </a:rPr>
              <a:t>Supply 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7"/>
              </a:rPr>
              <a:t>Inventory Optimiza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1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T&amp;O</a:t>
            </a:r>
            <a:r>
              <a:rPr lang="en-US" b="1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 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endParaRPr lang="pl-PL"/>
          </a:p>
          <a:p>
            <a:pPr algn="l" rtl="0" fontAlgn="base"/>
            <a:r>
              <a:rPr lang="en-US" b="0" i="0" u="sng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Customer, marketing &amp; sales analytics: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Customer insights &amp; strategy 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AI powered care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Pricing execu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Revenue growth manage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Route to market optimiza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Marketing insights &amp; personalization Marketing effectiveness &amp; </a:t>
            </a:r>
            <a:r>
              <a:rPr lang="en-US" b="0" i="0" u="none" strike="noStrike" err="1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attr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r>
              <a:rPr lang="pl-PL"/>
              <a:t>CFO &amp;EV:L</a:t>
            </a:r>
          </a:p>
          <a:p>
            <a:r>
              <a:rPr lang="en-US" b="0" i="0" u="none" strike="noStrike" err="1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Fincrime</a:t>
            </a: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, AML, Risk MGMT</a:t>
            </a:r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0422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r>
              <a:rPr lang="en-US" b="1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SC&amp;O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Fulfill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Manufactur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Procure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Service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3"/>
              </a:rPr>
              <a:t>Intelligent Supply Chain Solutions =&gt; ISCS STAGE 0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4"/>
              </a:rPr>
              <a:t>Fast assessment for forecast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4"/>
              </a:rPr>
              <a:t>Fast assessment for inventory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5"/>
              </a:rPr>
              <a:t>Demand 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6"/>
              </a:rPr>
              <a:t>Supply 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7"/>
              </a:rPr>
              <a:t>Inventory Optimiza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1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T&amp;O</a:t>
            </a:r>
            <a:r>
              <a:rPr lang="en-US" b="1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 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endParaRPr lang="pl-PL"/>
          </a:p>
          <a:p>
            <a:pPr algn="l" rtl="0" fontAlgn="base"/>
            <a:r>
              <a:rPr lang="en-US" b="0" i="0" u="sng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Customer, marketing &amp; sales analytics: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Customer insights &amp; strategy 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AI powered care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Pricing execu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Revenue growth manage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Route to market optimiza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Marketing insights &amp; personalization Marketing effectiveness &amp; </a:t>
            </a:r>
            <a:r>
              <a:rPr lang="en-US" b="0" i="0" u="none" strike="noStrike" err="1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attr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r>
              <a:rPr lang="pl-PL"/>
              <a:t>CFO &amp;EV:L</a:t>
            </a:r>
          </a:p>
          <a:p>
            <a:r>
              <a:rPr lang="en-US" b="0" i="0" u="none" strike="noStrike" err="1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Fincrime</a:t>
            </a: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, AML, Risk MGMT</a:t>
            </a:r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17847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r>
              <a:rPr lang="en-US" b="1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SC&amp;O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Fulfill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Manufactur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Procure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Service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3"/>
              </a:rPr>
              <a:t>Intelligent Supply Chain Solutions =&gt; ISCS STAGE 0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4"/>
              </a:rPr>
              <a:t>Fast assessment for forecast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4"/>
              </a:rPr>
              <a:t>Fast assessment for inventory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5"/>
              </a:rPr>
              <a:t>Demand 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6"/>
              </a:rPr>
              <a:t>Supply 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7"/>
              </a:rPr>
              <a:t>Inventory Optimiza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1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T&amp;O</a:t>
            </a:r>
            <a:r>
              <a:rPr lang="en-US" b="1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 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endParaRPr lang="pl-PL"/>
          </a:p>
          <a:p>
            <a:pPr algn="l" rtl="0" fontAlgn="base"/>
            <a:r>
              <a:rPr lang="en-US" b="0" i="0" u="sng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Customer, marketing &amp; sales analytics: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Customer insights &amp; strategy 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AI powered care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Pricing execu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Revenue growth manage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Route to market optimiza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Marketing insights &amp; personalization Marketing effectiveness &amp; </a:t>
            </a:r>
            <a:r>
              <a:rPr lang="en-US" b="0" i="0" u="none" strike="noStrike" err="1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attr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r>
              <a:rPr lang="pl-PL"/>
              <a:t>CFO &amp;EV:L</a:t>
            </a:r>
          </a:p>
          <a:p>
            <a:r>
              <a:rPr lang="en-US" b="0" i="0" u="none" strike="noStrike" err="1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Fincrime</a:t>
            </a: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, AML, Risk MGMT</a:t>
            </a:r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82381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r>
              <a:rPr lang="en-US" b="1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SC&amp;O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Fulfill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Manufactur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Procure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Service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3"/>
              </a:rPr>
              <a:t>Intelligent Supply Chain Solutions =&gt; ISCS STAGE 0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4"/>
              </a:rPr>
              <a:t>Fast assessment for forecast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4"/>
              </a:rPr>
              <a:t>Fast assessment for inventory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5"/>
              </a:rPr>
              <a:t>Demand 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6"/>
              </a:rPr>
              <a:t>Supply 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7"/>
              </a:rPr>
              <a:t>Inventory Optimiza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1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T&amp;O</a:t>
            </a:r>
            <a:r>
              <a:rPr lang="en-US" b="1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 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endParaRPr lang="pl-PL"/>
          </a:p>
          <a:p>
            <a:pPr algn="l" rtl="0" fontAlgn="base"/>
            <a:r>
              <a:rPr lang="en-US" b="0" i="0" u="sng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Customer, marketing &amp; sales analytics: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Customer insights &amp; strategy 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AI powered care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Pricing execu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Revenue growth manage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Route to market optimiza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Marketing insights &amp; personalization Marketing effectiveness &amp; </a:t>
            </a:r>
            <a:r>
              <a:rPr lang="en-US" b="0" i="0" u="none" strike="noStrike" err="1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attr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r>
              <a:rPr lang="pl-PL"/>
              <a:t>CFO &amp;EV:L</a:t>
            </a:r>
          </a:p>
          <a:p>
            <a:r>
              <a:rPr lang="en-US" b="0" i="0" u="none" strike="noStrike" err="1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Fincrime</a:t>
            </a: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, AML, Risk MGMT</a:t>
            </a:r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57794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r>
              <a:rPr lang="en-US" b="1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SC&amp;O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Fulfill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Manufactur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Procure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Service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3"/>
              </a:rPr>
              <a:t>Intelligent Supply Chain Solutions =&gt; ISCS STAGE 0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4"/>
              </a:rPr>
              <a:t>Fast assessment for forecast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4"/>
              </a:rPr>
              <a:t>Fast assessment for inventory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5"/>
              </a:rPr>
              <a:t>Demand 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6"/>
              </a:rPr>
              <a:t>Supply 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7"/>
              </a:rPr>
              <a:t>Inventory Optimiza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1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T&amp;O</a:t>
            </a:r>
            <a:r>
              <a:rPr lang="en-US" b="1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 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endParaRPr lang="pl-PL"/>
          </a:p>
          <a:p>
            <a:pPr algn="l" rtl="0" fontAlgn="base"/>
            <a:r>
              <a:rPr lang="en-US" b="0" i="0" u="sng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Customer, marketing &amp; sales analytics: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Customer insights &amp; strategy 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AI powered care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Pricing execu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Revenue growth manage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Route to market optimiza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Marketing insights &amp; personalization Marketing effectiveness &amp; </a:t>
            </a:r>
            <a:r>
              <a:rPr lang="en-US" b="0" i="0" u="none" strike="noStrike" err="1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attr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r>
              <a:rPr lang="pl-PL"/>
              <a:t>CFO &amp;EV:L</a:t>
            </a:r>
          </a:p>
          <a:p>
            <a:r>
              <a:rPr lang="en-US" b="0" i="0" u="none" strike="noStrike" err="1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Fincrime</a:t>
            </a: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, AML, Risk MGMT</a:t>
            </a:r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948531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r>
              <a:rPr lang="en-US" b="1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SC&amp;O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Fulfill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Manufactur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Procure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Service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3"/>
              </a:rPr>
              <a:t>Intelligent Supply Chain Solutions =&gt; ISCS STAGE 0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4"/>
              </a:rPr>
              <a:t>Fast assessment for forecast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4"/>
              </a:rPr>
              <a:t>Fast assessment for inventory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5"/>
              </a:rPr>
              <a:t>Demand 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6"/>
              </a:rPr>
              <a:t>Supply 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7"/>
              </a:rPr>
              <a:t>Inventory Optimiza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1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T&amp;O</a:t>
            </a:r>
            <a:r>
              <a:rPr lang="en-US" b="1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 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endParaRPr lang="pl-PL"/>
          </a:p>
          <a:p>
            <a:pPr algn="l" rtl="0" fontAlgn="base"/>
            <a:r>
              <a:rPr lang="en-US" b="0" i="0" u="sng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Customer, marketing &amp; sales analytics: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Customer insights &amp; strategy 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AI powered care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Pricing execu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Revenue growth manage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Route to market optimiza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Marketing insights &amp; personalization Marketing effectiveness &amp; </a:t>
            </a:r>
            <a:r>
              <a:rPr lang="en-US" b="0" i="0" u="none" strike="noStrike" err="1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attr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r>
              <a:rPr lang="pl-PL"/>
              <a:t>CFO &amp;EV:L</a:t>
            </a:r>
          </a:p>
          <a:p>
            <a:r>
              <a:rPr lang="en-US" b="0" i="0" u="none" strike="noStrike" err="1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Fincrime</a:t>
            </a: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, AML, Risk MGMT</a:t>
            </a:r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08050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3C85B0-A8EF-C001-07AF-A57B574FF4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8B2CA3E-F038-C0A2-4150-86679500C1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8728DE-0E2A-BE23-36DC-1A0F13F851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defTabSz="228600">
              <a:spcAft>
                <a:spcPts val="1200"/>
              </a:spcAft>
            </a:pPr>
            <a:r>
              <a:rPr lang="pl-PL" noProof="0"/>
              <a:t>Na czym się tutaj skupiamy?</a:t>
            </a:r>
          </a:p>
          <a:p>
            <a:pPr algn="l" defTabSz="228600">
              <a:spcAft>
                <a:spcPts val="1200"/>
              </a:spcAft>
            </a:pPr>
            <a:endParaRPr lang="pl-PL"/>
          </a:p>
          <a:p>
            <a:pPr algn="l" defTabSz="228600">
              <a:spcAft>
                <a:spcPts val="1200"/>
              </a:spcAft>
            </a:pPr>
            <a:r>
              <a:rPr lang="pl-PL" noProof="0"/>
              <a:t>Czy takie punkty:</a:t>
            </a:r>
          </a:p>
          <a:p>
            <a:pPr marL="285750" indent="-285750" algn="l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l-PL" noProof="0"/>
              <a:t>X osób to MLOps Eng</a:t>
            </a:r>
            <a:endParaRPr lang="pl-PL"/>
          </a:p>
          <a:p>
            <a:pPr marL="285750" indent="-285750" algn="l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l-PL"/>
              <a:t>Robimy delivery na Z projektów z Y technologiami i L industry</a:t>
            </a:r>
          </a:p>
          <a:p>
            <a:pPr marL="285750" indent="-285750" algn="l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l-PL"/>
              <a:t>Rodzaje inicjatyw MLOpsowych, które wspieramy [model operacyjny, skille, process...]</a:t>
            </a:r>
          </a:p>
          <a:p>
            <a:pPr marL="285750" indent="-285750" algn="l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l-PL" noProof="0"/>
              <a:t>Budujemy assety (Testing Suit) i jesteśmy na froncie (LLMOp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87E421-D8D6-DEA7-65FA-D830E3F30F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289248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2626C9-FC6A-9724-9716-3E17F9430B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A7CE442-764E-283F-3E9B-1DC4722837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28965B-C6BC-B45C-78F7-D364BA5369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r>
              <a:rPr lang="en-US" b="1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SC&amp;O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Fulfill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Manufactur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Procure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Service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3"/>
              </a:rPr>
              <a:t>Intelligent Supply Chain Solutions =&gt; ISCS STAGE 0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4"/>
              </a:rPr>
              <a:t>Fast assessment for forecast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4"/>
              </a:rPr>
              <a:t>Fast assessment for inventory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5"/>
              </a:rPr>
              <a:t>Demand 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6"/>
              </a:rPr>
              <a:t>Supply 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7"/>
              </a:rPr>
              <a:t>Inventory Optimiza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1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T&amp;O</a:t>
            </a:r>
            <a:r>
              <a:rPr lang="en-US" b="1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 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endParaRPr lang="pl-PL"/>
          </a:p>
          <a:p>
            <a:pPr algn="l" rtl="0" fontAlgn="base"/>
            <a:r>
              <a:rPr lang="en-US" b="0" i="0" u="sng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Customer, marketing &amp; sales analytics: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Customer insights &amp; strategy 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AI powered care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Pricing execu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Revenue growth manage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Route to market optimiza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Marketing insights &amp; personalization Marketing effectiveness &amp; </a:t>
            </a:r>
            <a:r>
              <a:rPr lang="en-US" b="0" i="0" u="none" strike="noStrike" err="1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attr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r>
              <a:rPr lang="pl-PL"/>
              <a:t>CFO &amp;EV:L</a:t>
            </a:r>
          </a:p>
          <a:p>
            <a:r>
              <a:rPr lang="en-US" b="0" i="0" u="none" strike="noStrike" err="1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Fincrime</a:t>
            </a: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, AML, Risk MGMT</a:t>
            </a:r>
            <a:endParaRPr lang="pl-P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7AE705-B584-B7BF-C84F-059E2EF279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32258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03716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46968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23702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r>
              <a:rPr lang="en-US" b="1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SC&amp;O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Fulfill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Manufactur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Procure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Service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3"/>
              </a:rPr>
              <a:t>Intelligent Supply Chain Solutions =&gt; ISCS STAGE 0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4"/>
              </a:rPr>
              <a:t>Fast assessment for forecast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4"/>
              </a:rPr>
              <a:t>Fast assessment for inventory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5"/>
              </a:rPr>
              <a:t>Demand 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6"/>
              </a:rPr>
              <a:t>Supply 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7"/>
              </a:rPr>
              <a:t>Inventory Optimiza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1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T&amp;O</a:t>
            </a:r>
            <a:r>
              <a:rPr lang="en-US" b="1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 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endParaRPr lang="pl-PL"/>
          </a:p>
          <a:p>
            <a:pPr algn="l" rtl="0" fontAlgn="base"/>
            <a:r>
              <a:rPr lang="en-US" b="0" i="0" u="sng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Customer, marketing &amp; sales analytics: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Customer insights &amp; strategy 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AI powered care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Pricing execu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Revenue growth manage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Route to market optimiza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Marketing insights &amp; personalization Marketing effectiveness &amp; </a:t>
            </a:r>
            <a:r>
              <a:rPr lang="en-US" b="0" i="0" u="none" strike="noStrike" err="1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attr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r>
              <a:rPr lang="pl-PL"/>
              <a:t>CFO &amp;EV:L</a:t>
            </a:r>
          </a:p>
          <a:p>
            <a:r>
              <a:rPr lang="en-US" b="0" i="0" u="none" strike="noStrike" err="1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Fincrime</a:t>
            </a: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, AML, Risk MGMT</a:t>
            </a:r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97079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r>
              <a:rPr lang="en-US" b="1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SC&amp;O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Fulfill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Manufactur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Procure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Service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3"/>
              </a:rPr>
              <a:t>Intelligent Supply Chain Solutions =&gt; ISCS STAGE 0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4"/>
              </a:rPr>
              <a:t>Fast assessment for forecast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4"/>
              </a:rPr>
              <a:t>Fast assessment for inventory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5"/>
              </a:rPr>
              <a:t>Demand 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6"/>
              </a:rPr>
              <a:t>Supply 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7"/>
              </a:rPr>
              <a:t>Inventory Optimiza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1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T&amp;O</a:t>
            </a:r>
            <a:r>
              <a:rPr lang="en-US" b="1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 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endParaRPr lang="pl-PL"/>
          </a:p>
          <a:p>
            <a:pPr algn="l" rtl="0" fontAlgn="base"/>
            <a:r>
              <a:rPr lang="en-US" b="0" i="0" u="sng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Customer, marketing &amp; sales analytics: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Customer insights &amp; strategy 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AI powered care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Pricing execu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Revenue growth manage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Route to market optimiza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Marketing insights &amp; personalization Marketing effectiveness &amp; </a:t>
            </a:r>
            <a:r>
              <a:rPr lang="en-US" b="0" i="0" u="none" strike="noStrike" err="1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attr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r>
              <a:rPr lang="pl-PL"/>
              <a:t>CFO &amp;EV:L</a:t>
            </a:r>
          </a:p>
          <a:p>
            <a:r>
              <a:rPr lang="en-US" b="0" i="0" u="none" strike="noStrike" err="1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Fincrime</a:t>
            </a: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, AML, Risk MGMT</a:t>
            </a:r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64891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16212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46535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r>
              <a:rPr lang="en-US" b="1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SC&amp;O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Fulfill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Manufactur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Procure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Service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3"/>
              </a:rPr>
              <a:t>Intelligent Supply Chain Solutions =&gt; ISCS STAGE 0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4"/>
              </a:rPr>
              <a:t>Fast assessment for forecast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4"/>
              </a:rPr>
              <a:t>Fast assessment for inventory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5"/>
              </a:rPr>
              <a:t>Demand 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6"/>
              </a:rPr>
              <a:t>Supply Planning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0" i="0" u="sng" strike="noStrike">
                <a:solidFill>
                  <a:srgbClr val="000000"/>
                </a:solidFill>
                <a:effectLst/>
                <a:latin typeface="Graphik" panose="020B0503030202060203" pitchFamily="34" charset="-18"/>
                <a:hlinkClick r:id="rId7"/>
              </a:rPr>
              <a:t>Inventory Optimiza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b="1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T&amp;O</a:t>
            </a:r>
            <a:r>
              <a:rPr lang="en-US" b="1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 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endParaRPr lang="pl-PL"/>
          </a:p>
          <a:p>
            <a:pPr algn="l" rtl="0" fontAlgn="base"/>
            <a:r>
              <a:rPr lang="en-US" b="0" i="0" u="sng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Customer, marketing &amp; sales analytics: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Customer insights &amp; strategy 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AI powered care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Pricing execu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Revenue growth management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Route to market optimization</a:t>
            </a:r>
            <a:r>
              <a:rPr lang="en-US" b="0" i="0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Marketing insights &amp; personalization Marketing effectiveness &amp; </a:t>
            </a:r>
            <a:r>
              <a:rPr lang="en-US" b="0" i="0" u="none" strike="noStrike" err="1">
                <a:solidFill>
                  <a:srgbClr val="A100FF"/>
                </a:solidFill>
                <a:effectLst/>
                <a:latin typeface="Graphik" panose="020B0503030202060203" pitchFamily="34" charset="-18"/>
              </a:rPr>
              <a:t>attr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r>
              <a:rPr lang="pl-PL"/>
              <a:t>CFO &amp;EV:L</a:t>
            </a:r>
          </a:p>
          <a:p>
            <a:r>
              <a:rPr lang="en-US" b="0" i="0" u="none" strike="noStrike" err="1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Fincrime</a:t>
            </a:r>
            <a:r>
              <a:rPr lang="en-US" b="0" i="0" u="none" strike="noStrike">
                <a:solidFill>
                  <a:srgbClr val="000000"/>
                </a:solidFill>
                <a:effectLst/>
                <a:latin typeface="Graphik" panose="020B0503030202060203" pitchFamily="34" charset="-18"/>
              </a:rPr>
              <a:t>, AML, Risk MGMT</a:t>
            </a:r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85453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svg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6.png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hyperlink" Target="mailto:Amy.Ritz@Accenture.com" TargetMode="External"/><Relationship Id="rId2" Type="http://schemas.openxmlformats.org/officeDocument/2006/relationships/hyperlink" Target="https://ts.accenture.com/sites/BrandSpace/brand_assets" TargetMode="External"/><Relationship Id="rId1" Type="http://schemas.openxmlformats.org/officeDocument/2006/relationships/slideMaster" Target="../slideMasters/slideMaster7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4" Type="http://schemas.openxmlformats.org/officeDocument/2006/relationships/image" Target="../media/image18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18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18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18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18.emf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Acc_StratConst_Logo_WH" descr="Accenture Strategy &amp; Consulting wordmark in white">
            <a:extLst>
              <a:ext uri="{FF2B5EF4-FFF2-40B4-BE49-F238E27FC236}">
                <a16:creationId xmlns:a16="http://schemas.microsoft.com/office/drawing/2014/main" id="{C467B724-7300-4D8A-B08E-84012B82F3C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933444" y="5934934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</a:p>
        </p:txBody>
      </p:sp>
      <p:sp>
        <p:nvSpPr>
          <p:cNvPr id="10" name="GTS_WH" descr="Accenture logo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914400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24117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798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3880">
          <p15:clr>
            <a:srgbClr val="C35EA4"/>
          </p15:clr>
        </p15:guide>
        <p15:guide id="4" orient="horz" pos="2162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2" name="Acc_StratConst_Logo_WH" descr="Accenture Strategy &amp; Consulting wordmark in black">
            <a:extLst>
              <a:ext uri="{FF2B5EF4-FFF2-40B4-BE49-F238E27FC236}">
                <a16:creationId xmlns:a16="http://schemas.microsoft.com/office/drawing/2014/main" id="{8F79BEBA-CA8B-4F14-8252-FBD84FCE55C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81001" y="6096690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20765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ta 1.1 – One chart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y BG">
            <a:extLst>
              <a:ext uri="{FF2B5EF4-FFF2-40B4-BE49-F238E27FC236}">
                <a16:creationId xmlns:a16="http://schemas.microsoft.com/office/drawing/2014/main" id="{0701F613-758A-4A4F-B028-530A6A2341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316413" y="0"/>
            <a:ext cx="7875587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26978A-7D98-463D-B9B1-47CC26AC8E29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4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CA9204-E9A0-4986-B8FC-EF6CC163E538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876872E1-3CB8-45EA-A826-1429BD5BE35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46FF8C9B-4BA7-4F4F-8F5E-25A0572691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245" y="1335323"/>
            <a:ext cx="3962401" cy="151157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minimum 36 pt max 3 lines</a:t>
            </a:r>
          </a:p>
        </p:txBody>
      </p:sp>
      <p:sp>
        <p:nvSpPr>
          <p:cNvPr id="11" name="Intro">
            <a:extLst>
              <a:ext uri="{FF2B5EF4-FFF2-40B4-BE49-F238E27FC236}">
                <a16:creationId xmlns:a16="http://schemas.microsoft.com/office/drawing/2014/main" id="{160F2AF5-03AA-4256-9CD6-96FA0CAC02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59206" y="2847703"/>
            <a:ext cx="3957207" cy="3225388"/>
          </a:xfrm>
        </p:spPr>
        <p:txBody>
          <a:bodyPr tIns="28800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800"/>
            </a:lvl2pPr>
            <a:lvl3pPr marL="360000" indent="-180000">
              <a:defRPr sz="1600"/>
            </a:lvl3pPr>
            <a:lvl4pPr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360000" lvl="3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33" hasCustomPrompt="1"/>
          </p:nvPr>
        </p:nvSpPr>
        <p:spPr>
          <a:xfrm>
            <a:off x="4922838" y="1443038"/>
            <a:ext cx="6886575" cy="4602162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17912465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cons 1.6 – Dark purple lef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centure GTS">
            <a:extLst>
              <a:ext uri="{FF2B5EF4-FFF2-40B4-BE49-F238E27FC236}">
                <a16:creationId xmlns:a16="http://schemas.microsoft.com/office/drawing/2014/main" id="{3B40FC8F-5222-40F9-ABE6-99B7F467D4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482516"/>
            <a:ext cx="190926" cy="201600"/>
          </a:xfrm>
          <a:custGeom>
            <a:avLst/>
            <a:gdLst>
              <a:gd name="connsiteX0" fmla="*/ 0 w 153352"/>
              <a:gd name="connsiteY0" fmla="*/ 114300 h 161925"/>
              <a:gd name="connsiteX1" fmla="*/ 89535 w 153352"/>
              <a:gd name="connsiteY1" fmla="*/ 80963 h 161925"/>
              <a:gd name="connsiteX2" fmla="*/ 0 w 153352"/>
              <a:gd name="connsiteY2" fmla="*/ 46673 h 161925"/>
              <a:gd name="connsiteX3" fmla="*/ 0 w 153352"/>
              <a:gd name="connsiteY3" fmla="*/ 0 h 161925"/>
              <a:gd name="connsiteX4" fmla="*/ 153352 w 153352"/>
              <a:gd name="connsiteY4" fmla="*/ 61913 h 161925"/>
              <a:gd name="connsiteX5" fmla="*/ 153352 w 153352"/>
              <a:gd name="connsiteY5" fmla="*/ 100013 h 161925"/>
              <a:gd name="connsiteX6" fmla="*/ 0 w 153352"/>
              <a:gd name="connsiteY6" fmla="*/ 161925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3352" h="161925">
                <a:moveTo>
                  <a:pt x="0" y="114300"/>
                </a:moveTo>
                <a:lnTo>
                  <a:pt x="89535" y="80963"/>
                </a:lnTo>
                <a:lnTo>
                  <a:pt x="0" y="46673"/>
                </a:lnTo>
                <a:lnTo>
                  <a:pt x="0" y="0"/>
                </a:lnTo>
                <a:lnTo>
                  <a:pt x="153352" y="61913"/>
                </a:lnTo>
                <a:lnTo>
                  <a:pt x="153352" y="100013"/>
                </a:lnTo>
                <a:lnTo>
                  <a:pt x="0" y="16192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CA"/>
          </a:p>
        </p:txBody>
      </p:sp>
      <p:sp>
        <p:nvSpPr>
          <p:cNvPr id="2" name="White BG">
            <a:extLst>
              <a:ext uri="{FF2B5EF4-FFF2-40B4-BE49-F238E27FC236}">
                <a16:creationId xmlns:a16="http://schemas.microsoft.com/office/drawing/2014/main" id="{088C38D8-C195-4F4A-9AD9-7825090A4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5003074" y="0"/>
            <a:ext cx="718892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3794BDF-4F22-417D-AF8C-220B50602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583058"/>
            <a:ext cx="4401698" cy="1218795"/>
          </a:xfrm>
        </p:spPr>
        <p:txBody>
          <a:bodyPr/>
          <a:lstStyle>
            <a:lvl1pPr>
              <a:defRPr sz="4400">
                <a:solidFill>
                  <a:schemeClr val="accent5"/>
                </a:solidFill>
              </a:defRPr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98266" y="1665623"/>
            <a:ext cx="4323475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box to the baseline of the title</a:t>
            </a:r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527539B8-B213-444B-A063-3C22F62189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2600" y="3049098"/>
            <a:ext cx="4323475" cy="2218360"/>
          </a:xfrm>
        </p:spPr>
        <p:txBody>
          <a:bodyPr tIns="0"/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FECFBB03-0377-4308-AC2C-782EFA5E77C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25934" y="856242"/>
            <a:ext cx="1968500" cy="113645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Insert description maximum 3 lin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9C4DAEE-A287-4110-95F7-7469BFD7CAA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617294" y="856242"/>
            <a:ext cx="1968500" cy="113645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Insert description maximum 3 line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B733FFC-29E8-4A30-A618-C41E2B20D85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25934" y="2816286"/>
            <a:ext cx="1968500" cy="113645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Insert description maximum 3 lin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5251F99-75AC-4CC1-AA92-5FC87186334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617294" y="2816286"/>
            <a:ext cx="1968500" cy="113645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Insert description maximum 3 lin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A5522B8-FE7D-40FD-8F58-4F88FDEF3CAF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33E3BE-EA62-4012-9FC6-DA15240346B6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310D313-EB19-F24F-AAFF-206A87B7055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325934" y="4736526"/>
            <a:ext cx="1968500" cy="113645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Insert description maximum 3 lines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85D1EB44-562C-3A40-9A5B-188D091E6B9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617294" y="4736526"/>
            <a:ext cx="1968500" cy="113645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Insert description maximum 3 lines</a:t>
            </a:r>
          </a:p>
        </p:txBody>
      </p:sp>
    </p:spTree>
    <p:extLst>
      <p:ext uri="{BB962C8B-B14F-4D97-AF65-F5344CB8AC3E}">
        <p14:creationId xmlns:p14="http://schemas.microsoft.com/office/powerpoint/2010/main" val="188536917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Acc_StratConst_Logo_WH" descr="Accenture Strategy &amp; Consulting wordmark in white">
            <a:extLst>
              <a:ext uri="{FF2B5EF4-FFF2-40B4-BE49-F238E27FC236}">
                <a16:creationId xmlns:a16="http://schemas.microsoft.com/office/drawing/2014/main" id="{C467B724-7300-4D8A-B08E-84012B82F3C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933444" y="5934934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</a:p>
        </p:txBody>
      </p:sp>
      <p:sp>
        <p:nvSpPr>
          <p:cNvPr id="10" name="GTS_WH" descr="Accenture logo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914400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9338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798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3880">
          <p15:clr>
            <a:srgbClr val="C35EA4"/>
          </p15:clr>
        </p15:guide>
        <p15:guide id="4" orient="horz" pos="2162">
          <p15:clr>
            <a:srgbClr val="C35EA4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1005840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" name="Acc_StratConst_Logo_WH" descr="Accenture Strategy &amp; Consulting wordmark in white">
            <a:extLst>
              <a:ext uri="{FF2B5EF4-FFF2-40B4-BE49-F238E27FC236}">
                <a16:creationId xmlns:a16="http://schemas.microsoft.com/office/drawing/2014/main" id="{7E8828A5-9BB3-4391-9884-979C03BD8B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933444" y="5934934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59119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880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2160">
          <p15:clr>
            <a:srgbClr val="C35EA4"/>
          </p15:clr>
        </p15:guide>
        <p15:guide id="4" orient="horz" pos="947">
          <p15:clr>
            <a:srgbClr val="C35EA4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0136934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380999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GB" noProof="0"/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E96B644F-A9C2-401B-8562-DC3B10FB5CF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Acc_StratConst_Logo_WH" descr="Accenture Strategy &amp; Consulting wordmark in white">
            <a:extLst>
              <a:ext uri="{FF2B5EF4-FFF2-40B4-BE49-F238E27FC236}">
                <a16:creationId xmlns:a16="http://schemas.microsoft.com/office/drawing/2014/main" id="{4BD0FAB6-DE30-4DDA-9B03-9676F088C07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80999" y="6096690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87532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Rg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926898" y="381000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6" name="Acc_StratConst_Logo_WH" descr="Accenture Strategy &amp; Consulting wordmark in white">
            <a:extLst>
              <a:ext uri="{FF2B5EF4-FFF2-40B4-BE49-F238E27FC236}">
                <a16:creationId xmlns:a16="http://schemas.microsoft.com/office/drawing/2014/main" id="{1EFA58BA-0151-4B22-861F-7F21C4F6F55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485450" y="6096690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69813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Rg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Acc_StratConst_Logo_WH" descr="Accenture Strategy &amp; Consulting wordmark in white">
            <a:extLst>
              <a:ext uri="{FF2B5EF4-FFF2-40B4-BE49-F238E27FC236}">
                <a16:creationId xmlns:a16="http://schemas.microsoft.com/office/drawing/2014/main" id="{4965A41C-952B-4AE3-94C9-5746E2B1FDE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81001" y="6096690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10912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Rg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</a:p>
        </p:txBody>
      </p:sp>
      <p:grpSp>
        <p:nvGrpSpPr>
          <p:cNvPr id="13" name="Logo_WH" descr="Accenture logo in white">
            <a:extLst>
              <a:ext uri="{FF2B5EF4-FFF2-40B4-BE49-F238E27FC236}">
                <a16:creationId xmlns:a16="http://schemas.microsoft.com/office/drawing/2014/main" id="{6E8422F7-B85B-4755-B6A1-FFEA87624FF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0" y="381000"/>
            <a:ext cx="1883664" cy="496247"/>
            <a:chOff x="1561" y="187"/>
            <a:chExt cx="4536" cy="1195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64597228-D9AB-44B8-B1CD-B17ABE7714E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C5BFA133-9FE4-4FB4-968A-A369A9EF6AE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" name="Acc_StratConst_Logo_WH" descr="Accenture Strategy &amp; Consulting wordmark in white">
            <a:extLst>
              <a:ext uri="{FF2B5EF4-FFF2-40B4-BE49-F238E27FC236}">
                <a16:creationId xmlns:a16="http://schemas.microsoft.com/office/drawing/2014/main" id="{80BBB220-1B89-4D6B-A561-DCCD26E722D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81001" y="6096690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0378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Rg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926898" y="381000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" name="Freeform 9" descr="Accenture Strategy &amp; Consulting wordmark in black">
            <a:extLst>
              <a:ext uri="{FF2B5EF4-FFF2-40B4-BE49-F238E27FC236}">
                <a16:creationId xmlns:a16="http://schemas.microsoft.com/office/drawing/2014/main" id="{D4C52F35-E416-409C-9EE2-3A93052099E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485450" y="6096690"/>
            <a:ext cx="4325112" cy="273555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64334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39099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Rg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grpSp>
        <p:nvGrpSpPr>
          <p:cNvPr id="12" name="Logo_BL" descr="Accenture logo in black and purple">
            <a:extLst>
              <a:ext uri="{FF2B5EF4-FFF2-40B4-BE49-F238E27FC236}">
                <a16:creationId xmlns:a16="http://schemas.microsoft.com/office/drawing/2014/main" id="{9F19D48A-46F6-4BAE-97F3-DFACD8E22BA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2636" y="382725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848F740B-2A73-4970-A31A-4A0E685E66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4A90C93-9B70-4203-9499-12D2A090A80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7" name="Acc_StratConst_Logo_WH" descr="Accenture Strategy &amp; Consulting wordmark in black">
            <a:extLst>
              <a:ext uri="{FF2B5EF4-FFF2-40B4-BE49-F238E27FC236}">
                <a16:creationId xmlns:a16="http://schemas.microsoft.com/office/drawing/2014/main" id="{ED1D51DA-E924-4D44-B3EA-586DA653E32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81001" y="6096690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87626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Rg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2" name="Acc_StratConst_Logo_WH" descr="Accenture Strategy &amp; Consulting wordmark in black">
            <a:extLst>
              <a:ext uri="{FF2B5EF4-FFF2-40B4-BE49-F238E27FC236}">
                <a16:creationId xmlns:a16="http://schemas.microsoft.com/office/drawing/2014/main" id="{8F79BEBA-CA8B-4F14-8252-FBD84FCE55C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81001" y="6096690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14532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0279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04292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80286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Graphik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Graphik" panose="020B0604020202020204" pitchFamily="34" charset="0"/>
              <a:buChar char="•"/>
              <a:defRPr sz="1600"/>
            </a:lvl5pPr>
          </a:lstStyle>
          <a:p>
            <a:pPr lvl="0"/>
            <a:r>
              <a:rPr lang="en-GB"/>
              <a:t>Place agenda summary here in GT Sectra Fine Rg 24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 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1872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Graphik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GB"/>
              <a:t>Place text her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54584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GB"/>
              <a:t>Place text her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09003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GB"/>
              <a:t>Place text her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7870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GB"/>
              <a:t>Place sub-headline here in GT Sectra Fine Rg 24pt, indent for other levels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bullet 18pt</a:t>
            </a:r>
          </a:p>
          <a:p>
            <a:pPr lvl="3"/>
            <a:r>
              <a:rPr lang="en-GB"/>
              <a:t>Fourth level bullet 16pt</a:t>
            </a:r>
          </a:p>
          <a:p>
            <a:pPr lvl="4"/>
            <a:r>
              <a:rPr lang="en-GB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Place text here 20pt</a:t>
            </a:r>
          </a:p>
          <a:p>
            <a:pPr lvl="1"/>
            <a:r>
              <a:rPr lang="en-GB"/>
              <a:t>Second level 20pt</a:t>
            </a:r>
          </a:p>
          <a:p>
            <a:pPr lvl="2"/>
            <a:r>
              <a:rPr lang="en-GB"/>
              <a:t>Third level 20pt</a:t>
            </a:r>
          </a:p>
          <a:p>
            <a:pPr lvl="3"/>
            <a:r>
              <a:rPr lang="en-GB"/>
              <a:t>Fourth level 18pt</a:t>
            </a:r>
          </a:p>
          <a:p>
            <a:pPr lvl="4"/>
            <a:r>
              <a:rPr lang="en-GB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/>
              <a:t>Place headline here (36pt, min 30pt)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3521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>
          <p15:clr>
            <a:srgbClr val="C35E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92802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GB"/>
              <a:t>Place headline here (36pt, min 30pt)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2507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677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1553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GB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GB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148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4095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659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Alt) 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36FB760-AEF8-46F8-B73E-B0A537402A7A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141567" y="361969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B9165B01-6544-4059-9AE2-42F4426A038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3503587" y="361969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EB2E96CC-0F77-4F5D-A96C-5243BDB51C0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5865607" y="361969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2D003B29-C8CB-4629-BF53-F5AEBE6FAE2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227627" y="361969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49BB6C55-F8C8-4B99-843F-9A6047B7A3E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10570872" y="361969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B047CF-EEDD-49CC-9871-80D6EF57FEB6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0755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Graphik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</a:t>
            </a:r>
            <a:br>
              <a:rPr lang="en-GB"/>
            </a:br>
            <a:r>
              <a:rPr lang="en-GB"/>
              <a:t>Last name 21pt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</a:t>
            </a:r>
            <a:br>
              <a:rPr lang="en-GB"/>
            </a:br>
            <a:r>
              <a:rPr lang="en-GB"/>
              <a:t>Last name 21pt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</a:t>
            </a:r>
            <a:br>
              <a:rPr lang="en-GB"/>
            </a:br>
            <a:r>
              <a:rPr lang="en-GB"/>
              <a:t>Last name 21pt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</a:t>
            </a:r>
            <a:br>
              <a:rPr lang="en-GB"/>
            </a:br>
            <a:r>
              <a:rPr lang="en-GB"/>
              <a:t>Last name 21pt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15135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GB"/>
              <a:t>Add profile photo</a:t>
            </a:r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63349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Add profile photo</a:t>
            </a:r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80471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34408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Place text here, use indent to access other levels 20pt</a:t>
            </a:r>
          </a:p>
          <a:p>
            <a:pPr lvl="1"/>
            <a:r>
              <a:rPr lang="en-GB"/>
              <a:t>Second level 20pt</a:t>
            </a:r>
          </a:p>
          <a:p>
            <a:pPr lvl="2"/>
            <a:r>
              <a:rPr lang="en-GB"/>
              <a:t>Third level 20pt</a:t>
            </a:r>
          </a:p>
          <a:p>
            <a:pPr lvl="3"/>
            <a:r>
              <a:rPr lang="en-GB"/>
              <a:t>Fourth level 18pt</a:t>
            </a:r>
          </a:p>
          <a:p>
            <a:pPr lvl="4"/>
            <a:r>
              <a:rPr lang="en-GB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599715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Graphik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Drag picture to placeholder or click icon to add, then ‘Send to Back’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GB"/>
              <a:t>Place sub-headline here in GT Sectra Fine Rg 24pt, indent for other levels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bullet 18pt</a:t>
            </a:r>
          </a:p>
          <a:p>
            <a:pPr lvl="3"/>
            <a:r>
              <a:rPr lang="en-GB"/>
              <a:t>Fourth level bullet 16pt</a:t>
            </a:r>
          </a:p>
          <a:p>
            <a:pPr lvl="4"/>
            <a:r>
              <a:rPr lang="en-GB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5EB3E03B-7CA0-42DC-80B4-DFDDE28AFC8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974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Graphik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Graphik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Graphik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Place sub-headline here in GT Sectra Fine Rg 24pt, indent for other levels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bullet 18pt</a:t>
            </a:r>
          </a:p>
          <a:p>
            <a:pPr lvl="3"/>
            <a:r>
              <a:rPr lang="en-GB"/>
              <a:t>Fourth level bullet 16pt</a:t>
            </a:r>
          </a:p>
          <a:p>
            <a:pPr lvl="4"/>
            <a:r>
              <a:rPr lang="en-GB"/>
              <a:t>Fifth level bullet 16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GTS_Purple" descr="Accenture Greater Than symbol in white">
            <a:extLst>
              <a:ext uri="{FF2B5EF4-FFF2-40B4-BE49-F238E27FC236}">
                <a16:creationId xmlns:a16="http://schemas.microsoft.com/office/drawing/2014/main" id="{7F47EA7B-6E02-45C5-BF54-F4D63DCF9834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95949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0855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02645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6659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</a:t>
            </a:r>
          </a:p>
          <a:p>
            <a:r>
              <a:rPr lang="en-GB"/>
              <a:t>or click icon to add</a:t>
            </a:r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/>
              <a:t>Drag picture to placeholder </a:t>
            </a:r>
          </a:p>
          <a:p>
            <a:pPr marL="228600" lvl="0" indent="-228600" algn="ctr"/>
            <a:r>
              <a:rPr lang="en-GB"/>
              <a:t>or click icon to add</a:t>
            </a:r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lace headline here 36pt, min 30pt)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GB" smtClean="0"/>
              <a:pPr/>
              <a:t>‹#›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30059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Place key message here 54pt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310B6FD-F7E2-4120-A2CE-22852AAA9F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2FF57A0A-C5DD-42B6-8DD3-E5EA041C72D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31A683-09B8-4B7C-917B-D192D06BBA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1864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74293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84714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Graphik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Graphik" panose="020B0604020202020204" pitchFamily="34" charset="0"/>
              <a:buChar char="•"/>
              <a:defRPr sz="1600"/>
            </a:lvl5pPr>
          </a:lstStyle>
          <a:p>
            <a:pPr lvl="0"/>
            <a:r>
              <a:rPr lang="en-GB"/>
              <a:t>Place agenda summary here in GT Sectra Fine </a:t>
            </a:r>
            <a:r>
              <a:rPr lang="en-GB" err="1"/>
              <a:t>Rg</a:t>
            </a:r>
            <a:r>
              <a:rPr lang="en-GB"/>
              <a:t> 24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 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26166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49899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7755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8645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  <p:sp>
        <p:nvSpPr>
          <p:cNvPr id="10" name="GTS_WH">
            <a:extLst>
              <a:ext uri="{FF2B5EF4-FFF2-40B4-BE49-F238E27FC236}">
                <a16:creationId xmlns:a16="http://schemas.microsoft.com/office/drawing/2014/main" id="{494AA491-F1F8-4D38-B722-DB2F38B198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0778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3608">
          <p15:clr>
            <a:srgbClr val="C35EA4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  <p:grpSp>
        <p:nvGrpSpPr>
          <p:cNvPr id="12" name="Logo_WH">
            <a:extLst>
              <a:ext uri="{FF2B5EF4-FFF2-40B4-BE49-F238E27FC236}">
                <a16:creationId xmlns:a16="http://schemas.microsoft.com/office/drawing/2014/main" id="{0D82E30B-4E95-4B73-9014-71990AE21D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653080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2160">
          <p15:clr>
            <a:srgbClr val="C35EA4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6353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 descr="Background image placeholder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  <a:endParaRPr lang="en-US"/>
          </a:p>
        </p:txBody>
      </p:sp>
      <p:sp>
        <p:nvSpPr>
          <p:cNvPr id="6" name="GTS_WH">
            <a:extLst>
              <a:ext uri="{FF2B5EF4-FFF2-40B4-BE49-F238E27FC236}">
                <a16:creationId xmlns:a16="http://schemas.microsoft.com/office/drawing/2014/main" id="{5820492B-C4D2-42F2-B2B8-CB1CE70F89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0999" y="5607812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1697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391454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5" name="Date Placeholder 10">
            <a:extLst>
              <a:ext uri="{FF2B5EF4-FFF2-40B4-BE49-F238E27FC236}">
                <a16:creationId xmlns:a16="http://schemas.microsoft.com/office/drawing/2014/main" id="{C1D8BA10-E028-4E4B-A19C-12B864B010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DC0C86-80A9-481C-A2D5-6F509B8919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GTS_WH">
            <a:extLst>
              <a:ext uri="{FF2B5EF4-FFF2-40B4-BE49-F238E27FC236}">
                <a16:creationId xmlns:a16="http://schemas.microsoft.com/office/drawing/2014/main" id="{C703F910-26EC-4B07-B522-B28DEB82C3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485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05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481612-058D-4A52-B93E-53E75F305C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>
            <a:extLst>
              <a:ext uri="{FF2B5EF4-FFF2-40B4-BE49-F238E27FC236}">
                <a16:creationId xmlns:a16="http://schemas.microsoft.com/office/drawing/2014/main" id="{C6212C50-BB96-4C0C-BC89-2B3C808214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A65B91D-87CB-4DC8-B4B1-CE82A8E5C6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102C68A-98DA-4EBB-AAFF-D0C6E56ADE1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195932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6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Graphik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GB"/>
              <a:t>Place text her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85228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>
            <a:extLst>
              <a:ext uri="{FF2B5EF4-FFF2-40B4-BE49-F238E27FC236}">
                <a16:creationId xmlns:a16="http://schemas.microsoft.com/office/drawing/2014/main" id="{1A7501AC-E717-4CB3-89D9-DEE7B06E18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153213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74266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5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 descr="Background image placeholder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9" name="GTS_WH">
            <a:extLst>
              <a:ext uri="{FF2B5EF4-FFF2-40B4-BE49-F238E27FC236}">
                <a16:creationId xmlns:a16="http://schemas.microsoft.com/office/drawing/2014/main" id="{08C622A3-6AC3-418E-A8AE-75B117754C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381001" y="560781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06742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6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 descr="Background image placeholder">
            <a:extLst>
              <a:ext uri="{FF2B5EF4-FFF2-40B4-BE49-F238E27FC236}">
                <a16:creationId xmlns:a16="http://schemas.microsoft.com/office/drawing/2014/main" id="{12688DA9-25EC-4AC3-AD0E-0CC139E116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464481-354D-44BF-B8B2-E0AFA2830F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9" name="Logo_WH">
            <a:extLst>
              <a:ext uri="{FF2B5EF4-FFF2-40B4-BE49-F238E27FC236}">
                <a16:creationId xmlns:a16="http://schemas.microsoft.com/office/drawing/2014/main" id="{BA79480B-BE6F-49EC-829D-D8AF858ABF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1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0D6DAB6-FE72-4647-9B94-83468BA6B4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6961114-35B1-4F8E-96CC-0CA3D18133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600985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7 Acquisition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 descr="Background image placeholder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9B6BF12D-A981-4F4E-B8F1-FF12DC840F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Font typeface="Graphik" panose="020B0604020202020204" pitchFamily="34" charset="0"/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0" name="GTS_WH">
            <a:extLst>
              <a:ext uri="{FF2B5EF4-FFF2-40B4-BE49-F238E27FC236}">
                <a16:creationId xmlns:a16="http://schemas.microsoft.com/office/drawing/2014/main" id="{659D61A8-47A5-47C2-A85A-BCCCBE83C9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7005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8" name="Logo_BL">
            <a:extLst>
              <a:ext uri="{FF2B5EF4-FFF2-40B4-BE49-F238E27FC236}">
                <a16:creationId xmlns:a16="http://schemas.microsoft.com/office/drawing/2014/main" id="{35D3F8C8-B2E5-431B-9639-9F05530860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51524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 descr="Background image placeholder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99A6723-3F53-4981-840E-D1D62874F6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5607811"/>
            <a:ext cx="641502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7437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 descr="Background image placeholder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19749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10" name="Logo_BL">
            <a:extLst>
              <a:ext uri="{FF2B5EF4-FFF2-40B4-BE49-F238E27FC236}">
                <a16:creationId xmlns:a16="http://schemas.microsoft.com/office/drawing/2014/main" id="{854C139D-5D17-4D1A-87BD-07B345E2E5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35704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4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771526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9" name="Logo_BL">
            <a:extLst>
              <a:ext uri="{FF2B5EF4-FFF2-40B4-BE49-F238E27FC236}">
                <a16:creationId xmlns:a16="http://schemas.microsoft.com/office/drawing/2014/main" id="{1C5BF709-3623-4620-9FF0-B8F8076A8B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7B64CB8-485B-4A84-AF6D-C9EF29551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74AE1E9A-205A-4C25-A6CD-8452DDD299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86429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5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733891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4734391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4979668"/>
            <a:ext cx="4114799" cy="548640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9" name="Logo_BL">
            <a:extLst>
              <a:ext uri="{FF2B5EF4-FFF2-40B4-BE49-F238E27FC236}">
                <a16:creationId xmlns:a16="http://schemas.microsoft.com/office/drawing/2014/main" id="{8D3E8DD1-C700-46AC-AA94-9072B0F317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9093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99A1684-BC33-4579-B840-616EB6D11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5AD5E73-6E1C-44F8-9F73-9F3D4F6DF7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9022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6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 descr="Background image placeholder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1" name="Picture Placeholder 11" descr="Image placeholder for client logo">
            <a:extLst>
              <a:ext uri="{FF2B5EF4-FFF2-40B4-BE49-F238E27FC236}">
                <a16:creationId xmlns:a16="http://schemas.microsoft.com/office/drawing/2014/main" id="{FFB79963-9269-41F8-B968-34FCB68C87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26766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10" name="Logo_BL">
            <a:extLst>
              <a:ext uri="{FF2B5EF4-FFF2-40B4-BE49-F238E27FC236}">
                <a16:creationId xmlns:a16="http://schemas.microsoft.com/office/drawing/2014/main" id="{854C139D-5D17-4D1A-87BD-07B345E2E5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384143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GB"/>
              <a:t>Place text her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8044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7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 descr="Background image placeholder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05B9195C-3F7A-4A18-80FA-FB81E2ECDE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DD1DFCC-5489-470C-84F4-93032F0960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1090544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10" name="GTS_WH">
            <a:extLst>
              <a:ext uri="{FF2B5EF4-FFF2-40B4-BE49-F238E27FC236}">
                <a16:creationId xmlns:a16="http://schemas.microsoft.com/office/drawing/2014/main" id="{4B2379EA-B598-42DD-B03E-5C4FC1D468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8572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sp>
        <p:nvSpPr>
          <p:cNvPr id="14" name="GTS_WH">
            <a:extLst>
              <a:ext uri="{FF2B5EF4-FFF2-40B4-BE49-F238E27FC236}">
                <a16:creationId xmlns:a16="http://schemas.microsoft.com/office/drawing/2014/main" id="{3FC0722F-C643-4988-96E8-F00519CB3A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785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B16898D-3DD4-439C-B43F-558C1FDD3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#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sp>
        <p:nvSpPr>
          <p:cNvPr id="16" name="GTS_WH">
            <a:extLst>
              <a:ext uri="{FF2B5EF4-FFF2-40B4-BE49-F238E27FC236}">
                <a16:creationId xmlns:a16="http://schemas.microsoft.com/office/drawing/2014/main" id="{C5173724-68B6-47CD-B850-71B1407EEA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35338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 title</a:t>
            </a:r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Graphik" panose="020B0604020202020204" pitchFamily="34" charset="0"/>
              <a:buChar char="•"/>
              <a:defRPr sz="1800"/>
            </a:lvl3pPr>
            <a:lvl4pPr marL="457200">
              <a:buFont typeface="Graphik"/>
              <a:buChar char="–"/>
              <a:defRPr sz="1600"/>
            </a:lvl4pPr>
            <a:lvl5pPr marL="685800">
              <a:buFont typeface="Graphik" panose="020B0604020202020204" pitchFamily="34" charset="0"/>
              <a:buChar char="•"/>
              <a:defRPr sz="1600"/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59" name="Text Placeholder 8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61" name="Text Placeholder 10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65" name="Text Placeholder 14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67" name="Text Placeholder 16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69" name="Text Placeholder 18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4" name="Text Placeholder 19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86" name="Text Placeholder 20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5" name="Text Placeholder 21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87" name="Text Placeholder 22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6" name="Text Placeholder 23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88" name="Text Placeholder 24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7" name="Text Placeholder 25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89" name="Text Placeholder 26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8" name="Text Placeholder 2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0" name="Text Placeholder 28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9" name="Text Placeholder 29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1" name="Text Placeholder 30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100" name="Text Placeholder 31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2" name="Text Placeholder 32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101" name="Text Placeholder 33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3" name="Text Placeholder 34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37808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Graphik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26135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sp>
        <p:nvSpPr>
          <p:cNvPr id="11" name="GTS_WH">
            <a:extLst>
              <a:ext uri="{FF2B5EF4-FFF2-40B4-BE49-F238E27FC236}">
                <a16:creationId xmlns:a16="http://schemas.microsoft.com/office/drawing/2014/main" id="{5EFDEB3F-4743-43EA-A121-ED3CB6054C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85327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0pt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62376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</a:t>
            </a:r>
            <a:r>
              <a:rPr lang="en-GB"/>
              <a:t>here in GT Sectra Fine </a:t>
            </a:r>
            <a:r>
              <a:rPr lang="en-GB" err="1"/>
              <a:t>Rg</a:t>
            </a:r>
            <a:r>
              <a:rPr lang="en-GB"/>
              <a:t> 24pt</a:t>
            </a:r>
            <a:r>
              <a:rPr lang="en-US"/>
              <a:t>, indent for other levels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Place text here 20pt</a:t>
            </a:r>
          </a:p>
          <a:p>
            <a:pPr lvl="1"/>
            <a:r>
              <a:rPr lang="en-US"/>
              <a:t>Second level 20pt</a:t>
            </a:r>
          </a:p>
          <a:p>
            <a:pPr lvl="2"/>
            <a:r>
              <a:rPr lang="en-US"/>
              <a:t>Third level 20pt</a:t>
            </a:r>
          </a:p>
          <a:p>
            <a:pPr lvl="3"/>
            <a:r>
              <a:rPr lang="en-US"/>
              <a:t>Fourth level 18pt</a:t>
            </a:r>
          </a:p>
          <a:p>
            <a:pPr lvl="4"/>
            <a:r>
              <a:rPr lang="en-US"/>
              <a:t>Fifth level 18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7706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>
          <p15:clr>
            <a:srgbClr val="C35EA4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64910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GB"/>
              <a:t>Place text her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2865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0pt</a:t>
            </a:r>
            <a:endParaRPr lang="en-US"/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52021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0pt</a:t>
            </a:r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939863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0pt</a:t>
            </a:r>
            <a:endParaRPr lang="en-US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3" name="Text Placeholder 3a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3" name="Content Placeholder 7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6" name="Content Placeholder 10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71270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0pt</a:t>
            </a:r>
            <a:endParaRPr lang="en-US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8" name="Content Placeholder 11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9" name="Content Placeholder 14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30148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0pt</a:t>
            </a:r>
            <a:endParaRPr lang="en-US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1" name="Picture Placeholder 8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2" name="Picture Placeholder 10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5566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Graphik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46" name="Picture Placeholder 4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47" name="Picture Placeholder 6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48" name="Picture Placeholder 8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165091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1" name="Picture Placeholder 10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5" name="Picture Placeholder 12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5" name="Text Placeholder 13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77581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1" name="Picture Placeholder 10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5" name="Picture Placeholder 12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3" name="Text Placeholder 13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sp>
        <p:nvSpPr>
          <p:cNvPr id="32" name="GTS_WH">
            <a:extLst>
              <a:ext uri="{FF2B5EF4-FFF2-40B4-BE49-F238E27FC236}">
                <a16:creationId xmlns:a16="http://schemas.microsoft.com/office/drawing/2014/main" id="{B49891DC-D80E-4D1B-961E-1B567E0E45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12669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Place text here, use indent to access other levels 20pt</a:t>
            </a:r>
          </a:p>
          <a:p>
            <a:pPr lvl="1"/>
            <a:r>
              <a:rPr lang="en-GB"/>
              <a:t>Second level 20pt</a:t>
            </a:r>
          </a:p>
          <a:p>
            <a:pPr lvl="2"/>
            <a:r>
              <a:rPr lang="en-GB"/>
              <a:t>Third level 20pt</a:t>
            </a:r>
          </a:p>
          <a:p>
            <a:pPr lvl="3"/>
            <a:r>
              <a:rPr lang="en-GB"/>
              <a:t>Fourth level 18pt</a:t>
            </a:r>
          </a:p>
          <a:p>
            <a:pPr lvl="4"/>
            <a:r>
              <a:rPr lang="en-GB"/>
              <a:t>Fifth level 18pt</a:t>
            </a:r>
            <a:endParaRPr lang="en-US"/>
          </a:p>
        </p:txBody>
      </p:sp>
      <p:sp>
        <p:nvSpPr>
          <p:cNvPr id="45" name="Picture Placeholder 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6" name="Picture Placeholder 5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9" name="Text Placeholder 8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7" name="Picture Placeholder 9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78" name="Text Placeholder 10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32" name="Picture Placeholder 11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35" name="Picture Placeholder 15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34" name="Picture Placeholder 17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3" name="Text Placeholder 18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85515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</a:t>
            </a:r>
            <a:r>
              <a:rPr lang="en-GB"/>
              <a:t>here in GT Sectra Fine </a:t>
            </a:r>
            <a:r>
              <a:rPr lang="en-GB" err="1"/>
              <a:t>Rg</a:t>
            </a:r>
            <a:r>
              <a:rPr lang="en-GB"/>
              <a:t> 24pt</a:t>
            </a:r>
            <a:r>
              <a:rPr lang="en-US"/>
              <a:t>, indent for other levels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Graphik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Drag picture to placeholder or click icon to add, then ‘Send to Back’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790613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GB"/>
              <a:t>Place sub-headline here in GT Sectra Fine </a:t>
            </a:r>
            <a:r>
              <a:rPr lang="en-GB" err="1"/>
              <a:t>Rg</a:t>
            </a:r>
            <a:r>
              <a:rPr lang="en-GB"/>
              <a:t> 24pt, indent for other levels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bullet 18pt</a:t>
            </a:r>
          </a:p>
          <a:p>
            <a:pPr lvl="3"/>
            <a:r>
              <a:rPr lang="en-GB"/>
              <a:t>Fourth level bullet 16pt</a:t>
            </a:r>
          </a:p>
          <a:p>
            <a:pPr lvl="4"/>
            <a:r>
              <a:rPr lang="en-GB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Place text here 20pt</a:t>
            </a:r>
          </a:p>
          <a:p>
            <a:pPr lvl="1"/>
            <a:r>
              <a:rPr lang="en-GB"/>
              <a:t>Second level 20pt</a:t>
            </a:r>
          </a:p>
          <a:p>
            <a:pPr lvl="2"/>
            <a:r>
              <a:rPr lang="en-GB"/>
              <a:t>Third level 20pt</a:t>
            </a:r>
          </a:p>
          <a:p>
            <a:pPr lvl="3"/>
            <a:r>
              <a:rPr lang="en-GB"/>
              <a:t>Fourth level 18pt</a:t>
            </a:r>
          </a:p>
          <a:p>
            <a:pPr lvl="4"/>
            <a:r>
              <a:rPr lang="en-GB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/>
              <a:t>Place headline here (36pt, min 30pt)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7277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>
          <p15:clr>
            <a:srgbClr val="C35EA4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Graphik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Graphik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Graphik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lace sub-headline </a:t>
            </a:r>
            <a:r>
              <a:rPr lang="en-GB"/>
              <a:t>here in GT Sectra Fine </a:t>
            </a:r>
            <a:r>
              <a:rPr lang="en-GB" err="1"/>
              <a:t>Rg</a:t>
            </a:r>
            <a:r>
              <a:rPr lang="en-GB"/>
              <a:t> 24pt</a:t>
            </a:r>
            <a:r>
              <a:rPr lang="en-US"/>
              <a:t>, indent for other levels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sp>
        <p:nvSpPr>
          <p:cNvPr id="12" name="GTS_WH">
            <a:extLst>
              <a:ext uri="{FF2B5EF4-FFF2-40B4-BE49-F238E27FC236}">
                <a16:creationId xmlns:a16="http://schemas.microsoft.com/office/drawing/2014/main" id="{9742AFA2-2F86-4FC9-AB33-FE5A8DC3B4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7889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507791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3909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50" name="Text Placeholder 8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8781F80-F3D9-42F9-B6EE-F6DC303E05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0054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BB918B6-32FF-4857-A645-C1032AFAE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5333969" cy="2393952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</a:t>
            </a:r>
          </a:p>
          <a:p>
            <a:r>
              <a:rPr lang="en-GB"/>
              <a:t>or click icon to add</a:t>
            </a:r>
            <a:endParaRPr lang="en-US"/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/>
              <a:t>Drag picture to placeholder </a:t>
            </a:r>
          </a:p>
          <a:p>
            <a:pPr marL="228600" lvl="0" indent="-228600" algn="ctr"/>
            <a:r>
              <a:rPr lang="en-GB"/>
              <a:t>or click icon to add</a:t>
            </a:r>
            <a:endParaRPr lang="en-US"/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9" name="Text Placeholder 8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8774BCE-242F-4FF9-9C01-D01B97743A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6992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47B586-CFEE-4C32-8227-001B5A89C3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31A683-09B8-4B7C-917B-D192D06BBA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310B6FD-F7E2-4120-A2CE-22852AAA9F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sp>
        <p:nvSpPr>
          <p:cNvPr id="11" name="GTS_WH">
            <a:extLst>
              <a:ext uri="{FF2B5EF4-FFF2-40B4-BE49-F238E27FC236}">
                <a16:creationId xmlns:a16="http://schemas.microsoft.com/office/drawing/2014/main" id="{2FF57A0A-C5DD-42B6-8DD3-E5EA041C7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3245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sp>
        <p:nvSpPr>
          <p:cNvPr id="11" name="GTS_WH">
            <a:extLst>
              <a:ext uri="{FF2B5EF4-FFF2-40B4-BE49-F238E27FC236}">
                <a16:creationId xmlns:a16="http://schemas.microsoft.com/office/drawing/2014/main" id="{B0B0C095-6C73-4899-AD8E-8F75768CF5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667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sp>
        <p:nvSpPr>
          <p:cNvPr id="7" name="GTS_WH">
            <a:extLst>
              <a:ext uri="{FF2B5EF4-FFF2-40B4-BE49-F238E27FC236}">
                <a16:creationId xmlns:a16="http://schemas.microsoft.com/office/drawing/2014/main" id="{AE479463-B4C9-4B9A-BE8B-62B5B9CF00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5601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474463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0pt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77310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GB"/>
              <a:t>Place headline here (36pt, min 30pt)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16449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907574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: Black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F0815EC5-EA2C-D643-B9BF-6B982219D3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-1"/>
            <a:ext cx="12191999" cy="6858001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496311E-CEAA-4247-80C1-E2039B09854D}"/>
              </a:ext>
            </a:extLst>
          </p:cNvPr>
          <p:cNvSpPr/>
          <p:nvPr userDrawn="1"/>
        </p:nvSpPr>
        <p:spPr>
          <a:xfrm rot="10800000">
            <a:off x="0" y="-2"/>
            <a:ext cx="12191998" cy="6852277"/>
          </a:xfrm>
          <a:prstGeom prst="rect">
            <a:avLst/>
          </a:prstGeom>
          <a:gradFill>
            <a:gsLst>
              <a:gs pos="98000">
                <a:schemeClr val="bg1">
                  <a:alpha val="57000"/>
                </a:schemeClr>
              </a:gs>
              <a:gs pos="0">
                <a:schemeClr val="accent2">
                  <a:alpha val="22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Rg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926898" y="381000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6" name="Acc_StratConst_Logo_WH" descr="Accenture Strategy &amp; Consulting wordmark in white">
            <a:extLst>
              <a:ext uri="{FF2B5EF4-FFF2-40B4-BE49-F238E27FC236}">
                <a16:creationId xmlns:a16="http://schemas.microsoft.com/office/drawing/2014/main" id="{1EFA58BA-0151-4B22-861F-7F21C4F6F55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485450" y="6096690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0042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807202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5741" y="554272"/>
            <a:ext cx="11474881" cy="54347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MAIN TITLE AT 36PT MIN 30P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en-GB">
              <a:solidFill>
                <a:srgbClr val="000000">
                  <a:alpha val="50000"/>
                </a:srgb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GB" smtClean="0">
                <a:solidFill>
                  <a:srgbClr val="000000">
                    <a:alpha val="50000"/>
                  </a:srgbClr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>
                  <a:alpha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1407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Layou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</p:spPr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7D01DB-9EBF-4251-A87F-391D09060E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376363"/>
            <a:ext cx="11429999" cy="4913312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0543773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85372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- Ligh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EAD9AED-9987-4CE9-B39D-B256B46200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518886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1F27CE3-9100-46D8-B2FC-808EC584697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0" y="900113"/>
            <a:ext cx="11430000" cy="62388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Sub title (2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571933193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s + Greater Than 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930402"/>
            <a:ext cx="7040753" cy="997196"/>
          </a:xfrm>
        </p:spPr>
        <p:txBody>
          <a:bodyPr anchor="ctr"/>
          <a:lstStyle>
            <a:lvl1pPr algn="l">
              <a:defRPr sz="72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Welcome</a:t>
            </a:r>
            <a:endParaRPr lang="en-US"/>
          </a:p>
        </p:txBody>
      </p:sp>
      <p:pic>
        <p:nvPicPr>
          <p:cNvPr id="4" name="Keyline GTS" descr="Accenture Keyline GTS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7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s Slide -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819602"/>
            <a:ext cx="7040753" cy="1218795"/>
          </a:xfrm>
        </p:spPr>
        <p:txBody>
          <a:bodyPr anchor="ctr"/>
          <a:lstStyle>
            <a:lvl1pPr algn="ctr">
              <a:defRPr sz="8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Welcome</a:t>
            </a:r>
            <a:endParaRPr lang="en-US"/>
          </a:p>
        </p:txBody>
      </p:sp>
      <p:pic>
        <p:nvPicPr>
          <p:cNvPr id="5" name="Accenture Logo" descr="Accenture logo">
            <a:extLst>
              <a:ext uri="{FF2B5EF4-FFF2-40B4-BE49-F238E27FC236}">
                <a16:creationId xmlns:a16="http://schemas.microsoft.com/office/drawing/2014/main" id="{E34398E1-9C5A-4C11-A65C-80180660E9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0337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D25F7A-52DF-4C27-B2F3-E44BB72CB9A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8251825" y="6480578"/>
            <a:ext cx="3175200" cy="132523"/>
          </a:xfrm>
        </p:spPr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C168BC-AA2D-4986-889E-A6CC0A35999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4C2560-725E-4120-B0A4-2D3EACCF96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199" y="1361464"/>
            <a:ext cx="4946385" cy="1495794"/>
          </a:xfrm>
        </p:spPr>
        <p:txBody>
          <a:bodyPr/>
          <a:lstStyle>
            <a:lvl1pPr>
              <a:defRPr sz="5400"/>
            </a:lvl1pPr>
          </a:lstStyle>
          <a:p>
            <a:r>
              <a:rPr lang="en-US"/>
              <a:t>Section introduc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056690C-4007-42A3-95CA-C413233137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2688610"/>
            <a:ext cx="4918075" cy="3353416"/>
          </a:xfrm>
        </p:spPr>
        <p:txBody>
          <a:bodyPr tIns="540000"/>
          <a:lstStyle>
            <a:lvl1pPr>
              <a:spcAft>
                <a:spcPts val="1200"/>
              </a:spcAft>
              <a:defRPr sz="240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-headline here in GT Sectra Fine, indent for other level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226841-03C7-4C1C-9983-AD938B0941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05500" y="1389061"/>
            <a:ext cx="5903914" cy="46529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ources">
            <a:extLst>
              <a:ext uri="{FF2B5EF4-FFF2-40B4-BE49-F238E27FC236}">
                <a16:creationId xmlns:a16="http://schemas.microsoft.com/office/drawing/2014/main" id="{0115C02D-B3CB-4847-ABBF-F7C1CB00C4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0">
                <a:latin typeface="+mn-lt"/>
              </a:defRPr>
            </a:lvl1pPr>
          </a:lstStyle>
          <a:p>
            <a:pPr lvl="0"/>
            <a:r>
              <a:rPr lang="en-US"/>
              <a:t>Insert footnote</a:t>
            </a:r>
          </a:p>
        </p:txBody>
      </p:sp>
    </p:spTree>
    <p:extLst>
      <p:ext uri="{BB962C8B-B14F-4D97-AF65-F5344CB8AC3E}">
        <p14:creationId xmlns:p14="http://schemas.microsoft.com/office/powerpoint/2010/main" val="28210518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1005840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" name="Acc_StratConst_Logo_WH" descr="Accenture Strategy &amp; Consulting wordmark in white">
            <a:extLst>
              <a:ext uri="{FF2B5EF4-FFF2-40B4-BE49-F238E27FC236}">
                <a16:creationId xmlns:a16="http://schemas.microsoft.com/office/drawing/2014/main" id="{7E8828A5-9BB3-4391-9884-979C03BD8B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933444" y="5934934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2241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880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2160">
          <p15:clr>
            <a:srgbClr val="C35EA4"/>
          </p15:clr>
        </p15:guide>
        <p15:guide id="4" orient="horz" pos="947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5204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621D67-AB1B-4FB4-BA69-9A142B7F157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349E00-18EC-4FDA-A2E8-48585232149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8290FF-AA89-42D9-98B9-80723F6453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00" y="346108"/>
            <a:ext cx="8886875" cy="4985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DDAC503A-6438-4F4D-8CAA-8C78A2F5DD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717675"/>
            <a:ext cx="8855075" cy="43243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ources">
            <a:extLst>
              <a:ext uri="{FF2B5EF4-FFF2-40B4-BE49-F238E27FC236}">
                <a16:creationId xmlns:a16="http://schemas.microsoft.com/office/drawing/2014/main" id="{850EE213-82A8-4DA4-9754-676F935402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0">
                <a:latin typeface="+mn-lt"/>
              </a:defRPr>
            </a:lvl1pPr>
          </a:lstStyle>
          <a:p>
            <a:pPr lvl="0"/>
            <a:r>
              <a:rPr lang="en-US"/>
              <a:t>Insert footnote</a:t>
            </a:r>
          </a:p>
        </p:txBody>
      </p:sp>
    </p:spTree>
    <p:extLst>
      <p:ext uri="{BB962C8B-B14F-4D97-AF65-F5344CB8AC3E}">
        <p14:creationId xmlns:p14="http://schemas.microsoft.com/office/powerpoint/2010/main" val="374996434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70A1AE-6E11-43FE-BB9E-142249561F4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7A2532-1452-4025-A9EE-41FD70A080E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3D72F-7FBE-4E35-8F61-E9D5957A3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00" y="346108"/>
            <a:ext cx="8886875" cy="4985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D6A2D405-2B18-4C9F-9DCE-9782B35E4B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2282" y="1209096"/>
            <a:ext cx="8873793" cy="551090"/>
          </a:xfrm>
        </p:spPr>
        <p:txBody>
          <a:bodyPr wrap="square" tIns="180000">
            <a:spAutoFit/>
          </a:bodyPr>
          <a:lstStyle>
            <a:lvl1pPr>
              <a:defRPr sz="2400"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 and align to the baseline of the title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DDAC503A-6438-4F4D-8CAA-8C78A2F5DD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2214000"/>
            <a:ext cx="8855075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ources">
            <a:extLst>
              <a:ext uri="{FF2B5EF4-FFF2-40B4-BE49-F238E27FC236}">
                <a16:creationId xmlns:a16="http://schemas.microsoft.com/office/drawing/2014/main" id="{A6308600-CF44-4BC5-97D1-F92ED9336D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0">
                <a:latin typeface="+mn-lt"/>
              </a:defRPr>
            </a:lvl1pPr>
          </a:lstStyle>
          <a:p>
            <a:pPr lvl="0"/>
            <a:r>
              <a:rPr lang="en-US"/>
              <a:t>Insert footnote</a:t>
            </a:r>
          </a:p>
        </p:txBody>
      </p:sp>
    </p:spTree>
    <p:extLst>
      <p:ext uri="{BB962C8B-B14F-4D97-AF65-F5344CB8AC3E}">
        <p14:creationId xmlns:p14="http://schemas.microsoft.com/office/powerpoint/2010/main" val="404516557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A0DACA-9534-4811-8944-B406E3420F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D13C721-6786-4EED-8E96-C5E819CC3BA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2E4DBE6-6503-46E1-9A39-54EC411C8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B2A11E5B-C2C9-4D35-B53E-E341B6F551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2282" y="1209096"/>
            <a:ext cx="11460163" cy="551090"/>
          </a:xfrm>
        </p:spPr>
        <p:txBody>
          <a:bodyPr tIns="180000">
            <a:spAutoFit/>
          </a:bodyPr>
          <a:lstStyle>
            <a:lvl1pPr>
              <a:defRPr sz="2400"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 and align to the baseline of the title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DDAC503A-6438-4F4D-8CAA-8C78A2F5DD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9500" y="2214000"/>
            <a:ext cx="5526000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0B0F4AD-13EA-465B-8CCF-8FB4C1FB53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4913" y="2214000"/>
            <a:ext cx="5526000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ources">
            <a:extLst>
              <a:ext uri="{FF2B5EF4-FFF2-40B4-BE49-F238E27FC236}">
                <a16:creationId xmlns:a16="http://schemas.microsoft.com/office/drawing/2014/main" id="{04DFEC96-1783-4369-9F57-213BEE0F50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0">
                <a:latin typeface="+mn-lt"/>
              </a:defRPr>
            </a:lvl1pPr>
          </a:lstStyle>
          <a:p>
            <a:pPr lvl="0"/>
            <a:r>
              <a:rPr lang="en-US"/>
              <a:t>Insert footnote</a:t>
            </a:r>
          </a:p>
        </p:txBody>
      </p:sp>
    </p:spTree>
    <p:extLst>
      <p:ext uri="{BB962C8B-B14F-4D97-AF65-F5344CB8AC3E}">
        <p14:creationId xmlns:p14="http://schemas.microsoft.com/office/powerpoint/2010/main" val="1739261901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99DE9F-C225-40FA-A520-5E4A4BF4051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BF2E42C-458A-44BF-B645-B8081642845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140E2A-A703-4596-8616-5CFC24CA8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DDAC503A-6438-4F4D-8CAA-8C78A2F5DD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9500" y="1717675"/>
            <a:ext cx="3560675" cy="43243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0B0F4AD-13EA-465B-8CCF-8FB4C1FB53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6413" y="1717675"/>
            <a:ext cx="3560675" cy="43243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FC2C5888-6750-49EC-8C05-C5BF059C52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48737" y="1717675"/>
            <a:ext cx="3560675" cy="43243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ources">
            <a:extLst>
              <a:ext uri="{FF2B5EF4-FFF2-40B4-BE49-F238E27FC236}">
                <a16:creationId xmlns:a16="http://schemas.microsoft.com/office/drawing/2014/main" id="{042C1C24-F525-4434-9D19-2FB0DAC7FC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0">
                <a:latin typeface="+mn-lt"/>
              </a:defRPr>
            </a:lvl1pPr>
          </a:lstStyle>
          <a:p>
            <a:pPr lvl="0"/>
            <a:r>
              <a:rPr lang="en-US"/>
              <a:t>Insert footnote</a:t>
            </a:r>
          </a:p>
        </p:txBody>
      </p:sp>
    </p:spTree>
    <p:extLst>
      <p:ext uri="{BB962C8B-B14F-4D97-AF65-F5344CB8AC3E}">
        <p14:creationId xmlns:p14="http://schemas.microsoft.com/office/powerpoint/2010/main" val="97757409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F855A3-4712-4AAE-985B-CA1C87DA28D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68EBC0D-9CAC-4A6E-8B25-0FD13501F56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96E69C-0276-4792-A54C-F3EE324B8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B85F2A0C-23E9-4A49-B324-275E7CA20A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2282" y="1209096"/>
            <a:ext cx="11460163" cy="551090"/>
          </a:xfrm>
        </p:spPr>
        <p:txBody>
          <a:bodyPr tIns="180000">
            <a:spAutoFit/>
          </a:bodyPr>
          <a:lstStyle>
            <a:lvl1pPr>
              <a:defRPr sz="2400"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 and align to the baseline of the title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DDAC503A-6438-4F4D-8CAA-8C78A2F5DD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9500" y="2214000"/>
            <a:ext cx="3560675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0B0F4AD-13EA-465B-8CCF-8FB4C1FB53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6413" y="2214000"/>
            <a:ext cx="3560675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FC2C5888-6750-49EC-8C05-C5BF059C52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48737" y="2214000"/>
            <a:ext cx="3560675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ources">
            <a:extLst>
              <a:ext uri="{FF2B5EF4-FFF2-40B4-BE49-F238E27FC236}">
                <a16:creationId xmlns:a16="http://schemas.microsoft.com/office/drawing/2014/main" id="{06AB5DC8-2704-4850-ACFF-815EAD433F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0">
                <a:latin typeface="+mn-lt"/>
              </a:defRPr>
            </a:lvl1pPr>
          </a:lstStyle>
          <a:p>
            <a:pPr lvl="0"/>
            <a:r>
              <a:rPr lang="en-US"/>
              <a:t>Insert footnote</a:t>
            </a:r>
          </a:p>
        </p:txBody>
      </p:sp>
    </p:spTree>
    <p:extLst>
      <p:ext uri="{BB962C8B-B14F-4D97-AF65-F5344CB8AC3E}">
        <p14:creationId xmlns:p14="http://schemas.microsoft.com/office/powerpoint/2010/main" val="300129802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–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9F7C3D-DE1D-45C3-8FEB-0530656BAE98}"/>
              </a:ext>
            </a:extLst>
          </p:cNvPr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E72000-54E2-4676-917B-741ECA627B87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3EFB98-51A4-4263-B26D-9017F18F14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D0818C70-A8E1-4BE4-9EF2-0E79CEB29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598" y="1209600"/>
            <a:ext cx="11458800" cy="551090"/>
          </a:xfrm>
          <a:prstGeom prst="rect">
            <a:avLst/>
          </a:prstGeom>
        </p:spPr>
        <p:txBody>
          <a:bodyPr wrap="square" lIns="0" tIns="180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 and align to the baseline of the title</a:t>
            </a:r>
          </a:p>
        </p:txBody>
      </p:sp>
      <p:sp>
        <p:nvSpPr>
          <p:cNvPr id="12" name="Number 1">
            <a:extLst>
              <a:ext uri="{FF2B5EF4-FFF2-40B4-BE49-F238E27FC236}">
                <a16:creationId xmlns:a16="http://schemas.microsoft.com/office/drawing/2014/main" id="{1B37E57C-1FF2-4EE3-9168-6499E741911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24542" y="2445181"/>
            <a:ext cx="512961" cy="830997"/>
          </a:xfrm>
        </p:spPr>
        <p:txBody>
          <a:bodyPr wrap="none">
            <a:spAutoFit/>
          </a:bodyPr>
          <a:lstStyle>
            <a:lvl1pPr algn="l">
              <a:defRPr sz="5400">
                <a:solidFill>
                  <a:schemeClr val="accent1"/>
                </a:solidFill>
                <a:latin typeface="+mj-lt"/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7" name="Subhead 1">
            <a:extLst>
              <a:ext uri="{FF2B5EF4-FFF2-40B4-BE49-F238E27FC236}">
                <a16:creationId xmlns:a16="http://schemas.microsoft.com/office/drawing/2014/main" id="{1926B193-B868-48CA-990F-8C6716DB9C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10109" y="2550261"/>
            <a:ext cx="3043500" cy="644281"/>
          </a:xfrm>
        </p:spPr>
        <p:txBody>
          <a:bodyPr anchor="ctr"/>
          <a:lstStyle/>
          <a:p>
            <a:pPr lvl="0"/>
            <a:r>
              <a:rPr lang="en-US"/>
              <a:t>Insert subhead minimum 18 pt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2F973F8C-96D5-4894-96E6-EB42D3132AD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63599" y="3419999"/>
            <a:ext cx="3595626" cy="2622025"/>
          </a:xfrm>
        </p:spPr>
        <p:txBody>
          <a:bodyPr/>
          <a:lstStyle>
            <a:lvl1pPr>
              <a:spcBef>
                <a:spcPts val="800"/>
              </a:spcBef>
              <a:defRPr sz="18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  <a:lvl3pPr marL="360000">
              <a:buFont typeface="Graphik" panose="020B0503030202060203" pitchFamily="34" charset="0"/>
              <a:buChar char="–"/>
              <a:defRPr sz="1600"/>
            </a:lvl3pPr>
            <a:lvl4pPr marL="54000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Insert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Number 2">
            <a:extLst>
              <a:ext uri="{FF2B5EF4-FFF2-40B4-BE49-F238E27FC236}">
                <a16:creationId xmlns:a16="http://schemas.microsoft.com/office/drawing/2014/main" id="{B5E11C6D-3A0C-4C94-B1F3-1F9A851D094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254949" y="2445181"/>
            <a:ext cx="512961" cy="830997"/>
          </a:xfrm>
        </p:spPr>
        <p:txBody>
          <a:bodyPr wrap="none">
            <a:spAutoFit/>
          </a:bodyPr>
          <a:lstStyle>
            <a:lvl1pPr algn="l">
              <a:defRPr sz="5400">
                <a:solidFill>
                  <a:schemeClr val="accent1"/>
                </a:solidFill>
                <a:latin typeface="+mj-lt"/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20" name="Subhead 2">
            <a:extLst>
              <a:ext uri="{FF2B5EF4-FFF2-40B4-BE49-F238E27FC236}">
                <a16:creationId xmlns:a16="http://schemas.microsoft.com/office/drawing/2014/main" id="{381FBD1A-DB9E-4E50-9A34-B0B48DF8BD0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840516" y="2550261"/>
            <a:ext cx="3043500" cy="644281"/>
          </a:xfrm>
        </p:spPr>
        <p:txBody>
          <a:bodyPr anchor="ctr"/>
          <a:lstStyle/>
          <a:p>
            <a:pPr lvl="0"/>
            <a:r>
              <a:rPr lang="en-US"/>
              <a:t>Insert subhead minimum 18 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C6B634C-B827-4026-B9E1-969EAEB3034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294006" y="3419999"/>
            <a:ext cx="3595626" cy="2622025"/>
          </a:xfrm>
        </p:spPr>
        <p:txBody>
          <a:bodyPr/>
          <a:lstStyle>
            <a:lvl1pPr>
              <a:spcBef>
                <a:spcPts val="800"/>
              </a:spcBef>
              <a:defRPr sz="18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  <a:lvl3pPr marL="360000">
              <a:buFont typeface="Graphik" panose="020B0503030202060203" pitchFamily="34" charset="0"/>
              <a:buChar char="–"/>
              <a:defRPr sz="1600"/>
            </a:lvl3pPr>
            <a:lvl4pPr marL="54000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Insert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2" name="Number 3">
            <a:extLst>
              <a:ext uri="{FF2B5EF4-FFF2-40B4-BE49-F238E27FC236}">
                <a16:creationId xmlns:a16="http://schemas.microsoft.com/office/drawing/2014/main" id="{86FDDA22-E16A-4C33-8E29-56D8E2A86BE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191764" y="2445181"/>
            <a:ext cx="512961" cy="830997"/>
          </a:xfrm>
        </p:spPr>
        <p:txBody>
          <a:bodyPr wrap="none">
            <a:spAutoFit/>
          </a:bodyPr>
          <a:lstStyle>
            <a:lvl1pPr algn="l">
              <a:defRPr sz="5400">
                <a:solidFill>
                  <a:schemeClr val="accent1"/>
                </a:solidFill>
                <a:latin typeface="+mj-lt"/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23" name="Subhead 3">
            <a:extLst>
              <a:ext uri="{FF2B5EF4-FFF2-40B4-BE49-F238E27FC236}">
                <a16:creationId xmlns:a16="http://schemas.microsoft.com/office/drawing/2014/main" id="{BBB5DE66-FF85-4B95-B08E-CC40ECCBD6CD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777331" y="2550261"/>
            <a:ext cx="3043500" cy="644281"/>
          </a:xfrm>
        </p:spPr>
        <p:txBody>
          <a:bodyPr anchor="ctr"/>
          <a:lstStyle/>
          <a:p>
            <a:pPr lvl="0"/>
            <a:r>
              <a:rPr lang="en-US"/>
              <a:t>Insert subhead minimum 18 p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9E298CD5-E83F-4BE6-AAF6-8E9C4B4CC42C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230821" y="3419999"/>
            <a:ext cx="3595626" cy="2622025"/>
          </a:xfrm>
        </p:spPr>
        <p:txBody>
          <a:bodyPr/>
          <a:lstStyle>
            <a:lvl1pPr>
              <a:spcBef>
                <a:spcPts val="800"/>
              </a:spcBef>
              <a:defRPr sz="18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  <a:lvl3pPr marL="360000">
              <a:buFont typeface="Graphik" panose="020B0503030202060203" pitchFamily="34" charset="0"/>
              <a:buChar char="–"/>
              <a:defRPr sz="1600"/>
            </a:lvl3pPr>
            <a:lvl4pPr marL="54000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Insert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Sources">
            <a:extLst>
              <a:ext uri="{FF2B5EF4-FFF2-40B4-BE49-F238E27FC236}">
                <a16:creationId xmlns:a16="http://schemas.microsoft.com/office/drawing/2014/main" id="{930E9E95-7A30-4AA3-B4DF-BDF54E036A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0">
                <a:latin typeface="+mn-lt"/>
              </a:defRPr>
            </a:lvl1pPr>
          </a:lstStyle>
          <a:p>
            <a:pPr lvl="0"/>
            <a:r>
              <a:rPr lang="en-US"/>
              <a:t>Insert footnote</a:t>
            </a:r>
          </a:p>
        </p:txBody>
      </p:sp>
    </p:spTree>
    <p:extLst>
      <p:ext uri="{BB962C8B-B14F-4D97-AF65-F5344CB8AC3E}">
        <p14:creationId xmlns:p14="http://schemas.microsoft.com/office/powerpoint/2010/main" val="115643159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5DAE8A-DE13-47F5-9BF0-EB62E0A7AC9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22454E-D29D-449B-8549-6146B4DE5B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DA1ADF0-A8CB-43F6-A0C3-4923005D4A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DDAC503A-6438-4F4D-8CAA-8C78A2F5DD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9501" y="1717675"/>
            <a:ext cx="2574838" cy="43243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0B0F4AD-13EA-465B-8CCF-8FB4C1FB53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2251" y="1717675"/>
            <a:ext cx="2574000" cy="43243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FC2C5888-6750-49EC-8C05-C5BF059C52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84163" y="1717675"/>
            <a:ext cx="2574000" cy="43243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CED0C529-1EB2-4AFF-93A5-965F43AD86B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236075" y="1717675"/>
            <a:ext cx="2574000" cy="43243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ources">
            <a:extLst>
              <a:ext uri="{FF2B5EF4-FFF2-40B4-BE49-F238E27FC236}">
                <a16:creationId xmlns:a16="http://schemas.microsoft.com/office/drawing/2014/main" id="{071C6FAE-6432-4454-BD66-802906EB72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0">
                <a:latin typeface="+mn-lt"/>
              </a:defRPr>
            </a:lvl1pPr>
          </a:lstStyle>
          <a:p>
            <a:pPr lvl="0"/>
            <a:r>
              <a:rPr lang="en-US"/>
              <a:t>Insert footnote</a:t>
            </a:r>
          </a:p>
        </p:txBody>
      </p:sp>
    </p:spTree>
    <p:extLst>
      <p:ext uri="{BB962C8B-B14F-4D97-AF65-F5344CB8AC3E}">
        <p14:creationId xmlns:p14="http://schemas.microsoft.com/office/powerpoint/2010/main" val="85794759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 w/ 2nd level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832F17-998A-4554-A8A9-9B0B978D74B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439E356-4691-4FB4-90C9-74D87A67D1F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Second level headline">
            <a:extLst>
              <a:ext uri="{FF2B5EF4-FFF2-40B4-BE49-F238E27FC236}">
                <a16:creationId xmlns:a16="http://schemas.microsoft.com/office/drawing/2014/main" id="{9F5147B3-D6BA-40DA-811A-794CE6808F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4675" y="335827"/>
            <a:ext cx="11444737" cy="537034"/>
          </a:xfrm>
        </p:spPr>
        <p:txBody>
          <a:bodyPr wrap="square" bIns="288000">
            <a:spAutoFit/>
          </a:bodyPr>
          <a:lstStyle>
            <a:lvl1pPr>
              <a:defRPr sz="1600">
                <a:latin typeface="Graphik Medium" panose="020B0603030202060203" pitchFamily="34" charset="0"/>
              </a:defRPr>
            </a:lvl1pPr>
          </a:lstStyle>
          <a:p>
            <a:pPr lvl="0"/>
            <a:r>
              <a:rPr lang="en-US"/>
              <a:t>Second level head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0C83E0-3A40-4218-894A-1614176FA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199" y="835200"/>
            <a:ext cx="11460213" cy="4985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88211ED0-A96C-4760-A1CF-51298E4658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2282" y="1209600"/>
            <a:ext cx="11444737" cy="551090"/>
          </a:xfrm>
        </p:spPr>
        <p:txBody>
          <a:bodyPr wrap="square" tIns="180000">
            <a:spAutoFit/>
          </a:bodyPr>
          <a:lstStyle>
            <a:lvl1pPr>
              <a:defRPr sz="2400"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 and align to the baseline of the title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DDAC503A-6438-4F4D-8CAA-8C78A2F5DD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9501" y="2214000"/>
            <a:ext cx="2574838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0B0F4AD-13EA-465B-8CCF-8FB4C1FB53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2251" y="2214000"/>
            <a:ext cx="2574000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FC2C5888-6750-49EC-8C05-C5BF059C52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84163" y="2214000"/>
            <a:ext cx="2574000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CED0C529-1EB2-4AFF-93A5-965F43AD86B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236075" y="2214000"/>
            <a:ext cx="2574000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ources">
            <a:extLst>
              <a:ext uri="{FF2B5EF4-FFF2-40B4-BE49-F238E27FC236}">
                <a16:creationId xmlns:a16="http://schemas.microsoft.com/office/drawing/2014/main" id="{84783589-8356-4DA7-B769-14BB7B2F704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0">
                <a:latin typeface="+mn-lt"/>
              </a:defRPr>
            </a:lvl1pPr>
          </a:lstStyle>
          <a:p>
            <a:pPr lvl="0"/>
            <a:r>
              <a:rPr lang="en-US"/>
              <a:t>Insert footnote</a:t>
            </a:r>
          </a:p>
        </p:txBody>
      </p:sp>
    </p:spTree>
    <p:extLst>
      <p:ext uri="{BB962C8B-B14F-4D97-AF65-F5344CB8AC3E}">
        <p14:creationId xmlns:p14="http://schemas.microsoft.com/office/powerpoint/2010/main" val="57727552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–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9F7C3D-DE1D-45C3-8FEB-0530656BAE98}"/>
              </a:ext>
            </a:extLst>
          </p:cNvPr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E72000-54E2-4676-917B-741ECA627B87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1E77375-283F-4C0C-8285-A800644CF5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D0818C70-A8E1-4BE4-9EF2-0E79CEB29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598" y="1209600"/>
            <a:ext cx="11458800" cy="551090"/>
          </a:xfrm>
          <a:prstGeom prst="rect">
            <a:avLst/>
          </a:prstGeom>
        </p:spPr>
        <p:txBody>
          <a:bodyPr wrap="square" lIns="0" tIns="180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 and align to the baseline of the title</a:t>
            </a:r>
          </a:p>
        </p:txBody>
      </p:sp>
      <p:sp>
        <p:nvSpPr>
          <p:cNvPr id="12" name="Number 1">
            <a:extLst>
              <a:ext uri="{FF2B5EF4-FFF2-40B4-BE49-F238E27FC236}">
                <a16:creationId xmlns:a16="http://schemas.microsoft.com/office/drawing/2014/main" id="{1B37E57C-1FF2-4EE3-9168-6499E741911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24542" y="2445181"/>
            <a:ext cx="512961" cy="830997"/>
          </a:xfrm>
        </p:spPr>
        <p:txBody>
          <a:bodyPr wrap="none">
            <a:spAutoFit/>
          </a:bodyPr>
          <a:lstStyle>
            <a:lvl1pPr algn="l">
              <a:defRPr sz="5400">
                <a:solidFill>
                  <a:schemeClr val="accent1"/>
                </a:solidFill>
                <a:latin typeface="+mj-lt"/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7" name="Subhead 1">
            <a:extLst>
              <a:ext uri="{FF2B5EF4-FFF2-40B4-BE49-F238E27FC236}">
                <a16:creationId xmlns:a16="http://schemas.microsoft.com/office/drawing/2014/main" id="{1926B193-B868-48CA-990F-8C6716DB9C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10109" y="2550261"/>
            <a:ext cx="2044229" cy="644281"/>
          </a:xfrm>
        </p:spPr>
        <p:txBody>
          <a:bodyPr anchor="ctr"/>
          <a:lstStyle/>
          <a:p>
            <a:pPr lvl="0"/>
            <a:r>
              <a:rPr lang="en-US"/>
              <a:t>Insert subhead minimum 18 pt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2F973F8C-96D5-4894-96E6-EB42D3132AD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63599" y="3419999"/>
            <a:ext cx="2590739" cy="2622025"/>
          </a:xfrm>
        </p:spPr>
        <p:txBody>
          <a:bodyPr/>
          <a:lstStyle>
            <a:lvl1pPr>
              <a:spcBef>
                <a:spcPts val="800"/>
              </a:spcBef>
              <a:defRPr sz="18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  <a:lvl3pPr marL="360000">
              <a:buFont typeface="Graphik" panose="020B0503030202060203" pitchFamily="34" charset="0"/>
              <a:buChar char="–"/>
              <a:defRPr sz="1600"/>
            </a:lvl3pPr>
            <a:lvl4pPr marL="54000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Insert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Number 2">
            <a:extLst>
              <a:ext uri="{FF2B5EF4-FFF2-40B4-BE49-F238E27FC236}">
                <a16:creationId xmlns:a16="http://schemas.microsoft.com/office/drawing/2014/main" id="{29D98BC3-0D08-4AFD-9DAE-C4D9FC6FB12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275190" y="2445181"/>
            <a:ext cx="512961" cy="830997"/>
          </a:xfrm>
        </p:spPr>
        <p:txBody>
          <a:bodyPr wrap="none">
            <a:spAutoFit/>
          </a:bodyPr>
          <a:lstStyle>
            <a:lvl1pPr algn="l">
              <a:defRPr sz="5400">
                <a:solidFill>
                  <a:schemeClr val="accent1"/>
                </a:solidFill>
                <a:latin typeface="+mj-lt"/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16" name="Subhead 2">
            <a:extLst>
              <a:ext uri="{FF2B5EF4-FFF2-40B4-BE49-F238E27FC236}">
                <a16:creationId xmlns:a16="http://schemas.microsoft.com/office/drawing/2014/main" id="{412C9B84-BEA4-43C2-9A9C-AF44141B859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860757" y="2550261"/>
            <a:ext cx="2044229" cy="644281"/>
          </a:xfrm>
        </p:spPr>
        <p:txBody>
          <a:bodyPr anchor="ctr"/>
          <a:lstStyle/>
          <a:p>
            <a:pPr lvl="0"/>
            <a:r>
              <a:rPr lang="en-US"/>
              <a:t>Insert subhead minimum 18 pt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1B2EF5FA-21F8-4BFF-BB57-320EEFBBBD7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314247" y="3419999"/>
            <a:ext cx="2590739" cy="2622025"/>
          </a:xfrm>
        </p:spPr>
        <p:txBody>
          <a:bodyPr/>
          <a:lstStyle>
            <a:lvl1pPr>
              <a:spcBef>
                <a:spcPts val="800"/>
              </a:spcBef>
              <a:defRPr sz="18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  <a:lvl3pPr marL="360000">
              <a:buFont typeface="Graphik" panose="020B0503030202060203" pitchFamily="34" charset="0"/>
              <a:buChar char="–"/>
              <a:defRPr sz="1600"/>
            </a:lvl3pPr>
            <a:lvl4pPr marL="54000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Insert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Number 3">
            <a:extLst>
              <a:ext uri="{FF2B5EF4-FFF2-40B4-BE49-F238E27FC236}">
                <a16:creationId xmlns:a16="http://schemas.microsoft.com/office/drawing/2014/main" id="{4DCB1D78-0C37-47BF-B3DF-715ADCE6CAD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23067" y="2445181"/>
            <a:ext cx="512961" cy="830997"/>
          </a:xfrm>
        </p:spPr>
        <p:txBody>
          <a:bodyPr wrap="none">
            <a:spAutoFit/>
          </a:bodyPr>
          <a:lstStyle>
            <a:lvl1pPr algn="l">
              <a:defRPr sz="5400">
                <a:solidFill>
                  <a:schemeClr val="accent1"/>
                </a:solidFill>
                <a:latin typeface="+mj-lt"/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27" name="Subhead 3">
            <a:extLst>
              <a:ext uri="{FF2B5EF4-FFF2-40B4-BE49-F238E27FC236}">
                <a16:creationId xmlns:a16="http://schemas.microsoft.com/office/drawing/2014/main" id="{28985E81-EE7A-43C7-B984-A39ECD1300F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808634" y="2550261"/>
            <a:ext cx="2044229" cy="644281"/>
          </a:xfrm>
        </p:spPr>
        <p:txBody>
          <a:bodyPr anchor="ctr"/>
          <a:lstStyle/>
          <a:p>
            <a:pPr lvl="0"/>
            <a:r>
              <a:rPr lang="en-US"/>
              <a:t>Insert subhead minimum 18 pt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3BBEC514-3ABC-444F-9609-8722CBAFC7E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124" y="3419999"/>
            <a:ext cx="2590739" cy="2622025"/>
          </a:xfrm>
        </p:spPr>
        <p:txBody>
          <a:bodyPr/>
          <a:lstStyle>
            <a:lvl1pPr>
              <a:spcBef>
                <a:spcPts val="800"/>
              </a:spcBef>
              <a:defRPr sz="18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  <a:lvl3pPr marL="360000">
              <a:buFont typeface="Graphik" panose="020B0503030202060203" pitchFamily="34" charset="0"/>
              <a:buChar char="–"/>
              <a:defRPr sz="1600"/>
            </a:lvl3pPr>
            <a:lvl4pPr marL="54000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Insert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Number 4">
            <a:extLst>
              <a:ext uri="{FF2B5EF4-FFF2-40B4-BE49-F238E27FC236}">
                <a16:creationId xmlns:a16="http://schemas.microsoft.com/office/drawing/2014/main" id="{08C97952-F2E4-4423-A790-78EDD72AA39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176795" y="2445181"/>
            <a:ext cx="512961" cy="830997"/>
          </a:xfrm>
        </p:spPr>
        <p:txBody>
          <a:bodyPr wrap="none">
            <a:spAutoFit/>
          </a:bodyPr>
          <a:lstStyle>
            <a:lvl1pPr algn="l">
              <a:defRPr sz="5400">
                <a:solidFill>
                  <a:schemeClr val="accent1"/>
                </a:solidFill>
                <a:latin typeface="+mj-lt"/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30" name="Subhead 4">
            <a:extLst>
              <a:ext uri="{FF2B5EF4-FFF2-40B4-BE49-F238E27FC236}">
                <a16:creationId xmlns:a16="http://schemas.microsoft.com/office/drawing/2014/main" id="{4BC06D79-1953-4134-BD34-FD8D0B9D223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762362" y="2550261"/>
            <a:ext cx="2044229" cy="644281"/>
          </a:xfrm>
        </p:spPr>
        <p:txBody>
          <a:bodyPr anchor="ctr"/>
          <a:lstStyle/>
          <a:p>
            <a:pPr lvl="0"/>
            <a:r>
              <a:rPr lang="en-US"/>
              <a:t>Insert subhead minimum 18 pt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069D0CBC-F9AC-4F3D-808E-76D82F9558B9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215852" y="3419999"/>
            <a:ext cx="2590739" cy="2622025"/>
          </a:xfrm>
        </p:spPr>
        <p:txBody>
          <a:bodyPr/>
          <a:lstStyle>
            <a:lvl1pPr>
              <a:spcBef>
                <a:spcPts val="800"/>
              </a:spcBef>
              <a:defRPr sz="18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  <a:lvl3pPr marL="360000">
              <a:buFont typeface="Graphik" panose="020B0503030202060203" pitchFamily="34" charset="0"/>
              <a:buChar char="–"/>
              <a:defRPr sz="1600"/>
            </a:lvl3pPr>
            <a:lvl4pPr marL="54000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Insert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Sources">
            <a:extLst>
              <a:ext uri="{FF2B5EF4-FFF2-40B4-BE49-F238E27FC236}">
                <a16:creationId xmlns:a16="http://schemas.microsoft.com/office/drawing/2014/main" id="{C4823C33-5281-45E5-9205-61D9D11053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0">
                <a:latin typeface="+mn-lt"/>
              </a:defRPr>
            </a:lvl1pPr>
          </a:lstStyle>
          <a:p>
            <a:pPr lvl="0"/>
            <a:r>
              <a:rPr lang="en-US"/>
              <a:t>Insert footnote</a:t>
            </a:r>
          </a:p>
        </p:txBody>
      </p:sp>
    </p:spTree>
    <p:extLst>
      <p:ext uri="{BB962C8B-B14F-4D97-AF65-F5344CB8AC3E}">
        <p14:creationId xmlns:p14="http://schemas.microsoft.com/office/powerpoint/2010/main" val="397628095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D8F671-FA16-477A-9FC1-5C24CE08A44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8BB501-0919-4F56-B3FE-2CA805C79F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88FF7E6-A0F6-4849-90A7-DE0F78A0D3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DDAC503A-6438-4F4D-8CAA-8C78A2F5DD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9501" y="1717675"/>
            <a:ext cx="4255561" cy="43243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EED40EC-5280-4084-9A97-13F36BF991B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99075" y="1717675"/>
            <a:ext cx="6510338" cy="43243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ources">
            <a:extLst>
              <a:ext uri="{FF2B5EF4-FFF2-40B4-BE49-F238E27FC236}">
                <a16:creationId xmlns:a16="http://schemas.microsoft.com/office/drawing/2014/main" id="{88CA2A38-25D7-44C4-8C3A-F4165CEFF6E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0">
                <a:latin typeface="+mn-lt"/>
              </a:defRPr>
            </a:lvl1pPr>
          </a:lstStyle>
          <a:p>
            <a:pPr lvl="0"/>
            <a:r>
              <a:rPr lang="en-US"/>
              <a:t>Insert footnote</a:t>
            </a:r>
          </a:p>
        </p:txBody>
      </p:sp>
    </p:spTree>
    <p:extLst>
      <p:ext uri="{BB962C8B-B14F-4D97-AF65-F5344CB8AC3E}">
        <p14:creationId xmlns:p14="http://schemas.microsoft.com/office/powerpoint/2010/main" val="2623596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8379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5621EC-EF1E-47F7-AC1E-1CADBAB6FE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029A97-5C06-4D7C-A367-B8AAB19D89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A3AEEB4-3608-4564-9D5D-97163ACB44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24B162B3-0F25-47EF-934A-E95B4D3389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0">
                <a:latin typeface="+mn-lt"/>
              </a:defRPr>
            </a:lvl1pPr>
          </a:lstStyle>
          <a:p>
            <a:pPr lvl="0"/>
            <a:r>
              <a:rPr lang="en-US"/>
              <a:t>Insert footnote</a:t>
            </a:r>
          </a:p>
        </p:txBody>
      </p:sp>
    </p:spTree>
    <p:extLst>
      <p:ext uri="{BB962C8B-B14F-4D97-AF65-F5344CB8AC3E}">
        <p14:creationId xmlns:p14="http://schemas.microsoft.com/office/powerpoint/2010/main" val="2276906232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77F3779-53CF-40F7-9DB7-6E4C64FADBD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C9840E-7882-460A-AE74-BC2DACA6D5B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FA151BF-81C1-4188-B3FD-BA8C1BC9BA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D982B787-2459-44BF-A9F2-44CE1AFBECA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2282" y="1209096"/>
            <a:ext cx="11460163" cy="551090"/>
          </a:xfrm>
        </p:spPr>
        <p:txBody>
          <a:bodyPr tIns="180000">
            <a:spAutoFit/>
          </a:bodyPr>
          <a:lstStyle>
            <a:lvl1pPr>
              <a:defRPr sz="2400"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 and align to the baseline of the title</a:t>
            </a:r>
          </a:p>
        </p:txBody>
      </p:sp>
      <p:sp>
        <p:nvSpPr>
          <p:cNvPr id="6" name="Sources">
            <a:extLst>
              <a:ext uri="{FF2B5EF4-FFF2-40B4-BE49-F238E27FC236}">
                <a16:creationId xmlns:a16="http://schemas.microsoft.com/office/drawing/2014/main" id="{773DDFAF-1D3C-401D-A7D9-ECDC0899B6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0">
                <a:latin typeface="+mn-lt"/>
              </a:defRPr>
            </a:lvl1pPr>
          </a:lstStyle>
          <a:p>
            <a:pPr lvl="0"/>
            <a:r>
              <a:rPr lang="en-US"/>
              <a:t>Insert footnote</a:t>
            </a:r>
          </a:p>
        </p:txBody>
      </p:sp>
    </p:spTree>
    <p:extLst>
      <p:ext uri="{BB962C8B-B14F-4D97-AF65-F5344CB8AC3E}">
        <p14:creationId xmlns:p14="http://schemas.microsoft.com/office/powerpoint/2010/main" val="141610295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/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7C1F091-6FD6-8B4E-A37C-C7C02C934687}"/>
              </a:ext>
            </a:extLst>
          </p:cNvPr>
          <p:cNvSpPr/>
          <p:nvPr userDrawn="1"/>
        </p:nvSpPr>
        <p:spPr>
          <a:xfrm>
            <a:off x="0" y="0"/>
            <a:ext cx="12192000" cy="14369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77F3779-53CF-40F7-9DB7-6E4C64FADBD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C9840E-7882-460A-AE74-BC2DACA6D5B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FA151BF-81C1-4188-B3FD-BA8C1BC9BA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D982B787-2459-44BF-A9F2-44CE1AFBECA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2282" y="749966"/>
            <a:ext cx="11460163" cy="551090"/>
          </a:xfrm>
        </p:spPr>
        <p:txBody>
          <a:bodyPr tIns="180000">
            <a:spAutoFit/>
          </a:bodyPr>
          <a:lstStyle>
            <a:lvl1pPr>
              <a:defRPr sz="2400"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 and align to the baseline of the title</a:t>
            </a:r>
          </a:p>
        </p:txBody>
      </p:sp>
      <p:sp>
        <p:nvSpPr>
          <p:cNvPr id="6" name="Sources">
            <a:extLst>
              <a:ext uri="{FF2B5EF4-FFF2-40B4-BE49-F238E27FC236}">
                <a16:creationId xmlns:a16="http://schemas.microsoft.com/office/drawing/2014/main" id="{773DDFAF-1D3C-401D-A7D9-ECDC0899B6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footnote</a:t>
            </a:r>
          </a:p>
        </p:txBody>
      </p:sp>
    </p:spTree>
    <p:extLst>
      <p:ext uri="{BB962C8B-B14F-4D97-AF65-F5344CB8AC3E}">
        <p14:creationId xmlns:p14="http://schemas.microsoft.com/office/powerpoint/2010/main" val="191557610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 Subtitle – 3/4 Light Gray BG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FD0512-2EA4-4392-8640-9D1602F75E6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A516EE0-B925-45C7-A705-0A69D8023A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White BG">
            <a:extLst>
              <a:ext uri="{FF2B5EF4-FFF2-40B4-BE49-F238E27FC236}">
                <a16:creationId xmlns:a16="http://schemas.microsoft.com/office/drawing/2014/main" id="{F23B23E6-4F16-421C-90DF-B4877D85ED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12193200" cy="19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E9CF0C5-F1A8-4A43-B198-21104071C6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D982B787-2459-44BF-A9F2-44CE1AFBECA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2282" y="784800"/>
            <a:ext cx="11460163" cy="551090"/>
          </a:xfrm>
        </p:spPr>
        <p:txBody>
          <a:bodyPr tIns="180000">
            <a:spAutoFit/>
          </a:bodyPr>
          <a:lstStyle>
            <a:lvl1pPr>
              <a:defRPr sz="2400"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 and align to the baseline of the title</a:t>
            </a:r>
          </a:p>
        </p:txBody>
      </p:sp>
      <p:sp>
        <p:nvSpPr>
          <p:cNvPr id="7" name="Sources">
            <a:extLst>
              <a:ext uri="{FF2B5EF4-FFF2-40B4-BE49-F238E27FC236}">
                <a16:creationId xmlns:a16="http://schemas.microsoft.com/office/drawing/2014/main" id="{6FD6FAE2-E425-4BBD-9908-9E7CE5B178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0">
                <a:latin typeface="+mn-lt"/>
              </a:defRPr>
            </a:lvl1pPr>
          </a:lstStyle>
          <a:p>
            <a:pPr lvl="0"/>
            <a:r>
              <a:rPr lang="en-US"/>
              <a:t>Insert footnote</a:t>
            </a:r>
          </a:p>
        </p:txBody>
      </p:sp>
    </p:spTree>
    <p:extLst>
      <p:ext uri="{BB962C8B-B14F-4D97-AF65-F5344CB8AC3E}">
        <p14:creationId xmlns:p14="http://schemas.microsoft.com/office/powerpoint/2010/main" val="263035189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nd level – 3/4 Light Gray BG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135179-795B-454B-B2EA-1E2D23B6272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913C70-8FF6-4491-ABB4-B2087E69688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White BG">
            <a:extLst>
              <a:ext uri="{FF2B5EF4-FFF2-40B4-BE49-F238E27FC236}">
                <a16:creationId xmlns:a16="http://schemas.microsoft.com/office/drawing/2014/main" id="{C36899BF-129D-4C0E-8A3F-CACE208A27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22009"/>
            <a:ext cx="12193200" cy="2508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econd level headline">
            <a:extLst>
              <a:ext uri="{FF2B5EF4-FFF2-40B4-BE49-F238E27FC236}">
                <a16:creationId xmlns:a16="http://schemas.microsoft.com/office/drawing/2014/main" id="{9F5147B3-D6BA-40DA-811A-794CE6808F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4675" y="335827"/>
            <a:ext cx="11444737" cy="537034"/>
          </a:xfrm>
        </p:spPr>
        <p:txBody>
          <a:bodyPr wrap="square" bIns="288000">
            <a:spAutoFit/>
          </a:bodyPr>
          <a:lstStyle>
            <a:lvl1pPr>
              <a:defRPr sz="1600">
                <a:latin typeface="Graphik Medium" panose="020B0603030202060203" pitchFamily="34" charset="0"/>
              </a:defRPr>
            </a:lvl1pPr>
          </a:lstStyle>
          <a:p>
            <a:pPr lvl="0"/>
            <a:r>
              <a:rPr lang="en-US"/>
              <a:t>Second level head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0C83E0-3A40-4218-894A-1614176FA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199" y="835200"/>
            <a:ext cx="11460213" cy="4985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88211ED0-A96C-4760-A1CF-51298E4658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2282" y="1227600"/>
            <a:ext cx="11444737" cy="551090"/>
          </a:xfrm>
        </p:spPr>
        <p:txBody>
          <a:bodyPr wrap="square" tIns="180000">
            <a:spAutoFit/>
          </a:bodyPr>
          <a:lstStyle>
            <a:lvl1pPr>
              <a:defRPr sz="2400"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 and align to the baseline of the title</a:t>
            </a:r>
          </a:p>
        </p:txBody>
      </p:sp>
      <p:sp>
        <p:nvSpPr>
          <p:cNvPr id="8" name="Sources">
            <a:extLst>
              <a:ext uri="{FF2B5EF4-FFF2-40B4-BE49-F238E27FC236}">
                <a16:creationId xmlns:a16="http://schemas.microsoft.com/office/drawing/2014/main" id="{EBDDBE6F-ECAF-474F-BBFD-95B582A0BA3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0">
                <a:latin typeface="+mn-lt"/>
              </a:defRPr>
            </a:lvl1pPr>
          </a:lstStyle>
          <a:p>
            <a:pPr lvl="0"/>
            <a:r>
              <a:rPr lang="en-US"/>
              <a:t>Insert footnote</a:t>
            </a:r>
          </a:p>
        </p:txBody>
      </p:sp>
    </p:spTree>
    <p:extLst>
      <p:ext uri="{BB962C8B-B14F-4D97-AF65-F5344CB8AC3E}">
        <p14:creationId xmlns:p14="http://schemas.microsoft.com/office/powerpoint/2010/main" val="275013920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nd level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8CD4FE-AE64-4A10-92EC-1BABC5C464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D1BAEB-6CFF-49E2-9587-679C1B6C74B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Second level headline">
            <a:extLst>
              <a:ext uri="{FF2B5EF4-FFF2-40B4-BE49-F238E27FC236}">
                <a16:creationId xmlns:a16="http://schemas.microsoft.com/office/drawing/2014/main" id="{9F5147B3-D6BA-40DA-811A-794CE6808F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4675" y="335827"/>
            <a:ext cx="11444737" cy="537034"/>
          </a:xfrm>
        </p:spPr>
        <p:txBody>
          <a:bodyPr wrap="square" bIns="288000">
            <a:spAutoFit/>
          </a:bodyPr>
          <a:lstStyle>
            <a:lvl1pPr>
              <a:defRPr sz="1600">
                <a:latin typeface="Graphik Medium" panose="020B0603030202060203" pitchFamily="34" charset="0"/>
              </a:defRPr>
            </a:lvl1pPr>
          </a:lstStyle>
          <a:p>
            <a:pPr lvl="0"/>
            <a:r>
              <a:rPr lang="en-US"/>
              <a:t>Second level head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0C83E0-3A40-4218-894A-1614176FA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199" y="835200"/>
            <a:ext cx="11460213" cy="4985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88211ED0-A96C-4760-A1CF-51298E4658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2282" y="1228072"/>
            <a:ext cx="11444737" cy="551090"/>
          </a:xfrm>
        </p:spPr>
        <p:txBody>
          <a:bodyPr wrap="square" tIns="180000">
            <a:spAutoFit/>
          </a:bodyPr>
          <a:lstStyle>
            <a:lvl1pPr>
              <a:defRPr sz="2400"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 and align to the baseline of the title</a:t>
            </a:r>
          </a:p>
        </p:txBody>
      </p:sp>
      <p:sp>
        <p:nvSpPr>
          <p:cNvPr id="7" name="Sources">
            <a:extLst>
              <a:ext uri="{FF2B5EF4-FFF2-40B4-BE49-F238E27FC236}">
                <a16:creationId xmlns:a16="http://schemas.microsoft.com/office/drawing/2014/main" id="{88E4A81C-7F0C-401E-BF0D-945876E45EA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0">
                <a:latin typeface="+mn-lt"/>
              </a:defRPr>
            </a:lvl1pPr>
          </a:lstStyle>
          <a:p>
            <a:pPr lvl="0"/>
            <a:r>
              <a:rPr lang="en-US"/>
              <a:t>Insert footnote</a:t>
            </a:r>
          </a:p>
        </p:txBody>
      </p:sp>
    </p:spTree>
    <p:extLst>
      <p:ext uri="{BB962C8B-B14F-4D97-AF65-F5344CB8AC3E}">
        <p14:creationId xmlns:p14="http://schemas.microsoft.com/office/powerpoint/2010/main" val="2752692481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F386CA-C78E-4018-8F08-7FFB437E76B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AB0881-7629-4C61-B9D7-118CF5F63EB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Second level headline">
            <a:extLst>
              <a:ext uri="{FF2B5EF4-FFF2-40B4-BE49-F238E27FC236}">
                <a16:creationId xmlns:a16="http://schemas.microsoft.com/office/drawing/2014/main" id="{9F5147B3-D6BA-40DA-811A-794CE6808F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4675" y="335827"/>
            <a:ext cx="11444737" cy="537034"/>
          </a:xfrm>
        </p:spPr>
        <p:txBody>
          <a:bodyPr wrap="square" bIns="288000">
            <a:spAutoFit/>
          </a:bodyPr>
          <a:lstStyle>
            <a:lvl1pPr>
              <a:defRPr sz="1600">
                <a:latin typeface="Graphik Medium" panose="020B0603030202060203" pitchFamily="34" charset="0"/>
              </a:defRPr>
            </a:lvl1pPr>
          </a:lstStyle>
          <a:p>
            <a:pPr lvl="0"/>
            <a:r>
              <a:rPr lang="en-US"/>
              <a:t>Second level head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0C83E0-3A40-4218-894A-1614176FA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199" y="835200"/>
            <a:ext cx="11460213" cy="4985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ources">
            <a:extLst>
              <a:ext uri="{FF2B5EF4-FFF2-40B4-BE49-F238E27FC236}">
                <a16:creationId xmlns:a16="http://schemas.microsoft.com/office/drawing/2014/main" id="{6AC808F8-83D8-4BE7-8EEF-780681062D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0">
                <a:latin typeface="+mn-lt"/>
              </a:defRPr>
            </a:lvl1pPr>
          </a:lstStyle>
          <a:p>
            <a:pPr lvl="0"/>
            <a:r>
              <a:rPr lang="en-US"/>
              <a:t>Insert footnote</a:t>
            </a:r>
          </a:p>
        </p:txBody>
      </p:sp>
    </p:spTree>
    <p:extLst>
      <p:ext uri="{BB962C8B-B14F-4D97-AF65-F5344CB8AC3E}">
        <p14:creationId xmlns:p14="http://schemas.microsoft.com/office/powerpoint/2010/main" val="113912699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3992D8-F43D-48CD-A91A-291B69BDF8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65000"/>
                  </a:schemeClr>
                </a:solidFill>
              </a:defRPr>
            </a:lvl1pPr>
          </a:lstStyle>
          <a:p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B0CFD8-B921-4C4F-85DF-2C2E3A3328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65000"/>
                  </a:schemeClr>
                </a:solidFill>
              </a:defRPr>
            </a:lvl1pPr>
          </a:lstStyle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Accenture GTS">
            <a:extLst>
              <a:ext uri="{FF2B5EF4-FFF2-40B4-BE49-F238E27FC236}">
                <a16:creationId xmlns:a16="http://schemas.microsoft.com/office/drawing/2014/main" id="{CF8F958B-428C-9E46-BA5B-A827776D20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1000" y="6474701"/>
            <a:ext cx="190800" cy="209415"/>
          </a:xfrm>
          <a:prstGeom prst="rect">
            <a:avLst/>
          </a:prstGeom>
        </p:spPr>
      </p:pic>
      <p:pic>
        <p:nvPicPr>
          <p:cNvPr id="8" name="Accenture Logo" descr="Accenture logo">
            <a:extLst>
              <a:ext uri="{FF2B5EF4-FFF2-40B4-BE49-F238E27FC236}">
                <a16:creationId xmlns:a16="http://schemas.microsoft.com/office/drawing/2014/main" id="{46E2250A-7E65-F543-AA3E-41EB687E12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753431"/>
            <a:ext cx="1884233" cy="4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17448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3992D8-F43D-48CD-A91A-291B69BDF8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B0CFD8-B921-4C4F-85DF-2C2E3A3328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ources">
            <a:extLst>
              <a:ext uri="{FF2B5EF4-FFF2-40B4-BE49-F238E27FC236}">
                <a16:creationId xmlns:a16="http://schemas.microsoft.com/office/drawing/2014/main" id="{B257F9AB-C621-4EA6-8596-56BA90F518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0">
                <a:latin typeface="+mn-lt"/>
              </a:defRPr>
            </a:lvl1pPr>
          </a:lstStyle>
          <a:p>
            <a:pPr lvl="0"/>
            <a:r>
              <a:rPr lang="en-US"/>
              <a:t>Insert footnote</a:t>
            </a:r>
          </a:p>
        </p:txBody>
      </p:sp>
      <p:pic>
        <p:nvPicPr>
          <p:cNvPr id="6" name="Accenture GTS">
            <a:extLst>
              <a:ext uri="{FF2B5EF4-FFF2-40B4-BE49-F238E27FC236}">
                <a16:creationId xmlns:a16="http://schemas.microsoft.com/office/drawing/2014/main" id="{CF8F958B-428C-9E46-BA5B-A827776D20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1000" y="6474701"/>
            <a:ext cx="190800" cy="209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239787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Sh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BEEFF1-4565-4828-8ABF-2806E76696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404A10-74A8-44BB-BA8A-C51B1EC7E5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2C312E-424D-43D9-8A64-94EB911DD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4000" y="637411"/>
            <a:ext cx="491807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10454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GB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GB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0807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Short w/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2ADB427-39A9-403F-BD18-117493C7850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vert="horz" lIns="972000" tIns="1440000" rIns="720000" bIns="900000" rtlCol="0" anchor="ctr" anchorCtr="0">
            <a:noAutofit/>
          </a:bodyPr>
          <a:lstStyle>
            <a:lvl1pPr>
              <a:defRPr lang="en-US" sz="1600" b="0" cap="none" baseline="0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CA"/>
              <a:t>Click on the icon or drag image </a:t>
            </a:r>
            <a:br>
              <a:rPr lang="en-CA"/>
            </a:br>
            <a:r>
              <a:rPr lang="en-CA"/>
              <a:t>to insert an image 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596AF3-757C-4DBD-AC22-6B35E3171DB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90BD26-7F16-43E6-93D1-1D8E1BD31E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E9DD44-D9D2-4F88-98AA-C2F756B80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4000" y="637200"/>
            <a:ext cx="4928400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1298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– Short w/ Image (dark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0D1592F-CF41-47C6-8CB2-5D999085A6F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  <a:lumOff val="50000"/>
            </a:schemeClr>
          </a:solidFill>
        </p:spPr>
        <p:txBody>
          <a:bodyPr vert="horz" lIns="972000" tIns="1440000" rIns="720000" bIns="900000" rtlCol="0" anchor="ctr" anchorCtr="0">
            <a:noAutofit/>
          </a:bodyPr>
          <a:lstStyle>
            <a:lvl1pPr>
              <a:defRPr lang="en-US" sz="1600" b="0" cap="none" baseline="0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CA"/>
              <a:t>Click on the icon or drag image </a:t>
            </a:r>
            <a:br>
              <a:rPr lang="en-CA"/>
            </a:br>
            <a:r>
              <a:rPr lang="en-CA"/>
              <a:t>to insert an image 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E2FFDD-A6FC-4E07-8172-EC02B7D3DF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7F222A-0E11-4684-9CE8-B55A7392251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2C312E-424D-43D9-8A64-94EB911DD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4000" y="637411"/>
            <a:ext cx="491807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97234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– w/ Image (Light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45EE7852-B663-4291-B930-31A1F0B928D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vert="horz" lIns="972000" tIns="1440000" rIns="720000" bIns="900000" rtlCol="0" anchor="ctr" anchorCtr="0">
            <a:noAutofit/>
          </a:bodyPr>
          <a:lstStyle>
            <a:lvl1pPr algn="r">
              <a:defRPr lang="en-US" sz="1600" b="0" cap="none" baseline="0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CA"/>
              <a:t>Click on the icon or drag image </a:t>
            </a:r>
            <a:br>
              <a:rPr lang="en-CA"/>
            </a:br>
            <a:r>
              <a:rPr lang="en-CA"/>
              <a:t>to insert an image 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48CCA6B-45E5-4B09-8672-BBBE9EED811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416A3E-1D1C-4EC6-B01F-21705E9D92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3B6AC9B7-3E47-483E-94BD-45ECDCC8DB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2551265"/>
            <a:ext cx="5669034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E9E85B66-EF4A-4B96-BA5D-48045ADF985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61341" y="3639073"/>
            <a:ext cx="5650474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32908145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– w/ Image (Dark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F57CB9E2-1E6C-4DBA-ADCA-7EDAB804845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  <a:lumOff val="50000"/>
            </a:schemeClr>
          </a:solidFill>
        </p:spPr>
        <p:txBody>
          <a:bodyPr vert="horz" lIns="972000" tIns="1440000" rIns="720000" bIns="900000" rtlCol="0" anchor="ctr" anchorCtr="0">
            <a:noAutofit/>
          </a:bodyPr>
          <a:lstStyle>
            <a:lvl1pPr algn="r">
              <a:defRPr lang="en-US" sz="1600" b="0" cap="none" baseline="0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CA"/>
              <a:t>Click on the icon or drag image </a:t>
            </a:r>
            <a:br>
              <a:rPr lang="en-CA"/>
            </a:br>
            <a:r>
              <a:rPr lang="en-CA"/>
              <a:t>to insert an image 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48CCA6B-45E5-4B09-8672-BBBE9EED811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416A3E-1D1C-4EC6-B01F-21705E9D92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3B6AC9B7-3E47-483E-94BD-45ECDCC8DB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2551265"/>
            <a:ext cx="5692558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E9E85B66-EF4A-4B96-BA5D-48045ADF985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61340" y="3639073"/>
            <a:ext cx="5673921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11905471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– Important Point 1.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DE0A3BC1-0AEE-4CB4-B4CD-8EE1F2C12BD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1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lIns="720000" tIns="0" rIns="720000" bIns="900000" anchor="ctr" anchorCtr="0"/>
          <a:lstStyle>
            <a:lvl1pPr algn="l">
              <a:spcBef>
                <a:spcPts val="0"/>
              </a:spcBef>
              <a:defRPr sz="1600" b="0" cap="none" baseline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CA"/>
              <a:t>Click on the icon or drag image </a:t>
            </a:r>
            <a:br>
              <a:rPr lang="en-CA"/>
            </a:br>
            <a:r>
              <a:rPr lang="en-CA"/>
              <a:t>to insert an image 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1AC8B2-CCDA-4B27-A759-44FBB68B7F4A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DECC87-9E05-48BC-86ED-66D9B5035C8C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B59E07-F27D-44AC-9349-42F4AFF79B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0457" y="1648800"/>
            <a:ext cx="4585734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67F4B460-8D3C-433D-A409-F59422198A7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70580" y="2728800"/>
            <a:ext cx="4570181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accent6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to the baseline of the title</a:t>
            </a:r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37CAAC6F-F4F5-42EC-9323-119B2F0CF23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9407" y="3981600"/>
            <a:ext cx="4544790" cy="1386000"/>
          </a:xfrm>
        </p:spPr>
        <p:txBody>
          <a:bodyPr tIns="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9786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– Important Point 1.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0B01496-A116-41F0-9EAC-055D7FF22C4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F72A32E-5F45-4313-8818-B37234233FF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96686" y="0"/>
            <a:ext cx="10797042" cy="4470399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8161052F-7513-4231-9E98-23D4D5A1C6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609" y="2721629"/>
            <a:ext cx="5565141" cy="1218795"/>
          </a:xfrm>
        </p:spPr>
        <p:txBody>
          <a:bodyPr wrap="square" anchor="b">
            <a:sp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0" name="Data 1">
            <a:extLst>
              <a:ext uri="{FF2B5EF4-FFF2-40B4-BE49-F238E27FC236}">
                <a16:creationId xmlns:a16="http://schemas.microsoft.com/office/drawing/2014/main" id="{7189713D-8940-3C4B-9D15-595EF0FA2ACC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365250" y="4748674"/>
            <a:ext cx="2160001" cy="877163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2" name="Data 2">
            <a:extLst>
              <a:ext uri="{FF2B5EF4-FFF2-40B4-BE49-F238E27FC236}">
                <a16:creationId xmlns:a16="http://schemas.microsoft.com/office/drawing/2014/main" id="{EC9343AB-A378-CD47-B478-46D21814FB5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815287" y="4748674"/>
            <a:ext cx="2160001" cy="877163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4" name="Data 3">
            <a:extLst>
              <a:ext uri="{FF2B5EF4-FFF2-40B4-BE49-F238E27FC236}">
                <a16:creationId xmlns:a16="http://schemas.microsoft.com/office/drawing/2014/main" id="{9F4F70A5-A84F-FD41-92D8-BF0976678058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5324" y="4748674"/>
            <a:ext cx="2160001" cy="877163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5" name="Data 4">
            <a:extLst>
              <a:ext uri="{FF2B5EF4-FFF2-40B4-BE49-F238E27FC236}">
                <a16:creationId xmlns:a16="http://schemas.microsoft.com/office/drawing/2014/main" id="{4E90875A-7BAB-FA43-943F-C9CD5CF0BC2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715360" y="4748674"/>
            <a:ext cx="2160001" cy="877163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</p:spTree>
    <p:extLst>
      <p:ext uri="{BB962C8B-B14F-4D97-AF65-F5344CB8AC3E}">
        <p14:creationId xmlns:p14="http://schemas.microsoft.com/office/powerpoint/2010/main" val="1161413832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 – Important Point 1.2">
    <p:bg>
      <p:bgPr>
        <a:solidFill>
          <a:srgbClr val="E6D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0B01496-A116-41F0-9EAC-055D7FF22C4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F72A32E-5F45-4313-8818-B37234233FF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96686" y="0"/>
            <a:ext cx="10797042" cy="4470399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8161052F-7513-4231-9E98-23D4D5A1C6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609" y="2721629"/>
            <a:ext cx="5565141" cy="1218795"/>
          </a:xfrm>
        </p:spPr>
        <p:txBody>
          <a:bodyPr wrap="square" anchor="b">
            <a:sp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527539B8-B213-444B-A063-3C22F62189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3749" y="4963885"/>
            <a:ext cx="6507163" cy="1081315"/>
          </a:xfrm>
        </p:spPr>
        <p:txBody>
          <a:bodyPr tIns="0"/>
          <a:lstStyle>
            <a:lvl1pPr>
              <a:lnSpc>
                <a:spcPct val="110000"/>
              </a:lnSpc>
              <a:defRPr sz="240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180000" indent="-180000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8788102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– Important Point 1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2CEB6A3-6F58-4D9B-BB0C-C3B1CD1347E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CA3B55-CA9B-4C75-8E31-D2EA4E8E571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96686" y="0"/>
            <a:ext cx="10797042" cy="6045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spc="0" baseline="0">
                <a:ln w="0"/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AECF8B7C-D9DC-4D58-B556-4B65B4598D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22916" y="2815200"/>
            <a:ext cx="4961998" cy="1412694"/>
          </a:xfrm>
        </p:spPr>
        <p:txBody>
          <a:bodyPr wrap="square" anchor="ctr">
            <a:spAutoFit/>
          </a:bodyPr>
          <a:lstStyle>
            <a:lvl1pPr>
              <a:lnSpc>
                <a:spcPct val="85000"/>
              </a:lnSpc>
              <a:defRPr sz="54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short head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2064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 – Important Point 1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55DC60-3CBB-8C45-9413-16DB83CFEBAD}"/>
              </a:ext>
            </a:extLst>
          </p:cNvPr>
          <p:cNvSpPr/>
          <p:nvPr userDrawn="1"/>
        </p:nvSpPr>
        <p:spPr>
          <a:xfrm>
            <a:off x="0" y="1"/>
            <a:ext cx="6477600" cy="6045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2CEB6A3-6F58-4D9B-BB0C-C3B1CD1347E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CA3B55-CA9B-4C75-8E31-D2EA4E8E571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6045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spc="0" baseline="0">
                <a:ln w="0"/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AECF8B7C-D9DC-4D58-B556-4B65B4598D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801" y="1312972"/>
            <a:ext cx="4961998" cy="1412694"/>
          </a:xfrm>
        </p:spPr>
        <p:txBody>
          <a:bodyPr wrap="square" anchor="ctr">
            <a:spAutoFit/>
          </a:bodyPr>
          <a:lstStyle>
            <a:lvl1pPr>
              <a:lnSpc>
                <a:spcPct val="85000"/>
              </a:lnSpc>
              <a:defRPr sz="5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Insert short headlin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9739A0B-C088-A64E-B267-1068B42537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57801" y="2592305"/>
            <a:ext cx="5056187" cy="1492250"/>
          </a:xfrm>
        </p:spPr>
        <p:txBody>
          <a:bodyPr tIns="182880"/>
          <a:lstStyle>
            <a:lvl1pPr>
              <a:defRPr sz="2400" b="0" i="0">
                <a:solidFill>
                  <a:schemeClr val="bg1"/>
                </a:solidFill>
                <a:latin typeface="GT Sectra Fine Rg" pitchFamily="2" charset="77"/>
              </a:defRPr>
            </a:lvl1pPr>
            <a:lvl2pPr>
              <a:defRPr sz="2000" b="0" i="0">
                <a:latin typeface="GT Sectra Fine Rg" pitchFamily="2" charset="77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ources">
            <a:extLst>
              <a:ext uri="{FF2B5EF4-FFF2-40B4-BE49-F238E27FC236}">
                <a16:creationId xmlns:a16="http://schemas.microsoft.com/office/drawing/2014/main" id="{6D6F560D-ACBB-054D-B78E-6F5901CF950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0">
                <a:latin typeface="+mn-lt"/>
              </a:defRPr>
            </a:lvl1pPr>
          </a:lstStyle>
          <a:p>
            <a:pPr lvl="0"/>
            <a:r>
              <a:rPr lang="en-US"/>
              <a:t>Insert footnote</a:t>
            </a:r>
          </a:p>
        </p:txBody>
      </p:sp>
    </p:spTree>
    <p:extLst>
      <p:ext uri="{BB962C8B-B14F-4D97-AF65-F5344CB8AC3E}">
        <p14:creationId xmlns:p14="http://schemas.microsoft.com/office/powerpoint/2010/main" val="133778446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tro – Important Point 1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55DC60-3CBB-8C45-9413-16DB83CFEBAD}"/>
              </a:ext>
            </a:extLst>
          </p:cNvPr>
          <p:cNvSpPr/>
          <p:nvPr userDrawn="1"/>
        </p:nvSpPr>
        <p:spPr>
          <a:xfrm>
            <a:off x="0" y="1"/>
            <a:ext cx="12192000" cy="604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2CEB6A3-6F58-4D9B-BB0C-C3B1CD1347E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CA3B55-CA9B-4C75-8E31-D2EA4E8E571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30000" y="0"/>
            <a:ext cx="4961999" cy="6045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spc="0" baseline="0">
                <a:ln w="0"/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AECF8B7C-D9DC-4D58-B556-4B65B4598D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801" y="2031677"/>
            <a:ext cx="2625162" cy="1046440"/>
          </a:xfrm>
        </p:spPr>
        <p:txBody>
          <a:bodyPr wrap="square" anchor="b">
            <a:spAutoFit/>
          </a:bodyPr>
          <a:lstStyle>
            <a:lvl1pPr>
              <a:lnSpc>
                <a:spcPct val="85000"/>
              </a:lnSpc>
              <a:defRPr sz="8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00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EC0A2D4-3692-6A4D-B46B-141A4A2C298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44538" y="3266077"/>
            <a:ext cx="2638425" cy="698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0253FDE-28FF-8B47-969B-ED9A420F868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140880" y="3266077"/>
            <a:ext cx="2638425" cy="698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ECAE5EF-DB08-724E-A7EA-0101DA4770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40880" y="2032000"/>
            <a:ext cx="2638425" cy="1046163"/>
          </a:xfrm>
        </p:spPr>
        <p:txBody>
          <a:bodyPr anchor="b"/>
          <a:lstStyle>
            <a:lvl1pPr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5" name="Sources">
            <a:extLst>
              <a:ext uri="{FF2B5EF4-FFF2-40B4-BE49-F238E27FC236}">
                <a16:creationId xmlns:a16="http://schemas.microsoft.com/office/drawing/2014/main" id="{72D9C05B-00EC-5E4C-B05D-07559D8316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0">
                <a:latin typeface="+mn-lt"/>
              </a:defRPr>
            </a:lvl1pPr>
          </a:lstStyle>
          <a:p>
            <a:pPr lvl="0"/>
            <a:r>
              <a:rPr lang="en-US"/>
              <a:t>Insert footnote</a:t>
            </a:r>
          </a:p>
        </p:txBody>
      </p:sp>
    </p:spTree>
    <p:extLst>
      <p:ext uri="{BB962C8B-B14F-4D97-AF65-F5344CB8AC3E}">
        <p14:creationId xmlns:p14="http://schemas.microsoft.com/office/powerpoint/2010/main" val="36556053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9351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w/ Subtitle  – Image and 2/3 Purple BG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D20211-10B1-4BFA-BF76-C4C8F3A0F9CE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5F4F4E-51E1-4251-99A5-EDE27B08F5F7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16" name="Accenture GTS">
            <a:extLst>
              <a:ext uri="{FF2B5EF4-FFF2-40B4-BE49-F238E27FC236}">
                <a16:creationId xmlns:a16="http://schemas.microsoft.com/office/drawing/2014/main" id="{943C31FF-6005-4C1A-B24C-5DC450E21D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482516"/>
            <a:ext cx="190926" cy="201600"/>
          </a:xfrm>
          <a:custGeom>
            <a:avLst/>
            <a:gdLst>
              <a:gd name="connsiteX0" fmla="*/ 0 w 153352"/>
              <a:gd name="connsiteY0" fmla="*/ 114300 h 161925"/>
              <a:gd name="connsiteX1" fmla="*/ 89535 w 153352"/>
              <a:gd name="connsiteY1" fmla="*/ 80963 h 161925"/>
              <a:gd name="connsiteX2" fmla="*/ 0 w 153352"/>
              <a:gd name="connsiteY2" fmla="*/ 46673 h 161925"/>
              <a:gd name="connsiteX3" fmla="*/ 0 w 153352"/>
              <a:gd name="connsiteY3" fmla="*/ 0 h 161925"/>
              <a:gd name="connsiteX4" fmla="*/ 153352 w 153352"/>
              <a:gd name="connsiteY4" fmla="*/ 61913 h 161925"/>
              <a:gd name="connsiteX5" fmla="*/ 153352 w 153352"/>
              <a:gd name="connsiteY5" fmla="*/ 100013 h 161925"/>
              <a:gd name="connsiteX6" fmla="*/ 0 w 153352"/>
              <a:gd name="connsiteY6" fmla="*/ 161925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3352" h="161925">
                <a:moveTo>
                  <a:pt x="0" y="114300"/>
                </a:moveTo>
                <a:lnTo>
                  <a:pt x="89535" y="80963"/>
                </a:lnTo>
                <a:lnTo>
                  <a:pt x="0" y="46673"/>
                </a:lnTo>
                <a:lnTo>
                  <a:pt x="0" y="0"/>
                </a:lnTo>
                <a:lnTo>
                  <a:pt x="153352" y="61913"/>
                </a:lnTo>
                <a:lnTo>
                  <a:pt x="153352" y="100013"/>
                </a:lnTo>
                <a:lnTo>
                  <a:pt x="0" y="161925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CA"/>
          </a:p>
        </p:txBody>
      </p:sp>
      <p:sp>
        <p:nvSpPr>
          <p:cNvPr id="2" name="White Rectangle">
            <a:extLst>
              <a:ext uri="{FF2B5EF4-FFF2-40B4-BE49-F238E27FC236}">
                <a16:creationId xmlns:a16="http://schemas.microsoft.com/office/drawing/2014/main" id="{25CB5CEB-FAC4-4361-91EB-C3194532CF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284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4D91CB7-C93C-4501-AEEF-F5BBB20EB6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4401" y="637200"/>
            <a:ext cx="5569636" cy="1235723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9D5C45F2-481D-4E10-8351-2C95D549E15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888898" y="1721838"/>
            <a:ext cx="5545138" cy="660144"/>
          </a:xfrm>
          <a:prstGeom prst="rect">
            <a:avLst/>
          </a:prstGeom>
        </p:spPr>
        <p:txBody>
          <a:bodyPr wrap="square" tIns="288000" r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1000" y="381000"/>
            <a:ext cx="4918075" cy="5664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tx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</p:spTree>
    <p:extLst>
      <p:ext uri="{BB962C8B-B14F-4D97-AF65-F5344CB8AC3E}">
        <p14:creationId xmlns:p14="http://schemas.microsoft.com/office/powerpoint/2010/main" val="20561071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 w/ Subtitle  – Image and 2/3 Purpl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D20211-10B1-4BFA-BF76-C4C8F3A0F9CE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5F4F4E-51E1-4251-99A5-EDE27B08F5F7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16" name="Accenture GTS">
            <a:extLst>
              <a:ext uri="{FF2B5EF4-FFF2-40B4-BE49-F238E27FC236}">
                <a16:creationId xmlns:a16="http://schemas.microsoft.com/office/drawing/2014/main" id="{943C31FF-6005-4C1A-B24C-5DC450E21D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482516"/>
            <a:ext cx="190926" cy="201600"/>
          </a:xfrm>
          <a:custGeom>
            <a:avLst/>
            <a:gdLst>
              <a:gd name="connsiteX0" fmla="*/ 0 w 153352"/>
              <a:gd name="connsiteY0" fmla="*/ 114300 h 161925"/>
              <a:gd name="connsiteX1" fmla="*/ 89535 w 153352"/>
              <a:gd name="connsiteY1" fmla="*/ 80963 h 161925"/>
              <a:gd name="connsiteX2" fmla="*/ 0 w 153352"/>
              <a:gd name="connsiteY2" fmla="*/ 46673 h 161925"/>
              <a:gd name="connsiteX3" fmla="*/ 0 w 153352"/>
              <a:gd name="connsiteY3" fmla="*/ 0 h 161925"/>
              <a:gd name="connsiteX4" fmla="*/ 153352 w 153352"/>
              <a:gd name="connsiteY4" fmla="*/ 61913 h 161925"/>
              <a:gd name="connsiteX5" fmla="*/ 153352 w 153352"/>
              <a:gd name="connsiteY5" fmla="*/ 100013 h 161925"/>
              <a:gd name="connsiteX6" fmla="*/ 0 w 153352"/>
              <a:gd name="connsiteY6" fmla="*/ 161925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3352" h="161925">
                <a:moveTo>
                  <a:pt x="0" y="114300"/>
                </a:moveTo>
                <a:lnTo>
                  <a:pt x="89535" y="80963"/>
                </a:lnTo>
                <a:lnTo>
                  <a:pt x="0" y="46673"/>
                </a:lnTo>
                <a:lnTo>
                  <a:pt x="0" y="0"/>
                </a:lnTo>
                <a:lnTo>
                  <a:pt x="153352" y="61913"/>
                </a:lnTo>
                <a:lnTo>
                  <a:pt x="153352" y="100013"/>
                </a:lnTo>
                <a:lnTo>
                  <a:pt x="0" y="161925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CA"/>
          </a:p>
        </p:txBody>
      </p:sp>
      <p:sp>
        <p:nvSpPr>
          <p:cNvPr id="2" name="White Rectangle">
            <a:extLst>
              <a:ext uri="{FF2B5EF4-FFF2-40B4-BE49-F238E27FC236}">
                <a16:creationId xmlns:a16="http://schemas.microsoft.com/office/drawing/2014/main" id="{25CB5CEB-FAC4-4361-91EB-C3194532CF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284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4D91CB7-C93C-4501-AEEF-F5BBB20EB6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4401" y="637200"/>
            <a:ext cx="5569636" cy="1235723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9D5C45F2-481D-4E10-8351-2C95D549E15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888898" y="1721838"/>
            <a:ext cx="5545138" cy="660144"/>
          </a:xfrm>
          <a:prstGeom prst="rect">
            <a:avLst/>
          </a:prstGeom>
        </p:spPr>
        <p:txBody>
          <a:bodyPr wrap="square" tIns="288000" r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1000" y="381000"/>
            <a:ext cx="4918075" cy="5664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tx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</p:spTree>
    <p:extLst>
      <p:ext uri="{BB962C8B-B14F-4D97-AF65-F5344CB8AC3E}">
        <p14:creationId xmlns:p14="http://schemas.microsoft.com/office/powerpoint/2010/main" val="16184610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mium layout 1.3 – 2nd level title (Image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B8D448-0F2F-4838-85FD-8FBC6E5D912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51CCCB-D514-4A3C-A324-6392839999C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822BEC5-5B5D-4F2B-9A06-115215234F6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12193200" cy="2988000"/>
          </a:xfrm>
          <a:solidFill>
            <a:schemeClr val="bg2"/>
          </a:solidFill>
        </p:spPr>
        <p:txBody>
          <a:bodyPr bIns="1080000" anchor="ctr"/>
          <a:lstStyle>
            <a:lvl1pPr algn="ctr"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CA"/>
              <a:t>Click on the icon or drag image </a:t>
            </a:r>
            <a:br>
              <a:rPr lang="en-CA"/>
            </a:br>
            <a:r>
              <a:rPr lang="en-CA"/>
              <a:t>to insert an image </a:t>
            </a:r>
            <a:endParaRPr lang="en-US"/>
          </a:p>
        </p:txBody>
      </p:sp>
      <p:sp>
        <p:nvSpPr>
          <p:cNvPr id="7" name="Second level headline">
            <a:extLst>
              <a:ext uri="{FF2B5EF4-FFF2-40B4-BE49-F238E27FC236}">
                <a16:creationId xmlns:a16="http://schemas.microsoft.com/office/drawing/2014/main" id="{AACD19E1-0CC5-4391-B015-3C68BBE44E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4674" y="3342358"/>
            <a:ext cx="4930567" cy="537034"/>
          </a:xfrm>
        </p:spPr>
        <p:txBody>
          <a:bodyPr wrap="square" bIns="288000">
            <a:spAutoFit/>
          </a:bodyPr>
          <a:lstStyle>
            <a:lvl1pPr>
              <a:defRPr sz="1600">
                <a:solidFill>
                  <a:schemeClr val="tx1"/>
                </a:solidFill>
                <a:latin typeface="Graphik Medium" panose="020B0603030202060203" pitchFamily="34" charset="0"/>
              </a:defRPr>
            </a:lvl1pPr>
          </a:lstStyle>
          <a:p>
            <a:pPr lvl="0"/>
            <a:r>
              <a:rPr lang="en-US"/>
              <a:t>Second level head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A9CF60-4F5A-4261-BAB5-1AF1DB1452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000" y="3805574"/>
            <a:ext cx="494987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8" name="Intro">
            <a:extLst>
              <a:ext uri="{FF2B5EF4-FFF2-40B4-BE49-F238E27FC236}">
                <a16:creationId xmlns:a16="http://schemas.microsoft.com/office/drawing/2014/main" id="{470EC52A-FEFC-45D6-BCB6-A06D3AEEA9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92494" y="3928032"/>
            <a:ext cx="5310494" cy="2113993"/>
          </a:xfrm>
        </p:spPr>
        <p:txBody>
          <a:bodyPr/>
          <a:lstStyle>
            <a:lvl1pPr>
              <a:defRPr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64783166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– Full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196A994-60F1-41F7-9B5A-7EE2C51BBEA5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0E5E14-BABF-4AC2-A8BF-7F7705F43E3E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045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l">
              <a:spcBef>
                <a:spcPts val="0"/>
              </a:spcBef>
              <a:defRPr sz="1400" b="0" cap="none" spc="0" baseline="0">
                <a:ln w="0"/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7157986-86F0-4B5F-8B45-ACE7B479A4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5039" y="1648800"/>
            <a:ext cx="4964282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62304" y="2728142"/>
            <a:ext cx="4936349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to the baseline of the title</a:t>
            </a:r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527539B8-B213-444B-A063-3C22F62189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66638" y="3980880"/>
            <a:ext cx="4936349" cy="1386000"/>
          </a:xfrm>
        </p:spPr>
        <p:txBody>
          <a:bodyPr tIns="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42959129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mium Layout 1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C026932-D438-41B2-A4EA-3B6ACB2FE0EB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0350812-FD2A-483C-9979-5E5AA1BC4573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33749" y="636858"/>
            <a:ext cx="8221393" cy="5408342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F776891-5ECA-4726-A03B-D33D5A53A6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648800"/>
            <a:ext cx="4955100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72000" y="2728800"/>
            <a:ext cx="4929900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box to the baseline of the title</a:t>
            </a:r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527539B8-B213-444B-A063-3C22F62189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5600" y="3981600"/>
            <a:ext cx="4929900" cy="1386000"/>
          </a:xfrm>
        </p:spPr>
        <p:txBody>
          <a:bodyPr tIns="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98339021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mium Layout 1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BBABBD-C3C4-469E-A0D6-E2848B9D6FA6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97108A-ACDA-47A3-A4ED-7692DC9C7B6D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AAA8BDDE-6F91-4C15-8A57-71AFAFC1135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8647113" cy="6045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l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 and use the crop tool </a:t>
            </a:r>
            <a:br>
              <a:rPr lang="en-US"/>
            </a:br>
            <a:r>
              <a:rPr lang="en-US"/>
              <a:t>to adjust the image cropp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526E002-E12C-4B7D-A5DB-397B3DED9F75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6282531" y="1717676"/>
            <a:ext cx="5907087" cy="4327525"/>
          </a:xfrm>
          <a:solidFill>
            <a:schemeClr val="accent3"/>
          </a:solidFill>
        </p:spPr>
        <p:txBody>
          <a:bodyPr lIns="576000" tIns="360000" rIns="684000" bIns="360000" anchor="ctr" anchorCtr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1400"/>
              </a:spcAft>
              <a:defRPr sz="44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5000"/>
              </a:lnSpc>
              <a:spcBef>
                <a:spcPts val="900"/>
              </a:spcBef>
              <a:defRPr sz="2000">
                <a:solidFill>
                  <a:schemeClr val="bg1"/>
                </a:solidFill>
              </a:defRPr>
            </a:lvl2pPr>
            <a:lvl3pPr>
              <a:lnSpc>
                <a:spcPct val="105000"/>
              </a:lnSpc>
              <a:spcBef>
                <a:spcPts val="900"/>
              </a:spcBef>
              <a:defRPr sz="2000">
                <a:solidFill>
                  <a:schemeClr val="bg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69575590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mium Layout 1.3 (Image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92DB5A-2E4A-4402-B064-EFFE5E06F9F7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891656-90BE-40E9-808C-CA7B0B2F5D4A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3E4D264-6D4A-4BD5-A7B6-B2EF3F7B20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6800" y="1645200"/>
            <a:ext cx="435227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D7FE724D-C664-48DA-94EA-48C0EE3C9DA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71266" y="2732059"/>
            <a:ext cx="4323475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box to the baseline of the title</a:t>
            </a:r>
          </a:p>
        </p:txBody>
      </p:sp>
      <p:sp>
        <p:nvSpPr>
          <p:cNvPr id="12" name="Intro">
            <a:extLst>
              <a:ext uri="{FF2B5EF4-FFF2-40B4-BE49-F238E27FC236}">
                <a16:creationId xmlns:a16="http://schemas.microsoft.com/office/drawing/2014/main" id="{9E781E2A-2D68-451D-9B4D-46656701DE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5600" y="3981993"/>
            <a:ext cx="4323475" cy="1386000"/>
          </a:xfrm>
        </p:spPr>
        <p:txBody>
          <a:bodyPr tIns="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913020" y="0"/>
            <a:ext cx="6278980" cy="6045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</p:spTree>
    <p:extLst>
      <p:ext uri="{BB962C8B-B14F-4D97-AF65-F5344CB8AC3E}">
        <p14:creationId xmlns:p14="http://schemas.microsoft.com/office/powerpoint/2010/main" val="125936436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mium Layout 1.4 (Image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C5D188-EFAB-4668-B024-5A28B7C88F69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FD0AD58-924C-4A3A-AAD9-8C60161D1E2B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C76E7BB-1F18-41B4-9CAB-7E150F30D1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6800" y="1645200"/>
            <a:ext cx="435227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71266" y="2732059"/>
            <a:ext cx="4323475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box to the baseline of the title</a:t>
            </a:r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527539B8-B213-444B-A063-3C22F62189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5600" y="3981993"/>
            <a:ext cx="4323475" cy="1386000"/>
          </a:xfrm>
        </p:spPr>
        <p:txBody>
          <a:bodyPr tIns="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913020" y="0"/>
            <a:ext cx="5893460" cy="6045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</p:spTree>
    <p:extLst>
      <p:ext uri="{BB962C8B-B14F-4D97-AF65-F5344CB8AC3E}">
        <p14:creationId xmlns:p14="http://schemas.microsoft.com/office/powerpoint/2010/main" val="2323255926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mium Layout 1.5 – 2nd level title (Image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5CA856C-5A72-4DF5-B664-B02BD183C139}"/>
              </a:ext>
            </a:extLst>
          </p:cNvPr>
          <p:cNvSpPr>
            <a:spLocks noGrp="1"/>
          </p:cNvSpPr>
          <p:nvPr>
            <p:ph type="ftr" sz="quarter" idx="52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96BDF5-5C55-4D0E-9EFD-58912A1AFD8E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ray BG">
            <a:extLst>
              <a:ext uri="{FF2B5EF4-FFF2-40B4-BE49-F238E27FC236}">
                <a16:creationId xmlns:a16="http://schemas.microsoft.com/office/drawing/2014/main" id="{C7420837-320F-4B73-A430-1ABAD1A067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045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0"/>
            <a:ext cx="6284913" cy="6045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8" name="Second level headline">
            <a:extLst>
              <a:ext uri="{FF2B5EF4-FFF2-40B4-BE49-F238E27FC236}">
                <a16:creationId xmlns:a16="http://schemas.microsoft.com/office/drawing/2014/main" id="{6EE14444-6CC0-4BCF-8C1A-CA4CD2792A0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889750" y="1247358"/>
            <a:ext cx="4323475" cy="736967"/>
          </a:xfrm>
        </p:spPr>
        <p:txBody>
          <a:bodyPr wrap="square" bIns="486000">
            <a:spAutoFit/>
          </a:bodyPr>
          <a:lstStyle>
            <a:lvl1pPr>
              <a:defRPr sz="1600" b="0">
                <a:solidFill>
                  <a:schemeClr val="accent2"/>
                </a:solidFill>
                <a:latin typeface="Graphik Medium" panose="020B0603030202060203" pitchFamily="34" charset="0"/>
              </a:defRPr>
            </a:lvl1pPr>
            <a:lvl2pPr>
              <a:defRPr sz="2800">
                <a:latin typeface="Graphik Semibold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3A6BF12-C3EF-4EDC-BBBF-E2FA45147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0800" y="1990800"/>
            <a:ext cx="436242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527539B8-B213-444B-A063-3C22F62189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9750" y="3497039"/>
            <a:ext cx="4323475" cy="1924660"/>
          </a:xfrm>
        </p:spPr>
        <p:txBody>
          <a:bodyPr tIns="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28137314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mium Layout 1.6 – 2nd level title (Image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2151FA6-A4E3-48E6-9B45-56BBFEDA9AB6}"/>
              </a:ext>
            </a:extLst>
          </p:cNvPr>
          <p:cNvSpPr>
            <a:spLocks noGrp="1"/>
          </p:cNvSpPr>
          <p:nvPr>
            <p:ph type="ftr" sz="quarter" idx="52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8C1508-E9A7-4858-9034-390D9BEE1B00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C77CF619-8EE1-437D-A60C-37609B3EC68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81000" y="0"/>
            <a:ext cx="5897980" cy="6045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14" name="Second level headline">
            <a:extLst>
              <a:ext uri="{FF2B5EF4-FFF2-40B4-BE49-F238E27FC236}">
                <a16:creationId xmlns:a16="http://schemas.microsoft.com/office/drawing/2014/main" id="{09BD0337-09F3-4BAD-A861-7128D7636F7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889750" y="1247358"/>
            <a:ext cx="4323475" cy="736967"/>
          </a:xfrm>
        </p:spPr>
        <p:txBody>
          <a:bodyPr wrap="square" bIns="486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Graphik Medium" panose="020B0603030202060203" pitchFamily="34" charset="0"/>
              </a:defRPr>
            </a:lvl1pPr>
            <a:lvl2pPr>
              <a:defRPr sz="2800">
                <a:latin typeface="Graphik Semibold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5A7B74-8549-4E7A-B880-B87D4B76D3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0800" y="1990800"/>
            <a:ext cx="436242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527539B8-B213-444B-A063-3C22F62189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9750" y="3495600"/>
            <a:ext cx="4323475" cy="1924660"/>
          </a:xfrm>
        </p:spPr>
        <p:txBody>
          <a:bodyPr tIns="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616574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5488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1.1 – 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E2407BE-A18B-4CA4-A808-57E31395AADF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0F12CD-D713-4062-BC01-61FF73A78915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Gray Rectangle">
            <a:extLst>
              <a:ext uri="{FF2B5EF4-FFF2-40B4-BE49-F238E27FC236}">
                <a16:creationId xmlns:a16="http://schemas.microsoft.com/office/drawing/2014/main" id="{8F3C7A3D-C34C-401F-87A9-09B8085650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"/>
            <a:ext cx="12192000" cy="14430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1000" y="381000"/>
            <a:ext cx="4918075" cy="5664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5DC070A-0CBF-4D1C-8612-1335C55A4C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05499" y="1660525"/>
            <a:ext cx="552005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CA"/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527539B8-B213-444B-A063-3C22F62189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914585" y="3135181"/>
            <a:ext cx="5288403" cy="1386000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2F6BA696-4079-452A-BB4A-013C12FAB92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905500" y="5602060"/>
            <a:ext cx="129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E1EDA76-2C84-4E31-A095-914421A02DF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435145" y="5602060"/>
            <a:ext cx="129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CA71A9F-6ECC-473F-B3EE-2893DC076DD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64790" y="5602060"/>
            <a:ext cx="129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1C2BCBE-38D2-4C60-A505-37E042C50A4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494436" y="5602060"/>
            <a:ext cx="129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577569443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s 1.1 – 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E2407BE-A18B-4CA4-A808-57E31395AADF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0F12CD-D713-4062-BC01-61FF73A78915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Gray Rectangle">
            <a:extLst>
              <a:ext uri="{FF2B5EF4-FFF2-40B4-BE49-F238E27FC236}">
                <a16:creationId xmlns:a16="http://schemas.microsoft.com/office/drawing/2014/main" id="{8F3C7A3D-C34C-401F-87A9-09B8085650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300265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1000" y="381000"/>
            <a:ext cx="4918075" cy="5664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5DC070A-0CBF-4D1C-8612-1335C55A4C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05499" y="1660525"/>
            <a:ext cx="552005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CA"/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527539B8-B213-444B-A063-3C22F62189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914585" y="3135181"/>
            <a:ext cx="5288403" cy="1386000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2F6BA696-4079-452A-BB4A-013C12FAB92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905500" y="5602060"/>
            <a:ext cx="129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E1EDA76-2C84-4E31-A095-914421A02DF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435145" y="5602060"/>
            <a:ext cx="129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CA71A9F-6ECC-473F-B3EE-2893DC076DD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64790" y="5602060"/>
            <a:ext cx="129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1C2BCBE-38D2-4C60-A505-37E042C50A4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494436" y="5602060"/>
            <a:ext cx="129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383471925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1.2 –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11CA19-C457-4F3D-91B1-14D29B6EE8FF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8987F7-2DF5-4399-9909-ED70D1660689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2" name="Light Purple Rectangle">
            <a:extLst>
              <a:ext uri="{FF2B5EF4-FFF2-40B4-BE49-F238E27FC236}">
                <a16:creationId xmlns:a16="http://schemas.microsoft.com/office/drawing/2014/main" id="{25CB5CEB-FAC4-4361-91EB-C3194532CF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432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1000" y="381000"/>
            <a:ext cx="4918075" cy="5664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7D28D97F-C6F5-4873-9659-D2BFDE7F3C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5743" y="968400"/>
            <a:ext cx="5337245" cy="1218795"/>
          </a:xfrm>
        </p:spPr>
        <p:txBody>
          <a:bodyPr wrap="square">
            <a:spAutoFit/>
          </a:bodyPr>
          <a:lstStyle>
            <a:lvl1pPr>
              <a:defRPr sz="44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CA"/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527539B8-B213-444B-A063-3C22F62189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94113" y="2464789"/>
            <a:ext cx="5288403" cy="1386000"/>
          </a:xfrm>
        </p:spPr>
        <p:txBody>
          <a:bodyPr tIns="0"/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6" name="Text Placeholder 1">
            <a:extLst>
              <a:ext uri="{FF2B5EF4-FFF2-40B4-BE49-F238E27FC236}">
                <a16:creationId xmlns:a16="http://schemas.microsoft.com/office/drawing/2014/main" id="{F8444A5F-06F5-4AEA-BE6C-2778E28A129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905500" y="5602060"/>
            <a:ext cx="129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C4B04E9E-6245-4FA3-8316-3639571CD0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435145" y="5602060"/>
            <a:ext cx="129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11670A7A-925C-45FE-A59E-8AD50E366E9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64790" y="5602060"/>
            <a:ext cx="129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344C638-DE64-4A73-937E-A6B288AA4FB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494436" y="5602060"/>
            <a:ext cx="129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1146401463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1.3 – L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90F00D-6272-400A-BF05-9DC750A4AFC6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B20809-A900-46D9-AF0F-3C4935154F0E}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2" name="Gray Rectangle">
            <a:extLst>
              <a:ext uri="{FF2B5EF4-FFF2-40B4-BE49-F238E27FC236}">
                <a16:creationId xmlns:a16="http://schemas.microsoft.com/office/drawing/2014/main" id="{25CB5CEB-FAC4-4361-91EB-C3194532CF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4320000"/>
          </a:xfrm>
          <a:prstGeom prst="rect">
            <a:avLst/>
          </a:prstGeom>
          <a:solidFill>
            <a:srgbClr val="E6D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891338" y="381000"/>
            <a:ext cx="4918075" cy="5664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C0AF00-2E57-43D4-B0BB-95F9AF2943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968400"/>
            <a:ext cx="5337244" cy="1218795"/>
          </a:xfrm>
        </p:spPr>
        <p:txBody>
          <a:bodyPr wrap="square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CA"/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527539B8-B213-444B-A063-3C22F62189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6038" y="2470789"/>
            <a:ext cx="5308875" cy="1386000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2F6BA696-4079-452A-BB4A-013C12FAB92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87425" y="5602060"/>
            <a:ext cx="147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E1EDA76-2C84-4E31-A095-914421A02DF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898169" y="5602060"/>
            <a:ext cx="147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CA71A9F-6ECC-473F-B3EE-2893DC076DD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808913" y="5602060"/>
            <a:ext cx="147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182957907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1.4 – 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78D3738-AE8B-41C9-926A-25781E4D33E4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6D73657-1543-49AF-B307-45138ABD2195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8F9283-8546-4145-B506-366ACC5958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972000"/>
            <a:ext cx="435227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72000" y="2048400"/>
            <a:ext cx="4323475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box to the baseline of the title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9E8A1F14-DE97-4901-A101-7CF2C02AFD8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550923" y="380998"/>
            <a:ext cx="5258486" cy="5664202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745F6938-47DA-4001-818F-25278A014A3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87425" y="3646773"/>
            <a:ext cx="2302975" cy="2398427"/>
          </a:xfrm>
          <a:solidFill>
            <a:schemeClr val="accent1"/>
          </a:solidFill>
        </p:spPr>
        <p:txBody>
          <a:bodyPr lIns="216000" tIns="1206000" rIns="216000" bIns="36000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description minimum 16 pt max three lin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F1733A2-9D94-42B9-8374-A6B8E3B8B03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468137" y="3646773"/>
            <a:ext cx="2302975" cy="2398427"/>
          </a:xfrm>
          <a:solidFill>
            <a:schemeClr val="accent2"/>
          </a:solidFill>
        </p:spPr>
        <p:txBody>
          <a:bodyPr lIns="216000" tIns="1206000" rIns="216000" bIns="36000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description minimum 16 pt max three lin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C30DD30C-F796-4A17-9CED-FEAB3CE571B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948850" y="3646773"/>
            <a:ext cx="2302975" cy="2398427"/>
          </a:xfrm>
          <a:solidFill>
            <a:schemeClr val="accent3"/>
          </a:solidFill>
        </p:spPr>
        <p:txBody>
          <a:bodyPr lIns="216000" tIns="1206000" rIns="216000" bIns="36000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description minimum 16 pt max three lines</a:t>
            </a:r>
          </a:p>
        </p:txBody>
      </p:sp>
    </p:spTree>
    <p:extLst>
      <p:ext uri="{BB962C8B-B14F-4D97-AF65-F5344CB8AC3E}">
        <p14:creationId xmlns:p14="http://schemas.microsoft.com/office/powerpoint/2010/main" val="1724556216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cons 1.6 – Dark purple lef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centure GTS">
            <a:extLst>
              <a:ext uri="{FF2B5EF4-FFF2-40B4-BE49-F238E27FC236}">
                <a16:creationId xmlns:a16="http://schemas.microsoft.com/office/drawing/2014/main" id="{3B40FC8F-5222-40F9-ABE6-99B7F467D4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482516"/>
            <a:ext cx="190926" cy="201600"/>
          </a:xfrm>
          <a:custGeom>
            <a:avLst/>
            <a:gdLst>
              <a:gd name="connsiteX0" fmla="*/ 0 w 153352"/>
              <a:gd name="connsiteY0" fmla="*/ 114300 h 161925"/>
              <a:gd name="connsiteX1" fmla="*/ 89535 w 153352"/>
              <a:gd name="connsiteY1" fmla="*/ 80963 h 161925"/>
              <a:gd name="connsiteX2" fmla="*/ 0 w 153352"/>
              <a:gd name="connsiteY2" fmla="*/ 46673 h 161925"/>
              <a:gd name="connsiteX3" fmla="*/ 0 w 153352"/>
              <a:gd name="connsiteY3" fmla="*/ 0 h 161925"/>
              <a:gd name="connsiteX4" fmla="*/ 153352 w 153352"/>
              <a:gd name="connsiteY4" fmla="*/ 61913 h 161925"/>
              <a:gd name="connsiteX5" fmla="*/ 153352 w 153352"/>
              <a:gd name="connsiteY5" fmla="*/ 100013 h 161925"/>
              <a:gd name="connsiteX6" fmla="*/ 0 w 153352"/>
              <a:gd name="connsiteY6" fmla="*/ 161925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3352" h="161925">
                <a:moveTo>
                  <a:pt x="0" y="114300"/>
                </a:moveTo>
                <a:lnTo>
                  <a:pt x="89535" y="80963"/>
                </a:lnTo>
                <a:lnTo>
                  <a:pt x="0" y="46673"/>
                </a:lnTo>
                <a:lnTo>
                  <a:pt x="0" y="0"/>
                </a:lnTo>
                <a:lnTo>
                  <a:pt x="153352" y="61913"/>
                </a:lnTo>
                <a:lnTo>
                  <a:pt x="153352" y="100013"/>
                </a:lnTo>
                <a:lnTo>
                  <a:pt x="0" y="16192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CA"/>
          </a:p>
        </p:txBody>
      </p:sp>
      <p:sp>
        <p:nvSpPr>
          <p:cNvPr id="2" name="White BG">
            <a:extLst>
              <a:ext uri="{FF2B5EF4-FFF2-40B4-BE49-F238E27FC236}">
                <a16:creationId xmlns:a16="http://schemas.microsoft.com/office/drawing/2014/main" id="{088C38D8-C195-4F4A-9AD9-7825090A4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5003074" y="0"/>
            <a:ext cx="718892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3794BDF-4F22-417D-AF8C-220B50602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583058"/>
            <a:ext cx="4401698" cy="1218795"/>
          </a:xfrm>
        </p:spPr>
        <p:txBody>
          <a:bodyPr/>
          <a:lstStyle>
            <a:lvl1pPr>
              <a:defRPr sz="4400">
                <a:solidFill>
                  <a:schemeClr val="accent5"/>
                </a:solidFill>
              </a:defRPr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98266" y="1665623"/>
            <a:ext cx="4323475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box to the baseline of the title</a:t>
            </a:r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527539B8-B213-444B-A063-3C22F62189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2600" y="3049098"/>
            <a:ext cx="4323475" cy="2218360"/>
          </a:xfrm>
        </p:spPr>
        <p:txBody>
          <a:bodyPr tIns="0"/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FECFBB03-0377-4308-AC2C-782EFA5E77C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25934" y="856242"/>
            <a:ext cx="1968500" cy="113645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Insert description maximum 3 lin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9C4DAEE-A287-4110-95F7-7469BFD7CAA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617294" y="856242"/>
            <a:ext cx="1968500" cy="113645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Insert description maximum 3 line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B733FFC-29E8-4A30-A618-C41E2B20D85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25934" y="2816286"/>
            <a:ext cx="1968500" cy="113645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Insert description maximum 3 lin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5251F99-75AC-4CC1-AA92-5FC87186334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617294" y="2816286"/>
            <a:ext cx="1968500" cy="113645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Insert description maximum 3 lin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A5522B8-FE7D-40FD-8F58-4F88FDEF3CAF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33E3BE-EA62-4012-9FC6-DA15240346B6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310D313-EB19-F24F-AAFF-206A87B7055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325934" y="4736526"/>
            <a:ext cx="1968500" cy="113645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Insert description maximum 3 lines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85D1EB44-562C-3A40-9A5B-188D091E6B9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617294" y="4736526"/>
            <a:ext cx="1968500" cy="113645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Insert description maximum 3 lines</a:t>
            </a:r>
          </a:p>
        </p:txBody>
      </p:sp>
    </p:spTree>
    <p:extLst>
      <p:ext uri="{BB962C8B-B14F-4D97-AF65-F5344CB8AC3E}">
        <p14:creationId xmlns:p14="http://schemas.microsoft.com/office/powerpoint/2010/main" val="1864687716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cons 1.6 – Dark purple lef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centure GTS">
            <a:extLst>
              <a:ext uri="{FF2B5EF4-FFF2-40B4-BE49-F238E27FC236}">
                <a16:creationId xmlns:a16="http://schemas.microsoft.com/office/drawing/2014/main" id="{3B40FC8F-5222-40F9-ABE6-99B7F467D4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482516"/>
            <a:ext cx="190926" cy="201600"/>
          </a:xfrm>
          <a:custGeom>
            <a:avLst/>
            <a:gdLst>
              <a:gd name="connsiteX0" fmla="*/ 0 w 153352"/>
              <a:gd name="connsiteY0" fmla="*/ 114300 h 161925"/>
              <a:gd name="connsiteX1" fmla="*/ 89535 w 153352"/>
              <a:gd name="connsiteY1" fmla="*/ 80963 h 161925"/>
              <a:gd name="connsiteX2" fmla="*/ 0 w 153352"/>
              <a:gd name="connsiteY2" fmla="*/ 46673 h 161925"/>
              <a:gd name="connsiteX3" fmla="*/ 0 w 153352"/>
              <a:gd name="connsiteY3" fmla="*/ 0 h 161925"/>
              <a:gd name="connsiteX4" fmla="*/ 153352 w 153352"/>
              <a:gd name="connsiteY4" fmla="*/ 61913 h 161925"/>
              <a:gd name="connsiteX5" fmla="*/ 153352 w 153352"/>
              <a:gd name="connsiteY5" fmla="*/ 100013 h 161925"/>
              <a:gd name="connsiteX6" fmla="*/ 0 w 153352"/>
              <a:gd name="connsiteY6" fmla="*/ 161925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3352" h="161925">
                <a:moveTo>
                  <a:pt x="0" y="114300"/>
                </a:moveTo>
                <a:lnTo>
                  <a:pt x="89535" y="80963"/>
                </a:lnTo>
                <a:lnTo>
                  <a:pt x="0" y="46673"/>
                </a:lnTo>
                <a:lnTo>
                  <a:pt x="0" y="0"/>
                </a:lnTo>
                <a:lnTo>
                  <a:pt x="153352" y="61913"/>
                </a:lnTo>
                <a:lnTo>
                  <a:pt x="153352" y="100013"/>
                </a:lnTo>
                <a:lnTo>
                  <a:pt x="0" y="16192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CA"/>
          </a:p>
        </p:txBody>
      </p:sp>
      <p:sp>
        <p:nvSpPr>
          <p:cNvPr id="2" name="White BG">
            <a:extLst>
              <a:ext uri="{FF2B5EF4-FFF2-40B4-BE49-F238E27FC236}">
                <a16:creationId xmlns:a16="http://schemas.microsoft.com/office/drawing/2014/main" id="{088C38D8-C195-4F4A-9AD9-7825090A4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3794BDF-4F22-417D-AF8C-220B50602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2074" y="1314578"/>
            <a:ext cx="4401698" cy="1218795"/>
          </a:xfrm>
        </p:spPr>
        <p:txBody>
          <a:bodyPr/>
          <a:lstStyle>
            <a:lvl1pPr>
              <a:defRPr sz="4400">
                <a:solidFill>
                  <a:schemeClr val="accent5"/>
                </a:solidFill>
              </a:defRPr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29340" y="2397143"/>
            <a:ext cx="4323475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box to the baseline of the title</a:t>
            </a:r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527539B8-B213-444B-A063-3C22F62189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3674" y="3780618"/>
            <a:ext cx="4323475" cy="2218360"/>
          </a:xfrm>
        </p:spPr>
        <p:txBody>
          <a:bodyPr tIns="0"/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FECFBB03-0377-4308-AC2C-782EFA5E77C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872973" y="2367344"/>
            <a:ext cx="1968500" cy="113645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Insert description maximum 3 lin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9C4DAEE-A287-4110-95F7-7469BFD7CAA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617294" y="2367344"/>
            <a:ext cx="1968500" cy="113645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Insert description maximum 3 line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B733FFC-29E8-4A30-A618-C41E2B20D85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72973" y="4862519"/>
            <a:ext cx="1968500" cy="113645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Insert description maximum 3 lin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5251F99-75AC-4CC1-AA92-5FC87186334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617294" y="4862519"/>
            <a:ext cx="1968500" cy="113645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Insert description maximum 3 lin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A5522B8-FE7D-40FD-8F58-4F88FDEF3CAF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33E3BE-EA62-4012-9FC6-DA15240346B6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0172601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1.7 – 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85BF3B-838B-442F-A288-9A169D0CE195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BDE83E-D865-4E93-9A1C-011D556BCB5E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9589D129-26FF-46C1-9253-43DCC936EF1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2692400" cy="6045200"/>
          </a:xfrm>
          <a:custGeom>
            <a:avLst/>
            <a:gdLst>
              <a:gd name="connsiteX0" fmla="*/ 0 w 3662594"/>
              <a:gd name="connsiteY0" fmla="*/ 0 h 5335588"/>
              <a:gd name="connsiteX1" fmla="*/ 3662594 w 3662594"/>
              <a:gd name="connsiteY1" fmla="*/ 0 h 5335588"/>
              <a:gd name="connsiteX2" fmla="*/ 3662594 w 3662594"/>
              <a:gd name="connsiteY2" fmla="*/ 5335588 h 5335588"/>
              <a:gd name="connsiteX3" fmla="*/ 0 w 3662594"/>
              <a:gd name="connsiteY3" fmla="*/ 5335588 h 5335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62594" h="5335588">
                <a:moveTo>
                  <a:pt x="0" y="0"/>
                </a:moveTo>
                <a:lnTo>
                  <a:pt x="3662594" y="0"/>
                </a:lnTo>
                <a:lnTo>
                  <a:pt x="3662594" y="5335588"/>
                </a:lnTo>
                <a:lnTo>
                  <a:pt x="0" y="533558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720000" tIns="0" rIns="720000" bIns="900000" rtlCol="0" anchor="ctr" anchorCtr="0">
            <a:noAutofit/>
          </a:bodyPr>
          <a:lstStyle>
            <a:lvl1pPr algn="ctr">
              <a:spcBef>
                <a:spcPts val="0"/>
              </a:spcBef>
              <a:defRPr lang="en-US" sz="1600" b="0" cap="none" baseline="0">
                <a:latin typeface="+mn-lt"/>
              </a:defRPr>
            </a:lvl1pPr>
          </a:lstStyle>
          <a:p>
            <a:pPr lvl="0" algn="ctr"/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3E1C56-4813-41A4-8826-A71B6A3B0A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0363" y="637200"/>
            <a:ext cx="8499050" cy="609398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7" name="Subhead 1">
            <a:extLst>
              <a:ext uri="{FF2B5EF4-FFF2-40B4-BE49-F238E27FC236}">
                <a16:creationId xmlns:a16="http://schemas.microsoft.com/office/drawing/2014/main" id="{F12330EA-3553-4736-B917-C77E5D17B8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5763" y="3328303"/>
            <a:ext cx="1908000" cy="338554"/>
          </a:xfrm>
        </p:spPr>
        <p:txBody>
          <a:bodyPr wrap="square">
            <a:spAutoFit/>
          </a:bodyPr>
          <a:lstStyle>
            <a:lvl1pPr>
              <a:defRPr sz="22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855E053D-16F9-4B9C-9F0A-650DA9F3CD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33750" y="3974336"/>
            <a:ext cx="1908000" cy="936000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Box 1">
            <a:extLst>
              <a:ext uri="{FF2B5EF4-FFF2-40B4-BE49-F238E27FC236}">
                <a16:creationId xmlns:a16="http://schemas.microsoft.com/office/drawing/2014/main" id="{485301DD-D7AC-4730-9806-A9D3AF3260F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35763" y="5186248"/>
            <a:ext cx="1908000" cy="858952"/>
          </a:xfrm>
          <a:ln>
            <a:solidFill>
              <a:schemeClr val="tx1"/>
            </a:solidFill>
          </a:ln>
        </p:spPr>
        <p:txBody>
          <a:bodyPr wrap="square" lIns="180000" tIns="108000" rIns="108000" bIns="144000">
            <a:noAutofit/>
          </a:bodyPr>
          <a:lstStyle>
            <a:lvl1pPr>
              <a:defRPr sz="14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3" name="Subhead 2">
            <a:extLst>
              <a:ext uri="{FF2B5EF4-FFF2-40B4-BE49-F238E27FC236}">
                <a16:creationId xmlns:a16="http://schemas.microsoft.com/office/drawing/2014/main" id="{527BDB5A-A082-4721-9529-31805E30227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523225" y="3328303"/>
            <a:ext cx="1908000" cy="338554"/>
          </a:xfrm>
        </p:spPr>
        <p:txBody>
          <a:bodyPr wrap="square">
            <a:spAutoFit/>
          </a:bodyPr>
          <a:lstStyle>
            <a:lvl1pPr>
              <a:defRPr sz="22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7D63ED7A-BFDB-44D0-99C2-1A42E55B34A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523225" y="3974336"/>
            <a:ext cx="1908000" cy="936000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Box 2">
            <a:extLst>
              <a:ext uri="{FF2B5EF4-FFF2-40B4-BE49-F238E27FC236}">
                <a16:creationId xmlns:a16="http://schemas.microsoft.com/office/drawing/2014/main" id="{78EEAAC3-A7FF-4557-9352-7836502A58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3225" y="5186248"/>
            <a:ext cx="1908000" cy="858952"/>
          </a:xfrm>
          <a:ln>
            <a:solidFill>
              <a:schemeClr val="tx1"/>
            </a:solidFill>
          </a:ln>
        </p:spPr>
        <p:txBody>
          <a:bodyPr wrap="square" lIns="180000" tIns="108000" rIns="108000" bIns="144000">
            <a:noAutofit/>
          </a:bodyPr>
          <a:lstStyle>
            <a:lvl1pPr>
              <a:defRPr sz="14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6" name="Subhead 3">
            <a:extLst>
              <a:ext uri="{FF2B5EF4-FFF2-40B4-BE49-F238E27FC236}">
                <a16:creationId xmlns:a16="http://schemas.microsoft.com/office/drawing/2014/main" id="{726E943E-B3B0-4828-BFBF-D9586AD29E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710687" y="3328303"/>
            <a:ext cx="1908000" cy="338554"/>
          </a:xfrm>
        </p:spPr>
        <p:txBody>
          <a:bodyPr wrap="square">
            <a:spAutoFit/>
          </a:bodyPr>
          <a:lstStyle>
            <a:lvl1pPr>
              <a:defRPr sz="22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93B65C47-EB89-472B-96DE-E63CAB52BF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710687" y="3974336"/>
            <a:ext cx="1908000" cy="936000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Box 3">
            <a:extLst>
              <a:ext uri="{FF2B5EF4-FFF2-40B4-BE49-F238E27FC236}">
                <a16:creationId xmlns:a16="http://schemas.microsoft.com/office/drawing/2014/main" id="{3F45D821-26AE-48BA-AAF4-B00742531A8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710687" y="5186248"/>
            <a:ext cx="1908000" cy="858952"/>
          </a:xfrm>
          <a:ln>
            <a:solidFill>
              <a:schemeClr val="tx1"/>
            </a:solidFill>
          </a:ln>
        </p:spPr>
        <p:txBody>
          <a:bodyPr wrap="square" lIns="180000" tIns="108000" rIns="108000" bIns="144000">
            <a:noAutofit/>
          </a:bodyPr>
          <a:lstStyle>
            <a:lvl1pPr>
              <a:defRPr sz="14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9" name="Subhead 4">
            <a:extLst>
              <a:ext uri="{FF2B5EF4-FFF2-40B4-BE49-F238E27FC236}">
                <a16:creationId xmlns:a16="http://schemas.microsoft.com/office/drawing/2014/main" id="{0F20FB0F-2A4E-4395-93A9-D99DC0071ED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898150" y="3328303"/>
            <a:ext cx="1908000" cy="338554"/>
          </a:xfrm>
        </p:spPr>
        <p:txBody>
          <a:bodyPr wrap="square">
            <a:spAutoFit/>
          </a:bodyPr>
          <a:lstStyle>
            <a:lvl1pPr>
              <a:defRPr sz="22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DEE09BCC-F15F-4D8E-AB2F-502DE3C20AA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896137" y="3974336"/>
            <a:ext cx="1908000" cy="936000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Box 4">
            <a:extLst>
              <a:ext uri="{FF2B5EF4-FFF2-40B4-BE49-F238E27FC236}">
                <a16:creationId xmlns:a16="http://schemas.microsoft.com/office/drawing/2014/main" id="{83317B06-A7DA-442B-A652-A170222DED5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898150" y="5186248"/>
            <a:ext cx="1908000" cy="858952"/>
          </a:xfrm>
          <a:ln>
            <a:solidFill>
              <a:schemeClr val="tx1"/>
            </a:solidFill>
          </a:ln>
        </p:spPr>
        <p:txBody>
          <a:bodyPr wrap="square" lIns="180000" tIns="108000" rIns="108000" bIns="144000">
            <a:noAutofit/>
          </a:bodyPr>
          <a:lstStyle>
            <a:lvl1pPr>
              <a:defRPr sz="14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145218592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Keypoints 2.1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F7742A-0AEE-40B9-A3B3-D715DE999586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14B634-9389-4EB4-89A0-FF81BB911971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White Rectangle">
            <a:extLst>
              <a:ext uri="{FF2B5EF4-FFF2-40B4-BE49-F238E27FC236}">
                <a16:creationId xmlns:a16="http://schemas.microsoft.com/office/drawing/2014/main" id="{25CB5CEB-FAC4-4361-91EB-C3194532CF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3200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1"/>
              </a:solidFill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1000" y="381000"/>
            <a:ext cx="4918075" cy="5664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193412-0D1D-4FC6-B411-5959479488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4401" y="637200"/>
            <a:ext cx="5569636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9D5C45F2-481D-4E10-8351-2C95D549E15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888898" y="1721838"/>
            <a:ext cx="5545138" cy="1029476"/>
          </a:xfrm>
          <a:prstGeom prst="rect">
            <a:avLst/>
          </a:prstGeom>
        </p:spPr>
        <p:txBody>
          <a:bodyPr wrap="square" tIns="288000" r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 pt, align to the baseline of the title</a:t>
            </a:r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2C7F9058-7DED-407D-A36C-815B142F2FB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905689" y="3659421"/>
            <a:ext cx="2578227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FA439AC-763D-491F-8D3E-7748BD83299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847327" y="3659421"/>
            <a:ext cx="2578227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6912549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Keypoints 2.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1F845FA-8337-49A7-A9AB-E14882CC39CC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C544CF-5885-4589-86F6-31F66B6AEA76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White Rectangle">
            <a:extLst>
              <a:ext uri="{FF2B5EF4-FFF2-40B4-BE49-F238E27FC236}">
                <a16:creationId xmlns:a16="http://schemas.microsoft.com/office/drawing/2014/main" id="{7F85634B-D655-45F5-B274-ED1F723718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12192000" cy="31985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A9B6F5-B699-46FD-B06A-3DD60E8D1F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800" y="637200"/>
            <a:ext cx="5552700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DDCE2E31-D391-493B-B358-C32EC9B2584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600" y="1718824"/>
            <a:ext cx="5524500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3A9521C-1018-4C92-B2C0-6F99BF3459D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70456" y="3659421"/>
            <a:ext cx="2583882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55303EE-8D35-46EB-BCBD-89ABAC587C7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22636" y="3659421"/>
            <a:ext cx="2578227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09BFCDC0-631D-46D2-B500-99178E8EC2A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84912" y="-1"/>
            <a:ext cx="5907087" cy="6045201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</p:spTree>
    <p:extLst>
      <p:ext uri="{BB962C8B-B14F-4D97-AF65-F5344CB8AC3E}">
        <p14:creationId xmlns:p14="http://schemas.microsoft.com/office/powerpoint/2010/main" val="31938758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Alt) 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36FB760-AEF8-46F8-B73E-B0A537402A7A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141567" y="361969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B9165B01-6544-4059-9AE2-42F4426A038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3503587" y="361969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EB2E96CC-0F77-4F5D-A96C-5243BDB51C0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5865607" y="361969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2D003B29-C8CB-4629-BF53-F5AEBE6FAE2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227627" y="361969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49BB6C55-F8C8-4B99-843F-9A6047B7A3E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10570872" y="361969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B047CF-EEDD-49CC-9871-80D6EF57FEB6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7395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Keypoints 2.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1F845FA-8337-49A7-A9AB-E14882CC39CC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C544CF-5885-4589-86F6-31F66B6AEA76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White Rectangle">
            <a:extLst>
              <a:ext uri="{FF2B5EF4-FFF2-40B4-BE49-F238E27FC236}">
                <a16:creationId xmlns:a16="http://schemas.microsoft.com/office/drawing/2014/main" id="{7F85634B-D655-45F5-B274-ED1F723718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12192000" cy="3198579"/>
          </a:xfrm>
          <a:prstGeom prst="rect">
            <a:avLst/>
          </a:prstGeom>
          <a:solidFill>
            <a:schemeClr val="accent4">
              <a:lumMod val="20000"/>
              <a:lumOff val="8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A9B6F5-B699-46FD-B06A-3DD60E8D1F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800" y="637200"/>
            <a:ext cx="5552700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DDCE2E31-D391-493B-B358-C32EC9B2584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600" y="1718824"/>
            <a:ext cx="5524500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3A9521C-1018-4C92-B2C0-6F99BF3459D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70456" y="3659421"/>
            <a:ext cx="2583882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55303EE-8D35-46EB-BCBD-89ABAC587C7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22636" y="3659421"/>
            <a:ext cx="2578227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09BFCDC0-631D-46D2-B500-99178E8EC2A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84912" y="-1"/>
            <a:ext cx="5907087" cy="6045201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</p:spTree>
    <p:extLst>
      <p:ext uri="{BB962C8B-B14F-4D97-AF65-F5344CB8AC3E}">
        <p14:creationId xmlns:p14="http://schemas.microsoft.com/office/powerpoint/2010/main" val="46522713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Keypoints 2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7F112C-F905-478D-AF7C-CC0233B5457B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8F7A2E-90F2-4CFE-95E0-31628EAAE0E9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8C6A52FF-A360-45D4-A0DA-FE35585D3F3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1"/>
            <a:ext cx="5299075" cy="6045200"/>
          </a:xfrm>
          <a:custGeom>
            <a:avLst/>
            <a:gdLst>
              <a:gd name="connsiteX0" fmla="*/ 0 w 5299075"/>
              <a:gd name="connsiteY0" fmla="*/ 0 h 6874525"/>
              <a:gd name="connsiteX1" fmla="*/ 5299075 w 5299075"/>
              <a:gd name="connsiteY1" fmla="*/ 0 h 6874525"/>
              <a:gd name="connsiteX2" fmla="*/ 5299075 w 5299075"/>
              <a:gd name="connsiteY2" fmla="*/ 462776 h 6874525"/>
              <a:gd name="connsiteX3" fmla="*/ 5299075 w 5299075"/>
              <a:gd name="connsiteY3" fmla="*/ 2606040 h 6874525"/>
              <a:gd name="connsiteX4" fmla="*/ 5299075 w 5299075"/>
              <a:gd name="connsiteY4" fmla="*/ 3526971 h 6874525"/>
              <a:gd name="connsiteX5" fmla="*/ 5299075 w 5299075"/>
              <a:gd name="connsiteY5" fmla="*/ 3530827 h 6874525"/>
              <a:gd name="connsiteX6" fmla="*/ 5299075 w 5299075"/>
              <a:gd name="connsiteY6" fmla="*/ 6058582 h 6874525"/>
              <a:gd name="connsiteX7" fmla="*/ 5299075 w 5299075"/>
              <a:gd name="connsiteY7" fmla="*/ 6311900 h 6874525"/>
              <a:gd name="connsiteX8" fmla="*/ 5299075 w 5299075"/>
              <a:gd name="connsiteY8" fmla="*/ 6395224 h 6874525"/>
              <a:gd name="connsiteX9" fmla="*/ 5299075 w 5299075"/>
              <a:gd name="connsiteY9" fmla="*/ 6874525 h 6874525"/>
              <a:gd name="connsiteX10" fmla="*/ 0 w 5299075"/>
              <a:gd name="connsiteY10" fmla="*/ 6874525 h 687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99075" h="6874525">
                <a:moveTo>
                  <a:pt x="0" y="0"/>
                </a:moveTo>
                <a:lnTo>
                  <a:pt x="5299075" y="0"/>
                </a:lnTo>
                <a:lnTo>
                  <a:pt x="5299075" y="462776"/>
                </a:lnTo>
                <a:lnTo>
                  <a:pt x="5299075" y="2606040"/>
                </a:lnTo>
                <a:lnTo>
                  <a:pt x="5299075" y="3526971"/>
                </a:lnTo>
                <a:lnTo>
                  <a:pt x="5299075" y="3530827"/>
                </a:lnTo>
                <a:lnTo>
                  <a:pt x="5299075" y="6058582"/>
                </a:lnTo>
                <a:lnTo>
                  <a:pt x="5299075" y="6311900"/>
                </a:lnTo>
                <a:lnTo>
                  <a:pt x="5299075" y="6395224"/>
                </a:lnTo>
                <a:lnTo>
                  <a:pt x="5299075" y="6874525"/>
                </a:lnTo>
                <a:lnTo>
                  <a:pt x="0" y="6874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372AC1-5443-4EE8-BC10-774D03DD9A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4401" y="637200"/>
            <a:ext cx="5569636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6" name="Subtitle">
            <a:extLst>
              <a:ext uri="{FF2B5EF4-FFF2-40B4-BE49-F238E27FC236}">
                <a16:creationId xmlns:a16="http://schemas.microsoft.com/office/drawing/2014/main" id="{56F7E2F6-D11D-40E2-9D76-AA56F366FF3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888898" y="1721838"/>
            <a:ext cx="5545138" cy="1029476"/>
          </a:xfrm>
          <a:prstGeom prst="rect">
            <a:avLst/>
          </a:prstGeom>
        </p:spPr>
        <p:txBody>
          <a:bodyPr wrap="square" tIns="288000" r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 pt, align to the baseline of the title</a:t>
            </a:r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9C85E620-A2D4-43E8-9D2A-B69667604B9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905689" y="3659421"/>
            <a:ext cx="2578227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5DCCBA7-6D80-4A2A-B92E-606AFD5217F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847327" y="3659421"/>
            <a:ext cx="2578227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415425731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Keypoints 2.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4E56E1-35DA-4893-9FFE-276CEF517CC2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0FA7C35-7CEE-4CCE-B0DF-09129FEF24E4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Dark Purple Rectangle">
            <a:extLst>
              <a:ext uri="{FF2B5EF4-FFF2-40B4-BE49-F238E27FC236}">
                <a16:creationId xmlns:a16="http://schemas.microsoft.com/office/drawing/2014/main" id="{A656AD26-F13A-4B39-8273-7759A63205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200400" y="3532732"/>
            <a:ext cx="8991600" cy="25277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926CDCD2-43D6-4FC6-B663-3A01B5227A5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5299075" cy="6874525"/>
          </a:xfrm>
          <a:custGeom>
            <a:avLst/>
            <a:gdLst>
              <a:gd name="connsiteX0" fmla="*/ 0 w 5284685"/>
              <a:gd name="connsiteY0" fmla="*/ 0 h 6874525"/>
              <a:gd name="connsiteX1" fmla="*/ 5284685 w 5284685"/>
              <a:gd name="connsiteY1" fmla="*/ 0 h 6874525"/>
              <a:gd name="connsiteX2" fmla="*/ 5284685 w 5284685"/>
              <a:gd name="connsiteY2" fmla="*/ 2606040 h 6874525"/>
              <a:gd name="connsiteX3" fmla="*/ 5284685 w 5284685"/>
              <a:gd name="connsiteY3" fmla="*/ 3526971 h 6874525"/>
              <a:gd name="connsiteX4" fmla="*/ 5284685 w 5284685"/>
              <a:gd name="connsiteY4" fmla="*/ 3530827 h 6874525"/>
              <a:gd name="connsiteX5" fmla="*/ 3333750 w 5284685"/>
              <a:gd name="connsiteY5" fmla="*/ 3530827 h 6874525"/>
              <a:gd name="connsiteX6" fmla="*/ 3333750 w 5284685"/>
              <a:gd name="connsiteY6" fmla="*/ 6058582 h 6874525"/>
              <a:gd name="connsiteX7" fmla="*/ 5284685 w 5284685"/>
              <a:gd name="connsiteY7" fmla="*/ 6058582 h 6874525"/>
              <a:gd name="connsiteX8" fmla="*/ 5284685 w 5284685"/>
              <a:gd name="connsiteY8" fmla="*/ 6311900 h 6874525"/>
              <a:gd name="connsiteX9" fmla="*/ 5284685 w 5284685"/>
              <a:gd name="connsiteY9" fmla="*/ 6874525 h 6874525"/>
              <a:gd name="connsiteX10" fmla="*/ 0 w 5284685"/>
              <a:gd name="connsiteY10" fmla="*/ 6874525 h 687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84685" h="6874525">
                <a:moveTo>
                  <a:pt x="0" y="0"/>
                </a:moveTo>
                <a:lnTo>
                  <a:pt x="5284685" y="0"/>
                </a:lnTo>
                <a:lnTo>
                  <a:pt x="5284685" y="2606040"/>
                </a:lnTo>
                <a:lnTo>
                  <a:pt x="5284685" y="3526971"/>
                </a:lnTo>
                <a:lnTo>
                  <a:pt x="5284685" y="3530827"/>
                </a:lnTo>
                <a:lnTo>
                  <a:pt x="3333750" y="3530827"/>
                </a:lnTo>
                <a:lnTo>
                  <a:pt x="3333750" y="6058582"/>
                </a:lnTo>
                <a:lnTo>
                  <a:pt x="5284685" y="6058582"/>
                </a:lnTo>
                <a:lnTo>
                  <a:pt x="5284685" y="6311900"/>
                </a:lnTo>
                <a:lnTo>
                  <a:pt x="5284685" y="6874525"/>
                </a:lnTo>
                <a:lnTo>
                  <a:pt x="0" y="6874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7F3A9F-AF2D-4CED-9192-0BADD68293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2400" y="637200"/>
            <a:ext cx="5545139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AB29080-734B-4EAD-9239-4C27714A50D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66091" y="1721838"/>
            <a:ext cx="5545138" cy="1029476"/>
          </a:xfrm>
          <a:prstGeom prst="rect">
            <a:avLst/>
          </a:prstGeom>
        </p:spPr>
        <p:txBody>
          <a:bodyPr wrap="square" tIns="288000" r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 pt, align to the baseline of the title</a:t>
            </a:r>
          </a:p>
        </p:txBody>
      </p:sp>
      <p:sp>
        <p:nvSpPr>
          <p:cNvPr id="16" name="Subhead">
            <a:extLst>
              <a:ext uri="{FF2B5EF4-FFF2-40B4-BE49-F238E27FC236}">
                <a16:creationId xmlns:a16="http://schemas.microsoft.com/office/drawing/2014/main" id="{1CC6DDB0-E138-42F8-BB4B-BA5928C4A9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9512" y="3890848"/>
            <a:ext cx="1907174" cy="307777"/>
          </a:xfrm>
        </p:spPr>
        <p:txBody>
          <a:bodyPr wrap="square">
            <a:spAutoFit/>
          </a:bodyPr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3EAC69DF-C7CE-4F64-945D-03BA5D148D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4274" y="3890848"/>
            <a:ext cx="2410275" cy="1800000"/>
          </a:xfrm>
        </p:spPr>
        <p:txBody>
          <a:bodyPr/>
          <a:lstStyle>
            <a:lvl1pPr>
              <a:spcBef>
                <a:spcPts val="1200"/>
              </a:spcBef>
              <a:defRPr sz="1600">
                <a:solidFill>
                  <a:schemeClr val="bg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Insert body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0644CA4-1921-4C6B-913F-E6115B9844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6550" y="3890848"/>
            <a:ext cx="2410275" cy="1800000"/>
          </a:xfrm>
        </p:spPr>
        <p:txBody>
          <a:bodyPr/>
          <a:lstStyle>
            <a:lvl1pPr>
              <a:spcBef>
                <a:spcPts val="1200"/>
              </a:spcBef>
              <a:defRPr sz="1600">
                <a:solidFill>
                  <a:schemeClr val="bg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Insert body text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1434778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Keypoints 2.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E5861E-136C-46E1-86F9-4B4C64E8E6CC}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4E2C06-479A-4650-97BF-3EC48B477C1A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F636F11D-E48D-49A6-BB73-FDEA9FDFC8B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1"/>
            <a:ext cx="3670300" cy="6045200"/>
          </a:xfrm>
          <a:custGeom>
            <a:avLst/>
            <a:gdLst>
              <a:gd name="connsiteX0" fmla="*/ 0 w 5299075"/>
              <a:gd name="connsiteY0" fmla="*/ 0 h 6874525"/>
              <a:gd name="connsiteX1" fmla="*/ 5299075 w 5299075"/>
              <a:gd name="connsiteY1" fmla="*/ 0 h 6874525"/>
              <a:gd name="connsiteX2" fmla="*/ 5299075 w 5299075"/>
              <a:gd name="connsiteY2" fmla="*/ 462776 h 6874525"/>
              <a:gd name="connsiteX3" fmla="*/ 5299075 w 5299075"/>
              <a:gd name="connsiteY3" fmla="*/ 2606040 h 6874525"/>
              <a:gd name="connsiteX4" fmla="*/ 5299075 w 5299075"/>
              <a:gd name="connsiteY4" fmla="*/ 3526971 h 6874525"/>
              <a:gd name="connsiteX5" fmla="*/ 5299075 w 5299075"/>
              <a:gd name="connsiteY5" fmla="*/ 3530827 h 6874525"/>
              <a:gd name="connsiteX6" fmla="*/ 5299075 w 5299075"/>
              <a:gd name="connsiteY6" fmla="*/ 6058582 h 6874525"/>
              <a:gd name="connsiteX7" fmla="*/ 5299075 w 5299075"/>
              <a:gd name="connsiteY7" fmla="*/ 6311900 h 6874525"/>
              <a:gd name="connsiteX8" fmla="*/ 5299075 w 5299075"/>
              <a:gd name="connsiteY8" fmla="*/ 6395224 h 6874525"/>
              <a:gd name="connsiteX9" fmla="*/ 5299075 w 5299075"/>
              <a:gd name="connsiteY9" fmla="*/ 6874525 h 6874525"/>
              <a:gd name="connsiteX10" fmla="*/ 0 w 5299075"/>
              <a:gd name="connsiteY10" fmla="*/ 6874525 h 687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99075" h="6874525">
                <a:moveTo>
                  <a:pt x="0" y="0"/>
                </a:moveTo>
                <a:lnTo>
                  <a:pt x="5299075" y="0"/>
                </a:lnTo>
                <a:lnTo>
                  <a:pt x="5299075" y="462776"/>
                </a:lnTo>
                <a:lnTo>
                  <a:pt x="5299075" y="2606040"/>
                </a:lnTo>
                <a:lnTo>
                  <a:pt x="5299075" y="3526971"/>
                </a:lnTo>
                <a:lnTo>
                  <a:pt x="5299075" y="3530827"/>
                </a:lnTo>
                <a:lnTo>
                  <a:pt x="5299075" y="6058582"/>
                </a:lnTo>
                <a:lnTo>
                  <a:pt x="5299075" y="6311900"/>
                </a:lnTo>
                <a:lnTo>
                  <a:pt x="5299075" y="6395224"/>
                </a:lnTo>
                <a:lnTo>
                  <a:pt x="5299075" y="6874525"/>
                </a:lnTo>
                <a:lnTo>
                  <a:pt x="0" y="6874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82B553-5E70-422E-A74D-C564BEC1CC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76655" y="637200"/>
            <a:ext cx="7532757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D0818C70-A8E1-4BE4-9EF2-0E79CEB29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94742" y="1720800"/>
            <a:ext cx="7493000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the text box to the </a:t>
            </a:r>
            <a:br>
              <a:rPr lang="en-US"/>
            </a:br>
            <a:r>
              <a:rPr lang="en-US"/>
              <a:t>baseline of the title</a:t>
            </a:r>
          </a:p>
        </p:txBody>
      </p:sp>
      <p:sp>
        <p:nvSpPr>
          <p:cNvPr id="18" name="Text Box Purple">
            <a:extLst>
              <a:ext uri="{FF2B5EF4-FFF2-40B4-BE49-F238E27FC236}">
                <a16:creationId xmlns:a16="http://schemas.microsoft.com/office/drawing/2014/main" id="{ACB3F843-DC36-4BE8-9CD0-75E23E161B0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316412" y="2937600"/>
            <a:ext cx="7492994" cy="531005"/>
          </a:xfrm>
          <a:solidFill>
            <a:schemeClr val="accent3"/>
          </a:solidFill>
          <a:ln>
            <a:noFill/>
          </a:ln>
        </p:spPr>
        <p:txBody>
          <a:bodyPr lIns="216000" tIns="46800" rIns="216000" bIns="72000" anchor="ctr"/>
          <a:lstStyle>
            <a:lvl1pPr algn="ctr">
              <a:defRPr sz="1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0EB93430-BE2C-484C-A61F-42B341860A3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316412" y="3765599"/>
            <a:ext cx="3557588" cy="2279601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415CA21-78F8-4A21-A8C3-EFC62B6B6E3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251825" y="3765599"/>
            <a:ext cx="3557588" cy="2279601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57058787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Keypoints 2.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24F02F-B14F-484F-91A1-2904F7D44518}"/>
              </a:ext>
            </a:extLst>
          </p:cNvPr>
          <p:cNvSpPr>
            <a:spLocks noGrp="1"/>
          </p:cNvSpPr>
          <p:nvPr>
            <p:ph type="ftr" sz="quarter" idx="49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5A0A29-53A4-462E-842F-A4A972DB5CDF}"/>
              </a:ext>
            </a:extLst>
          </p:cNvPr>
          <p:cNvSpPr>
            <a:spLocks noGrp="1"/>
          </p:cNvSpPr>
          <p:nvPr>
            <p:ph type="sldNum" sz="quarter" idx="50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701FBB38-2E3C-42DC-8F82-78C0159577A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1999" cy="6045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l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 and use the crop tool </a:t>
            </a:r>
            <a:br>
              <a:rPr lang="en-US"/>
            </a:br>
            <a:r>
              <a:rPr lang="en-US"/>
              <a:t>to adjust the image cropp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CB3E17-0E5C-4FBC-8051-886DB6417F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52347" y="637200"/>
            <a:ext cx="5950642" cy="1152000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225CB17E-652C-46AA-807F-522072ED0FB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278555" y="1722075"/>
            <a:ext cx="5926012" cy="1029476"/>
          </a:xfrm>
          <a:prstGeom prst="rect">
            <a:avLst/>
          </a:prstGeom>
        </p:spPr>
        <p:txBody>
          <a:bodyPr wrap="square" tIns="288000" r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 pt, align to the baseline of the title</a:t>
            </a:r>
          </a:p>
        </p:txBody>
      </p:sp>
      <p:sp>
        <p:nvSpPr>
          <p:cNvPr id="8" name="Number 1">
            <a:extLst>
              <a:ext uri="{FF2B5EF4-FFF2-40B4-BE49-F238E27FC236}">
                <a16:creationId xmlns:a16="http://schemas.microsoft.com/office/drawing/2014/main" id="{DEDE7D73-E78D-43A9-8A2D-02D80B0242E9}"/>
              </a:ext>
            </a:extLst>
          </p:cNvPr>
          <p:cNvSpPr>
            <a:spLocks noGrp="1" noChangeAspect="1"/>
          </p:cNvSpPr>
          <p:nvPr>
            <p:ph type="body" sz="quarter" idx="46" hasCustomPrompt="1"/>
          </p:nvPr>
        </p:nvSpPr>
        <p:spPr>
          <a:xfrm>
            <a:off x="5302487" y="3237271"/>
            <a:ext cx="1008000" cy="1009003"/>
          </a:xfrm>
          <a:prstGeom prst="rect">
            <a:avLst/>
          </a:prstGeom>
          <a:solidFill>
            <a:schemeClr val="accent1"/>
          </a:solidFill>
        </p:spPr>
        <p:txBody>
          <a:bodyPr wrap="squar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GB" noProof="0"/>
              <a:t>01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20EE5D1-E4EB-49E0-B314-5E4CAFEC902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47564" y="3291772"/>
            <a:ext cx="4571883" cy="900000"/>
          </a:xfrm>
        </p:spPr>
        <p:txBody>
          <a:bodyPr tIns="0" anchor="ctr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Number 2">
            <a:extLst>
              <a:ext uri="{FF2B5EF4-FFF2-40B4-BE49-F238E27FC236}">
                <a16:creationId xmlns:a16="http://schemas.microsoft.com/office/drawing/2014/main" id="{BE4B7693-528B-4FF4-97DC-245634FDFDBF}"/>
              </a:ext>
            </a:extLst>
          </p:cNvPr>
          <p:cNvSpPr>
            <a:spLocks noGrp="1" noChangeAspect="1"/>
          </p:cNvSpPr>
          <p:nvPr>
            <p:ph type="body" sz="quarter" idx="47" hasCustomPrompt="1"/>
          </p:nvPr>
        </p:nvSpPr>
        <p:spPr>
          <a:xfrm>
            <a:off x="5302486" y="4459897"/>
            <a:ext cx="1008000" cy="1009003"/>
          </a:xfrm>
          <a:prstGeom prst="rect">
            <a:avLst/>
          </a:pr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GB" noProof="0"/>
              <a:t>02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E97EB58-AE58-4035-8213-0B447F62C4F7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647564" y="4514398"/>
            <a:ext cx="4571883" cy="900000"/>
          </a:xfrm>
        </p:spPr>
        <p:txBody>
          <a:bodyPr tIns="0" anchor="ctr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56027048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keypoints 2.1 –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9777C-6C95-423A-84B7-F43403ABF2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BA4407-2CFD-416B-8704-52A0CBCF3B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16">
            <a:extLst>
              <a:ext uri="{FF2B5EF4-FFF2-40B4-BE49-F238E27FC236}">
                <a16:creationId xmlns:a16="http://schemas.microsoft.com/office/drawing/2014/main" id="{0E09289C-C5EB-4A5F-9D62-F089B5FD771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89749" y="0"/>
            <a:ext cx="5302251" cy="6042025"/>
          </a:xfrm>
          <a:custGeom>
            <a:avLst/>
            <a:gdLst>
              <a:gd name="connsiteX0" fmla="*/ 0 w 12192000"/>
              <a:gd name="connsiteY0" fmla="*/ 0 h 6042025"/>
              <a:gd name="connsiteX1" fmla="*/ 12192000 w 12192000"/>
              <a:gd name="connsiteY1" fmla="*/ 0 h 6042025"/>
              <a:gd name="connsiteX2" fmla="*/ 12192000 w 12192000"/>
              <a:gd name="connsiteY2" fmla="*/ 2719985 h 6042025"/>
              <a:gd name="connsiteX3" fmla="*/ 12192000 w 12192000"/>
              <a:gd name="connsiteY3" fmla="*/ 4097867 h 6042025"/>
              <a:gd name="connsiteX4" fmla="*/ 12192000 w 12192000"/>
              <a:gd name="connsiteY4" fmla="*/ 6042025 h 6042025"/>
              <a:gd name="connsiteX5" fmla="*/ 6096000 w 12192000"/>
              <a:gd name="connsiteY5" fmla="*/ 6042025 h 6042025"/>
              <a:gd name="connsiteX6" fmla="*/ 3677175 w 12192000"/>
              <a:gd name="connsiteY6" fmla="*/ 6042025 h 6042025"/>
              <a:gd name="connsiteX7" fmla="*/ 0 w 12192000"/>
              <a:gd name="connsiteY7" fmla="*/ 6042025 h 6042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042025">
                <a:moveTo>
                  <a:pt x="0" y="0"/>
                </a:moveTo>
                <a:lnTo>
                  <a:pt x="12192000" y="0"/>
                </a:lnTo>
                <a:lnTo>
                  <a:pt x="12192000" y="2719985"/>
                </a:lnTo>
                <a:lnTo>
                  <a:pt x="12192000" y="4097867"/>
                </a:lnTo>
                <a:lnTo>
                  <a:pt x="12192000" y="6042025"/>
                </a:lnTo>
                <a:lnTo>
                  <a:pt x="6096000" y="6042025"/>
                </a:lnTo>
                <a:lnTo>
                  <a:pt x="3677175" y="6042025"/>
                </a:lnTo>
                <a:lnTo>
                  <a:pt x="0" y="60420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rIns="612000" bIns="1080000" anchor="ctr">
            <a:noAutofit/>
          </a:bodyPr>
          <a:lstStyle>
            <a:lvl1pPr algn="r"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CA"/>
              <a:t>Click on the icon or drag image </a:t>
            </a:r>
            <a:br>
              <a:rPr lang="en-CA"/>
            </a:br>
            <a:r>
              <a:rPr lang="en-CA"/>
              <a:t>to insert an image 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030FDA-BEAA-491E-A083-4A575CC44B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1" y="971448"/>
            <a:ext cx="5330914" cy="1218795"/>
          </a:xfrm>
        </p:spPr>
        <p:txBody>
          <a:bodyPr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BB9CB54E-814B-413E-8FAC-65745BD86F2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63493" y="2054655"/>
            <a:ext cx="5330914" cy="1029476"/>
          </a:xfrm>
          <a:prstGeom prst="rect">
            <a:avLst/>
          </a:prstGeom>
        </p:spPr>
        <p:txBody>
          <a:bodyPr wrap="square" tIns="288000" r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 pt, align to the baseline of the title</a:t>
            </a:r>
          </a:p>
        </p:txBody>
      </p:sp>
      <p:sp>
        <p:nvSpPr>
          <p:cNvPr id="13" name="Number 1">
            <a:extLst>
              <a:ext uri="{FF2B5EF4-FFF2-40B4-BE49-F238E27FC236}">
                <a16:creationId xmlns:a16="http://schemas.microsoft.com/office/drawing/2014/main" id="{E2F5C76D-A442-4083-A676-1F99241BDDEF}"/>
              </a:ext>
            </a:extLst>
          </p:cNvPr>
          <p:cNvSpPr>
            <a:spLocks noGrp="1" noChangeAspect="1"/>
          </p:cNvSpPr>
          <p:nvPr>
            <p:ph type="body" sz="quarter" idx="46" hasCustomPrompt="1"/>
          </p:nvPr>
        </p:nvSpPr>
        <p:spPr>
          <a:xfrm>
            <a:off x="987425" y="3569851"/>
            <a:ext cx="1008000" cy="1009003"/>
          </a:xfrm>
          <a:prstGeom prst="rect">
            <a:avLst/>
          </a:prstGeom>
          <a:solidFill>
            <a:schemeClr val="accent1"/>
          </a:solidFill>
        </p:spPr>
        <p:txBody>
          <a:bodyPr wrap="squar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GB" noProof="0"/>
              <a:t>01</a:t>
            </a:r>
          </a:p>
        </p:txBody>
      </p: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8D1F2529-83FD-4FD7-9A5D-3EA37516F6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32502" y="3624352"/>
            <a:ext cx="3952411" cy="900000"/>
          </a:xfrm>
        </p:spPr>
        <p:txBody>
          <a:bodyPr tIns="0" anchor="ctr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Number 2">
            <a:extLst>
              <a:ext uri="{FF2B5EF4-FFF2-40B4-BE49-F238E27FC236}">
                <a16:creationId xmlns:a16="http://schemas.microsoft.com/office/drawing/2014/main" id="{0B3F0548-D38E-43A2-AE62-EA430F6E9927}"/>
              </a:ext>
            </a:extLst>
          </p:cNvPr>
          <p:cNvSpPr>
            <a:spLocks noGrp="1" noChangeAspect="1"/>
          </p:cNvSpPr>
          <p:nvPr>
            <p:ph type="body" sz="quarter" idx="47" hasCustomPrompt="1"/>
          </p:nvPr>
        </p:nvSpPr>
        <p:spPr>
          <a:xfrm>
            <a:off x="987424" y="4792477"/>
            <a:ext cx="1008000" cy="1009003"/>
          </a:xfrm>
          <a:prstGeom prst="rect">
            <a:avLst/>
          </a:pr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GB" noProof="0"/>
              <a:t>02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EE81530-AD5C-45FF-914B-67E8D512BDCF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2332502" y="4846978"/>
            <a:ext cx="3952411" cy="900000"/>
          </a:xfrm>
        </p:spPr>
        <p:txBody>
          <a:bodyPr tIns="0" anchor="ctr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610527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Keypoints 2.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DEC0AE9-4BD5-4A2B-9600-9173D55A44E1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3C5F34-6E7E-4994-A63C-009BE22D9939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6F22A1-7AEB-488F-B13B-34CB9FFF8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242000"/>
            <a:ext cx="434867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36" name="Subtitle">
            <a:extLst>
              <a:ext uri="{FF2B5EF4-FFF2-40B4-BE49-F238E27FC236}">
                <a16:creationId xmlns:a16="http://schemas.microsoft.com/office/drawing/2014/main" id="{D78A2740-67C2-492E-AC27-C95D4C1C974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7990" y="2331300"/>
            <a:ext cx="4318083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box to the baseline of the title</a:t>
            </a:r>
          </a:p>
        </p:txBody>
      </p:sp>
      <p:sp>
        <p:nvSpPr>
          <p:cNvPr id="34" name="Intro">
            <a:extLst>
              <a:ext uri="{FF2B5EF4-FFF2-40B4-BE49-F238E27FC236}">
                <a16:creationId xmlns:a16="http://schemas.microsoft.com/office/drawing/2014/main" id="{6F17C1E0-1FD8-4B2D-B0A2-E79F4A260D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5600" y="3699840"/>
            <a:ext cx="4323475" cy="1710360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Gray Rectangle">
            <a:extLst>
              <a:ext uri="{FF2B5EF4-FFF2-40B4-BE49-F238E27FC236}">
                <a16:creationId xmlns:a16="http://schemas.microsoft.com/office/drawing/2014/main" id="{06346790-A48C-46E2-BBD7-0D5ABCBAFD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05500" y="636858"/>
            <a:ext cx="6286500" cy="541944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" name="Purple Arrow" descr="Big arrow pointing right">
            <a:extLst>
              <a:ext uri="{FF2B5EF4-FFF2-40B4-BE49-F238E27FC236}">
                <a16:creationId xmlns:a16="http://schemas.microsoft.com/office/drawing/2014/main" id="{CCD473CD-EB8E-49C0-A353-5F94724E779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905500" y="636859"/>
            <a:ext cx="3525971" cy="5419453"/>
          </a:xfrm>
          <a:prstGeom prst="homePlate">
            <a:avLst>
              <a:gd name="adj" fmla="val 11128"/>
            </a:avLst>
          </a:prstGeom>
          <a:solidFill>
            <a:schemeClr val="accent3"/>
          </a:solidFill>
          <a:ln w="19050">
            <a:noFill/>
            <a:miter lim="800000"/>
            <a:headEnd type="none" w="sm" len="sm"/>
            <a:tailEnd type="none" w="sm" len="sm"/>
          </a:ln>
        </p:spPr>
        <p:txBody>
          <a:bodyPr lIns="180000" tIns="46800" rIns="216000" bIns="46800" anchor="ctr"/>
          <a:lstStyle/>
          <a:p>
            <a:pPr marL="0" marR="0" lvl="0" indent="0" algn="r" defTabSz="7032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 Black"/>
              <a:ea typeface="+mn-ea"/>
              <a:cs typeface="+mn-cs"/>
            </a:endParaRPr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AEDEC25D-3E07-4748-ADD4-C0E2E086E4B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95206" y="1337900"/>
            <a:ext cx="2543166" cy="135985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800">
                <a:solidFill>
                  <a:schemeClr val="accent5"/>
                </a:solidFill>
                <a:latin typeface="+mj-lt"/>
              </a:defRPr>
            </a:lvl1pPr>
            <a:lvl2pPr>
              <a:spcBef>
                <a:spcPts val="300"/>
              </a:spcBef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1A4F66F-D9A6-4EBB-89AA-BBD9C3C4680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95206" y="3755430"/>
            <a:ext cx="2543166" cy="135985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800">
                <a:solidFill>
                  <a:schemeClr val="accent5"/>
                </a:solidFill>
                <a:latin typeface="+mj-lt"/>
              </a:defRPr>
            </a:lvl1pPr>
            <a:lvl2pPr>
              <a:spcBef>
                <a:spcPts val="300"/>
              </a:spcBef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4" name="Text">
            <a:extLst>
              <a:ext uri="{FF2B5EF4-FFF2-40B4-BE49-F238E27FC236}">
                <a16:creationId xmlns:a16="http://schemas.microsoft.com/office/drawing/2014/main" id="{90E76472-D6C5-4857-87A3-81E269437D2A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9828206" y="2653579"/>
            <a:ext cx="1981206" cy="1386000"/>
          </a:xfrm>
        </p:spPr>
        <p:txBody>
          <a:bodyPr tIns="0" anchor="ctr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3662071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6C41C64-F407-4B53-8CC2-016EA24A1D93}"/>
              </a:ext>
            </a:extLst>
          </p:cNvPr>
          <p:cNvSpPr>
            <a:spLocks noGrp="1"/>
          </p:cNvSpPr>
          <p:nvPr>
            <p:ph type="ftr" sz="quarter" idx="4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4B1BCD-5E41-4E13-9A41-02E9057F9D7E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9E8A1F14-DE97-4901-A101-7CF2C02AFD8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380998"/>
            <a:ext cx="5608320" cy="5664202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6D36229-5E43-47C8-8EDA-717F9922EF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6000" y="1242000"/>
            <a:ext cx="4550800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65715" y="2326966"/>
            <a:ext cx="4550800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box to the baseline of the title</a:t>
            </a:r>
          </a:p>
        </p:txBody>
      </p:sp>
      <p:sp>
        <p:nvSpPr>
          <p:cNvPr id="3" name="Text Box Dark Purple">
            <a:extLst>
              <a:ext uri="{FF2B5EF4-FFF2-40B4-BE49-F238E27FC236}">
                <a16:creationId xmlns:a16="http://schemas.microsoft.com/office/drawing/2014/main" id="{D6DD7FE1-AF8C-43EE-8718-18B16CDDDFC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940176" y="4004769"/>
            <a:ext cx="7262812" cy="2040432"/>
          </a:xfrm>
          <a:solidFill>
            <a:schemeClr val="accent3"/>
          </a:solidFill>
        </p:spPr>
        <p:txBody>
          <a:bodyPr lIns="378000" tIns="252000"/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0" name="Number 1">
            <a:extLst>
              <a:ext uri="{FF2B5EF4-FFF2-40B4-BE49-F238E27FC236}">
                <a16:creationId xmlns:a16="http://schemas.microsoft.com/office/drawing/2014/main" id="{BE035340-E0E4-40E5-9D16-EA5E5415630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341719" y="4839872"/>
            <a:ext cx="1943194" cy="830997"/>
          </a:xfrm>
        </p:spPr>
        <p:txBody>
          <a:bodyPr wrap="square">
            <a:sp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Insert description</a:t>
            </a:r>
          </a:p>
        </p:txBody>
      </p:sp>
      <p:sp>
        <p:nvSpPr>
          <p:cNvPr id="31" name="Number 2">
            <a:extLst>
              <a:ext uri="{FF2B5EF4-FFF2-40B4-BE49-F238E27FC236}">
                <a16:creationId xmlns:a16="http://schemas.microsoft.com/office/drawing/2014/main" id="{3A0D13C5-80E7-44F5-8E56-5B25C10F89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611854" y="4839872"/>
            <a:ext cx="1943194" cy="830997"/>
          </a:xfrm>
        </p:spPr>
        <p:txBody>
          <a:bodyPr wrap="square">
            <a:sp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Insert description</a:t>
            </a:r>
          </a:p>
        </p:txBody>
      </p:sp>
      <p:sp>
        <p:nvSpPr>
          <p:cNvPr id="32" name="Number 3">
            <a:extLst>
              <a:ext uri="{FF2B5EF4-FFF2-40B4-BE49-F238E27FC236}">
                <a16:creationId xmlns:a16="http://schemas.microsoft.com/office/drawing/2014/main" id="{5962FA73-051F-4E05-B3C3-83C23510572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881989" y="4839872"/>
            <a:ext cx="1943194" cy="830997"/>
          </a:xfrm>
        </p:spPr>
        <p:txBody>
          <a:bodyPr wrap="square">
            <a:sp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Insert description</a:t>
            </a:r>
          </a:p>
        </p:txBody>
      </p:sp>
    </p:spTree>
    <p:extLst>
      <p:ext uri="{BB962C8B-B14F-4D97-AF65-F5344CB8AC3E}">
        <p14:creationId xmlns:p14="http://schemas.microsoft.com/office/powerpoint/2010/main" val="1797717607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0F95CC5-D664-47F4-BF62-42993974CCA6}"/>
              </a:ext>
            </a:extLst>
          </p:cNvPr>
          <p:cNvSpPr>
            <a:spLocks noGrp="1"/>
          </p:cNvSpPr>
          <p:nvPr>
            <p:ph type="ftr" sz="quarter" idx="4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33FBEE-4D8A-4BBC-BED4-6B8C65554058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FA66C05-7AC3-4FDC-8A1C-A3C4D6899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0401" y="1242000"/>
            <a:ext cx="4568390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7990" y="2326966"/>
            <a:ext cx="4550800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box to the baseline of the title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9E8A1F14-DE97-4901-A101-7CF2C02AFD8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583680" y="380998"/>
            <a:ext cx="5608320" cy="5664202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3" name="Text Box Pink">
            <a:extLst>
              <a:ext uri="{FF2B5EF4-FFF2-40B4-BE49-F238E27FC236}">
                <a16:creationId xmlns:a16="http://schemas.microsoft.com/office/drawing/2014/main" id="{D6DD7FE1-AF8C-43EE-8718-18B16CDDDFC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89013" y="4004769"/>
            <a:ext cx="7262812" cy="2040432"/>
          </a:xfrm>
          <a:solidFill>
            <a:schemeClr val="accent4"/>
          </a:solidFill>
        </p:spPr>
        <p:txBody>
          <a:bodyPr lIns="378000" tIns="252000"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0" name="Number 1">
            <a:extLst>
              <a:ext uri="{FF2B5EF4-FFF2-40B4-BE49-F238E27FC236}">
                <a16:creationId xmlns:a16="http://schemas.microsoft.com/office/drawing/2014/main" id="{BE035340-E0E4-40E5-9D16-EA5E5415630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390556" y="4839872"/>
            <a:ext cx="1943194" cy="1046440"/>
          </a:xfrm>
        </p:spPr>
        <p:txBody>
          <a:bodyPr wrap="square">
            <a:sp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Insert description</a:t>
            </a:r>
          </a:p>
        </p:txBody>
      </p:sp>
      <p:sp>
        <p:nvSpPr>
          <p:cNvPr id="31" name="Number 2">
            <a:extLst>
              <a:ext uri="{FF2B5EF4-FFF2-40B4-BE49-F238E27FC236}">
                <a16:creationId xmlns:a16="http://schemas.microsoft.com/office/drawing/2014/main" id="{3A0D13C5-80E7-44F5-8E56-5B25C10F89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660691" y="4839872"/>
            <a:ext cx="1943194" cy="1046440"/>
          </a:xfrm>
        </p:spPr>
        <p:txBody>
          <a:bodyPr wrap="square">
            <a:sp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Insert description</a:t>
            </a:r>
          </a:p>
        </p:txBody>
      </p:sp>
      <p:sp>
        <p:nvSpPr>
          <p:cNvPr id="32" name="Number 3">
            <a:extLst>
              <a:ext uri="{FF2B5EF4-FFF2-40B4-BE49-F238E27FC236}">
                <a16:creationId xmlns:a16="http://schemas.microsoft.com/office/drawing/2014/main" id="{5962FA73-051F-4E05-B3C3-83C23510572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930826" y="4839872"/>
            <a:ext cx="1943194" cy="1046440"/>
          </a:xfrm>
        </p:spPr>
        <p:txBody>
          <a:bodyPr wrap="square">
            <a:sp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Insert description</a:t>
            </a:r>
          </a:p>
        </p:txBody>
      </p:sp>
    </p:spTree>
    <p:extLst>
      <p:ext uri="{BB962C8B-B14F-4D97-AF65-F5344CB8AC3E}">
        <p14:creationId xmlns:p14="http://schemas.microsoft.com/office/powerpoint/2010/main" val="272888689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379F1A7-4D51-4BE8-B3A7-1CC64C512CD8}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EE4770-356C-495C-85AF-6BE534B686ED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9E8A1F14-DE97-4901-A101-7CF2C02AFD8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2588" y="380998"/>
            <a:ext cx="5225732" cy="5664202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18D0C86-4D41-4EC4-889C-9305DB272C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6000" y="968400"/>
            <a:ext cx="4580750" cy="1235723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ing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65715" y="2056699"/>
            <a:ext cx="4550800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box to the baseline of the title</a:t>
            </a: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6F4CB88F-30B2-41CB-B850-85E297D4B07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54450" y="3646773"/>
            <a:ext cx="2293538" cy="2398427"/>
          </a:xfrm>
          <a:solidFill>
            <a:schemeClr val="tx2">
              <a:lumMod val="20000"/>
              <a:lumOff val="80000"/>
            </a:schemeClr>
          </a:solidFill>
        </p:spPr>
        <p:txBody>
          <a:bodyPr wrap="square" lIns="216000" tIns="540000" rIns="216000" bIns="360000">
            <a:noAutofit/>
          </a:bodyPr>
          <a:lstStyle>
            <a:lvl1pPr algn="ctr">
              <a:spcBef>
                <a:spcPts val="0"/>
              </a:spcBef>
              <a:spcAft>
                <a:spcPts val="900"/>
              </a:spcAft>
              <a:defRPr sz="3600" spc="-100" baseline="0">
                <a:solidFill>
                  <a:schemeClr val="tx1"/>
                </a:solidFill>
              </a:defRPr>
            </a:lvl1pPr>
            <a:lvl2pPr algn="ctr">
              <a:spcBef>
                <a:spcPts val="0"/>
              </a:spcBef>
              <a:defRPr sz="16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E01D7C5-420A-477D-A9B8-EFD12A2ECE6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035162" y="3646773"/>
            <a:ext cx="2293538" cy="2398427"/>
          </a:xfrm>
          <a:solidFill>
            <a:schemeClr val="tx2">
              <a:lumMod val="20000"/>
              <a:lumOff val="80000"/>
            </a:schemeClr>
          </a:solidFill>
        </p:spPr>
        <p:txBody>
          <a:bodyPr wrap="square" lIns="216000" tIns="540000" rIns="216000" bIns="360000">
            <a:noAutofit/>
          </a:bodyPr>
          <a:lstStyle>
            <a:lvl1pPr algn="ctr">
              <a:spcBef>
                <a:spcPts val="0"/>
              </a:spcBef>
              <a:spcAft>
                <a:spcPts val="900"/>
              </a:spcAft>
              <a:defRPr sz="3600" spc="-100" baseline="0">
                <a:solidFill>
                  <a:schemeClr val="tx1"/>
                </a:solidFill>
              </a:defRPr>
            </a:lvl1pPr>
            <a:lvl2pPr algn="ctr">
              <a:spcBef>
                <a:spcPts val="0"/>
              </a:spcBef>
              <a:defRPr sz="16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618F5C1-6661-44AB-813F-9E14D7F3DAA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515874" y="3646773"/>
            <a:ext cx="2293538" cy="2398427"/>
          </a:xfrm>
          <a:solidFill>
            <a:schemeClr val="tx2">
              <a:lumMod val="20000"/>
              <a:lumOff val="80000"/>
            </a:schemeClr>
          </a:solidFill>
        </p:spPr>
        <p:txBody>
          <a:bodyPr wrap="square" lIns="216000" tIns="540000" rIns="216000" bIns="360000">
            <a:noAutofit/>
          </a:bodyPr>
          <a:lstStyle>
            <a:lvl1pPr algn="ctr">
              <a:spcBef>
                <a:spcPts val="0"/>
              </a:spcBef>
              <a:spcAft>
                <a:spcPts val="900"/>
              </a:spcAft>
              <a:defRPr sz="3600" spc="-100" baseline="0">
                <a:solidFill>
                  <a:schemeClr val="tx1"/>
                </a:solidFill>
              </a:defRPr>
            </a:lvl1pPr>
            <a:lvl2pPr algn="ctr">
              <a:spcBef>
                <a:spcPts val="0"/>
              </a:spcBef>
              <a:defRPr sz="16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777652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Graphik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</a:t>
            </a:r>
            <a:br>
              <a:rPr lang="en-GB"/>
            </a:br>
            <a:r>
              <a:rPr lang="en-GB"/>
              <a:t>Last name 21pt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</a:t>
            </a:r>
            <a:br>
              <a:rPr lang="en-GB"/>
            </a:br>
            <a:r>
              <a:rPr lang="en-GB"/>
              <a:t>Last name 21pt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</a:t>
            </a:r>
            <a:br>
              <a:rPr lang="en-GB"/>
            </a:br>
            <a:r>
              <a:rPr lang="en-GB"/>
              <a:t>Last name 21pt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</a:t>
            </a:r>
            <a:br>
              <a:rPr lang="en-GB"/>
            </a:br>
            <a:r>
              <a:rPr lang="en-GB"/>
              <a:t>Last name 21pt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22020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08006D-1E6A-408B-8FC0-515FD89484A1}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B3FF11B-6FC9-4423-BE4A-8DAE25D6A124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7F50FD2-A261-478F-A1BA-755C2FD50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6799" y="968400"/>
            <a:ext cx="435227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6932" y="2052365"/>
            <a:ext cx="4323475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box to the baseline of the title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9E8A1F14-DE97-4901-A101-7CF2C02AFD8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550923" y="380998"/>
            <a:ext cx="5258486" cy="5664202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6F4CB88F-30B2-41CB-B850-85E297D4B07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6863" y="3646773"/>
            <a:ext cx="2293538" cy="2398427"/>
          </a:xfrm>
          <a:solidFill>
            <a:schemeClr val="accent1"/>
          </a:solidFill>
        </p:spPr>
        <p:txBody>
          <a:bodyPr wrap="square" lIns="216000" tIns="540000" rIns="216000" bIns="360000">
            <a:noAutofit/>
          </a:bodyPr>
          <a:lstStyle>
            <a:lvl1pPr algn="ctr">
              <a:spcBef>
                <a:spcPts val="0"/>
              </a:spcBef>
              <a:spcAft>
                <a:spcPts val="900"/>
              </a:spcAft>
              <a:defRPr sz="3600" spc="-100" baseline="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defRPr sz="1600">
                <a:solidFill>
                  <a:schemeClr val="bg1"/>
                </a:solidFill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E01D7C5-420A-477D-A9B8-EFD12A2ECE6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477575" y="3646773"/>
            <a:ext cx="2293538" cy="2398427"/>
          </a:xfrm>
          <a:solidFill>
            <a:schemeClr val="accent2"/>
          </a:solidFill>
        </p:spPr>
        <p:txBody>
          <a:bodyPr wrap="square" lIns="216000" tIns="540000" rIns="216000" bIns="360000">
            <a:noAutofit/>
          </a:bodyPr>
          <a:lstStyle>
            <a:lvl1pPr algn="ctr">
              <a:spcBef>
                <a:spcPts val="0"/>
              </a:spcBef>
              <a:spcAft>
                <a:spcPts val="900"/>
              </a:spcAft>
              <a:defRPr sz="3600" spc="-100" baseline="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defRPr sz="1600">
                <a:solidFill>
                  <a:schemeClr val="bg1"/>
                </a:solidFill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618F5C1-6661-44AB-813F-9E14D7F3DAA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958287" y="3646773"/>
            <a:ext cx="2293538" cy="2398427"/>
          </a:xfrm>
          <a:solidFill>
            <a:schemeClr val="accent3"/>
          </a:solidFill>
        </p:spPr>
        <p:txBody>
          <a:bodyPr wrap="square" lIns="216000" tIns="540000" rIns="216000" bIns="360000">
            <a:noAutofit/>
          </a:bodyPr>
          <a:lstStyle>
            <a:lvl1pPr algn="ctr">
              <a:spcBef>
                <a:spcPts val="0"/>
              </a:spcBef>
              <a:spcAft>
                <a:spcPts val="900"/>
              </a:spcAft>
              <a:defRPr sz="3600" spc="-100" baseline="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defRPr sz="1600">
                <a:solidFill>
                  <a:schemeClr val="bg1"/>
                </a:solidFill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86085363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– Coloured boxes">
    <p:bg>
      <p:bgPr>
        <a:solidFill>
          <a:schemeClr val="bg2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ray Rectangle">
            <a:extLst>
              <a:ext uri="{FF2B5EF4-FFF2-40B4-BE49-F238E27FC236}">
                <a16:creationId xmlns:a16="http://schemas.microsoft.com/office/drawing/2014/main" id="{33E93F7C-EB71-4525-B706-B14348BFA0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0"/>
            <a:ext cx="12192000" cy="3185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548BD682-9BEE-4E9B-858B-207C0FCA64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89751" y="0"/>
            <a:ext cx="5302250" cy="3185048"/>
          </a:xfrm>
          <a:custGeom>
            <a:avLst/>
            <a:gdLst>
              <a:gd name="connsiteX0" fmla="*/ 0 w 12192000"/>
              <a:gd name="connsiteY0" fmla="*/ 0 h 6042025"/>
              <a:gd name="connsiteX1" fmla="*/ 12192000 w 12192000"/>
              <a:gd name="connsiteY1" fmla="*/ 0 h 6042025"/>
              <a:gd name="connsiteX2" fmla="*/ 12192000 w 12192000"/>
              <a:gd name="connsiteY2" fmla="*/ 2719985 h 6042025"/>
              <a:gd name="connsiteX3" fmla="*/ 12192000 w 12192000"/>
              <a:gd name="connsiteY3" fmla="*/ 4097867 h 6042025"/>
              <a:gd name="connsiteX4" fmla="*/ 12192000 w 12192000"/>
              <a:gd name="connsiteY4" fmla="*/ 6042025 h 6042025"/>
              <a:gd name="connsiteX5" fmla="*/ 6096000 w 12192000"/>
              <a:gd name="connsiteY5" fmla="*/ 6042025 h 6042025"/>
              <a:gd name="connsiteX6" fmla="*/ 3677175 w 12192000"/>
              <a:gd name="connsiteY6" fmla="*/ 6042025 h 6042025"/>
              <a:gd name="connsiteX7" fmla="*/ 0 w 12192000"/>
              <a:gd name="connsiteY7" fmla="*/ 6042025 h 6042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042025">
                <a:moveTo>
                  <a:pt x="0" y="0"/>
                </a:moveTo>
                <a:lnTo>
                  <a:pt x="12192000" y="0"/>
                </a:lnTo>
                <a:lnTo>
                  <a:pt x="12192000" y="2719985"/>
                </a:lnTo>
                <a:lnTo>
                  <a:pt x="12192000" y="4097867"/>
                </a:lnTo>
                <a:lnTo>
                  <a:pt x="12192000" y="6042025"/>
                </a:lnTo>
                <a:lnTo>
                  <a:pt x="6096000" y="6042025"/>
                </a:lnTo>
                <a:lnTo>
                  <a:pt x="3677175" y="6042025"/>
                </a:lnTo>
                <a:lnTo>
                  <a:pt x="0" y="60420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0" anchor="ctr">
            <a:noAutofit/>
          </a:bodyPr>
          <a:lstStyle>
            <a:lvl1pPr algn="ctr">
              <a:defRPr sz="1600"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CA"/>
              <a:t>Click on the icon or drag image </a:t>
            </a:r>
            <a:br>
              <a:rPr lang="en-CA"/>
            </a:br>
            <a:r>
              <a:rPr lang="en-CA"/>
              <a:t>to insert an image 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8202DC-BD85-4057-8EE6-46C1257260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65000"/>
                  </a:schemeClr>
                </a:solidFill>
              </a:defRPr>
            </a:lvl1pPr>
          </a:lstStyle>
          <a:p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7858F-BEE2-4253-AA3B-243147EF46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65000"/>
                  </a:schemeClr>
                </a:solidFill>
              </a:defRPr>
            </a:lvl1pPr>
          </a:lstStyle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86D72CE8-2096-401A-8F33-896196EDD9D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0000" y="1124467"/>
            <a:ext cx="5924913" cy="1029476"/>
          </a:xfrm>
          <a:prstGeom prst="rect">
            <a:avLst/>
          </a:prstGeom>
        </p:spPr>
        <p:txBody>
          <a:bodyPr wrap="square" lIns="0" tIns="288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box </a:t>
            </a:r>
            <a:br>
              <a:rPr lang="en-US"/>
            </a:br>
            <a:r>
              <a:rPr lang="en-US"/>
              <a:t>to the baseline of the tit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A91DF20-8916-4706-B993-984BE2F1C5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400" y="637200"/>
            <a:ext cx="5945692" cy="609398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469E896-18D5-4F0C-B489-63D7E5BBD87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33750" y="3620492"/>
            <a:ext cx="2664000" cy="2418763"/>
          </a:xfrm>
          <a:solidFill>
            <a:schemeClr val="accent1"/>
          </a:solidFill>
        </p:spPr>
        <p:txBody>
          <a:bodyPr lIns="288000" tIns="216000" rIns="216000" bIns="216000"/>
          <a:lstStyle>
            <a:lvl1pPr>
              <a:spcAft>
                <a:spcPts val="60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6F7F064C-B5F0-4964-BABE-C748F857184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9581" y="3620492"/>
            <a:ext cx="2664000" cy="2418763"/>
          </a:xfrm>
          <a:solidFill>
            <a:schemeClr val="accent2"/>
          </a:solidFill>
        </p:spPr>
        <p:txBody>
          <a:bodyPr lIns="288000" tIns="216000" rIns="216000" bIns="216000"/>
          <a:lstStyle>
            <a:lvl1pPr>
              <a:spcAft>
                <a:spcPts val="60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C9EAEEF7-EB01-4A93-BAB6-6384465915C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145413" y="3620492"/>
            <a:ext cx="2664000" cy="2418763"/>
          </a:xfrm>
          <a:solidFill>
            <a:schemeClr val="accent3"/>
          </a:solidFill>
        </p:spPr>
        <p:txBody>
          <a:bodyPr lIns="288000" tIns="216000" rIns="216000" bIns="216000"/>
          <a:lstStyle>
            <a:lvl1pPr>
              <a:spcAft>
                <a:spcPts val="60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82AEA5E-BB6F-4953-AF10-776888ABE16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1000" y="3620492"/>
            <a:ext cx="2573338" cy="2419401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subheading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7330153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FAF7FA-51CB-4C45-B852-E5D4A69E3ABE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39A4C0-DCA9-4AA0-B014-2C1CF255E757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Gray Rectangle">
            <a:extLst>
              <a:ext uri="{FF2B5EF4-FFF2-40B4-BE49-F238E27FC236}">
                <a16:creationId xmlns:a16="http://schemas.microsoft.com/office/drawing/2014/main" id="{088C38D8-C195-4F4A-9AD9-7825090A4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5907088" cy="60451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D92366-BFC6-42B1-96B2-942558B31A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242000"/>
            <a:ext cx="4348675" cy="1235723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ing</a:t>
            </a:r>
          </a:p>
        </p:txBody>
      </p:sp>
      <p:sp>
        <p:nvSpPr>
          <p:cNvPr id="42" name="Subtitle">
            <a:extLst>
              <a:ext uri="{FF2B5EF4-FFF2-40B4-BE49-F238E27FC236}">
                <a16:creationId xmlns:a16="http://schemas.microsoft.com/office/drawing/2014/main" id="{CF4107E0-F85D-4A92-990E-C9906D31DA8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7990" y="2326966"/>
            <a:ext cx="4318083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box to the baseline of the title</a:t>
            </a:r>
          </a:p>
        </p:txBody>
      </p:sp>
      <p:sp>
        <p:nvSpPr>
          <p:cNvPr id="40" name="Intro">
            <a:extLst>
              <a:ext uri="{FF2B5EF4-FFF2-40B4-BE49-F238E27FC236}">
                <a16:creationId xmlns:a16="http://schemas.microsoft.com/office/drawing/2014/main" id="{2E19E323-10AD-4643-A829-6B25A54B79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5600" y="3699840"/>
            <a:ext cx="4323475" cy="1710360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F4F22FB1-4DF6-42D5-B610-FC9BBED623E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92216" y="561718"/>
            <a:ext cx="2188210" cy="1413386"/>
          </a:xfrm>
        </p:spPr>
        <p:txBody>
          <a:bodyPr/>
          <a:lstStyle>
            <a:lvl1pPr>
              <a:spcBef>
                <a:spcPts val="0"/>
              </a:spcBef>
              <a:defRPr sz="3600" spc="-100" baseline="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spcAft>
                <a:spcPts val="0"/>
              </a:spcAft>
              <a:defRPr sz="1800">
                <a:latin typeface="+mj-lt"/>
              </a:defRPr>
            </a:lvl2pPr>
            <a:lvl3pPr marL="0" indent="0">
              <a:spcBef>
                <a:spcPts val="600"/>
              </a:spcBef>
              <a:buNone/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0495C1B-A5D1-4405-8819-1AEC43EA715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92216" y="2508908"/>
            <a:ext cx="2188210" cy="1413386"/>
          </a:xfrm>
        </p:spPr>
        <p:txBody>
          <a:bodyPr/>
          <a:lstStyle>
            <a:lvl1pPr>
              <a:spcBef>
                <a:spcPts val="0"/>
              </a:spcBef>
              <a:defRPr sz="3600" spc="-100" baseline="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spcAft>
                <a:spcPts val="0"/>
              </a:spcAft>
              <a:defRPr sz="1800">
                <a:latin typeface="+mj-lt"/>
              </a:defRPr>
            </a:lvl2pPr>
            <a:lvl3pPr marL="0" indent="0">
              <a:spcBef>
                <a:spcPts val="600"/>
              </a:spcBef>
              <a:buNone/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6DAAD467-8106-45B7-AD91-0CB71ED57AC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92216" y="4456097"/>
            <a:ext cx="2188210" cy="1413386"/>
          </a:xfrm>
        </p:spPr>
        <p:txBody>
          <a:bodyPr/>
          <a:lstStyle>
            <a:lvl1pPr>
              <a:spcBef>
                <a:spcPts val="0"/>
              </a:spcBef>
              <a:defRPr sz="3600" spc="-100" baseline="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spcAft>
                <a:spcPts val="0"/>
              </a:spcAft>
              <a:defRPr sz="1800">
                <a:latin typeface="+mj-lt"/>
              </a:defRPr>
            </a:lvl2pPr>
            <a:lvl3pPr marL="0" indent="0">
              <a:spcBef>
                <a:spcPts val="600"/>
              </a:spcBef>
              <a:buNone/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Picture Placeholder 10">
            <a:extLst>
              <a:ext uri="{FF2B5EF4-FFF2-40B4-BE49-F238E27FC236}">
                <a16:creationId xmlns:a16="http://schemas.microsoft.com/office/drawing/2014/main" id="{8BCDEAEF-7DEA-4B4D-A726-9985898298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865554" y="-1"/>
            <a:ext cx="3326446" cy="6045199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</p:spTree>
    <p:extLst>
      <p:ext uri="{BB962C8B-B14F-4D97-AF65-F5344CB8AC3E}">
        <p14:creationId xmlns:p14="http://schemas.microsoft.com/office/powerpoint/2010/main" val="2822435446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9472E65-76F6-4D1B-8D74-03BBE8739E82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B5C97F-1306-485C-8D2D-2A62B2D6B9B5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37E6E7-523E-4589-A290-0C5F085F6B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242000"/>
            <a:ext cx="4568390" cy="1235723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ing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CBF82C2E-0185-410D-86F4-33D03F05AA1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7990" y="2326966"/>
            <a:ext cx="4550800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box to the baseline of the tit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84912" y="0"/>
            <a:ext cx="5907087" cy="3993642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67453239-6DE4-4D50-B746-516850BED98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6313" y="4487143"/>
            <a:ext cx="2963862" cy="1558058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E99EE0A-0457-4F59-BA0D-48B9EEDBAC5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419601" y="4487143"/>
            <a:ext cx="2963862" cy="1558058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4875639-9DEF-4F0D-B860-8406748A594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862888" y="4487143"/>
            <a:ext cx="2963862" cy="1558058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14783222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695DDD-B943-4106-AA65-9D8861BB2990}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829D4E-7EA7-49EA-BF1A-56919FD3563C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F636F11D-E48D-49A6-BB73-FDEA9FDFC8B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1"/>
            <a:ext cx="2679700" cy="6045200"/>
          </a:xfrm>
          <a:custGeom>
            <a:avLst/>
            <a:gdLst>
              <a:gd name="connsiteX0" fmla="*/ 0 w 5299075"/>
              <a:gd name="connsiteY0" fmla="*/ 0 h 6874525"/>
              <a:gd name="connsiteX1" fmla="*/ 5299075 w 5299075"/>
              <a:gd name="connsiteY1" fmla="*/ 0 h 6874525"/>
              <a:gd name="connsiteX2" fmla="*/ 5299075 w 5299075"/>
              <a:gd name="connsiteY2" fmla="*/ 462776 h 6874525"/>
              <a:gd name="connsiteX3" fmla="*/ 5299075 w 5299075"/>
              <a:gd name="connsiteY3" fmla="*/ 2606040 h 6874525"/>
              <a:gd name="connsiteX4" fmla="*/ 5299075 w 5299075"/>
              <a:gd name="connsiteY4" fmla="*/ 3526971 h 6874525"/>
              <a:gd name="connsiteX5" fmla="*/ 5299075 w 5299075"/>
              <a:gd name="connsiteY5" fmla="*/ 3530827 h 6874525"/>
              <a:gd name="connsiteX6" fmla="*/ 5299075 w 5299075"/>
              <a:gd name="connsiteY6" fmla="*/ 6058582 h 6874525"/>
              <a:gd name="connsiteX7" fmla="*/ 5299075 w 5299075"/>
              <a:gd name="connsiteY7" fmla="*/ 6311900 h 6874525"/>
              <a:gd name="connsiteX8" fmla="*/ 5299075 w 5299075"/>
              <a:gd name="connsiteY8" fmla="*/ 6395224 h 6874525"/>
              <a:gd name="connsiteX9" fmla="*/ 5299075 w 5299075"/>
              <a:gd name="connsiteY9" fmla="*/ 6874525 h 6874525"/>
              <a:gd name="connsiteX10" fmla="*/ 0 w 5299075"/>
              <a:gd name="connsiteY10" fmla="*/ 6874525 h 687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99075" h="6874525">
                <a:moveTo>
                  <a:pt x="0" y="0"/>
                </a:moveTo>
                <a:lnTo>
                  <a:pt x="5299075" y="0"/>
                </a:lnTo>
                <a:lnTo>
                  <a:pt x="5299075" y="462776"/>
                </a:lnTo>
                <a:lnTo>
                  <a:pt x="5299075" y="2606040"/>
                </a:lnTo>
                <a:lnTo>
                  <a:pt x="5299075" y="3526971"/>
                </a:lnTo>
                <a:lnTo>
                  <a:pt x="5299075" y="3530827"/>
                </a:lnTo>
                <a:lnTo>
                  <a:pt x="5299075" y="6058582"/>
                </a:lnTo>
                <a:lnTo>
                  <a:pt x="5299075" y="6311900"/>
                </a:lnTo>
                <a:lnTo>
                  <a:pt x="5299075" y="6395224"/>
                </a:lnTo>
                <a:lnTo>
                  <a:pt x="5299075" y="6874525"/>
                </a:lnTo>
                <a:lnTo>
                  <a:pt x="0" y="6874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F854F4-6B35-4AD5-9689-9E250518A1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1200" y="637200"/>
            <a:ext cx="8474066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BB74AEE9-AA21-448A-B0DE-BE562378E1B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312080" y="1720800"/>
            <a:ext cx="8474066" cy="587441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to the baseline of the title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0EB93430-BE2C-484C-A61F-42B341860A3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19586" y="2938904"/>
            <a:ext cx="2566035" cy="1891714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415CA21-78F8-4A21-A8C3-EFC62B6B6E3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303406" y="2938904"/>
            <a:ext cx="2566034" cy="1891714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E8CAB09-976A-476A-A6AB-41E26C10C37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236074" y="2938904"/>
            <a:ext cx="2566033" cy="1891714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Box Outline">
            <a:extLst>
              <a:ext uri="{FF2B5EF4-FFF2-40B4-BE49-F238E27FC236}">
                <a16:creationId xmlns:a16="http://schemas.microsoft.com/office/drawing/2014/main" id="{ACB3F843-DC36-4BE8-9CD0-75E23E161B0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339464" y="5217201"/>
            <a:ext cx="8469942" cy="828000"/>
          </a:xfrm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lIns="216000" tIns="126000" rIns="216000" bIns="144000" anchor="ctr">
            <a:noAutofit/>
          </a:bodyPr>
          <a:lstStyle>
            <a:lvl1pPr algn="ctr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8556447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B1F386-7C51-4C45-B212-885D2A976F4B}"/>
              </a:ext>
            </a:extLst>
          </p:cNvPr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7B991E-C5E1-443C-B89B-1AEAB49BCAC0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F636F11D-E48D-49A6-BB73-FDEA9FDFC8B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1"/>
            <a:ext cx="2687637" cy="6045200"/>
          </a:xfrm>
          <a:custGeom>
            <a:avLst/>
            <a:gdLst>
              <a:gd name="connsiteX0" fmla="*/ 0 w 5299075"/>
              <a:gd name="connsiteY0" fmla="*/ 0 h 6874525"/>
              <a:gd name="connsiteX1" fmla="*/ 5299075 w 5299075"/>
              <a:gd name="connsiteY1" fmla="*/ 0 h 6874525"/>
              <a:gd name="connsiteX2" fmla="*/ 5299075 w 5299075"/>
              <a:gd name="connsiteY2" fmla="*/ 462776 h 6874525"/>
              <a:gd name="connsiteX3" fmla="*/ 5299075 w 5299075"/>
              <a:gd name="connsiteY3" fmla="*/ 2606040 h 6874525"/>
              <a:gd name="connsiteX4" fmla="*/ 5299075 w 5299075"/>
              <a:gd name="connsiteY4" fmla="*/ 3526971 h 6874525"/>
              <a:gd name="connsiteX5" fmla="*/ 5299075 w 5299075"/>
              <a:gd name="connsiteY5" fmla="*/ 3530827 h 6874525"/>
              <a:gd name="connsiteX6" fmla="*/ 5299075 w 5299075"/>
              <a:gd name="connsiteY6" fmla="*/ 6058582 h 6874525"/>
              <a:gd name="connsiteX7" fmla="*/ 5299075 w 5299075"/>
              <a:gd name="connsiteY7" fmla="*/ 6311900 h 6874525"/>
              <a:gd name="connsiteX8" fmla="*/ 5299075 w 5299075"/>
              <a:gd name="connsiteY8" fmla="*/ 6395224 h 6874525"/>
              <a:gd name="connsiteX9" fmla="*/ 5299075 w 5299075"/>
              <a:gd name="connsiteY9" fmla="*/ 6874525 h 6874525"/>
              <a:gd name="connsiteX10" fmla="*/ 0 w 5299075"/>
              <a:gd name="connsiteY10" fmla="*/ 6874525 h 687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99075" h="6874525">
                <a:moveTo>
                  <a:pt x="0" y="0"/>
                </a:moveTo>
                <a:lnTo>
                  <a:pt x="5299075" y="0"/>
                </a:lnTo>
                <a:lnTo>
                  <a:pt x="5299075" y="462776"/>
                </a:lnTo>
                <a:lnTo>
                  <a:pt x="5299075" y="2606040"/>
                </a:lnTo>
                <a:lnTo>
                  <a:pt x="5299075" y="3526971"/>
                </a:lnTo>
                <a:lnTo>
                  <a:pt x="5299075" y="3530827"/>
                </a:lnTo>
                <a:lnTo>
                  <a:pt x="5299075" y="6058582"/>
                </a:lnTo>
                <a:lnTo>
                  <a:pt x="5299075" y="6311900"/>
                </a:lnTo>
                <a:lnTo>
                  <a:pt x="5299075" y="6395224"/>
                </a:lnTo>
                <a:lnTo>
                  <a:pt x="5299075" y="6874525"/>
                </a:lnTo>
                <a:lnTo>
                  <a:pt x="0" y="6874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3B2E8-5A76-4339-85A0-5EE062C26D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1200" y="637200"/>
            <a:ext cx="8497413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D0818C70-A8E1-4BE4-9EF2-0E79CEB29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312000" y="1720800"/>
            <a:ext cx="8474066" cy="587441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to the baseline of the title</a:t>
            </a:r>
          </a:p>
        </p:txBody>
      </p:sp>
      <p:sp>
        <p:nvSpPr>
          <p:cNvPr id="18" name="Text Box Outline">
            <a:extLst>
              <a:ext uri="{FF2B5EF4-FFF2-40B4-BE49-F238E27FC236}">
                <a16:creationId xmlns:a16="http://schemas.microsoft.com/office/drawing/2014/main" id="{ACB3F843-DC36-4BE8-9CD0-75E23E161B0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333750" y="2938904"/>
            <a:ext cx="8475656" cy="531005"/>
          </a:xfr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lIns="216000" tIns="46800" rIns="216000" bIns="72000" anchor="ctr"/>
          <a:lstStyle>
            <a:lvl1pPr algn="ctr"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0EB93430-BE2C-484C-A61F-42B341860A3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20922" y="3765932"/>
            <a:ext cx="2573338" cy="2279268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415CA21-78F8-4A21-A8C3-EFC62B6B6E3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88434" y="3765932"/>
            <a:ext cx="2573338" cy="2279268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C5B3EEB-A720-46C4-B1C0-98B1CC7D390D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9236068" y="3765932"/>
            <a:ext cx="2573338" cy="2279268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7314808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012F46-A652-4E56-B846-13A98FBE50A7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C4A338-4FC6-4744-A010-C0489FB46027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378713-D495-46EE-AB11-18653C864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637200"/>
            <a:ext cx="10267472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GB" noProof="0"/>
              <a:t>Click to edit </a:t>
            </a:r>
            <a:br>
              <a:rPr lang="en-GB" noProof="0"/>
            </a:br>
            <a:r>
              <a:rPr lang="en-GB" noProof="0"/>
              <a:t>Master title style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D85BC76-D2C9-4CFF-A7FA-7DB0AFCF210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8400" y="1720800"/>
            <a:ext cx="10222926" cy="587441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to the baseline of the title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B7EE782C-8446-4AFD-B545-FCDF40B298B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79034" y="3007329"/>
            <a:ext cx="3096000" cy="3037871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defRPr sz="1800">
                <a:latin typeface="+mj-lt"/>
              </a:defRPr>
            </a:lvl2pPr>
            <a:lvl3pPr marL="0" indent="0">
              <a:buNone/>
              <a:defRPr sz="1600"/>
            </a:lvl3pPr>
            <a:lvl4pPr marL="180000">
              <a:buFont typeface="Arial" panose="020B0604020202020204" pitchFamily="34" charset="0"/>
              <a:buChar char="•"/>
              <a:defRPr sz="1400"/>
            </a:lvl4pPr>
            <a:lvl5pPr marL="360000">
              <a:buFont typeface="Graphik" panose="020B0503030202060203" pitchFamily="34" charset="0"/>
              <a:buChar char="–"/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C23EA49-AEA1-4C32-96BA-752F8DD5BA6D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540581" y="3007329"/>
            <a:ext cx="3096000" cy="3037871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defRPr sz="1800">
                <a:latin typeface="+mj-lt"/>
              </a:defRPr>
            </a:lvl2pPr>
            <a:lvl3pPr marL="0" indent="0">
              <a:buNone/>
              <a:defRPr sz="1600"/>
            </a:lvl3pPr>
            <a:lvl4pPr marL="180000">
              <a:buFont typeface="Arial" panose="020B0604020202020204" pitchFamily="34" charset="0"/>
              <a:buChar char="•"/>
              <a:defRPr sz="1400"/>
            </a:lvl4pPr>
            <a:lvl5pPr marL="360000">
              <a:buFont typeface="Graphik" panose="020B0503030202060203" pitchFamily="34" charset="0"/>
              <a:buChar char="–"/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7986D32E-7F95-46A6-A9CF-88828652E1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02129" y="3007329"/>
            <a:ext cx="3096000" cy="3037871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defRPr sz="1800">
                <a:latin typeface="+mj-lt"/>
              </a:defRPr>
            </a:lvl2pPr>
            <a:lvl3pPr marL="0" indent="0">
              <a:buNone/>
              <a:defRPr sz="1600"/>
            </a:lvl3pPr>
            <a:lvl4pPr marL="180000">
              <a:buFont typeface="Arial" panose="020B0604020202020204" pitchFamily="34" charset="0"/>
              <a:buChar char="•"/>
              <a:defRPr sz="1400"/>
            </a:lvl4pPr>
            <a:lvl5pPr marL="360000">
              <a:buFont typeface="Graphik" panose="020B0503030202060203" pitchFamily="34" charset="0"/>
              <a:buChar char="–"/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 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03206517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D857C6-9531-41DC-95F2-74C8A3025EC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D3FF4E-2EF4-47FB-8B71-C2754BB30B0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A07D8F-267A-446B-81D1-9F0CDD44C7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637200"/>
            <a:ext cx="5684283" cy="1173931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CA"/>
          </a:p>
        </p:txBody>
      </p:sp>
      <p:sp>
        <p:nvSpPr>
          <p:cNvPr id="9" name="Subhead 1">
            <a:extLst>
              <a:ext uri="{FF2B5EF4-FFF2-40B4-BE49-F238E27FC236}">
                <a16:creationId xmlns:a16="http://schemas.microsoft.com/office/drawing/2014/main" id="{288190E5-A9A0-4886-81ED-8EDB327973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6048" y="2488327"/>
            <a:ext cx="1978290" cy="56706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ADDC2BD0-72F3-4F13-BD42-91D7F47C67C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33750" y="2488327"/>
            <a:ext cx="3292026" cy="738000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Subhead 2">
            <a:extLst>
              <a:ext uri="{FF2B5EF4-FFF2-40B4-BE49-F238E27FC236}">
                <a16:creationId xmlns:a16="http://schemas.microsoft.com/office/drawing/2014/main" id="{FE07F338-3FE3-47CA-86B4-2979E33318A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6048" y="3761447"/>
            <a:ext cx="1978290" cy="56706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1C05BFC5-DF6F-4F48-BDCB-DD85F99785E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33750" y="3761447"/>
            <a:ext cx="3292026" cy="738000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Subhead 3">
            <a:extLst>
              <a:ext uri="{FF2B5EF4-FFF2-40B4-BE49-F238E27FC236}">
                <a16:creationId xmlns:a16="http://schemas.microsoft.com/office/drawing/2014/main" id="{2546D444-21B9-426C-9561-2DE1FA685CF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6048" y="5035132"/>
            <a:ext cx="1978290" cy="56706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4A4B90C-0353-4459-AADD-3DFE57988F8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33750" y="5035132"/>
            <a:ext cx="3292026" cy="738000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06B18972-9F9D-423C-B01B-F02B13A8FC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67576" y="381001"/>
            <a:ext cx="4924424" cy="5675312"/>
          </a:xfrm>
          <a:custGeom>
            <a:avLst/>
            <a:gdLst>
              <a:gd name="connsiteX0" fmla="*/ 0 w 3662594"/>
              <a:gd name="connsiteY0" fmla="*/ 0 h 5335588"/>
              <a:gd name="connsiteX1" fmla="*/ 3662594 w 3662594"/>
              <a:gd name="connsiteY1" fmla="*/ 0 h 5335588"/>
              <a:gd name="connsiteX2" fmla="*/ 3662594 w 3662594"/>
              <a:gd name="connsiteY2" fmla="*/ 5335588 h 5335588"/>
              <a:gd name="connsiteX3" fmla="*/ 0 w 3662594"/>
              <a:gd name="connsiteY3" fmla="*/ 5335588 h 5335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62594" h="5335588">
                <a:moveTo>
                  <a:pt x="0" y="0"/>
                </a:moveTo>
                <a:lnTo>
                  <a:pt x="3662594" y="0"/>
                </a:lnTo>
                <a:lnTo>
                  <a:pt x="3662594" y="5335588"/>
                </a:lnTo>
                <a:lnTo>
                  <a:pt x="0" y="533558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720000" tIns="0" rIns="720000" bIns="900000" rtlCol="0" anchor="ctr" anchorCtr="0">
            <a:noAutofit/>
          </a:bodyPr>
          <a:lstStyle>
            <a:lvl1pPr algn="ctr">
              <a:spcBef>
                <a:spcPts val="0"/>
              </a:spcBef>
              <a:defRPr lang="en-US" sz="1600" b="0" cap="none" baseline="0">
                <a:latin typeface="+mn-lt"/>
              </a:defRPr>
            </a:lvl1pPr>
          </a:lstStyle>
          <a:p>
            <a:pPr lvl="0" algn="ctr"/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</p:spTree>
    <p:extLst>
      <p:ext uri="{BB962C8B-B14F-4D97-AF65-F5344CB8AC3E}">
        <p14:creationId xmlns:p14="http://schemas.microsoft.com/office/powerpoint/2010/main" val="1250736513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AF44A47-0853-4092-8C0B-9948AEADEE9E}"/>
              </a:ext>
            </a:extLst>
          </p:cNvPr>
          <p:cNvSpPr>
            <a:spLocks noGrp="1"/>
          </p:cNvSpPr>
          <p:nvPr>
            <p:ph type="ftr" sz="quarter" idx="52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A74DC1-E546-4B0E-A050-E70998A0DEE8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89F76DE-6E26-47B4-8AA4-4A0DDB4C2F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242000"/>
            <a:ext cx="4348675" cy="1235723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ing</a:t>
            </a:r>
          </a:p>
        </p:txBody>
      </p:sp>
      <p:sp>
        <p:nvSpPr>
          <p:cNvPr id="30" name="Subtitle">
            <a:extLst>
              <a:ext uri="{FF2B5EF4-FFF2-40B4-BE49-F238E27FC236}">
                <a16:creationId xmlns:a16="http://schemas.microsoft.com/office/drawing/2014/main" id="{C6E9A4D5-22E1-4D71-99AB-16BFECBB0F2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8400" y="2326966"/>
            <a:ext cx="4318083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box to the baseline of the title</a:t>
            </a:r>
          </a:p>
        </p:txBody>
      </p:sp>
      <p:sp>
        <p:nvSpPr>
          <p:cNvPr id="28" name="Intro">
            <a:extLst>
              <a:ext uri="{FF2B5EF4-FFF2-40B4-BE49-F238E27FC236}">
                <a16:creationId xmlns:a16="http://schemas.microsoft.com/office/drawing/2014/main" id="{DC9E15B9-6DB0-4FD5-ADA0-0247D37E488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5600" y="3699840"/>
            <a:ext cx="4323475" cy="1710360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AAA8E35D-3807-4495-BC60-8CA44709194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86501" y="1261481"/>
            <a:ext cx="5522912" cy="14040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sz="1800"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sz="1600">
                <a:solidFill>
                  <a:schemeClr val="tx1"/>
                </a:solidFill>
              </a:defRPr>
            </a:lvl3pPr>
            <a:lvl4pPr marL="179388" indent="-179388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34DB32E-E037-46DB-9B62-BCD847D17F9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286501" y="2951340"/>
            <a:ext cx="5522912" cy="14040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sz="1800"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sz="1600">
                <a:solidFill>
                  <a:schemeClr val="tx1"/>
                </a:solidFill>
              </a:defRPr>
            </a:lvl3pPr>
            <a:lvl4pPr marL="179388" indent="-179388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2E448C1-11F9-47EB-9B40-067E33DB866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286501" y="4641199"/>
            <a:ext cx="5522912" cy="14040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sz="1800"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sz="1600">
                <a:solidFill>
                  <a:schemeClr val="tx1"/>
                </a:solidFill>
              </a:defRPr>
            </a:lvl3pPr>
            <a:lvl4pPr marL="179388" indent="-179388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66958870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12 – Gray BG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C193716-28FF-479E-9174-CDD3C844511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07972F-2570-4F54-8917-F3D36BD05D1C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White Rectangle">
            <a:extLst>
              <a:ext uri="{FF2B5EF4-FFF2-40B4-BE49-F238E27FC236}">
                <a16:creationId xmlns:a16="http://schemas.microsoft.com/office/drawing/2014/main" id="{04C26DF2-351D-4910-9424-AF51F5555A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V="1">
            <a:off x="0" y="-1"/>
            <a:ext cx="12192000" cy="2232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82B553-5E70-422E-A74D-C564BEC1CC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559" y="637200"/>
            <a:ext cx="8515692" cy="609398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D0818C70-A8E1-4BE4-9EF2-0E79CEB29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600" y="1115682"/>
            <a:ext cx="8477250" cy="587441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to the baseline of the title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C2F83E09-434A-46ED-8062-10EA264DDE0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381000" y="2709575"/>
            <a:ext cx="2574000" cy="3335626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9F41220-34A1-4C17-AFB5-81703BBC8CF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3332163" y="2709575"/>
            <a:ext cx="2574000" cy="3335626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DE66BBF-34DA-4C40-A906-1CEB3530D898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6283325" y="2709575"/>
            <a:ext cx="2574000" cy="3335626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12">
            <a:extLst>
              <a:ext uri="{FF2B5EF4-FFF2-40B4-BE49-F238E27FC236}">
                <a16:creationId xmlns:a16="http://schemas.microsoft.com/office/drawing/2014/main" id="{0CB9A052-5BC2-4570-8E48-9E4E1E374B2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512300" y="1"/>
            <a:ext cx="2679700" cy="6045200"/>
          </a:xfrm>
          <a:custGeom>
            <a:avLst/>
            <a:gdLst>
              <a:gd name="connsiteX0" fmla="*/ 0 w 5299075"/>
              <a:gd name="connsiteY0" fmla="*/ 0 h 6874525"/>
              <a:gd name="connsiteX1" fmla="*/ 5299075 w 5299075"/>
              <a:gd name="connsiteY1" fmla="*/ 0 h 6874525"/>
              <a:gd name="connsiteX2" fmla="*/ 5299075 w 5299075"/>
              <a:gd name="connsiteY2" fmla="*/ 462776 h 6874525"/>
              <a:gd name="connsiteX3" fmla="*/ 5299075 w 5299075"/>
              <a:gd name="connsiteY3" fmla="*/ 2606040 h 6874525"/>
              <a:gd name="connsiteX4" fmla="*/ 5299075 w 5299075"/>
              <a:gd name="connsiteY4" fmla="*/ 3526971 h 6874525"/>
              <a:gd name="connsiteX5" fmla="*/ 5299075 w 5299075"/>
              <a:gd name="connsiteY5" fmla="*/ 3530827 h 6874525"/>
              <a:gd name="connsiteX6" fmla="*/ 5299075 w 5299075"/>
              <a:gd name="connsiteY6" fmla="*/ 6058582 h 6874525"/>
              <a:gd name="connsiteX7" fmla="*/ 5299075 w 5299075"/>
              <a:gd name="connsiteY7" fmla="*/ 6311900 h 6874525"/>
              <a:gd name="connsiteX8" fmla="*/ 5299075 w 5299075"/>
              <a:gd name="connsiteY8" fmla="*/ 6395224 h 6874525"/>
              <a:gd name="connsiteX9" fmla="*/ 5299075 w 5299075"/>
              <a:gd name="connsiteY9" fmla="*/ 6874525 h 6874525"/>
              <a:gd name="connsiteX10" fmla="*/ 0 w 5299075"/>
              <a:gd name="connsiteY10" fmla="*/ 6874525 h 687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99075" h="6874525">
                <a:moveTo>
                  <a:pt x="0" y="0"/>
                </a:moveTo>
                <a:lnTo>
                  <a:pt x="5299075" y="0"/>
                </a:lnTo>
                <a:lnTo>
                  <a:pt x="5299075" y="462776"/>
                </a:lnTo>
                <a:lnTo>
                  <a:pt x="5299075" y="2606040"/>
                </a:lnTo>
                <a:lnTo>
                  <a:pt x="5299075" y="3526971"/>
                </a:lnTo>
                <a:lnTo>
                  <a:pt x="5299075" y="3530827"/>
                </a:lnTo>
                <a:lnTo>
                  <a:pt x="5299075" y="6058582"/>
                </a:lnTo>
                <a:lnTo>
                  <a:pt x="5299075" y="6311900"/>
                </a:lnTo>
                <a:lnTo>
                  <a:pt x="5299075" y="6395224"/>
                </a:lnTo>
                <a:lnTo>
                  <a:pt x="5299075" y="6874525"/>
                </a:lnTo>
                <a:lnTo>
                  <a:pt x="0" y="6874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</p:spTree>
    <p:extLst>
      <p:ext uri="{BB962C8B-B14F-4D97-AF65-F5344CB8AC3E}">
        <p14:creationId xmlns:p14="http://schemas.microsoft.com/office/powerpoint/2010/main" val="34995598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GB"/>
              <a:t>Add profile photo</a:t>
            </a:r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48757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13 –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F00153-1F4E-433B-B0EB-BAA34B0646D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E3F74D-A8EB-4656-8DBD-3667F4334B7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FFF3DE60-5763-49F9-84D4-EFD70139DD3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1" cy="29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F31FD4-855B-4349-9E82-D5835AAED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941" y="1241571"/>
            <a:ext cx="4950134" cy="137321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265EE99B-7D41-4CCA-91D9-6FD7ECA1D20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8000" y="3429000"/>
            <a:ext cx="3562175" cy="2616200"/>
          </a:xfrm>
          <a:prstGeom prst="rect">
            <a:avLst/>
          </a:prstGeom>
        </p:spPr>
        <p:txBody>
          <a:bodyPr/>
          <a:lstStyle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7258DFF-A625-4112-A1D7-CD60B75D46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1706" y="3429000"/>
            <a:ext cx="3562176" cy="2616200"/>
          </a:xfrm>
          <a:prstGeom prst="rect">
            <a:avLst/>
          </a:prstGeom>
        </p:spPr>
        <p:txBody>
          <a:bodyPr/>
          <a:lstStyle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C73FB5C-1A7B-4515-A52C-BD3419BDAE4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45413" y="3429000"/>
            <a:ext cx="3564000" cy="2616200"/>
          </a:xfrm>
          <a:prstGeom prst="rect">
            <a:avLst/>
          </a:prstGeom>
        </p:spPr>
        <p:txBody>
          <a:bodyPr/>
          <a:lstStyle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80691106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4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84E7D0-87FC-4F3B-8DD9-161C4B425DCD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E3E40F-2BE1-4D5A-8763-3B5BB9DE964D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Light Purple Rectangle">
            <a:extLst>
              <a:ext uri="{FF2B5EF4-FFF2-40B4-BE49-F238E27FC236}">
                <a16:creationId xmlns:a16="http://schemas.microsoft.com/office/drawing/2014/main" id="{96E14F27-AA10-4B32-BA5D-0F489A2974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V="1">
            <a:off x="0" y="0"/>
            <a:ext cx="12192000" cy="3831771"/>
          </a:xfrm>
          <a:prstGeom prst="rect">
            <a:avLst/>
          </a:prstGeom>
          <a:solidFill>
            <a:srgbClr val="E6D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9" name="Picture Placeholder 10">
            <a:extLst>
              <a:ext uri="{FF2B5EF4-FFF2-40B4-BE49-F238E27FC236}">
                <a16:creationId xmlns:a16="http://schemas.microsoft.com/office/drawing/2014/main" id="{E25F343A-BD96-478B-9D27-9385E063222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96686" y="0"/>
            <a:ext cx="10797042" cy="4470399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F613719-29A0-42FE-A53F-47079E5DB4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610" y="2723205"/>
            <a:ext cx="5565140" cy="1218795"/>
          </a:xfrm>
        </p:spPr>
        <p:txBody>
          <a:bodyPr wrap="square" anchor="b">
            <a:sp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5" name="Data 1">
            <a:extLst>
              <a:ext uri="{FF2B5EF4-FFF2-40B4-BE49-F238E27FC236}">
                <a16:creationId xmlns:a16="http://schemas.microsoft.com/office/drawing/2014/main" id="{D5F7423A-C156-451D-9C9E-2EDC1F743600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365250" y="4944617"/>
            <a:ext cx="2160001" cy="877163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6" name="Data 2">
            <a:extLst>
              <a:ext uri="{FF2B5EF4-FFF2-40B4-BE49-F238E27FC236}">
                <a16:creationId xmlns:a16="http://schemas.microsoft.com/office/drawing/2014/main" id="{26E48632-4F9B-47B7-B3CB-9A5200BC107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815287" y="4944617"/>
            <a:ext cx="2160001" cy="877163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7" name="Data 3">
            <a:extLst>
              <a:ext uri="{FF2B5EF4-FFF2-40B4-BE49-F238E27FC236}">
                <a16:creationId xmlns:a16="http://schemas.microsoft.com/office/drawing/2014/main" id="{DAB895C0-9FA9-4CA4-B7C7-F104A08D860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5324" y="4944617"/>
            <a:ext cx="2160001" cy="877163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8" name="Data 4">
            <a:extLst>
              <a:ext uri="{FF2B5EF4-FFF2-40B4-BE49-F238E27FC236}">
                <a16:creationId xmlns:a16="http://schemas.microsoft.com/office/drawing/2014/main" id="{3208D640-E4FD-4EAB-B10B-A6E5EEDB223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715360" y="4944617"/>
            <a:ext cx="2160001" cy="877163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</p:spTree>
    <p:extLst>
      <p:ext uri="{BB962C8B-B14F-4D97-AF65-F5344CB8AC3E}">
        <p14:creationId xmlns:p14="http://schemas.microsoft.com/office/powerpoint/2010/main" val="3611081423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Keypoints 4.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84E7D0-87FC-4F3B-8DD9-161C4B425DCD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E3E40F-2BE1-4D5A-8763-3B5BB9DE964D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Light Purple Rectangle">
            <a:extLst>
              <a:ext uri="{FF2B5EF4-FFF2-40B4-BE49-F238E27FC236}">
                <a16:creationId xmlns:a16="http://schemas.microsoft.com/office/drawing/2014/main" id="{96E14F27-AA10-4B32-BA5D-0F489A2974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V="1">
            <a:off x="0" y="-1"/>
            <a:ext cx="12192000" cy="27903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9" name="Picture Placeholder 10">
            <a:extLst>
              <a:ext uri="{FF2B5EF4-FFF2-40B4-BE49-F238E27FC236}">
                <a16:creationId xmlns:a16="http://schemas.microsoft.com/office/drawing/2014/main" id="{E25F343A-BD96-478B-9D27-9385E063222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96686" y="-1"/>
            <a:ext cx="10797042" cy="3429001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F613719-29A0-42FE-A53F-47079E5DB4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610" y="1681806"/>
            <a:ext cx="5565140" cy="1218795"/>
          </a:xfrm>
        </p:spPr>
        <p:txBody>
          <a:bodyPr wrap="square" anchor="b">
            <a:sp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5" name="Data 1">
            <a:extLst>
              <a:ext uri="{FF2B5EF4-FFF2-40B4-BE49-F238E27FC236}">
                <a16:creationId xmlns:a16="http://schemas.microsoft.com/office/drawing/2014/main" id="{D5F7423A-C156-451D-9C9E-2EDC1F743600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365250" y="3903218"/>
            <a:ext cx="2160001" cy="877163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6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6" name="Data 2">
            <a:extLst>
              <a:ext uri="{FF2B5EF4-FFF2-40B4-BE49-F238E27FC236}">
                <a16:creationId xmlns:a16="http://schemas.microsoft.com/office/drawing/2014/main" id="{26E48632-4F9B-47B7-B3CB-9A5200BC107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815287" y="3903218"/>
            <a:ext cx="2160001" cy="877163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6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7" name="Data 3">
            <a:extLst>
              <a:ext uri="{FF2B5EF4-FFF2-40B4-BE49-F238E27FC236}">
                <a16:creationId xmlns:a16="http://schemas.microsoft.com/office/drawing/2014/main" id="{DAB895C0-9FA9-4CA4-B7C7-F104A08D860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5324" y="3903218"/>
            <a:ext cx="2160001" cy="877163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6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8" name="Data 4">
            <a:extLst>
              <a:ext uri="{FF2B5EF4-FFF2-40B4-BE49-F238E27FC236}">
                <a16:creationId xmlns:a16="http://schemas.microsoft.com/office/drawing/2014/main" id="{3208D640-E4FD-4EAB-B10B-A6E5EEDB223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715360" y="3903218"/>
            <a:ext cx="2160001" cy="877163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6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</p:spTree>
    <p:extLst>
      <p:ext uri="{BB962C8B-B14F-4D97-AF65-F5344CB8AC3E}">
        <p14:creationId xmlns:p14="http://schemas.microsoft.com/office/powerpoint/2010/main" val="378443076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4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974500F-D063-410C-913B-62296FB49028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10D3B2-01B4-44F2-877B-6B1EC8693D4C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CF46535-8F00-4D94-AFB4-399EC6D561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242000"/>
            <a:ext cx="4348675" cy="1235723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ing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773AF740-11B6-44C7-A036-474FFE0164F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8400" y="2326966"/>
            <a:ext cx="4318083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box to the baseline of the tit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84912" y="0"/>
            <a:ext cx="5907087" cy="3993642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13" name="Data 1">
            <a:extLst>
              <a:ext uri="{FF2B5EF4-FFF2-40B4-BE49-F238E27FC236}">
                <a16:creationId xmlns:a16="http://schemas.microsoft.com/office/drawing/2014/main" id="{A7B35483-9664-4971-B461-F3FA29B379D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75599" y="4594225"/>
            <a:ext cx="2340000" cy="907941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6" name="Data 2">
            <a:extLst>
              <a:ext uri="{FF2B5EF4-FFF2-40B4-BE49-F238E27FC236}">
                <a16:creationId xmlns:a16="http://schemas.microsoft.com/office/drawing/2014/main" id="{AF437EFF-827A-4978-ADC3-29F74E3E56D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603150" y="4594225"/>
            <a:ext cx="2340000" cy="907941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7" name="Data 3">
            <a:extLst>
              <a:ext uri="{FF2B5EF4-FFF2-40B4-BE49-F238E27FC236}">
                <a16:creationId xmlns:a16="http://schemas.microsoft.com/office/drawing/2014/main" id="{EED434CE-5226-4D3C-B6E1-58B6CCB825E5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30701" y="4594225"/>
            <a:ext cx="2340000" cy="907941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8" name="Data 4">
            <a:extLst>
              <a:ext uri="{FF2B5EF4-FFF2-40B4-BE49-F238E27FC236}">
                <a16:creationId xmlns:a16="http://schemas.microsoft.com/office/drawing/2014/main" id="{B0382F0B-565B-460E-AF17-61421E74545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858251" y="4594225"/>
            <a:ext cx="2340000" cy="907941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</p:spTree>
    <p:extLst>
      <p:ext uri="{BB962C8B-B14F-4D97-AF65-F5344CB8AC3E}">
        <p14:creationId xmlns:p14="http://schemas.microsoft.com/office/powerpoint/2010/main" val="49266126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4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AB9223-4C8A-4218-B0EA-3D166049E8C8}"/>
              </a:ext>
            </a:extLst>
          </p:cNvPr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7C060A4-1768-4940-A27E-11DB0E261D38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253276-BD3A-49C3-BC22-542602D3D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964800"/>
            <a:ext cx="4367691" cy="1235723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ing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8400" y="2058572"/>
            <a:ext cx="4353291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box to the baseline of the title</a:t>
            </a:r>
          </a:p>
        </p:txBody>
      </p:sp>
      <p:sp>
        <p:nvSpPr>
          <p:cNvPr id="28" name="Text Placeholder 1">
            <a:extLst>
              <a:ext uri="{FF2B5EF4-FFF2-40B4-BE49-F238E27FC236}">
                <a16:creationId xmlns:a16="http://schemas.microsoft.com/office/drawing/2014/main" id="{FEA7B89F-0365-49C3-BB30-028CD4CEA8E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75601" y="3472488"/>
            <a:ext cx="1978738" cy="838691"/>
          </a:xfrm>
        </p:spPr>
        <p:txBody>
          <a:bodyPr wrap="square">
            <a:spAutoFit/>
          </a:bodyPr>
          <a:lstStyle>
            <a:lvl1pPr>
              <a:defRPr sz="3600" spc="-100" baseline="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49F21BA8-DB4A-4DBF-818A-2CF22C8659E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333750" y="3472488"/>
            <a:ext cx="1978738" cy="838691"/>
          </a:xfrm>
        </p:spPr>
        <p:txBody>
          <a:bodyPr wrap="square">
            <a:spAutoFit/>
          </a:bodyPr>
          <a:lstStyle>
            <a:lvl1pPr>
              <a:defRPr sz="3600" spc="-100" baseline="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DD36713-7F2A-41C6-97CF-497DFA8D94B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75601" y="4858228"/>
            <a:ext cx="1978738" cy="838691"/>
          </a:xfrm>
        </p:spPr>
        <p:txBody>
          <a:bodyPr wrap="square">
            <a:spAutoFit/>
          </a:bodyPr>
          <a:lstStyle>
            <a:lvl1pPr>
              <a:defRPr sz="3600" spc="-100" baseline="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6EABF0EB-DCBD-4EED-AEDB-E0340346D46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33750" y="4858228"/>
            <a:ext cx="1978738" cy="838691"/>
          </a:xfrm>
        </p:spPr>
        <p:txBody>
          <a:bodyPr wrap="square">
            <a:spAutoFit/>
          </a:bodyPr>
          <a:lstStyle>
            <a:lvl1pPr>
              <a:defRPr sz="3600" spc="-100" baseline="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96270" y="380999"/>
            <a:ext cx="5006717" cy="5664199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32" name="Short statement">
            <a:extLst>
              <a:ext uri="{FF2B5EF4-FFF2-40B4-BE49-F238E27FC236}">
                <a16:creationId xmlns:a16="http://schemas.microsoft.com/office/drawing/2014/main" id="{C67664D1-DE76-4555-82F8-60FE3C6ADF8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478838" y="4663827"/>
            <a:ext cx="3330575" cy="1381373"/>
          </a:xfrm>
          <a:solidFill>
            <a:schemeClr val="accent4"/>
          </a:solidFill>
        </p:spPr>
        <p:txBody>
          <a:bodyPr lIns="252000" tIns="252000" rIns="252000" bIns="252000" anchor="ctr"/>
          <a:lstStyle>
            <a:lvl1pPr algn="l"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Insert short statement in Graphik Semibold maximum three lines</a:t>
            </a:r>
          </a:p>
        </p:txBody>
      </p:sp>
    </p:spTree>
    <p:extLst>
      <p:ext uri="{BB962C8B-B14F-4D97-AF65-F5344CB8AC3E}">
        <p14:creationId xmlns:p14="http://schemas.microsoft.com/office/powerpoint/2010/main" val="4150457060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4.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BC801E-CC0A-4968-8910-1EE5B325583F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960197-DD77-4806-A07B-92117D4E634C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82B553-5E70-422E-A74D-C564BEC1CC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558" y="637200"/>
            <a:ext cx="10484191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D0818C70-A8E1-4BE4-9EF2-0E79CEB29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599" y="1719628"/>
            <a:ext cx="10463149" cy="587441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to the baseline of the title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0EB93430-BE2C-484C-A61F-42B341860A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74827" y="3007301"/>
            <a:ext cx="2579511" cy="1906846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954320D-A1AC-4268-B869-1D9F66C66B6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22840" y="3007301"/>
            <a:ext cx="2581200" cy="1906846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6E7F0ED-00C8-45CF-8E49-AB38DE18640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75590" y="3007301"/>
            <a:ext cx="2581200" cy="1906846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DA6628F-4C88-47B4-9221-6B4155A57B8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28340" y="3007301"/>
            <a:ext cx="2581200" cy="1906846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Text Box Outline">
            <a:extLst>
              <a:ext uri="{FF2B5EF4-FFF2-40B4-BE49-F238E27FC236}">
                <a16:creationId xmlns:a16="http://schemas.microsoft.com/office/drawing/2014/main" id="{ACB3F843-DC36-4BE8-9CD0-75E23E161B0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5495564"/>
            <a:ext cx="11428406" cy="549636"/>
          </a:xfrm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lIns="216000" tIns="126000" rIns="216000" bIns="144000" anchor="ctr">
            <a:spAutoFit/>
          </a:bodyPr>
          <a:lstStyle>
            <a:lvl1pPr algn="ctr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9397251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4.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9F7C3D-DE1D-45C3-8FEB-0530656BAE98}"/>
              </a:ext>
            </a:extLst>
          </p:cNvPr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E72000-54E2-4676-917B-741ECA627B87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82B553-5E70-422E-A74D-C564BEC1CC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3396" y="637200"/>
            <a:ext cx="10483353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D0818C70-A8E1-4BE4-9EF2-0E79CEB29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599" y="1719629"/>
            <a:ext cx="10463149" cy="587441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to the baseline of the title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0EB93430-BE2C-484C-A61F-42B341860A3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70755" y="3047493"/>
            <a:ext cx="2581200" cy="1906846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415CA21-78F8-4A21-A8C3-EFC62B6B6E3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323487" y="3047493"/>
            <a:ext cx="2581200" cy="1906846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E8CAB09-976A-476A-A6AB-41E26C10C37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76033" y="3047493"/>
            <a:ext cx="2581200" cy="1906846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E625A0A-996E-459E-B204-F1FF451D43B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9227196" y="3047493"/>
            <a:ext cx="2581200" cy="1906846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6" name="Text Box Outline">
            <a:extLst>
              <a:ext uri="{FF2B5EF4-FFF2-40B4-BE49-F238E27FC236}">
                <a16:creationId xmlns:a16="http://schemas.microsoft.com/office/drawing/2014/main" id="{2702ADDD-4A95-4935-834E-F7E3B64DB29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5495564"/>
            <a:ext cx="11428406" cy="549636"/>
          </a:xfrm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lIns="216000" tIns="126000" rIns="216000" bIns="144000" anchor="ctr">
            <a:spAutoFit/>
          </a:bodyPr>
          <a:lstStyle>
            <a:lvl1pPr algn="ctr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7626677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4.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ray BG">
            <a:extLst>
              <a:ext uri="{FF2B5EF4-FFF2-40B4-BE49-F238E27FC236}">
                <a16:creationId xmlns:a16="http://schemas.microsoft.com/office/drawing/2014/main" id="{088C38D8-C195-4F4A-9AD9-7825090A4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FEF6F34-3BB6-4163-977B-BD11B6F03547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207F4E-3BCB-4B39-8E85-60A649E5104F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C087033-57CB-4BDF-8EC2-D0B88355B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242000"/>
            <a:ext cx="4348675" cy="1235723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ing</a:t>
            </a: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022FAAB-7C8D-4B15-94F8-4607E2839D6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8400" y="2331300"/>
            <a:ext cx="4318083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box to the baseline of the title</a:t>
            </a:r>
          </a:p>
        </p:txBody>
      </p:sp>
      <p:sp>
        <p:nvSpPr>
          <p:cNvPr id="27" name="Intro">
            <a:extLst>
              <a:ext uri="{FF2B5EF4-FFF2-40B4-BE49-F238E27FC236}">
                <a16:creationId xmlns:a16="http://schemas.microsoft.com/office/drawing/2014/main" id="{8C78743F-8F68-4E91-B8C9-DFBA0B31F2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5600" y="3699840"/>
            <a:ext cx="4323475" cy="1710360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4206FD20-71FF-49A6-89F0-4A56FAEACE9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669575" y="1127322"/>
            <a:ext cx="2188676" cy="1906846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04AE50B-705B-4022-9315-51B68F117CE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30787" y="1127322"/>
            <a:ext cx="2188676" cy="1906846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2BA98F49-E609-4758-9336-AFE59BE884D8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669575" y="3639357"/>
            <a:ext cx="2188676" cy="1906846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CC51C1C2-2BF2-4F56-8C05-29B600FD868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430787" y="3639357"/>
            <a:ext cx="2188676" cy="1906846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5330504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4.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319020D-88F5-40CF-BFD3-CB98083094D1}"/>
              </a:ext>
            </a:extLst>
          </p:cNvPr>
          <p:cNvSpPr>
            <a:spLocks noGrp="1"/>
          </p:cNvSpPr>
          <p:nvPr>
            <p:ph type="ftr" sz="quarter" idx="5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504987-9D5D-47C0-8FC5-5D900E849C58}"/>
              </a:ext>
            </a:extLst>
          </p:cNvPr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A66E28-1ADB-4AA5-8159-B5B227967D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242000"/>
            <a:ext cx="4348675" cy="1235723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ing</a:t>
            </a:r>
          </a:p>
        </p:txBody>
      </p:sp>
      <p:sp>
        <p:nvSpPr>
          <p:cNvPr id="31" name="Subtitle">
            <a:extLst>
              <a:ext uri="{FF2B5EF4-FFF2-40B4-BE49-F238E27FC236}">
                <a16:creationId xmlns:a16="http://schemas.microsoft.com/office/drawing/2014/main" id="{7AAAF536-B1CB-4611-97AE-6979EAF092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8400" y="2331300"/>
            <a:ext cx="4318083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box to the baseline of the title</a:t>
            </a:r>
          </a:p>
        </p:txBody>
      </p:sp>
      <p:sp>
        <p:nvSpPr>
          <p:cNvPr id="29" name="Intro">
            <a:extLst>
              <a:ext uri="{FF2B5EF4-FFF2-40B4-BE49-F238E27FC236}">
                <a16:creationId xmlns:a16="http://schemas.microsoft.com/office/drawing/2014/main" id="{AD13162D-D51A-4A4B-A4B0-2F32971847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5600" y="3699840"/>
            <a:ext cx="4323475" cy="1710360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62B544E1-F6E5-492F-8ABF-32BDE50981EA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286500" y="1246732"/>
            <a:ext cx="2555875" cy="218226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9BC2C64-D418-45DD-ADC0-312F5EC3D299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6286500" y="3862076"/>
            <a:ext cx="2555875" cy="218226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CDE60AE-410D-4C08-9511-7FA99F06BB23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9237662" y="1246732"/>
            <a:ext cx="2555875" cy="218226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DECF142-EC2E-429C-8CF8-E709B5AA1052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237662" y="3862076"/>
            <a:ext cx="2555875" cy="218226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7735193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4.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A363C6-3889-47F1-BB81-286AE660B496}"/>
              </a:ext>
            </a:extLst>
          </p:cNvPr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584623-BDD1-425A-B4EC-C9752E0AAA23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2707D39A-7BC0-4578-8E28-8F9273306AF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7998" y="381599"/>
            <a:ext cx="4921077" cy="5663601"/>
          </a:xfrm>
          <a:custGeom>
            <a:avLst/>
            <a:gdLst>
              <a:gd name="connsiteX0" fmla="*/ 0 w 5299075"/>
              <a:gd name="connsiteY0" fmla="*/ 0 h 6874525"/>
              <a:gd name="connsiteX1" fmla="*/ 5299075 w 5299075"/>
              <a:gd name="connsiteY1" fmla="*/ 0 h 6874525"/>
              <a:gd name="connsiteX2" fmla="*/ 5299075 w 5299075"/>
              <a:gd name="connsiteY2" fmla="*/ 462776 h 6874525"/>
              <a:gd name="connsiteX3" fmla="*/ 5299075 w 5299075"/>
              <a:gd name="connsiteY3" fmla="*/ 2606040 h 6874525"/>
              <a:gd name="connsiteX4" fmla="*/ 5299075 w 5299075"/>
              <a:gd name="connsiteY4" fmla="*/ 3526971 h 6874525"/>
              <a:gd name="connsiteX5" fmla="*/ 5299075 w 5299075"/>
              <a:gd name="connsiteY5" fmla="*/ 3530827 h 6874525"/>
              <a:gd name="connsiteX6" fmla="*/ 5299075 w 5299075"/>
              <a:gd name="connsiteY6" fmla="*/ 6058582 h 6874525"/>
              <a:gd name="connsiteX7" fmla="*/ 5299075 w 5299075"/>
              <a:gd name="connsiteY7" fmla="*/ 6311900 h 6874525"/>
              <a:gd name="connsiteX8" fmla="*/ 5299075 w 5299075"/>
              <a:gd name="connsiteY8" fmla="*/ 6395224 h 6874525"/>
              <a:gd name="connsiteX9" fmla="*/ 5299075 w 5299075"/>
              <a:gd name="connsiteY9" fmla="*/ 6874525 h 6874525"/>
              <a:gd name="connsiteX10" fmla="*/ 0 w 5299075"/>
              <a:gd name="connsiteY10" fmla="*/ 6874525 h 687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99075" h="6874525">
                <a:moveTo>
                  <a:pt x="0" y="0"/>
                </a:moveTo>
                <a:lnTo>
                  <a:pt x="5299075" y="0"/>
                </a:lnTo>
                <a:lnTo>
                  <a:pt x="5299075" y="462776"/>
                </a:lnTo>
                <a:lnTo>
                  <a:pt x="5299075" y="2606040"/>
                </a:lnTo>
                <a:lnTo>
                  <a:pt x="5299075" y="3526971"/>
                </a:lnTo>
                <a:lnTo>
                  <a:pt x="5299075" y="3530827"/>
                </a:lnTo>
                <a:lnTo>
                  <a:pt x="5299075" y="6058582"/>
                </a:lnTo>
                <a:lnTo>
                  <a:pt x="5299075" y="6311900"/>
                </a:lnTo>
                <a:lnTo>
                  <a:pt x="5299075" y="6395224"/>
                </a:lnTo>
                <a:lnTo>
                  <a:pt x="5299075" y="6874525"/>
                </a:lnTo>
                <a:lnTo>
                  <a:pt x="0" y="6874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569AB5-623D-481D-9063-98ADEE99F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05499" y="637200"/>
            <a:ext cx="5903913" cy="1218795"/>
          </a:xfrm>
        </p:spPr>
        <p:txBody>
          <a:bodyPr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CA"/>
          </a:p>
        </p:txBody>
      </p:sp>
      <p:sp>
        <p:nvSpPr>
          <p:cNvPr id="18" name="Subhead 1">
            <a:extLst>
              <a:ext uri="{FF2B5EF4-FFF2-40B4-BE49-F238E27FC236}">
                <a16:creationId xmlns:a16="http://schemas.microsoft.com/office/drawing/2014/main" id="{54BFE6EE-1365-4361-90A6-8B1824D238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05499" y="2407358"/>
            <a:ext cx="1968501" cy="56706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CA3F452B-5233-4410-B1D5-66733E1BA7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1825" y="2407358"/>
            <a:ext cx="3557588" cy="763200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Subhead 2">
            <a:extLst>
              <a:ext uri="{FF2B5EF4-FFF2-40B4-BE49-F238E27FC236}">
                <a16:creationId xmlns:a16="http://schemas.microsoft.com/office/drawing/2014/main" id="{EE3E60DC-2FA3-45BF-A036-826B994FF05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905499" y="3370880"/>
            <a:ext cx="1968501" cy="56706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7315CF5-7805-443E-A3BF-9D7AB244C1F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251825" y="3370880"/>
            <a:ext cx="3557588" cy="763200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Subhead 3">
            <a:extLst>
              <a:ext uri="{FF2B5EF4-FFF2-40B4-BE49-F238E27FC236}">
                <a16:creationId xmlns:a16="http://schemas.microsoft.com/office/drawing/2014/main" id="{95DBB09C-8653-406F-8624-E102C2B49EC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905499" y="4334402"/>
            <a:ext cx="1968501" cy="56706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880A5700-1B10-4241-B81C-7BC912E28C54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8251825" y="4334402"/>
            <a:ext cx="3557588" cy="763200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Subhead 4">
            <a:extLst>
              <a:ext uri="{FF2B5EF4-FFF2-40B4-BE49-F238E27FC236}">
                <a16:creationId xmlns:a16="http://schemas.microsoft.com/office/drawing/2014/main" id="{0752C426-53BE-4221-80BF-7A146E6012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905499" y="5297925"/>
            <a:ext cx="1968501" cy="56706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B517634B-4371-468C-A678-2F3C25A5287B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251825" y="5297925"/>
            <a:ext cx="3557588" cy="763200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866598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Add profile photo</a:t>
            </a:r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831692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Keypoints 4.9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BA51948-4A51-4E3C-8A38-8A1ACCA2D785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565F90-8CB7-458A-8CE6-32671DD95D79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Accenture GTS">
            <a:extLst>
              <a:ext uri="{FF2B5EF4-FFF2-40B4-BE49-F238E27FC236}">
                <a16:creationId xmlns:a16="http://schemas.microsoft.com/office/drawing/2014/main" id="{AA497705-64B2-456D-9AF9-66E81BFFDF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482516"/>
            <a:ext cx="190926" cy="201600"/>
          </a:xfrm>
          <a:custGeom>
            <a:avLst/>
            <a:gdLst>
              <a:gd name="connsiteX0" fmla="*/ 0 w 153352"/>
              <a:gd name="connsiteY0" fmla="*/ 114300 h 161925"/>
              <a:gd name="connsiteX1" fmla="*/ 89535 w 153352"/>
              <a:gd name="connsiteY1" fmla="*/ 80963 h 161925"/>
              <a:gd name="connsiteX2" fmla="*/ 0 w 153352"/>
              <a:gd name="connsiteY2" fmla="*/ 46673 h 161925"/>
              <a:gd name="connsiteX3" fmla="*/ 0 w 153352"/>
              <a:gd name="connsiteY3" fmla="*/ 0 h 161925"/>
              <a:gd name="connsiteX4" fmla="*/ 153352 w 153352"/>
              <a:gd name="connsiteY4" fmla="*/ 61913 h 161925"/>
              <a:gd name="connsiteX5" fmla="*/ 153352 w 153352"/>
              <a:gd name="connsiteY5" fmla="*/ 100013 h 161925"/>
              <a:gd name="connsiteX6" fmla="*/ 0 w 153352"/>
              <a:gd name="connsiteY6" fmla="*/ 161925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3352" h="161925">
                <a:moveTo>
                  <a:pt x="0" y="114300"/>
                </a:moveTo>
                <a:lnTo>
                  <a:pt x="89535" y="80963"/>
                </a:lnTo>
                <a:lnTo>
                  <a:pt x="0" y="46673"/>
                </a:lnTo>
                <a:lnTo>
                  <a:pt x="0" y="0"/>
                </a:lnTo>
                <a:lnTo>
                  <a:pt x="153352" y="61913"/>
                </a:lnTo>
                <a:lnTo>
                  <a:pt x="153352" y="100013"/>
                </a:lnTo>
                <a:lnTo>
                  <a:pt x="0" y="161925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CA"/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DB8EA5E2-F665-4C63-B414-F59D255B7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4000" y="980884"/>
            <a:ext cx="10256403" cy="609398"/>
          </a:xfrm>
        </p:spPr>
        <p:txBody>
          <a:bodyPr wrap="square">
            <a:spAutoFit/>
          </a:bodyPr>
          <a:lstStyle>
            <a:lvl1pPr>
              <a:defRPr sz="44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4" name="Intro">
            <a:extLst>
              <a:ext uri="{FF2B5EF4-FFF2-40B4-BE49-F238E27FC236}">
                <a16:creationId xmlns:a16="http://schemas.microsoft.com/office/drawing/2014/main" id="{55A39688-09C1-4B4F-B015-9F5B1E7B86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68400" y="1443038"/>
            <a:ext cx="10226950" cy="2095092"/>
          </a:xfrm>
        </p:spPr>
        <p:txBody>
          <a:bodyPr tIns="396000"/>
          <a:lstStyle>
            <a:lvl1pPr>
              <a:defRPr sz="28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indent="0">
              <a:spcBef>
                <a:spcPts val="1800"/>
              </a:spcBef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Subhead">
            <a:extLst>
              <a:ext uri="{FF2B5EF4-FFF2-40B4-BE49-F238E27FC236}">
                <a16:creationId xmlns:a16="http://schemas.microsoft.com/office/drawing/2014/main" id="{58EB9B8D-1FD1-4787-BF26-304A469310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6048" y="3951876"/>
            <a:ext cx="10226940" cy="276999"/>
          </a:xfrm>
        </p:spPr>
        <p:txBody>
          <a:bodyPr wrap="square" anchor="b">
            <a:spAutoFit/>
          </a:bodyPr>
          <a:lstStyle>
            <a:lvl1pPr>
              <a:defRPr sz="1800">
                <a:solidFill>
                  <a:schemeClr val="accent5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E77D1A00-91CA-4945-9F2D-AED7937695F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76048" y="4543786"/>
            <a:ext cx="2268000" cy="1501413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9E778E-482C-4379-A248-D9D70097CF3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629028" y="4543786"/>
            <a:ext cx="2268000" cy="1501413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C688AA0-BA2E-4492-A759-6E59CDEE4FA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82008" y="4543786"/>
            <a:ext cx="2268000" cy="1501413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18D8972-DDB3-4797-AD40-FD7C87EC77B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934988" y="4543786"/>
            <a:ext cx="2268000" cy="1501413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74134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4.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EA3DBD5-EE62-4630-9B7C-6E6D4825452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67FDE-9CD2-43F1-8832-9B3025300C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F2F7A32-C1EA-4F7E-B0A2-7FCB5BFE90DE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73F0F2-6C5D-4416-BDD2-8002554C06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2625" y="637200"/>
            <a:ext cx="7296660" cy="1286506"/>
          </a:xfrm>
          <a:noFill/>
        </p:spPr>
        <p:txBody>
          <a:bodyPr wrap="square" lIns="0" tIns="0" rIns="0" bIns="0" rtlCol="0">
            <a:spAutoFit/>
          </a:bodyPr>
          <a:lstStyle>
            <a:lvl1pPr>
              <a:lnSpc>
                <a:spcPct val="95000"/>
              </a:lnSpc>
              <a:defRPr lang="en-AU" sz="4400" dirty="0">
                <a:solidFill>
                  <a:schemeClr val="tx1"/>
                </a:solidFill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F8F82CDB-5CCA-4B0D-805E-163CF3061F3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87426" y="2544188"/>
            <a:ext cx="3328988" cy="1372719"/>
          </a:xfrm>
        </p:spPr>
        <p:txBody>
          <a:bodyPr/>
          <a:lstStyle>
            <a:lvl1pPr>
              <a:defRPr sz="1800"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1B4CEB4-85F4-4F90-AB84-FC94B9FD2DC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87426" y="4434228"/>
            <a:ext cx="3328988" cy="1372719"/>
          </a:xfrm>
        </p:spPr>
        <p:txBody>
          <a:bodyPr/>
          <a:lstStyle>
            <a:lvl1pPr>
              <a:defRPr sz="1800"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51FBFD50-A769-45CF-B012-F890866F61F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922839" y="2544188"/>
            <a:ext cx="3326446" cy="1372719"/>
          </a:xfrm>
        </p:spPr>
        <p:txBody>
          <a:bodyPr/>
          <a:lstStyle>
            <a:lvl1pPr>
              <a:defRPr sz="1800"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9F425FD3-9D84-4C9E-8C98-D75AE272EEE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922839" y="4434228"/>
            <a:ext cx="3326446" cy="1372719"/>
          </a:xfrm>
        </p:spPr>
        <p:txBody>
          <a:bodyPr/>
          <a:lstStyle>
            <a:lvl1pPr>
              <a:defRPr sz="1800"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6CF835E0-149F-4B89-B44F-09588C1642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865554" y="-1"/>
            <a:ext cx="3326446" cy="6045199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</p:spTree>
    <p:extLst>
      <p:ext uri="{BB962C8B-B14F-4D97-AF65-F5344CB8AC3E}">
        <p14:creationId xmlns:p14="http://schemas.microsoft.com/office/powerpoint/2010/main" val="3933431980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4.10 –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D9683EE-D5B7-437B-9BC6-4ED631B374D4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3B08FD-3A2E-415F-89C0-74804D3FE651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AAA8BDDE-6F91-4C15-8A57-71AFAFC1135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8647113" cy="6045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l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 and use the crop tool </a:t>
            </a:r>
            <a:br>
              <a:rPr lang="en-US"/>
            </a:br>
            <a:r>
              <a:rPr lang="en-US"/>
              <a:t>to adjust the image cropping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D526E002-E12C-4B7D-A5DB-397B3DED9F7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293041" y="1717676"/>
            <a:ext cx="5907087" cy="4327525"/>
          </a:xfrm>
          <a:solidFill>
            <a:schemeClr val="accent3"/>
          </a:solidFill>
        </p:spPr>
        <p:txBody>
          <a:bodyPr lIns="540000" tIns="503999" rIns="684000" bIns="360000" anchor="t" anchorCtr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1400"/>
              </a:spcAft>
              <a:defRPr sz="4400">
                <a:solidFill>
                  <a:schemeClr val="accent6"/>
                </a:solidFill>
                <a:latin typeface="+mj-lt"/>
              </a:defRPr>
            </a:lvl1pPr>
            <a:lvl2pPr>
              <a:lnSpc>
                <a:spcPct val="105000"/>
              </a:lnSpc>
              <a:spcBef>
                <a:spcPts val="900"/>
              </a:spcBef>
              <a:defRPr sz="2000">
                <a:solidFill>
                  <a:schemeClr val="bg1"/>
                </a:solidFill>
              </a:defRPr>
            </a:lvl2pPr>
            <a:lvl3pPr>
              <a:lnSpc>
                <a:spcPct val="105000"/>
              </a:lnSpc>
              <a:spcBef>
                <a:spcPts val="900"/>
              </a:spcBef>
              <a:defRPr sz="2000">
                <a:solidFill>
                  <a:schemeClr val="bg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heading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022D8E8F-1608-C845-BB89-393FD181AAB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859437" y="3241435"/>
            <a:ext cx="2188676" cy="1077592"/>
          </a:xfrm>
        </p:spPr>
        <p:txBody>
          <a:bodyPr/>
          <a:lstStyle>
            <a:lvl1pPr>
              <a:spcBef>
                <a:spcPts val="600"/>
              </a:spcBef>
              <a:defRPr sz="36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8AD74DF-DB89-BD42-9E5E-AB1F303A215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235084" y="3241435"/>
            <a:ext cx="2188676" cy="1077592"/>
          </a:xfrm>
        </p:spPr>
        <p:txBody>
          <a:bodyPr/>
          <a:lstStyle>
            <a:lvl1pPr>
              <a:spcBef>
                <a:spcPts val="600"/>
              </a:spcBef>
              <a:defRPr sz="36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0D5E02F-B34E-1347-93D2-96431B4A305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859437" y="4551136"/>
            <a:ext cx="2188676" cy="1077592"/>
          </a:xfrm>
        </p:spPr>
        <p:txBody>
          <a:bodyPr/>
          <a:lstStyle>
            <a:lvl1pPr>
              <a:spcBef>
                <a:spcPts val="600"/>
              </a:spcBef>
              <a:defRPr sz="36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0380018-D906-034F-9F75-475A5A1B329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235084" y="4551136"/>
            <a:ext cx="2188676" cy="1077592"/>
          </a:xfrm>
        </p:spPr>
        <p:txBody>
          <a:bodyPr/>
          <a:lstStyle>
            <a:lvl1pPr>
              <a:spcBef>
                <a:spcPts val="600"/>
              </a:spcBef>
              <a:defRPr sz="36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34824065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4.11 –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F00153-1F4E-433B-B0EB-BAA34B0646D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E3F74D-A8EB-4656-8DBD-3667F4334B7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FFF3DE60-5763-49F9-84D4-EFD70139DD3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1" cy="29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F31FD4-855B-4349-9E82-D5835AAED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941" y="1241571"/>
            <a:ext cx="4950134" cy="137321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265EE99B-7D41-4CCA-91D9-6FD7ECA1D20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8001" y="3429000"/>
            <a:ext cx="2576338" cy="2616200"/>
          </a:xfrm>
          <a:prstGeom prst="rect">
            <a:avLst/>
          </a:prstGeom>
        </p:spPr>
        <p:txBody>
          <a:bodyPr/>
          <a:lstStyle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7258DFF-A625-4112-A1D7-CD60B75D46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851" y="3429000"/>
            <a:ext cx="2577600" cy="2616200"/>
          </a:xfrm>
          <a:prstGeom prst="rect">
            <a:avLst/>
          </a:prstGeom>
        </p:spPr>
        <p:txBody>
          <a:bodyPr/>
          <a:lstStyle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C73FB5C-1A7B-4515-A52C-BD3419BDAE4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2963" y="3429000"/>
            <a:ext cx="2577600" cy="2616200"/>
          </a:xfrm>
          <a:prstGeom prst="rect">
            <a:avLst/>
          </a:prstGeom>
        </p:spPr>
        <p:txBody>
          <a:bodyPr/>
          <a:lstStyle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C55067A-6F86-4AFB-8A51-8CF95FDF02B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6075" y="3429000"/>
            <a:ext cx="2577600" cy="2616200"/>
          </a:xfrm>
          <a:prstGeom prst="rect">
            <a:avLst/>
          </a:prstGeom>
        </p:spPr>
        <p:txBody>
          <a:bodyPr/>
          <a:lstStyle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429004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Keypoints 5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B53DE1-1168-425C-BEB2-B8284DE1C26A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036C38-3272-4AD5-AFF4-47797BC69E5D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FD68DD-23BA-47D6-BF81-9AD00B1DE3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242000"/>
            <a:ext cx="4348675" cy="1235723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ing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773AF740-11B6-44C7-A036-474FFE0164F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8400" y="2331300"/>
            <a:ext cx="4318083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box to the baseline of the tit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84912" y="0"/>
            <a:ext cx="5907087" cy="3993642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13" name="Data 1">
            <a:extLst>
              <a:ext uri="{FF2B5EF4-FFF2-40B4-BE49-F238E27FC236}">
                <a16:creationId xmlns:a16="http://schemas.microsoft.com/office/drawing/2014/main" id="{A7B35483-9664-4971-B461-F3FA29B379D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75599" y="4594225"/>
            <a:ext cx="1872000" cy="907941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6" name="Data 2">
            <a:extLst>
              <a:ext uri="{FF2B5EF4-FFF2-40B4-BE49-F238E27FC236}">
                <a16:creationId xmlns:a16="http://schemas.microsoft.com/office/drawing/2014/main" id="{AF437EFF-827A-4978-ADC3-29F74E3E56D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204387" y="4594225"/>
            <a:ext cx="1872000" cy="907941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7" name="Data 3">
            <a:extLst>
              <a:ext uri="{FF2B5EF4-FFF2-40B4-BE49-F238E27FC236}">
                <a16:creationId xmlns:a16="http://schemas.microsoft.com/office/drawing/2014/main" id="{EED434CE-5226-4D3C-B6E1-58B6CCB825E5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433175" y="4594225"/>
            <a:ext cx="1872000" cy="907941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8" name="Data 4">
            <a:extLst>
              <a:ext uri="{FF2B5EF4-FFF2-40B4-BE49-F238E27FC236}">
                <a16:creationId xmlns:a16="http://schemas.microsoft.com/office/drawing/2014/main" id="{B0382F0B-565B-460E-AF17-61421E74545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661963" y="4594225"/>
            <a:ext cx="1872000" cy="907941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2" name="Data 5">
            <a:extLst>
              <a:ext uri="{FF2B5EF4-FFF2-40B4-BE49-F238E27FC236}">
                <a16:creationId xmlns:a16="http://schemas.microsoft.com/office/drawing/2014/main" id="{F1F04D33-B440-43AA-B7CD-B6B2F050B29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890750" y="4594225"/>
            <a:ext cx="1872000" cy="907941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</p:spTree>
    <p:extLst>
      <p:ext uri="{BB962C8B-B14F-4D97-AF65-F5344CB8AC3E}">
        <p14:creationId xmlns:p14="http://schemas.microsoft.com/office/powerpoint/2010/main" val="2904640150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Keypoints 5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E25563-1374-46E4-9F88-D4244714EE8F}"/>
              </a:ext>
            </a:extLst>
          </p:cNvPr>
          <p:cNvSpPr>
            <a:spLocks noGrp="1"/>
          </p:cNvSpPr>
          <p:nvPr>
            <p:ph type="ftr" sz="quarter" idx="4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8D8F868-1528-4B53-837C-488AC81417B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82B553-5E70-422E-A74D-C564BEC1CC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558" y="637200"/>
            <a:ext cx="10484191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D0818C70-A8E1-4BE4-9EF2-0E79CEB29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599" y="1719628"/>
            <a:ext cx="10463150" cy="587441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to the baseline of the title</a:t>
            </a:r>
          </a:p>
        </p:txBody>
      </p:sp>
      <p:sp>
        <p:nvSpPr>
          <p:cNvPr id="4" name="Number 1">
            <a:extLst>
              <a:ext uri="{FF2B5EF4-FFF2-40B4-BE49-F238E27FC236}">
                <a16:creationId xmlns:a16="http://schemas.microsoft.com/office/drawing/2014/main" id="{0EB93430-BE2C-484C-A61F-42B341860A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71331" y="3007301"/>
            <a:ext cx="1980000" cy="1906846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Number 2">
            <a:extLst>
              <a:ext uri="{FF2B5EF4-FFF2-40B4-BE49-F238E27FC236}">
                <a16:creationId xmlns:a16="http://schemas.microsoft.com/office/drawing/2014/main" id="{A954320D-A1AC-4268-B869-1D9F66C66B6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735850" y="3007301"/>
            <a:ext cx="1980000" cy="1906846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Number 3">
            <a:extLst>
              <a:ext uri="{FF2B5EF4-FFF2-40B4-BE49-F238E27FC236}">
                <a16:creationId xmlns:a16="http://schemas.microsoft.com/office/drawing/2014/main" id="{46E7F0ED-00C8-45CF-8E49-AB38DE18640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100369" y="3007301"/>
            <a:ext cx="1980000" cy="1906846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Number 4">
            <a:extLst>
              <a:ext uri="{FF2B5EF4-FFF2-40B4-BE49-F238E27FC236}">
                <a16:creationId xmlns:a16="http://schemas.microsoft.com/office/drawing/2014/main" id="{3DA6628F-4C88-47B4-9221-6B4155A57B8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464888" y="3007301"/>
            <a:ext cx="1980000" cy="1906846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Number 5">
            <a:extLst>
              <a:ext uri="{FF2B5EF4-FFF2-40B4-BE49-F238E27FC236}">
                <a16:creationId xmlns:a16="http://schemas.microsoft.com/office/drawing/2014/main" id="{091A6C23-007D-4FE0-B8A8-6FD520EC8E98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829406" y="3007301"/>
            <a:ext cx="1980000" cy="1906846"/>
          </a:xfrm>
        </p:spPr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Text Box Outline">
            <a:extLst>
              <a:ext uri="{FF2B5EF4-FFF2-40B4-BE49-F238E27FC236}">
                <a16:creationId xmlns:a16="http://schemas.microsoft.com/office/drawing/2014/main" id="{ACB3F843-DC36-4BE8-9CD0-75E23E161B0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5495564"/>
            <a:ext cx="11428406" cy="549636"/>
          </a:xfrm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lIns="216000" tIns="126000" rIns="216000" bIns="144000" anchor="ctr">
            <a:spAutoFit/>
          </a:bodyPr>
          <a:lstStyle>
            <a:lvl1pPr algn="ctr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1783030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Keypoints 5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8EF27C4-7DD5-4223-803A-D7B59051C3B5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56AAA5-7DB6-47B5-A0AD-1CE7A527B2F0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82B553-5E70-422E-A74D-C564BEC1CC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3396" y="637200"/>
            <a:ext cx="10483353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D0818C70-A8E1-4BE4-9EF2-0E79CEB29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599" y="1719629"/>
            <a:ext cx="10463149" cy="587441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to the baseline of the title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0EB93430-BE2C-484C-A61F-42B341860A3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68981" y="3047493"/>
            <a:ext cx="1980000" cy="1906846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415CA21-78F8-4A21-A8C3-EFC62B6B6E3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730834" y="3047493"/>
            <a:ext cx="1980000" cy="1906846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E8CAB09-976A-476A-A6AB-41E26C10C37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092687" y="3047493"/>
            <a:ext cx="1980000" cy="1906846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E625A0A-996E-459E-B204-F1FF451D43B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7454540" y="3047493"/>
            <a:ext cx="1980000" cy="1906846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6E777B3-723D-4903-B34C-017ACFCAC2E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816393" y="3047493"/>
            <a:ext cx="1980000" cy="1906846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 Box Outline">
            <a:extLst>
              <a:ext uri="{FF2B5EF4-FFF2-40B4-BE49-F238E27FC236}">
                <a16:creationId xmlns:a16="http://schemas.microsoft.com/office/drawing/2014/main" id="{2702ADDD-4A95-4935-834E-F7E3B64DB29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5495564"/>
            <a:ext cx="11428406" cy="549636"/>
          </a:xfrm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lIns="216000" tIns="126000" rIns="216000" bIns="144000" anchor="ctr">
            <a:spAutoFit/>
          </a:bodyPr>
          <a:lstStyle>
            <a:lvl1pPr algn="ctr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1112042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Keypoints 6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D61325-855B-4233-972D-3D4BD6236BD1}"/>
              </a:ext>
            </a:extLst>
          </p:cNvPr>
          <p:cNvSpPr>
            <a:spLocks noGrp="1"/>
          </p:cNvSpPr>
          <p:nvPr>
            <p:ph type="ftr" sz="quarter" idx="6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F2E3EB-E48B-4DE2-8387-B0684DA03F52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Picture Placeholder 12">
            <a:extLst>
              <a:ext uri="{FF2B5EF4-FFF2-40B4-BE49-F238E27FC236}">
                <a16:creationId xmlns:a16="http://schemas.microsoft.com/office/drawing/2014/main" id="{0CB9A052-5BC2-4570-8E48-9E4E1E374B2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380999"/>
            <a:ext cx="4316412" cy="5664201"/>
          </a:xfrm>
          <a:custGeom>
            <a:avLst/>
            <a:gdLst>
              <a:gd name="connsiteX0" fmla="*/ 0 w 5299075"/>
              <a:gd name="connsiteY0" fmla="*/ 0 h 6874525"/>
              <a:gd name="connsiteX1" fmla="*/ 5299075 w 5299075"/>
              <a:gd name="connsiteY1" fmla="*/ 0 h 6874525"/>
              <a:gd name="connsiteX2" fmla="*/ 5299075 w 5299075"/>
              <a:gd name="connsiteY2" fmla="*/ 462776 h 6874525"/>
              <a:gd name="connsiteX3" fmla="*/ 5299075 w 5299075"/>
              <a:gd name="connsiteY3" fmla="*/ 2606040 h 6874525"/>
              <a:gd name="connsiteX4" fmla="*/ 5299075 w 5299075"/>
              <a:gd name="connsiteY4" fmla="*/ 3526971 h 6874525"/>
              <a:gd name="connsiteX5" fmla="*/ 5299075 w 5299075"/>
              <a:gd name="connsiteY5" fmla="*/ 3530827 h 6874525"/>
              <a:gd name="connsiteX6" fmla="*/ 5299075 w 5299075"/>
              <a:gd name="connsiteY6" fmla="*/ 6058582 h 6874525"/>
              <a:gd name="connsiteX7" fmla="*/ 5299075 w 5299075"/>
              <a:gd name="connsiteY7" fmla="*/ 6311900 h 6874525"/>
              <a:gd name="connsiteX8" fmla="*/ 5299075 w 5299075"/>
              <a:gd name="connsiteY8" fmla="*/ 6395224 h 6874525"/>
              <a:gd name="connsiteX9" fmla="*/ 5299075 w 5299075"/>
              <a:gd name="connsiteY9" fmla="*/ 6874525 h 6874525"/>
              <a:gd name="connsiteX10" fmla="*/ 0 w 5299075"/>
              <a:gd name="connsiteY10" fmla="*/ 6874525 h 687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99075" h="6874525">
                <a:moveTo>
                  <a:pt x="0" y="0"/>
                </a:moveTo>
                <a:lnTo>
                  <a:pt x="5299075" y="0"/>
                </a:lnTo>
                <a:lnTo>
                  <a:pt x="5299075" y="462776"/>
                </a:lnTo>
                <a:lnTo>
                  <a:pt x="5299075" y="2606040"/>
                </a:lnTo>
                <a:lnTo>
                  <a:pt x="5299075" y="3526971"/>
                </a:lnTo>
                <a:lnTo>
                  <a:pt x="5299075" y="3530827"/>
                </a:lnTo>
                <a:lnTo>
                  <a:pt x="5299075" y="6058582"/>
                </a:lnTo>
                <a:lnTo>
                  <a:pt x="5299075" y="6311900"/>
                </a:lnTo>
                <a:lnTo>
                  <a:pt x="5299075" y="6395224"/>
                </a:lnTo>
                <a:lnTo>
                  <a:pt x="5299075" y="6874525"/>
                </a:lnTo>
                <a:lnTo>
                  <a:pt x="0" y="6874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82B553-5E70-422E-A74D-C564BEC1CC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4397" y="968400"/>
            <a:ext cx="6734215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D0818C70-A8E1-4BE4-9EF2-0E79CEB29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03104" y="2048050"/>
            <a:ext cx="6703815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to the </a:t>
            </a:r>
            <a:br>
              <a:rPr lang="en-US"/>
            </a:br>
            <a:r>
              <a:rPr lang="en-US"/>
              <a:t>baseline of the title</a:t>
            </a:r>
          </a:p>
        </p:txBody>
      </p:sp>
      <p:sp>
        <p:nvSpPr>
          <p:cNvPr id="11" name="Data 1">
            <a:extLst>
              <a:ext uri="{FF2B5EF4-FFF2-40B4-BE49-F238E27FC236}">
                <a16:creationId xmlns:a16="http://schemas.microsoft.com/office/drawing/2014/main" id="{965F3AB8-2F88-4B01-A22D-AAACCF0E4CD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922839" y="3508939"/>
            <a:ext cx="1966912" cy="1008000"/>
          </a:xfrm>
        </p:spPr>
        <p:txBody>
          <a:bodyPr wrap="square">
            <a:no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3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34" name="Data 2">
            <a:extLst>
              <a:ext uri="{FF2B5EF4-FFF2-40B4-BE49-F238E27FC236}">
                <a16:creationId xmlns:a16="http://schemas.microsoft.com/office/drawing/2014/main" id="{C28AEEAD-EE16-45BD-9E84-22767C19CCD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287269" y="3508939"/>
            <a:ext cx="1966912" cy="1008000"/>
          </a:xfrm>
        </p:spPr>
        <p:txBody>
          <a:bodyPr wrap="square">
            <a:no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3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35" name="Data 3">
            <a:extLst>
              <a:ext uri="{FF2B5EF4-FFF2-40B4-BE49-F238E27FC236}">
                <a16:creationId xmlns:a16="http://schemas.microsoft.com/office/drawing/2014/main" id="{73B791E0-2B56-4470-A78B-13FD908E0178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651700" y="3508939"/>
            <a:ext cx="1966912" cy="1008000"/>
          </a:xfrm>
        </p:spPr>
        <p:txBody>
          <a:bodyPr wrap="square">
            <a:no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3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36" name="Data 4">
            <a:extLst>
              <a:ext uri="{FF2B5EF4-FFF2-40B4-BE49-F238E27FC236}">
                <a16:creationId xmlns:a16="http://schemas.microsoft.com/office/drawing/2014/main" id="{437005CD-90AA-49FA-9BC7-A905822358D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922839" y="4917128"/>
            <a:ext cx="1966912" cy="1008000"/>
          </a:xfrm>
        </p:spPr>
        <p:txBody>
          <a:bodyPr wrap="square">
            <a:no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3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37" name="Data 5">
            <a:extLst>
              <a:ext uri="{FF2B5EF4-FFF2-40B4-BE49-F238E27FC236}">
                <a16:creationId xmlns:a16="http://schemas.microsoft.com/office/drawing/2014/main" id="{56101BEE-90E7-4FDC-BA64-627EE07C6B3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287269" y="4917128"/>
            <a:ext cx="1966912" cy="1008000"/>
          </a:xfrm>
        </p:spPr>
        <p:txBody>
          <a:bodyPr wrap="square">
            <a:no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3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38" name="Data 6">
            <a:extLst>
              <a:ext uri="{FF2B5EF4-FFF2-40B4-BE49-F238E27FC236}">
                <a16:creationId xmlns:a16="http://schemas.microsoft.com/office/drawing/2014/main" id="{1C4BE8CD-033F-4CF9-90DF-9F1BD506456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651700" y="4917128"/>
            <a:ext cx="1966912" cy="1008000"/>
          </a:xfrm>
        </p:spPr>
        <p:txBody>
          <a:bodyPr wrap="square">
            <a:no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3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</p:spTree>
    <p:extLst>
      <p:ext uri="{BB962C8B-B14F-4D97-AF65-F5344CB8AC3E}">
        <p14:creationId xmlns:p14="http://schemas.microsoft.com/office/powerpoint/2010/main" val="2353195554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Keypoints 6.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20C030C-A612-4C1C-AD83-E17C8B7E5485}"/>
              </a:ext>
            </a:extLst>
          </p:cNvPr>
          <p:cNvSpPr>
            <a:spLocks noGrp="1"/>
          </p:cNvSpPr>
          <p:nvPr>
            <p:ph type="ftr" sz="quarter" idx="6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4D4969-23EE-4C46-94E6-0FD6938FEDD9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White Rectangle">
            <a:extLst>
              <a:ext uri="{FF2B5EF4-FFF2-40B4-BE49-F238E27FC236}">
                <a16:creationId xmlns:a16="http://schemas.microsoft.com/office/drawing/2014/main" id="{04C26DF2-351D-4910-9424-AF51F5555A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V="1">
            <a:off x="0" y="-1"/>
            <a:ext cx="12192000" cy="28289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82B553-5E70-422E-A74D-C564BEC1CC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559" y="637200"/>
            <a:ext cx="8515692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D0818C70-A8E1-4BE4-9EF2-0E79CEB29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600" y="1719628"/>
            <a:ext cx="8477250" cy="587441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to the baseline of the title</a:t>
            </a:r>
          </a:p>
        </p:txBody>
      </p:sp>
      <p:sp>
        <p:nvSpPr>
          <p:cNvPr id="11" name="Data 1">
            <a:extLst>
              <a:ext uri="{FF2B5EF4-FFF2-40B4-BE49-F238E27FC236}">
                <a16:creationId xmlns:a16="http://schemas.microsoft.com/office/drawing/2014/main" id="{965F3AB8-2F88-4B01-A22D-AAACCF0E4CD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60375" y="3127944"/>
            <a:ext cx="2588400" cy="92486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400" spc="-50" baseline="0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3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3" name="Data 2">
            <a:extLst>
              <a:ext uri="{FF2B5EF4-FFF2-40B4-BE49-F238E27FC236}">
                <a16:creationId xmlns:a16="http://schemas.microsoft.com/office/drawing/2014/main" id="{8863829D-7A9B-42F2-86CD-40EA751B823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314703" y="3127944"/>
            <a:ext cx="2588400" cy="92486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400" spc="-50" baseline="0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3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6" name="Data 3">
            <a:extLst>
              <a:ext uri="{FF2B5EF4-FFF2-40B4-BE49-F238E27FC236}">
                <a16:creationId xmlns:a16="http://schemas.microsoft.com/office/drawing/2014/main" id="{B11A1989-8584-4DEC-B6D3-BF7D044C8EB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5865" y="3127944"/>
            <a:ext cx="2588400" cy="92486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400" spc="-50" baseline="0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3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7" name="Data 4">
            <a:extLst>
              <a:ext uri="{FF2B5EF4-FFF2-40B4-BE49-F238E27FC236}">
                <a16:creationId xmlns:a16="http://schemas.microsoft.com/office/drawing/2014/main" id="{11DF9E38-CB6C-45C2-87B9-117D908F5D0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60375" y="4736891"/>
            <a:ext cx="2588400" cy="92486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400" spc="-50" baseline="0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3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9" name="Data 5">
            <a:extLst>
              <a:ext uri="{FF2B5EF4-FFF2-40B4-BE49-F238E27FC236}">
                <a16:creationId xmlns:a16="http://schemas.microsoft.com/office/drawing/2014/main" id="{8316287A-C210-4BCC-B46B-4CFB70B279E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314703" y="4736891"/>
            <a:ext cx="2588400" cy="92486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400" spc="-50" baseline="0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3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20" name="Data 6">
            <a:extLst>
              <a:ext uri="{FF2B5EF4-FFF2-40B4-BE49-F238E27FC236}">
                <a16:creationId xmlns:a16="http://schemas.microsoft.com/office/drawing/2014/main" id="{3144B2F2-75AA-40E7-B25B-38FF70851A6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265865" y="4736891"/>
            <a:ext cx="2588400" cy="92486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400" spc="-50" baseline="0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3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23" name="Picture Placeholder 12">
            <a:extLst>
              <a:ext uri="{FF2B5EF4-FFF2-40B4-BE49-F238E27FC236}">
                <a16:creationId xmlns:a16="http://schemas.microsoft.com/office/drawing/2014/main" id="{0CB9A052-5BC2-4570-8E48-9E4E1E374B2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512300" y="1"/>
            <a:ext cx="2679700" cy="6045200"/>
          </a:xfrm>
          <a:custGeom>
            <a:avLst/>
            <a:gdLst>
              <a:gd name="connsiteX0" fmla="*/ 0 w 5299075"/>
              <a:gd name="connsiteY0" fmla="*/ 0 h 6874525"/>
              <a:gd name="connsiteX1" fmla="*/ 5299075 w 5299075"/>
              <a:gd name="connsiteY1" fmla="*/ 0 h 6874525"/>
              <a:gd name="connsiteX2" fmla="*/ 5299075 w 5299075"/>
              <a:gd name="connsiteY2" fmla="*/ 462776 h 6874525"/>
              <a:gd name="connsiteX3" fmla="*/ 5299075 w 5299075"/>
              <a:gd name="connsiteY3" fmla="*/ 2606040 h 6874525"/>
              <a:gd name="connsiteX4" fmla="*/ 5299075 w 5299075"/>
              <a:gd name="connsiteY4" fmla="*/ 3526971 h 6874525"/>
              <a:gd name="connsiteX5" fmla="*/ 5299075 w 5299075"/>
              <a:gd name="connsiteY5" fmla="*/ 3530827 h 6874525"/>
              <a:gd name="connsiteX6" fmla="*/ 5299075 w 5299075"/>
              <a:gd name="connsiteY6" fmla="*/ 6058582 h 6874525"/>
              <a:gd name="connsiteX7" fmla="*/ 5299075 w 5299075"/>
              <a:gd name="connsiteY7" fmla="*/ 6311900 h 6874525"/>
              <a:gd name="connsiteX8" fmla="*/ 5299075 w 5299075"/>
              <a:gd name="connsiteY8" fmla="*/ 6395224 h 6874525"/>
              <a:gd name="connsiteX9" fmla="*/ 5299075 w 5299075"/>
              <a:gd name="connsiteY9" fmla="*/ 6874525 h 6874525"/>
              <a:gd name="connsiteX10" fmla="*/ 0 w 5299075"/>
              <a:gd name="connsiteY10" fmla="*/ 6874525 h 687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99075" h="6874525">
                <a:moveTo>
                  <a:pt x="0" y="0"/>
                </a:moveTo>
                <a:lnTo>
                  <a:pt x="5299075" y="0"/>
                </a:lnTo>
                <a:lnTo>
                  <a:pt x="5299075" y="462776"/>
                </a:lnTo>
                <a:lnTo>
                  <a:pt x="5299075" y="2606040"/>
                </a:lnTo>
                <a:lnTo>
                  <a:pt x="5299075" y="3526971"/>
                </a:lnTo>
                <a:lnTo>
                  <a:pt x="5299075" y="3530827"/>
                </a:lnTo>
                <a:lnTo>
                  <a:pt x="5299075" y="6058582"/>
                </a:lnTo>
                <a:lnTo>
                  <a:pt x="5299075" y="6311900"/>
                </a:lnTo>
                <a:lnTo>
                  <a:pt x="5299075" y="6395224"/>
                </a:lnTo>
                <a:lnTo>
                  <a:pt x="5299075" y="6874525"/>
                </a:lnTo>
                <a:lnTo>
                  <a:pt x="0" y="6874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</p:spTree>
    <p:extLst>
      <p:ext uri="{BB962C8B-B14F-4D97-AF65-F5344CB8AC3E}">
        <p14:creationId xmlns:p14="http://schemas.microsoft.com/office/powerpoint/2010/main" val="832346474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Keypoints 6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71DB85F-FDF5-45A8-9D08-87324CF417D6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BA9E-ECD5-478C-9E74-96B4BDE117ED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DC599917-36B7-48FC-8FDC-F2D5128ED47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1"/>
            <a:ext cx="2687637" cy="6045200"/>
          </a:xfrm>
          <a:custGeom>
            <a:avLst/>
            <a:gdLst>
              <a:gd name="connsiteX0" fmla="*/ 0 w 5299075"/>
              <a:gd name="connsiteY0" fmla="*/ 0 h 6874525"/>
              <a:gd name="connsiteX1" fmla="*/ 5299075 w 5299075"/>
              <a:gd name="connsiteY1" fmla="*/ 0 h 6874525"/>
              <a:gd name="connsiteX2" fmla="*/ 5299075 w 5299075"/>
              <a:gd name="connsiteY2" fmla="*/ 462776 h 6874525"/>
              <a:gd name="connsiteX3" fmla="*/ 5299075 w 5299075"/>
              <a:gd name="connsiteY3" fmla="*/ 2606040 h 6874525"/>
              <a:gd name="connsiteX4" fmla="*/ 5299075 w 5299075"/>
              <a:gd name="connsiteY4" fmla="*/ 3526971 h 6874525"/>
              <a:gd name="connsiteX5" fmla="*/ 5299075 w 5299075"/>
              <a:gd name="connsiteY5" fmla="*/ 3530827 h 6874525"/>
              <a:gd name="connsiteX6" fmla="*/ 5299075 w 5299075"/>
              <a:gd name="connsiteY6" fmla="*/ 6058582 h 6874525"/>
              <a:gd name="connsiteX7" fmla="*/ 5299075 w 5299075"/>
              <a:gd name="connsiteY7" fmla="*/ 6311900 h 6874525"/>
              <a:gd name="connsiteX8" fmla="*/ 5299075 w 5299075"/>
              <a:gd name="connsiteY8" fmla="*/ 6395224 h 6874525"/>
              <a:gd name="connsiteX9" fmla="*/ 5299075 w 5299075"/>
              <a:gd name="connsiteY9" fmla="*/ 6874525 h 6874525"/>
              <a:gd name="connsiteX10" fmla="*/ 0 w 5299075"/>
              <a:gd name="connsiteY10" fmla="*/ 6874525 h 687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99075" h="6874525">
                <a:moveTo>
                  <a:pt x="0" y="0"/>
                </a:moveTo>
                <a:lnTo>
                  <a:pt x="5299075" y="0"/>
                </a:lnTo>
                <a:lnTo>
                  <a:pt x="5299075" y="462776"/>
                </a:lnTo>
                <a:lnTo>
                  <a:pt x="5299075" y="2606040"/>
                </a:lnTo>
                <a:lnTo>
                  <a:pt x="5299075" y="3526971"/>
                </a:lnTo>
                <a:lnTo>
                  <a:pt x="5299075" y="3530827"/>
                </a:lnTo>
                <a:lnTo>
                  <a:pt x="5299075" y="6058582"/>
                </a:lnTo>
                <a:lnTo>
                  <a:pt x="5299075" y="6311900"/>
                </a:lnTo>
                <a:lnTo>
                  <a:pt x="5299075" y="6395224"/>
                </a:lnTo>
                <a:lnTo>
                  <a:pt x="5299075" y="6874525"/>
                </a:lnTo>
                <a:lnTo>
                  <a:pt x="0" y="6874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17" name="Title 4">
            <a:extLst>
              <a:ext uri="{FF2B5EF4-FFF2-40B4-BE49-F238E27FC236}">
                <a16:creationId xmlns:a16="http://schemas.microsoft.com/office/drawing/2014/main" id="{70BFC44F-BE87-49D9-9B10-60585586ED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1641" y="637200"/>
            <a:ext cx="8517008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22B06414-5407-49AF-9BA2-8F54AF10025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314016" y="1720800"/>
            <a:ext cx="8474066" cy="587441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to the baseline of the title</a:t>
            </a:r>
          </a:p>
        </p:txBody>
      </p:sp>
      <p:sp>
        <p:nvSpPr>
          <p:cNvPr id="23" name="Text Box Outline">
            <a:extLst>
              <a:ext uri="{FF2B5EF4-FFF2-40B4-BE49-F238E27FC236}">
                <a16:creationId xmlns:a16="http://schemas.microsoft.com/office/drawing/2014/main" id="{85FC6972-980C-4768-AB5A-265BD2A160A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333750" y="2938904"/>
            <a:ext cx="8475656" cy="531005"/>
          </a:xfr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lIns="216000" tIns="46800" rIns="216000" bIns="72000" anchor="ctr"/>
          <a:lstStyle>
            <a:lvl1pPr algn="ctr"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FCD02036-9F29-447A-BCD3-73916E63B0C6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333750" y="3765600"/>
            <a:ext cx="2574000" cy="1044000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j-lt"/>
              </a:defRPr>
            </a:lvl1pPr>
            <a:lvl2pPr marL="0" indent="0">
              <a:buNone/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8B84A8E-97BA-4208-90F0-6CF944E4365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284913" y="3765600"/>
            <a:ext cx="2574000" cy="1044000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j-lt"/>
              </a:defRPr>
            </a:lvl1pPr>
            <a:lvl2pPr marL="0" indent="0">
              <a:buNone/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4476FC5-2EC5-47E0-9B0B-9231094913B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236075" y="3765600"/>
            <a:ext cx="2574000" cy="1044000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j-lt"/>
              </a:defRPr>
            </a:lvl1pPr>
            <a:lvl2pPr marL="0" indent="0">
              <a:buNone/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4BE05BC-C5BD-4A37-871C-D0C8A2A1C9D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333750" y="5001201"/>
            <a:ext cx="2574000" cy="1044000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j-lt"/>
              </a:defRPr>
            </a:lvl1pPr>
            <a:lvl2pPr marL="0" indent="0">
              <a:buNone/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746B40E-6A3A-4989-A449-881D5F1F00E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84913" y="5001201"/>
            <a:ext cx="2574000" cy="1044000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j-lt"/>
              </a:defRPr>
            </a:lvl1pPr>
            <a:lvl2pPr marL="0" indent="0">
              <a:buNone/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230E1B5-9DF7-4A53-B6E8-C8718D41705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236075" y="5001201"/>
            <a:ext cx="2574000" cy="1044000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j-lt"/>
              </a:defRPr>
            </a:lvl1pPr>
            <a:lvl2pPr marL="0" indent="0">
              <a:buNone/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319709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Place text here, use indent to access other levels 20pt</a:t>
            </a:r>
          </a:p>
          <a:p>
            <a:pPr lvl="1"/>
            <a:r>
              <a:rPr lang="en-GB"/>
              <a:t>Second level 20pt</a:t>
            </a:r>
          </a:p>
          <a:p>
            <a:pPr lvl="2"/>
            <a:r>
              <a:rPr lang="en-GB"/>
              <a:t>Third level 20pt</a:t>
            </a:r>
          </a:p>
          <a:p>
            <a:pPr lvl="3"/>
            <a:r>
              <a:rPr lang="en-GB"/>
              <a:t>Fourth level 18pt</a:t>
            </a:r>
          </a:p>
          <a:p>
            <a:pPr lvl="4"/>
            <a:r>
              <a:rPr lang="en-GB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675896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Keypoints 6.4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BAE148A-3FA4-4FC3-8F0A-A69E9BD64B03}"/>
              </a:ext>
            </a:extLst>
          </p:cNvPr>
          <p:cNvSpPr>
            <a:spLocks noGrp="1"/>
          </p:cNvSpPr>
          <p:nvPr>
            <p:ph type="ftr" sz="quarter" idx="6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09EE03-A484-4B48-8E15-0A15EC65D6D2}"/>
              </a:ext>
            </a:extLst>
          </p:cNvPr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White Rectangle">
            <a:extLst>
              <a:ext uri="{FF2B5EF4-FFF2-40B4-BE49-F238E27FC236}">
                <a16:creationId xmlns:a16="http://schemas.microsoft.com/office/drawing/2014/main" id="{10EFB4DD-0219-43C9-8A7B-C2C870EE53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47461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2" name="Title 4">
            <a:extLst>
              <a:ext uri="{FF2B5EF4-FFF2-40B4-BE49-F238E27FC236}">
                <a16:creationId xmlns:a16="http://schemas.microsoft.com/office/drawing/2014/main" id="{2C3F18A2-A43C-4858-A2C3-2853BFC0F6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559" y="637200"/>
            <a:ext cx="4096706" cy="1828193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FCD02036-9F29-447A-BCD3-73916E63B0C6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922838" y="711760"/>
            <a:ext cx="1980000" cy="172800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8B84A8E-97BA-4208-90F0-6CF944E4365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268581" y="711760"/>
            <a:ext cx="1980000" cy="172800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4476FC5-2EC5-47E0-9B0B-9231094913B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614325" y="711760"/>
            <a:ext cx="1980000" cy="172800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4BE05BC-C5BD-4A37-871C-D0C8A2A1C9D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922838" y="2744095"/>
            <a:ext cx="1980000" cy="172800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746B40E-6A3A-4989-A449-881D5F1F00E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268581" y="2744095"/>
            <a:ext cx="1980000" cy="172800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230E1B5-9DF7-4A53-B6E8-C8718D41705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614325" y="2744095"/>
            <a:ext cx="1980000" cy="172800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Subhead">
            <a:extLst>
              <a:ext uri="{FF2B5EF4-FFF2-40B4-BE49-F238E27FC236}">
                <a16:creationId xmlns:a16="http://schemas.microsoft.com/office/drawing/2014/main" id="{3B78A521-A69F-4E88-86A7-7BAC99645A3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71271" y="5050506"/>
            <a:ext cx="3945141" cy="788987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Insert subhead in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AEA0C10D-666F-4B5B-A6BE-B5299838442A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4922838" y="5050506"/>
            <a:ext cx="1979613" cy="78898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EB4203-5E68-4BA4-A9DE-03C7CE186B5B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268139" y="5050506"/>
            <a:ext cx="1979613" cy="78898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6114126E-2EC6-43F9-AC57-19710C26DA4F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613441" y="5050506"/>
            <a:ext cx="1979613" cy="78898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4405821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Keypoints 6.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6F348E-0ED4-4C8F-9793-44B0C136D891}"/>
              </a:ext>
            </a:extLst>
          </p:cNvPr>
          <p:cNvSpPr>
            <a:spLocks noGrp="1"/>
          </p:cNvSpPr>
          <p:nvPr>
            <p:ph type="ftr" sz="quarter" idx="6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FE7169-5912-44BA-B8B2-11DBD4131019}"/>
              </a:ext>
            </a:extLst>
          </p:cNvPr>
          <p:cNvSpPr>
            <a:spLocks noGrp="1"/>
          </p:cNvSpPr>
          <p:nvPr>
            <p:ph type="sldNum" sz="quarter" idx="67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itle 6">
            <a:extLst>
              <a:ext uri="{FF2B5EF4-FFF2-40B4-BE49-F238E27FC236}">
                <a16:creationId xmlns:a16="http://schemas.microsoft.com/office/drawing/2014/main" id="{9DE9438E-8C66-4214-8821-17F42ACEF6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245" y="1335323"/>
            <a:ext cx="3962401" cy="151157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minimum 36 </a:t>
            </a:r>
            <a:r>
              <a:rPr lang="en-US" err="1"/>
              <a:t>pt</a:t>
            </a:r>
            <a:r>
              <a:rPr lang="en-US"/>
              <a:t> max 3 lines</a:t>
            </a:r>
            <a:endParaRPr lang="en-GB"/>
          </a:p>
        </p:txBody>
      </p:sp>
      <p:sp>
        <p:nvSpPr>
          <p:cNvPr id="18" name="Intro">
            <a:extLst>
              <a:ext uri="{FF2B5EF4-FFF2-40B4-BE49-F238E27FC236}">
                <a16:creationId xmlns:a16="http://schemas.microsoft.com/office/drawing/2014/main" id="{1865F5AE-0F05-47A7-8BFA-45228EA1029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59206" y="2847703"/>
            <a:ext cx="3957207" cy="3225388"/>
          </a:xfrm>
        </p:spPr>
        <p:txBody>
          <a:bodyPr tIns="28800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800"/>
            </a:lvl2pPr>
            <a:lvl3pPr marL="360000" indent="-180000">
              <a:defRPr sz="1600"/>
            </a:lvl3pPr>
            <a:lvl4pPr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360000" lvl="3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</p:txBody>
      </p:sp>
      <p:sp>
        <p:nvSpPr>
          <p:cNvPr id="26" name="Subhead 1">
            <a:extLst>
              <a:ext uri="{FF2B5EF4-FFF2-40B4-BE49-F238E27FC236}">
                <a16:creationId xmlns:a16="http://schemas.microsoft.com/office/drawing/2014/main" id="{E8A199BD-A483-414F-B255-75C738D4BE7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924426" y="1349126"/>
            <a:ext cx="1965323" cy="830997"/>
          </a:xfrm>
        </p:spPr>
        <p:txBody>
          <a:bodyPr wrap="square">
            <a:spAutoFit/>
          </a:bodyPr>
          <a:lstStyle>
            <a:lvl1pPr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sert subhead maximum 3 lines</a:t>
            </a:r>
          </a:p>
        </p:txBody>
      </p:sp>
      <p:sp>
        <p:nvSpPr>
          <p:cNvPr id="27" name="Number 1">
            <a:extLst>
              <a:ext uri="{FF2B5EF4-FFF2-40B4-BE49-F238E27FC236}">
                <a16:creationId xmlns:a16="http://schemas.microsoft.com/office/drawing/2014/main" id="{A40F8805-3799-4194-9763-46452051480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75600" y="1400214"/>
            <a:ext cx="19800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1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Number 2">
            <a:extLst>
              <a:ext uri="{FF2B5EF4-FFF2-40B4-BE49-F238E27FC236}">
                <a16:creationId xmlns:a16="http://schemas.microsoft.com/office/drawing/2014/main" id="{D269C7BA-7E40-423E-9297-F7298A6B2E0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626400" y="1400214"/>
            <a:ext cx="19800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1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Number 3">
            <a:extLst>
              <a:ext uri="{FF2B5EF4-FFF2-40B4-BE49-F238E27FC236}">
                <a16:creationId xmlns:a16="http://schemas.microsoft.com/office/drawing/2014/main" id="{4329A355-FBC3-495E-B328-B11523C930C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275600" y="2935092"/>
            <a:ext cx="19800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1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Number 4">
            <a:extLst>
              <a:ext uri="{FF2B5EF4-FFF2-40B4-BE49-F238E27FC236}">
                <a16:creationId xmlns:a16="http://schemas.microsoft.com/office/drawing/2014/main" id="{72E1D8DC-D04A-4C51-9D1C-B26903923BE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626400" y="2935092"/>
            <a:ext cx="19800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1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Subhead 2">
            <a:extLst>
              <a:ext uri="{FF2B5EF4-FFF2-40B4-BE49-F238E27FC236}">
                <a16:creationId xmlns:a16="http://schemas.microsoft.com/office/drawing/2014/main" id="{E7C91004-23BB-40A2-89C0-A27EBB37B7A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924426" y="4674929"/>
            <a:ext cx="1965323" cy="830997"/>
          </a:xfrm>
        </p:spPr>
        <p:txBody>
          <a:bodyPr wrap="square">
            <a:spAutoFit/>
          </a:bodyPr>
          <a:lstStyle>
            <a:lvl1pPr>
              <a:defRPr sz="18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Insert subhead maximum 3 lines</a:t>
            </a:r>
          </a:p>
        </p:txBody>
      </p:sp>
      <p:sp>
        <p:nvSpPr>
          <p:cNvPr id="32" name="Number 5">
            <a:extLst>
              <a:ext uri="{FF2B5EF4-FFF2-40B4-BE49-F238E27FC236}">
                <a16:creationId xmlns:a16="http://schemas.microsoft.com/office/drawing/2014/main" id="{D139880B-E9DB-4B70-B83D-6F61878F86C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7275600" y="4726017"/>
            <a:ext cx="19800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Number 6">
            <a:extLst>
              <a:ext uri="{FF2B5EF4-FFF2-40B4-BE49-F238E27FC236}">
                <a16:creationId xmlns:a16="http://schemas.microsoft.com/office/drawing/2014/main" id="{9CEBAC7C-68A7-4DA8-908F-3EA2D1EA22D2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9626400" y="4726017"/>
            <a:ext cx="19800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36" name="Lines">
            <a:extLst>
              <a:ext uri="{FF2B5EF4-FFF2-40B4-BE49-F238E27FC236}">
                <a16:creationId xmlns:a16="http://schemas.microsoft.com/office/drawing/2014/main" id="{7C3AB685-E8CB-4EE3-AABF-3A0BA25CC5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4924426" y="1134971"/>
            <a:ext cx="7267575" cy="3289583"/>
            <a:chOff x="5378973" y="1134971"/>
            <a:chExt cx="6813028" cy="3289583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23A3B44F-B3A6-4FB5-B973-807CB798F98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378973" y="1134971"/>
              <a:ext cx="6813028" cy="0"/>
            </a:xfrm>
            <a:prstGeom prst="line">
              <a:avLst/>
            </a:prstGeom>
            <a:ln w="222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9A8C754-2B17-4CF9-B25E-F0737E58162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378973" y="4424554"/>
              <a:ext cx="6813028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65090538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vy content 1.1 – Numbers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72BE1F-7B9D-49E4-8186-38F3DFFBB592}"/>
              </a:ext>
            </a:extLst>
          </p:cNvPr>
          <p:cNvSpPr>
            <a:spLocks noGrp="1"/>
          </p:cNvSpPr>
          <p:nvPr>
            <p:ph type="ftr" sz="quarter" idx="72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20E369-678A-4D64-A465-D57CCD140B9F}"/>
              </a:ext>
            </a:extLst>
          </p:cNvPr>
          <p:cNvSpPr>
            <a:spLocks noGrp="1"/>
          </p:cNvSpPr>
          <p:nvPr>
            <p:ph type="sldNum" sz="quarter" idx="73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6">
            <a:extLst>
              <a:ext uri="{FF2B5EF4-FFF2-40B4-BE49-F238E27FC236}">
                <a16:creationId xmlns:a16="http://schemas.microsoft.com/office/drawing/2014/main" id="{8E6A6D90-BCC4-4EE3-B3FE-12921956F7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245" y="1335323"/>
            <a:ext cx="3962401" cy="151157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minimum 36 </a:t>
            </a:r>
            <a:r>
              <a:rPr lang="en-US" err="1"/>
              <a:t>pt</a:t>
            </a:r>
            <a:r>
              <a:rPr lang="en-US"/>
              <a:t> max 3 lines</a:t>
            </a:r>
            <a:endParaRPr lang="en-GB"/>
          </a:p>
        </p:txBody>
      </p:sp>
      <p:sp>
        <p:nvSpPr>
          <p:cNvPr id="16" name="Intro">
            <a:extLst>
              <a:ext uri="{FF2B5EF4-FFF2-40B4-BE49-F238E27FC236}">
                <a16:creationId xmlns:a16="http://schemas.microsoft.com/office/drawing/2014/main" id="{A10C6162-013D-42F3-AEB7-2F761695081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59206" y="2847703"/>
            <a:ext cx="3957207" cy="3225388"/>
          </a:xfrm>
        </p:spPr>
        <p:txBody>
          <a:bodyPr tIns="28800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800"/>
            </a:lvl2pPr>
            <a:lvl3pPr marL="360000" indent="-180000">
              <a:defRPr sz="1600"/>
            </a:lvl3pPr>
            <a:lvl4pPr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360000" lvl="3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4065D923-A595-4297-A724-A22DDACF68A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924150" y="1399721"/>
            <a:ext cx="19656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7C1C5C2-15CA-4597-8CBA-5B589A61D66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7275782" y="1399721"/>
            <a:ext cx="19656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6B6A954-CBF6-4F9B-8C73-817D7B77F16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9627413" y="1399721"/>
            <a:ext cx="19656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EF62713E-E693-4572-8132-58D483045C6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924150" y="3109005"/>
            <a:ext cx="19656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70127B23-90C7-4839-87FB-CAAEE0447BA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275782" y="3109005"/>
            <a:ext cx="19656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BA349F30-320A-4650-9D35-8E629B7BCCC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627413" y="3109005"/>
            <a:ext cx="19656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508712B8-C41F-4B3F-B2B7-563994E1862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924150" y="4818288"/>
            <a:ext cx="19656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F9E64819-72F4-4D63-88E5-A28276694507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275782" y="4818288"/>
            <a:ext cx="19656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id="{DC334FBC-EC51-4DA8-BE5C-E5437190307D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9627413" y="4818288"/>
            <a:ext cx="19656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7367523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vy content 1.2 – Numbers (6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DF0A6D-AFA7-4A13-B92E-F3C9C588211E}"/>
              </a:ext>
            </a:extLst>
          </p:cNvPr>
          <p:cNvSpPr>
            <a:spLocks noGrp="1"/>
          </p:cNvSpPr>
          <p:nvPr>
            <p:ph type="ftr" sz="quarter" idx="6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FE6A10-4D6E-4091-92D0-79810C3D038E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F4A5EA-D133-4D20-A72B-6FA2941C0A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3" name="Subtitle">
            <a:extLst>
              <a:ext uri="{FF2B5EF4-FFF2-40B4-BE49-F238E27FC236}">
                <a16:creationId xmlns:a16="http://schemas.microsoft.com/office/drawing/2014/main" id="{81D59F37-1138-4B1D-8B89-24251759AC3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3600" y="1278000"/>
            <a:ext cx="11431413" cy="551090"/>
          </a:xfrm>
          <a:prstGeom prst="rect">
            <a:avLst/>
          </a:prstGeom>
        </p:spPr>
        <p:txBody>
          <a:bodyPr wrap="square" lIns="0" tIns="180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to the baseline of the title</a:t>
            </a:r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31FD0C33-DB2C-47B7-A966-CA09D81F2C8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6518" y="2115978"/>
            <a:ext cx="1605143" cy="3929221"/>
          </a:xfr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ACABC0C-A06F-4DA6-B7B9-836F569BF1F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334963" y="2115978"/>
            <a:ext cx="1605600" cy="3929221"/>
          </a:xfr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58924E7-E223-4EAB-9B2F-AA85A1CDD6B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302073" y="2115978"/>
            <a:ext cx="1605600" cy="3929221"/>
          </a:xfr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3806E2C4-B97E-465F-8115-45741ACED72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9183" y="2115978"/>
            <a:ext cx="1605600" cy="3929221"/>
          </a:xfr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AD4B32FA-6DCC-4BAF-8DFC-CB5A6BBA493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236293" y="2115978"/>
            <a:ext cx="1605600" cy="3929221"/>
          </a:xfr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4" name="Lines">
            <a:extLst>
              <a:ext uri="{FF2B5EF4-FFF2-40B4-BE49-F238E27FC236}">
                <a16:creationId xmlns:a16="http://schemas.microsoft.com/office/drawing/2014/main" id="{34948216-F2B5-41CE-B1F5-4AE05396C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159893" y="2115978"/>
            <a:ext cx="7868440" cy="3940334"/>
            <a:chOff x="2159893" y="2115978"/>
            <a:chExt cx="7868440" cy="3940334"/>
          </a:xfrm>
        </p:grpSpPr>
        <p:cxnSp>
          <p:nvCxnSpPr>
            <p:cNvPr id="11" name="Straight Connector 1">
              <a:extLst>
                <a:ext uri="{FF2B5EF4-FFF2-40B4-BE49-F238E27FC236}">
                  <a16:creationId xmlns:a16="http://schemas.microsoft.com/office/drawing/2014/main" id="{24CA5A87-6D0E-40D8-B172-3838F52E7BA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159893" y="2115978"/>
              <a:ext cx="0" cy="3940334"/>
            </a:xfrm>
            <a:prstGeom prst="line">
              <a:avLst/>
            </a:prstGeom>
            <a:ln w="12700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2">
              <a:extLst>
                <a:ext uri="{FF2B5EF4-FFF2-40B4-BE49-F238E27FC236}">
                  <a16:creationId xmlns:a16="http://schemas.microsoft.com/office/drawing/2014/main" id="{EC8BFA14-3824-4078-9ED2-05D825C7FFA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27003" y="2115978"/>
              <a:ext cx="0" cy="3940334"/>
            </a:xfrm>
            <a:prstGeom prst="line">
              <a:avLst/>
            </a:prstGeom>
            <a:ln w="12700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3">
              <a:extLst>
                <a:ext uri="{FF2B5EF4-FFF2-40B4-BE49-F238E27FC236}">
                  <a16:creationId xmlns:a16="http://schemas.microsoft.com/office/drawing/2014/main" id="{420AF5A4-407E-4B80-B7BB-A2C914DF3C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4113" y="2115978"/>
              <a:ext cx="0" cy="3940334"/>
            </a:xfrm>
            <a:prstGeom prst="line">
              <a:avLst/>
            </a:prstGeom>
            <a:ln w="12700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4">
              <a:extLst>
                <a:ext uri="{FF2B5EF4-FFF2-40B4-BE49-F238E27FC236}">
                  <a16:creationId xmlns:a16="http://schemas.microsoft.com/office/drawing/2014/main" id="{6F3FC8B4-DBA4-4466-9CB1-AFA4DD00F7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061223" y="2115978"/>
              <a:ext cx="0" cy="3940334"/>
            </a:xfrm>
            <a:prstGeom prst="line">
              <a:avLst/>
            </a:prstGeom>
            <a:ln w="12700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5">
              <a:extLst>
                <a:ext uri="{FF2B5EF4-FFF2-40B4-BE49-F238E27FC236}">
                  <a16:creationId xmlns:a16="http://schemas.microsoft.com/office/drawing/2014/main" id="{72FACA03-3D8B-4133-82B9-F387C449E60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028333" y="2115978"/>
              <a:ext cx="0" cy="3940334"/>
            </a:xfrm>
            <a:prstGeom prst="line">
              <a:avLst/>
            </a:prstGeom>
            <a:ln w="12700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80A5E3D1-BA45-4658-BF5A-B3E9D4AA0DE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10203405" y="2115978"/>
            <a:ext cx="1605600" cy="3929221"/>
          </a:xfr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91872836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vy content 1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White Rectangle">
            <a:extLst>
              <a:ext uri="{FF2B5EF4-FFF2-40B4-BE49-F238E27FC236}">
                <a16:creationId xmlns:a16="http://schemas.microsoft.com/office/drawing/2014/main" id="{D4B5BCCA-4A1B-4E3F-8AD2-B976E6768A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5643716" y="0"/>
            <a:ext cx="654828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DF482FE-B03F-4D7A-89D8-0C36B1ED42BF}"/>
              </a:ext>
            </a:extLst>
          </p:cNvPr>
          <p:cNvSpPr>
            <a:spLocks noGrp="1"/>
          </p:cNvSpPr>
          <p:nvPr>
            <p:ph type="ftr" sz="quarter" idx="63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65000"/>
                  </a:schemeClr>
                </a:solidFill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72563C4-3461-4BCF-BB33-1F8338A31DF0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65000"/>
                  </a:schemeClr>
                </a:solidFill>
              </a:defRPr>
            </a:lvl1pPr>
          </a:lstStyle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0E69384-1E9D-4AC5-BC79-D168758D07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201" y="346108"/>
            <a:ext cx="4949874" cy="1011046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9" name="Intro">
            <a:extLst>
              <a:ext uri="{FF2B5EF4-FFF2-40B4-BE49-F238E27FC236}">
                <a16:creationId xmlns:a16="http://schemas.microsoft.com/office/drawing/2014/main" id="{AE0BBFCE-818C-4B03-BA00-50C532B99E6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4355" y="1657715"/>
            <a:ext cx="4941628" cy="1118225"/>
          </a:xfrm>
          <a:prstGeom prst="rect">
            <a:avLst/>
          </a:prstGeom>
        </p:spPr>
        <p:txBody>
          <a:bodyPr/>
          <a:lstStyle>
            <a:lvl1pPr>
              <a:spcBef>
                <a:spcPts val="800"/>
              </a:spcBef>
              <a:defRPr sz="2000" b="0">
                <a:solidFill>
                  <a:schemeClr val="bg1"/>
                </a:solidFill>
                <a:latin typeface="+mn-lt"/>
              </a:defRPr>
            </a:lvl1pPr>
            <a:lvl2pPr>
              <a:spcBef>
                <a:spcPts val="800"/>
              </a:spcBef>
              <a:defRPr>
                <a:solidFill>
                  <a:schemeClr val="bg1"/>
                </a:solidFill>
              </a:defRPr>
            </a:lvl2pPr>
            <a:lvl3pPr>
              <a:spcBef>
                <a:spcPts val="800"/>
              </a:spcBef>
              <a:defRPr>
                <a:solidFill>
                  <a:schemeClr val="bg1"/>
                </a:solidFill>
              </a:defRPr>
            </a:lvl3pPr>
            <a:lvl4pPr>
              <a:spcBef>
                <a:spcPts val="800"/>
              </a:spcBef>
              <a:defRPr>
                <a:solidFill>
                  <a:schemeClr val="bg1"/>
                </a:solidFill>
              </a:defRPr>
            </a:lvl4pPr>
            <a:lvl5pPr>
              <a:spcBef>
                <a:spcPts val="800"/>
              </a:spcBef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body text, font size at 20 </a:t>
            </a:r>
            <a:r>
              <a:rPr lang="en-US" err="1"/>
              <a:t>pt</a:t>
            </a:r>
            <a:r>
              <a:rPr lang="en-US"/>
              <a:t> minimum 16 </a:t>
            </a:r>
            <a:r>
              <a:rPr lang="en-US" err="1"/>
              <a:t>pt</a:t>
            </a:r>
            <a:r>
              <a:rPr lang="en-US"/>
              <a:t>, single line spacing, with maximum lines to the end of this box. </a:t>
            </a:r>
          </a:p>
        </p:txBody>
      </p:sp>
      <p:sp>
        <p:nvSpPr>
          <p:cNvPr id="6" name="Subhead">
            <a:extLst>
              <a:ext uri="{FF2B5EF4-FFF2-40B4-BE49-F238E27FC236}">
                <a16:creationId xmlns:a16="http://schemas.microsoft.com/office/drawing/2014/main" id="{C4AD33E3-FD75-49B2-A68D-461164DA13B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64648" y="3119895"/>
            <a:ext cx="4941628" cy="318925"/>
          </a:xfrm>
        </p:spPr>
        <p:txBody>
          <a:bodyPr anchor="b"/>
          <a:lstStyle>
            <a:lvl1pPr>
              <a:defRPr b="1">
                <a:solidFill>
                  <a:schemeClr val="bg1"/>
                </a:solidFill>
                <a:latin typeface="Graphik Semibold" panose="020B0703030202060203" pitchFamily="34" charset="0"/>
              </a:defRPr>
            </a:lvl1pPr>
          </a:lstStyle>
          <a:p>
            <a:pPr lvl="0"/>
            <a:r>
              <a:rPr lang="en-US"/>
              <a:t>Practice area</a:t>
            </a:r>
            <a:endParaRPr lang="en-AU"/>
          </a:p>
        </p:txBody>
      </p:sp>
      <p:sp>
        <p:nvSpPr>
          <p:cNvPr id="22" name="Text Box Outline 1">
            <a:extLst>
              <a:ext uri="{FF2B5EF4-FFF2-40B4-BE49-F238E27FC236}">
                <a16:creationId xmlns:a16="http://schemas.microsoft.com/office/drawing/2014/main" id="{73D93B21-667E-485B-8B01-FEB6FA89032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92484" y="3578336"/>
            <a:ext cx="1512000" cy="409986"/>
          </a:xfrm>
          <a:ln w="12700">
            <a:solidFill>
              <a:schemeClr val="bg1"/>
            </a:solidFill>
          </a:ln>
        </p:spPr>
        <p:txBody>
          <a:bodyPr wrap="square" tIns="36000" bIns="36000" anchor="ctr">
            <a:noAutofit/>
          </a:bodyPr>
          <a:lstStyle>
            <a:lvl1pPr algn="ctr"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  <a:endParaRPr lang="en-AU"/>
          </a:p>
        </p:txBody>
      </p:sp>
      <p:sp>
        <p:nvSpPr>
          <p:cNvPr id="23" name="Text Box Outline 2">
            <a:extLst>
              <a:ext uri="{FF2B5EF4-FFF2-40B4-BE49-F238E27FC236}">
                <a16:creationId xmlns:a16="http://schemas.microsoft.com/office/drawing/2014/main" id="{08F16310-3682-4D60-9297-D23AD53AFCEB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089779" y="3578336"/>
            <a:ext cx="1512000" cy="409986"/>
          </a:xfrm>
          <a:ln w="12700">
            <a:solidFill>
              <a:schemeClr val="bg1"/>
            </a:solidFill>
          </a:ln>
        </p:spPr>
        <p:txBody>
          <a:bodyPr wrap="square" tIns="36000" bIns="36000" anchor="ctr">
            <a:noAutofit/>
          </a:bodyPr>
          <a:lstStyle>
            <a:lvl1pPr algn="ctr"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  <a:endParaRPr lang="en-AU"/>
          </a:p>
        </p:txBody>
      </p:sp>
      <p:sp>
        <p:nvSpPr>
          <p:cNvPr id="24" name="Text Box Outline 3">
            <a:extLst>
              <a:ext uri="{FF2B5EF4-FFF2-40B4-BE49-F238E27FC236}">
                <a16:creationId xmlns:a16="http://schemas.microsoft.com/office/drawing/2014/main" id="{4EBC3A53-4476-47E6-B88A-8124E542FF1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787074" y="3578336"/>
            <a:ext cx="1512000" cy="409986"/>
          </a:xfrm>
          <a:ln w="12700">
            <a:solidFill>
              <a:schemeClr val="bg1"/>
            </a:solidFill>
          </a:ln>
        </p:spPr>
        <p:txBody>
          <a:bodyPr wrap="square" tIns="36000" bIns="36000" anchor="ctr">
            <a:noAutofit/>
          </a:bodyPr>
          <a:lstStyle>
            <a:lvl1pPr algn="ctr"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  <a:endParaRPr lang="en-AU"/>
          </a:p>
        </p:txBody>
      </p:sp>
      <p:sp>
        <p:nvSpPr>
          <p:cNvPr id="25" name="Text Box Purple">
            <a:extLst>
              <a:ext uri="{FF2B5EF4-FFF2-40B4-BE49-F238E27FC236}">
                <a16:creationId xmlns:a16="http://schemas.microsoft.com/office/drawing/2014/main" id="{C1649FC9-BE21-4049-83A8-BD30D97F82E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92485" y="4364438"/>
            <a:ext cx="4913498" cy="1680762"/>
          </a:xfrm>
          <a:solidFill>
            <a:schemeClr val="accent2"/>
          </a:solidFill>
          <a:ln w="12700">
            <a:noFill/>
          </a:ln>
        </p:spPr>
        <p:txBody>
          <a:bodyPr lIns="216000" tIns="180000" rIns="108000" bIns="180000"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or more info…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id="{E1BAD35F-76EB-4896-AB92-CE56C43028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284913" y="581489"/>
            <a:ext cx="2573337" cy="885825"/>
          </a:xfrm>
        </p:spPr>
        <p:txBody>
          <a:bodyPr/>
          <a:lstStyle>
            <a:lvl1pPr>
              <a:defRPr sz="1600" b="1">
                <a:solidFill>
                  <a:schemeClr val="accent2"/>
                </a:solidFill>
              </a:defRPr>
            </a:lvl1pPr>
            <a:lvl2pPr marL="0" indent="0">
              <a:spcBef>
                <a:spcPts val="400"/>
              </a:spcBef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Headline minimum 1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Insert text maximum 4 lines minimum 12 </a:t>
            </a:r>
            <a:r>
              <a:rPr lang="en-US" err="1"/>
              <a:t>pt</a:t>
            </a:r>
            <a:r>
              <a:rPr lang="en-US"/>
              <a:t> with single line spacing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39906CDA-5DE6-4DEE-8CA7-8A8698E9688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284913" y="1727528"/>
            <a:ext cx="2573337" cy="885825"/>
          </a:xfrm>
        </p:spPr>
        <p:txBody>
          <a:bodyPr/>
          <a:lstStyle>
            <a:lvl1pPr>
              <a:defRPr sz="1600" b="1">
                <a:solidFill>
                  <a:schemeClr val="accent2"/>
                </a:solidFill>
              </a:defRPr>
            </a:lvl1pPr>
            <a:lvl2pPr marL="0" indent="0">
              <a:spcBef>
                <a:spcPts val="400"/>
              </a:spcBef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Headline minimum 1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Insert text maximum 4 lines minimum 12 </a:t>
            </a:r>
            <a:r>
              <a:rPr lang="en-US" err="1"/>
              <a:t>pt</a:t>
            </a:r>
            <a:r>
              <a:rPr lang="en-US"/>
              <a:t> with single line spacing</a:t>
            </a:r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B3E53B0E-8C69-4BDB-8793-D798A5910F5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84913" y="2873567"/>
            <a:ext cx="2573337" cy="885825"/>
          </a:xfrm>
        </p:spPr>
        <p:txBody>
          <a:bodyPr/>
          <a:lstStyle>
            <a:lvl1pPr>
              <a:defRPr sz="1600" b="1">
                <a:solidFill>
                  <a:schemeClr val="accent2"/>
                </a:solidFill>
              </a:defRPr>
            </a:lvl1pPr>
            <a:lvl2pPr marL="0" indent="0">
              <a:spcBef>
                <a:spcPts val="400"/>
              </a:spcBef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Headline minimum 1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Insert text maximum 4 lines minimum 12 </a:t>
            </a:r>
            <a:r>
              <a:rPr lang="en-US" err="1"/>
              <a:t>pt</a:t>
            </a:r>
            <a:r>
              <a:rPr lang="en-US"/>
              <a:t> with single line spacing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25CABD7E-BF06-44AF-AA44-275C0598BF9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84913" y="4019606"/>
            <a:ext cx="2573337" cy="885825"/>
          </a:xfrm>
        </p:spPr>
        <p:txBody>
          <a:bodyPr/>
          <a:lstStyle>
            <a:lvl1pPr>
              <a:defRPr sz="1600" b="1">
                <a:solidFill>
                  <a:schemeClr val="accent2"/>
                </a:solidFill>
              </a:defRPr>
            </a:lvl1pPr>
            <a:lvl2pPr marL="0" indent="0">
              <a:spcBef>
                <a:spcPts val="400"/>
              </a:spcBef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Headline minimum 1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Insert text maximum 4 lines minimum 12 </a:t>
            </a:r>
            <a:r>
              <a:rPr lang="en-US" err="1"/>
              <a:t>pt</a:t>
            </a:r>
            <a:r>
              <a:rPr lang="en-US"/>
              <a:t> with single line spacing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E7C44CD6-9AB4-472E-B439-9ECA73470FC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84913" y="5165647"/>
            <a:ext cx="2573337" cy="885825"/>
          </a:xfrm>
        </p:spPr>
        <p:txBody>
          <a:bodyPr/>
          <a:lstStyle>
            <a:lvl1pPr>
              <a:defRPr sz="1600" b="1">
                <a:solidFill>
                  <a:schemeClr val="accent2"/>
                </a:solidFill>
              </a:defRPr>
            </a:lvl1pPr>
            <a:lvl2pPr marL="0" indent="0">
              <a:spcBef>
                <a:spcPts val="400"/>
              </a:spcBef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Headline minimum 1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Insert text maximum 4 lines minimum 12 </a:t>
            </a:r>
            <a:r>
              <a:rPr lang="en-US" err="1"/>
              <a:t>pt</a:t>
            </a:r>
            <a:r>
              <a:rPr lang="en-US"/>
              <a:t> with single line spacing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268A4EF7-127F-4D4A-B974-DC137EF27A1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236075" y="581489"/>
            <a:ext cx="2573337" cy="885825"/>
          </a:xfrm>
        </p:spPr>
        <p:txBody>
          <a:bodyPr/>
          <a:lstStyle>
            <a:lvl1pPr>
              <a:defRPr sz="1600" b="1">
                <a:solidFill>
                  <a:schemeClr val="accent2"/>
                </a:solidFill>
              </a:defRPr>
            </a:lvl1pPr>
            <a:lvl2pPr marL="0" indent="0">
              <a:spcBef>
                <a:spcPts val="400"/>
              </a:spcBef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Headline minimum 1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Insert text maximum 4 lines minimum 12 </a:t>
            </a:r>
            <a:r>
              <a:rPr lang="en-US" err="1"/>
              <a:t>pt</a:t>
            </a:r>
            <a:r>
              <a:rPr lang="en-US"/>
              <a:t> with single line spacing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4A6C3A61-D3D4-4F87-86E4-38C7C28A78D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236075" y="1727528"/>
            <a:ext cx="2573337" cy="885825"/>
          </a:xfrm>
        </p:spPr>
        <p:txBody>
          <a:bodyPr/>
          <a:lstStyle>
            <a:lvl1pPr>
              <a:defRPr sz="1600" b="1">
                <a:solidFill>
                  <a:schemeClr val="accent2"/>
                </a:solidFill>
              </a:defRPr>
            </a:lvl1pPr>
            <a:lvl2pPr marL="0" indent="0">
              <a:spcBef>
                <a:spcPts val="400"/>
              </a:spcBef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Headline minimum 1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Insert text maximum 4 lines minimum 12 </a:t>
            </a:r>
            <a:r>
              <a:rPr lang="en-US" err="1"/>
              <a:t>pt</a:t>
            </a:r>
            <a:r>
              <a:rPr lang="en-US"/>
              <a:t> with single line spacing</a:t>
            </a:r>
          </a:p>
        </p:txBody>
      </p:sp>
      <p:sp>
        <p:nvSpPr>
          <p:cNvPr id="48" name="Text Placeholder 8">
            <a:extLst>
              <a:ext uri="{FF2B5EF4-FFF2-40B4-BE49-F238E27FC236}">
                <a16:creationId xmlns:a16="http://schemas.microsoft.com/office/drawing/2014/main" id="{BBF74265-D3C7-4FBC-8595-1BC166A15B2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236075" y="2873567"/>
            <a:ext cx="2573337" cy="885825"/>
          </a:xfrm>
        </p:spPr>
        <p:txBody>
          <a:bodyPr/>
          <a:lstStyle>
            <a:lvl1pPr>
              <a:defRPr sz="1600" b="1">
                <a:solidFill>
                  <a:schemeClr val="accent2"/>
                </a:solidFill>
              </a:defRPr>
            </a:lvl1pPr>
            <a:lvl2pPr marL="0" indent="0">
              <a:spcBef>
                <a:spcPts val="400"/>
              </a:spcBef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Headline minimum 1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Insert text maximum 4 lines minimum 12 </a:t>
            </a:r>
            <a:r>
              <a:rPr lang="en-US" err="1"/>
              <a:t>pt</a:t>
            </a:r>
            <a:r>
              <a:rPr lang="en-US"/>
              <a:t> with single line spacing</a:t>
            </a:r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id="{9B31E91C-ADB4-4762-8F54-DA02E8A3BBA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236075" y="4019606"/>
            <a:ext cx="2573337" cy="885825"/>
          </a:xfrm>
        </p:spPr>
        <p:txBody>
          <a:bodyPr/>
          <a:lstStyle>
            <a:lvl1pPr>
              <a:defRPr sz="1600" b="1">
                <a:solidFill>
                  <a:schemeClr val="accent2"/>
                </a:solidFill>
              </a:defRPr>
            </a:lvl1pPr>
            <a:lvl2pPr marL="0" indent="0">
              <a:spcBef>
                <a:spcPts val="400"/>
              </a:spcBef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Headline minimum 1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Insert text maximum 4 lines minimum 12 </a:t>
            </a:r>
            <a:r>
              <a:rPr lang="en-US" err="1"/>
              <a:t>pt</a:t>
            </a:r>
            <a:r>
              <a:rPr lang="en-US"/>
              <a:t> with single line spacing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A55DA771-9D6F-4A6F-85AC-4E03600F34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236075" y="5165647"/>
            <a:ext cx="2573337" cy="885825"/>
          </a:xfrm>
        </p:spPr>
        <p:txBody>
          <a:bodyPr/>
          <a:lstStyle>
            <a:lvl1pPr>
              <a:defRPr sz="1600" b="1">
                <a:solidFill>
                  <a:schemeClr val="accent2"/>
                </a:solidFill>
              </a:defRPr>
            </a:lvl1pPr>
            <a:lvl2pPr marL="0" indent="0">
              <a:spcBef>
                <a:spcPts val="400"/>
              </a:spcBef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Headline minimum 1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Insert text maximum 4 lines minimum 12 </a:t>
            </a:r>
            <a:r>
              <a:rPr lang="en-US" err="1"/>
              <a:t>pt</a:t>
            </a:r>
            <a:r>
              <a:rPr lang="en-US"/>
              <a:t> with single line spacing</a:t>
            </a:r>
          </a:p>
        </p:txBody>
      </p:sp>
      <p:sp>
        <p:nvSpPr>
          <p:cNvPr id="27" name="Accenture GTS">
            <a:extLst>
              <a:ext uri="{FF2B5EF4-FFF2-40B4-BE49-F238E27FC236}">
                <a16:creationId xmlns:a16="http://schemas.microsoft.com/office/drawing/2014/main" id="{22F01678-9997-4D6C-9D7A-FD19E8A45D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482516"/>
            <a:ext cx="190926" cy="201600"/>
          </a:xfrm>
          <a:custGeom>
            <a:avLst/>
            <a:gdLst>
              <a:gd name="connsiteX0" fmla="*/ 0 w 153352"/>
              <a:gd name="connsiteY0" fmla="*/ 114300 h 161925"/>
              <a:gd name="connsiteX1" fmla="*/ 89535 w 153352"/>
              <a:gd name="connsiteY1" fmla="*/ 80963 h 161925"/>
              <a:gd name="connsiteX2" fmla="*/ 0 w 153352"/>
              <a:gd name="connsiteY2" fmla="*/ 46673 h 161925"/>
              <a:gd name="connsiteX3" fmla="*/ 0 w 153352"/>
              <a:gd name="connsiteY3" fmla="*/ 0 h 161925"/>
              <a:gd name="connsiteX4" fmla="*/ 153352 w 153352"/>
              <a:gd name="connsiteY4" fmla="*/ 61913 h 161925"/>
              <a:gd name="connsiteX5" fmla="*/ 153352 w 153352"/>
              <a:gd name="connsiteY5" fmla="*/ 100013 h 161925"/>
              <a:gd name="connsiteX6" fmla="*/ 0 w 153352"/>
              <a:gd name="connsiteY6" fmla="*/ 161925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3352" h="161925">
                <a:moveTo>
                  <a:pt x="0" y="114300"/>
                </a:moveTo>
                <a:lnTo>
                  <a:pt x="89535" y="80963"/>
                </a:lnTo>
                <a:lnTo>
                  <a:pt x="0" y="46673"/>
                </a:lnTo>
                <a:lnTo>
                  <a:pt x="0" y="0"/>
                </a:lnTo>
                <a:lnTo>
                  <a:pt x="153352" y="61913"/>
                </a:lnTo>
                <a:lnTo>
                  <a:pt x="153352" y="100013"/>
                </a:lnTo>
                <a:lnTo>
                  <a:pt x="0" y="16192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180369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ourney –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4DED0F-5889-404D-A465-9C20E72A82D3}"/>
              </a:ext>
            </a:extLst>
          </p:cNvPr>
          <p:cNvSpPr>
            <a:spLocks noGrp="1"/>
          </p:cNvSpPr>
          <p:nvPr>
            <p:ph type="ftr" sz="quarter" idx="67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87EED2-D75E-4D9F-8130-79DF89E3B61E}"/>
              </a:ext>
            </a:extLst>
          </p:cNvPr>
          <p:cNvSpPr>
            <a:spLocks noGrp="1"/>
          </p:cNvSpPr>
          <p:nvPr>
            <p:ph type="sldNum" sz="quarter" idx="68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FFF3DE60-5763-49F9-84D4-EFD70139DD3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1" cy="29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F31FD4-855B-4349-9E82-D5835AAED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941" y="1241571"/>
            <a:ext cx="4950134" cy="137321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3" name="Subhead 1">
            <a:extLst>
              <a:ext uri="{FF2B5EF4-FFF2-40B4-BE49-F238E27FC236}">
                <a16:creationId xmlns:a16="http://schemas.microsoft.com/office/drawing/2014/main" id="{95865AF8-F59F-447D-A5C5-B06AD60E94D8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71168" y="4044950"/>
            <a:ext cx="1231490" cy="492443"/>
          </a:xfrm>
        </p:spPr>
        <p:txBody>
          <a:bodyPr>
            <a:spAutoFit/>
          </a:bodyPr>
          <a:lstStyle>
            <a:lvl1pPr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1" name="Subhead 2">
            <a:extLst>
              <a:ext uri="{FF2B5EF4-FFF2-40B4-BE49-F238E27FC236}">
                <a16:creationId xmlns:a16="http://schemas.microsoft.com/office/drawing/2014/main" id="{4195DD5E-01C9-4F79-A642-1DDBF4830E64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71168" y="4868244"/>
            <a:ext cx="1231490" cy="492443"/>
          </a:xfrm>
        </p:spPr>
        <p:txBody>
          <a:bodyPr>
            <a:spAutoFit/>
          </a:bodyPr>
          <a:lstStyle>
            <a:lvl1pPr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0" name="Arrow subhead 1">
            <a:extLst>
              <a:ext uri="{FF2B5EF4-FFF2-40B4-BE49-F238E27FC236}">
                <a16:creationId xmlns:a16="http://schemas.microsoft.com/office/drawing/2014/main" id="{EFED9D2A-74A5-45DC-A034-2B219138064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71675" y="3308767"/>
            <a:ext cx="3327400" cy="576000"/>
          </a:xfrm>
          <a:prstGeom prst="homePlate">
            <a:avLst>
              <a:gd name="adj" fmla="val 32991"/>
            </a:avLst>
          </a:prstGeom>
          <a:solidFill>
            <a:schemeClr val="accent1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7" name="Subhead 1">
            <a:extLst>
              <a:ext uri="{FF2B5EF4-FFF2-40B4-BE49-F238E27FC236}">
                <a16:creationId xmlns:a16="http://schemas.microsoft.com/office/drawing/2014/main" id="{E82B7EE8-9409-45CE-85DB-6F55E0DE3591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971674" y="4044950"/>
            <a:ext cx="2988000" cy="492443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BECFCDEF-D022-4C0C-8AE1-2DEC806F8526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1971674" y="4868244"/>
            <a:ext cx="2988000" cy="1176956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Arrow subhead 2">
            <a:extLst>
              <a:ext uri="{FF2B5EF4-FFF2-40B4-BE49-F238E27FC236}">
                <a16:creationId xmlns:a16="http://schemas.microsoft.com/office/drawing/2014/main" id="{41C90FE7-33BD-4E9D-BDFF-9122FC2E823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226844" y="3308767"/>
            <a:ext cx="3327400" cy="576000"/>
          </a:xfrm>
          <a:prstGeom prst="chevron">
            <a:avLst>
              <a:gd name="adj" fmla="val 32860"/>
            </a:avLst>
          </a:prstGeom>
          <a:solidFill>
            <a:schemeClr val="accent2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8" name="Subhead 2">
            <a:extLst>
              <a:ext uri="{FF2B5EF4-FFF2-40B4-BE49-F238E27FC236}">
                <a16:creationId xmlns:a16="http://schemas.microsoft.com/office/drawing/2014/main" id="{89CFFF51-807B-45EB-87C8-25E586ECBCCE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5291854" y="4044950"/>
            <a:ext cx="2988000" cy="492443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35D817B-F79D-46BF-A09F-28845CBDAA89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5291854" y="4868244"/>
            <a:ext cx="2988000" cy="1176956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Arrow subhead 3">
            <a:extLst>
              <a:ext uri="{FF2B5EF4-FFF2-40B4-BE49-F238E27FC236}">
                <a16:creationId xmlns:a16="http://schemas.microsoft.com/office/drawing/2014/main" id="{FBE60133-CD5C-4AC8-83A0-3C690633FF5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482013" y="3308767"/>
            <a:ext cx="3327400" cy="576000"/>
          </a:xfrm>
          <a:prstGeom prst="chevron">
            <a:avLst>
              <a:gd name="adj" fmla="val 32860"/>
            </a:avLst>
          </a:prstGeom>
          <a:solidFill>
            <a:schemeClr val="accent3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9" name="Subhead 3">
            <a:extLst>
              <a:ext uri="{FF2B5EF4-FFF2-40B4-BE49-F238E27FC236}">
                <a16:creationId xmlns:a16="http://schemas.microsoft.com/office/drawing/2014/main" id="{AD34EAD1-81A3-4757-BF72-CF9DFAB15A80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8612034" y="4044950"/>
            <a:ext cx="2988000" cy="492443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8BB67B9-64FC-43B7-A0E7-942A14ED619C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8612034" y="4868244"/>
            <a:ext cx="2988000" cy="1176956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37492354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ourney –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1801EE-EE30-4A75-A12F-F5E207BB43DB}"/>
              </a:ext>
            </a:extLst>
          </p:cNvPr>
          <p:cNvSpPr>
            <a:spLocks noGrp="1"/>
          </p:cNvSpPr>
          <p:nvPr>
            <p:ph type="ftr" sz="quarter" idx="4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3A08CC-EFBC-40F1-A3C1-68D02FE0AE27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FFF3DE60-5763-49F9-84D4-EFD70139DD3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1" cy="29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F31FD4-855B-4349-9E82-D5835AAED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941" y="1241571"/>
            <a:ext cx="4950134" cy="137321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0" name="Arrow subhead 1">
            <a:extLst>
              <a:ext uri="{FF2B5EF4-FFF2-40B4-BE49-F238E27FC236}">
                <a16:creationId xmlns:a16="http://schemas.microsoft.com/office/drawing/2014/main" id="{EFED9D2A-74A5-45DC-A034-2B219138064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85878" y="3308767"/>
            <a:ext cx="2952000" cy="576000"/>
          </a:xfrm>
          <a:prstGeom prst="homePlate">
            <a:avLst>
              <a:gd name="adj" fmla="val 32991"/>
            </a:avLst>
          </a:prstGeom>
          <a:solidFill>
            <a:schemeClr val="accent4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39FDED30-8AD4-48FB-A509-A8138DD26E4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70438" y="4131177"/>
            <a:ext cx="2581200" cy="1906846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Arrow subhead 2">
            <a:extLst>
              <a:ext uri="{FF2B5EF4-FFF2-40B4-BE49-F238E27FC236}">
                <a16:creationId xmlns:a16="http://schemas.microsoft.com/office/drawing/2014/main" id="{41C90FE7-33BD-4E9D-BDFF-9122FC2E823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45723" y="3308767"/>
            <a:ext cx="2952000" cy="576000"/>
          </a:xfrm>
          <a:prstGeom prst="chevron">
            <a:avLst>
              <a:gd name="adj" fmla="val 32860"/>
            </a:avLst>
          </a:prstGeom>
          <a:solidFill>
            <a:schemeClr val="accent1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F2CBF60-ACAA-4E89-914D-5F9B2B12B446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3322130" y="4131177"/>
            <a:ext cx="2581200" cy="1906846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Arrow subhead 3">
            <a:extLst>
              <a:ext uri="{FF2B5EF4-FFF2-40B4-BE49-F238E27FC236}">
                <a16:creationId xmlns:a16="http://schemas.microsoft.com/office/drawing/2014/main" id="{FBE60133-CD5C-4AC8-83A0-3C690633FF5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05568" y="3308767"/>
            <a:ext cx="2952000" cy="576000"/>
          </a:xfrm>
          <a:prstGeom prst="chevron">
            <a:avLst>
              <a:gd name="adj" fmla="val 32860"/>
            </a:avLst>
          </a:prstGeom>
          <a:solidFill>
            <a:schemeClr val="accent2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8243A3C-193A-4169-B0CF-1F5ED019516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273822" y="4131177"/>
            <a:ext cx="2581200" cy="1906846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5" name="Arrow subhead 4">
            <a:extLst>
              <a:ext uri="{FF2B5EF4-FFF2-40B4-BE49-F238E27FC236}">
                <a16:creationId xmlns:a16="http://schemas.microsoft.com/office/drawing/2014/main" id="{C28EF3AF-9742-41EC-AC1B-27DCD5C55E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965413" y="3308767"/>
            <a:ext cx="2952000" cy="576000"/>
          </a:xfrm>
          <a:prstGeom prst="chevron">
            <a:avLst>
              <a:gd name="adj" fmla="val 32860"/>
            </a:avLst>
          </a:prstGeom>
          <a:solidFill>
            <a:schemeClr val="accent3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2FD3F8CD-F231-46CC-A63D-60C1C7FF7A3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9225513" y="4131177"/>
            <a:ext cx="2581200" cy="1906846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01266086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ourney –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A4D910-6808-4DB6-BFCE-AF70ED050DD1}"/>
              </a:ext>
            </a:extLst>
          </p:cNvPr>
          <p:cNvSpPr>
            <a:spLocks noGrp="1"/>
          </p:cNvSpPr>
          <p:nvPr>
            <p:ph type="ftr" sz="quarter" idx="52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BBE312-EF67-46FA-B147-9E6554D6F1E1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FFF3DE60-5763-49F9-84D4-EFD70139DD3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1" cy="29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F31FD4-855B-4349-9E82-D5835AAED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941" y="1241571"/>
            <a:ext cx="4950134" cy="137321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0" name="Arrow subhead 1">
            <a:extLst>
              <a:ext uri="{FF2B5EF4-FFF2-40B4-BE49-F238E27FC236}">
                <a16:creationId xmlns:a16="http://schemas.microsoft.com/office/drawing/2014/main" id="{EFED9D2A-74A5-45DC-A034-2B219138064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85878" y="3308767"/>
            <a:ext cx="2376000" cy="576000"/>
          </a:xfrm>
          <a:prstGeom prst="homePlate">
            <a:avLst>
              <a:gd name="adj" fmla="val 32991"/>
            </a:avLst>
          </a:prstGeom>
          <a:solidFill>
            <a:schemeClr val="accent2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</a:t>
            </a:r>
            <a:br>
              <a:rPr lang="en-US"/>
            </a:br>
            <a:r>
              <a:rPr lang="en-US"/>
              <a:t>subhead</a:t>
            </a:r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39FDED30-8AD4-48FB-A509-A8138DD26E4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70438" y="4131177"/>
            <a:ext cx="2088000" cy="191402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1"/>
                </a:solidFill>
              </a:defRPr>
            </a:lvl2pPr>
            <a:lvl3pPr marL="180000" indent="-180000"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Arrow subhead 2">
            <a:extLst>
              <a:ext uri="{FF2B5EF4-FFF2-40B4-BE49-F238E27FC236}">
                <a16:creationId xmlns:a16="http://schemas.microsoft.com/office/drawing/2014/main" id="{41C90FE7-33BD-4E9D-BDFF-9122FC2E823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674762" y="3308767"/>
            <a:ext cx="2376000" cy="576000"/>
          </a:xfrm>
          <a:prstGeom prst="chevron">
            <a:avLst>
              <a:gd name="adj" fmla="val 32860"/>
            </a:avLst>
          </a:prstGeom>
          <a:solidFill>
            <a:schemeClr val="accent2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F2CBF60-ACAA-4E89-914D-5F9B2B12B446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2708182" y="4131177"/>
            <a:ext cx="2088000" cy="191402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1"/>
                </a:solidFill>
              </a:defRPr>
            </a:lvl2pPr>
            <a:lvl3pPr marL="180000" indent="-180000"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Arrow subhead 3">
            <a:extLst>
              <a:ext uri="{FF2B5EF4-FFF2-40B4-BE49-F238E27FC236}">
                <a16:creationId xmlns:a16="http://schemas.microsoft.com/office/drawing/2014/main" id="{FBE60133-CD5C-4AC8-83A0-3C690633FF5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963646" y="3308767"/>
            <a:ext cx="2376000" cy="576000"/>
          </a:xfrm>
          <a:prstGeom prst="chevron">
            <a:avLst>
              <a:gd name="adj" fmla="val 32860"/>
            </a:avLst>
          </a:prstGeom>
          <a:solidFill>
            <a:schemeClr val="accent2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8243A3C-193A-4169-B0CF-1F5ED019516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045926" y="4131177"/>
            <a:ext cx="2088000" cy="191402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1"/>
                </a:solidFill>
              </a:defRPr>
            </a:lvl2pPr>
            <a:lvl3pPr marL="180000" indent="-180000"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Arrow subhead 4">
            <a:extLst>
              <a:ext uri="{FF2B5EF4-FFF2-40B4-BE49-F238E27FC236}">
                <a16:creationId xmlns:a16="http://schemas.microsoft.com/office/drawing/2014/main" id="{C28EF3AF-9742-41EC-AC1B-27DCD5C55E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252530" y="3308767"/>
            <a:ext cx="2376000" cy="576000"/>
          </a:xfrm>
          <a:prstGeom prst="chevron">
            <a:avLst>
              <a:gd name="adj" fmla="val 32860"/>
            </a:avLst>
          </a:prstGeom>
          <a:solidFill>
            <a:schemeClr val="accent2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2FD3F8CD-F231-46CC-A63D-60C1C7FF7A3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383670" y="4131177"/>
            <a:ext cx="2088000" cy="191402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1"/>
                </a:solidFill>
              </a:defRPr>
            </a:lvl2pPr>
            <a:lvl3pPr marL="180000" indent="-180000"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2FBE684-4B93-4961-B8EC-BADAE8E7FD08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9721413" y="4131177"/>
            <a:ext cx="2088000" cy="191402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1"/>
                </a:solidFill>
              </a:defRPr>
            </a:lvl2pPr>
            <a:lvl3pPr marL="180000" indent="-180000"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Arrow subhead 4">
            <a:extLst>
              <a:ext uri="{FF2B5EF4-FFF2-40B4-BE49-F238E27FC236}">
                <a16:creationId xmlns:a16="http://schemas.microsoft.com/office/drawing/2014/main" id="{36E4539F-17F2-499D-87F8-0AB2B9068B6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541413" y="3308767"/>
            <a:ext cx="2376000" cy="576000"/>
          </a:xfrm>
          <a:prstGeom prst="chevron">
            <a:avLst>
              <a:gd name="adj" fmla="val 32860"/>
            </a:avLst>
          </a:prstGeom>
          <a:solidFill>
            <a:schemeClr val="accent2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</p:spTree>
    <p:extLst>
      <p:ext uri="{BB962C8B-B14F-4D97-AF65-F5344CB8AC3E}">
        <p14:creationId xmlns:p14="http://schemas.microsoft.com/office/powerpoint/2010/main" val="2343152654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ourney – (4) Columns split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9D02184-0D01-4E3D-B92B-9F0D1B4B0856}"/>
              </a:ext>
            </a:extLst>
          </p:cNvPr>
          <p:cNvSpPr>
            <a:spLocks noGrp="1"/>
          </p:cNvSpPr>
          <p:nvPr>
            <p:ph type="ftr" sz="quarter" idx="5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04B8D3-AC84-49EA-86A8-BE8F7EE33981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wHITE">
            <a:extLst>
              <a:ext uri="{FF2B5EF4-FFF2-40B4-BE49-F238E27FC236}">
                <a16:creationId xmlns:a16="http://schemas.microsoft.com/office/drawing/2014/main" id="{E3D10902-9E63-4AD3-84ED-4F4A7B0EE2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V="1">
            <a:off x="0" y="1"/>
            <a:ext cx="12192000" cy="36982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52D1FBD-D4C3-4A74-AC84-0236D32A9B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0119807B-39A9-41FD-8CD3-CD67C006211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3600" y="784800"/>
            <a:ext cx="11437371" cy="551090"/>
          </a:xfrm>
          <a:prstGeom prst="rect">
            <a:avLst/>
          </a:prstGeom>
        </p:spPr>
        <p:txBody>
          <a:bodyPr wrap="square" lIns="0" tIns="180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to the baseline of the title</a:t>
            </a:r>
          </a:p>
        </p:txBody>
      </p:sp>
      <p:sp>
        <p:nvSpPr>
          <p:cNvPr id="43" name="Text Placeholder 1">
            <a:extLst>
              <a:ext uri="{FF2B5EF4-FFF2-40B4-BE49-F238E27FC236}">
                <a16:creationId xmlns:a16="http://schemas.microsoft.com/office/drawing/2014/main" id="{D8D0C38E-294C-4FC4-BF81-B182F2975AC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002355" y="1678847"/>
            <a:ext cx="2519999" cy="1560183"/>
          </a:xfrm>
        </p:spPr>
        <p:txBody>
          <a:bodyPr/>
          <a:lstStyle>
            <a:lvl1pPr>
              <a:spcBef>
                <a:spcPts val="0"/>
              </a:spcBef>
              <a:spcAft>
                <a:spcPts val="800"/>
              </a:spcAft>
              <a:defRPr sz="1400">
                <a:latin typeface="+mn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Subhead 1">
            <a:extLst>
              <a:ext uri="{FF2B5EF4-FFF2-40B4-BE49-F238E27FC236}">
                <a16:creationId xmlns:a16="http://schemas.microsoft.com/office/drawing/2014/main" id="{6DA187E7-09D2-4135-BC8D-469693E9878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002355" y="3483192"/>
            <a:ext cx="2519999" cy="495108"/>
          </a:xfrm>
          <a:solidFill>
            <a:schemeClr val="accent4"/>
          </a:solidFill>
        </p:spPr>
        <p:txBody>
          <a:bodyPr lIns="216000" tIns="108000" rIns="216000" bIns="108000" anchor="ctr"/>
          <a:lstStyle>
            <a:lvl1pPr algn="ctr">
              <a:defRPr sz="18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45" name="Text Placeholder 1B">
            <a:extLst>
              <a:ext uri="{FF2B5EF4-FFF2-40B4-BE49-F238E27FC236}">
                <a16:creationId xmlns:a16="http://schemas.microsoft.com/office/drawing/2014/main" id="{3F6E8296-8428-47F7-A2E1-4D31A1030BE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02355" y="4476442"/>
            <a:ext cx="2519999" cy="1568758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 maximum 2 lin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4E4DA54-1250-42AC-9967-97A497F417B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764708" y="1678847"/>
            <a:ext cx="2519999" cy="1560183"/>
          </a:xfrm>
        </p:spPr>
        <p:txBody>
          <a:bodyPr/>
          <a:lstStyle>
            <a:lvl1pPr>
              <a:spcBef>
                <a:spcPts val="0"/>
              </a:spcBef>
              <a:spcAft>
                <a:spcPts val="800"/>
              </a:spcAft>
              <a:defRPr sz="1400">
                <a:latin typeface="+mn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Subhead 2">
            <a:extLst>
              <a:ext uri="{FF2B5EF4-FFF2-40B4-BE49-F238E27FC236}">
                <a16:creationId xmlns:a16="http://schemas.microsoft.com/office/drawing/2014/main" id="{E9043677-7E23-4426-A132-7C731B8A6CC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764708" y="3483192"/>
            <a:ext cx="2519999" cy="495108"/>
          </a:xfrm>
          <a:solidFill>
            <a:schemeClr val="accent1"/>
          </a:solidFill>
        </p:spPr>
        <p:txBody>
          <a:bodyPr lIns="216000" tIns="108000" rIns="216000" bIns="108000" anchor="ctr"/>
          <a:lstStyle>
            <a:lvl1pPr algn="ctr">
              <a:defRPr sz="18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48" name="Text Placeholder 2B">
            <a:extLst>
              <a:ext uri="{FF2B5EF4-FFF2-40B4-BE49-F238E27FC236}">
                <a16:creationId xmlns:a16="http://schemas.microsoft.com/office/drawing/2014/main" id="{D33C854C-444F-4CA0-8D7E-0C26D08AA82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764708" y="4476442"/>
            <a:ext cx="2519999" cy="1568758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 maximum 2 lin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B18702C2-8F07-489D-B538-B60A312D803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527061" y="1678847"/>
            <a:ext cx="2519999" cy="1560183"/>
          </a:xfrm>
        </p:spPr>
        <p:txBody>
          <a:bodyPr/>
          <a:lstStyle>
            <a:lvl1pPr>
              <a:spcBef>
                <a:spcPts val="0"/>
              </a:spcBef>
              <a:spcAft>
                <a:spcPts val="800"/>
              </a:spcAft>
              <a:defRPr sz="1400">
                <a:latin typeface="+mn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Subhead 3">
            <a:extLst>
              <a:ext uri="{FF2B5EF4-FFF2-40B4-BE49-F238E27FC236}">
                <a16:creationId xmlns:a16="http://schemas.microsoft.com/office/drawing/2014/main" id="{28EBD259-BC65-4BA6-BB98-6675018BA11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527061" y="3483192"/>
            <a:ext cx="2519999" cy="495108"/>
          </a:xfrm>
          <a:solidFill>
            <a:schemeClr val="accent2"/>
          </a:solidFill>
        </p:spPr>
        <p:txBody>
          <a:bodyPr lIns="216000" tIns="108000" rIns="216000" bIns="108000" anchor="ctr"/>
          <a:lstStyle>
            <a:lvl1pPr algn="ctr">
              <a:defRPr sz="18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51" name="Text Placeholder 3B">
            <a:extLst>
              <a:ext uri="{FF2B5EF4-FFF2-40B4-BE49-F238E27FC236}">
                <a16:creationId xmlns:a16="http://schemas.microsoft.com/office/drawing/2014/main" id="{16E8D0C1-2FD0-4958-8B63-6379BEAA84B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527061" y="4476442"/>
            <a:ext cx="2519999" cy="1568758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 maximum 2 lin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80DD7EB9-0842-47B5-8C9E-5ED77676B1D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9289414" y="1678847"/>
            <a:ext cx="2519999" cy="1560183"/>
          </a:xfrm>
        </p:spPr>
        <p:txBody>
          <a:bodyPr/>
          <a:lstStyle>
            <a:lvl1pPr>
              <a:spcBef>
                <a:spcPts val="0"/>
              </a:spcBef>
              <a:spcAft>
                <a:spcPts val="800"/>
              </a:spcAft>
              <a:defRPr sz="1400">
                <a:latin typeface="+mn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Subhead 4">
            <a:extLst>
              <a:ext uri="{FF2B5EF4-FFF2-40B4-BE49-F238E27FC236}">
                <a16:creationId xmlns:a16="http://schemas.microsoft.com/office/drawing/2014/main" id="{B3C4239C-BCCC-495D-B75D-E5220E624356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289414" y="3483192"/>
            <a:ext cx="2519999" cy="495108"/>
          </a:xfrm>
          <a:solidFill>
            <a:schemeClr val="accent3"/>
          </a:solidFill>
        </p:spPr>
        <p:txBody>
          <a:bodyPr lIns="216000" tIns="108000" rIns="216000" bIns="108000" anchor="ctr"/>
          <a:lstStyle>
            <a:lvl1pPr algn="ctr">
              <a:defRPr sz="18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54" name="Text Placeholder 4B">
            <a:extLst>
              <a:ext uri="{FF2B5EF4-FFF2-40B4-BE49-F238E27FC236}">
                <a16:creationId xmlns:a16="http://schemas.microsoft.com/office/drawing/2014/main" id="{1EC38A05-054C-46A7-97D5-0CE84D456E6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289414" y="4476442"/>
            <a:ext cx="2519999" cy="1568758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 maximum 2 lin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98343066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1AF651-A7DC-4050-9156-8BC2AEC525C7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240" name="Slide Number Placeholder 239">
            <a:extLst>
              <a:ext uri="{FF2B5EF4-FFF2-40B4-BE49-F238E27FC236}">
                <a16:creationId xmlns:a16="http://schemas.microsoft.com/office/drawing/2014/main" id="{06F067BA-46E6-44CF-9685-EDAB63375A91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BBF096-E08A-42F8-B010-95893DF8CB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42" name="Subtitle">
            <a:extLst>
              <a:ext uri="{FF2B5EF4-FFF2-40B4-BE49-F238E27FC236}">
                <a16:creationId xmlns:a16="http://schemas.microsoft.com/office/drawing/2014/main" id="{D744E9BC-0939-4BDE-9A58-F6AA7D2FD59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3600" y="784800"/>
            <a:ext cx="11431413" cy="514738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to the baseline of the title</a:t>
            </a:r>
          </a:p>
        </p:txBody>
      </p:sp>
      <p:grpSp>
        <p:nvGrpSpPr>
          <p:cNvPr id="5" name="World Map" descr="World map">
            <a:extLst>
              <a:ext uri="{FF2B5EF4-FFF2-40B4-BE49-F238E27FC236}">
                <a16:creationId xmlns:a16="http://schemas.microsoft.com/office/drawing/2014/main" id="{40B94006-176E-4431-92B8-C480F62A93B6}"/>
              </a:ext>
            </a:extLst>
          </p:cNvPr>
          <p:cNvGrpSpPr/>
          <p:nvPr userDrawn="1"/>
        </p:nvGrpSpPr>
        <p:grpSpPr>
          <a:xfrm>
            <a:off x="2200386" y="1926779"/>
            <a:ext cx="7788059" cy="3824990"/>
            <a:chOff x="2197101" y="1982788"/>
            <a:chExt cx="7789861" cy="3825875"/>
          </a:xfrm>
          <a:solidFill>
            <a:schemeClr val="tx2">
              <a:lumMod val="40000"/>
              <a:lumOff val="60000"/>
            </a:schemeClr>
          </a:solidFill>
        </p:grpSpPr>
        <p:grpSp>
          <p:nvGrpSpPr>
            <p:cNvPr id="6" name="Group 206">
              <a:extLst>
                <a:ext uri="{FF2B5EF4-FFF2-40B4-BE49-F238E27FC236}">
                  <a16:creationId xmlns:a16="http://schemas.microsoft.com/office/drawing/2014/main" id="{3CD1D97C-D503-48EE-8631-170BE90A045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882900" y="1997075"/>
              <a:ext cx="6932612" cy="3551238"/>
              <a:chOff x="1816" y="1258"/>
              <a:chExt cx="4367" cy="2237"/>
            </a:xfrm>
            <a:grpFill/>
          </p:grpSpPr>
          <p:sp>
            <p:nvSpPr>
              <p:cNvPr id="40" name="Freeform 6">
                <a:extLst>
                  <a:ext uri="{FF2B5EF4-FFF2-40B4-BE49-F238E27FC236}">
                    <a16:creationId xmlns:a16="http://schemas.microsoft.com/office/drawing/2014/main" id="{47D238CD-E39E-45CE-9C6A-2431846B9E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6" y="1905"/>
                <a:ext cx="1" cy="3"/>
              </a:xfrm>
              <a:custGeom>
                <a:avLst/>
                <a:gdLst>
                  <a:gd name="T0" fmla="*/ 0 w 1"/>
                  <a:gd name="T1" fmla="*/ 0 h 3"/>
                  <a:gd name="T2" fmla="*/ 0 w 1"/>
                  <a:gd name="T3" fmla="*/ 0 h 3"/>
                  <a:gd name="T4" fmla="*/ 1 w 1"/>
                  <a:gd name="T5" fmla="*/ 3 h 3"/>
                  <a:gd name="T6" fmla="*/ 0 w 1"/>
                  <a:gd name="T7" fmla="*/ 0 h 3"/>
                  <a:gd name="T8" fmla="*/ 0 w 1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3">
                    <a:moveTo>
                      <a:pt x="0" y="0"/>
                    </a:moveTo>
                    <a:lnTo>
                      <a:pt x="0" y="0"/>
                    </a:lnTo>
                    <a:lnTo>
                      <a:pt x="1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1" name="Freeform 7">
                <a:extLst>
                  <a:ext uri="{FF2B5EF4-FFF2-40B4-BE49-F238E27FC236}">
                    <a16:creationId xmlns:a16="http://schemas.microsoft.com/office/drawing/2014/main" id="{4AFD66C5-C7E6-40CD-95E8-6D987AFC87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7" y="1903"/>
                <a:ext cx="21" cy="17"/>
              </a:xfrm>
              <a:custGeom>
                <a:avLst/>
                <a:gdLst>
                  <a:gd name="T0" fmla="*/ 9 w 21"/>
                  <a:gd name="T1" fmla="*/ 15 h 17"/>
                  <a:gd name="T2" fmla="*/ 5 w 21"/>
                  <a:gd name="T3" fmla="*/ 13 h 17"/>
                  <a:gd name="T4" fmla="*/ 8 w 21"/>
                  <a:gd name="T5" fmla="*/ 17 h 17"/>
                  <a:gd name="T6" fmla="*/ 10 w 21"/>
                  <a:gd name="T7" fmla="*/ 15 h 17"/>
                  <a:gd name="T8" fmla="*/ 11 w 21"/>
                  <a:gd name="T9" fmla="*/ 13 h 17"/>
                  <a:gd name="T10" fmla="*/ 9 w 21"/>
                  <a:gd name="T11" fmla="*/ 11 h 17"/>
                  <a:gd name="T12" fmla="*/ 11 w 21"/>
                  <a:gd name="T13" fmla="*/ 11 h 17"/>
                  <a:gd name="T14" fmla="*/ 17 w 21"/>
                  <a:gd name="T15" fmla="*/ 13 h 17"/>
                  <a:gd name="T16" fmla="*/ 19 w 21"/>
                  <a:gd name="T17" fmla="*/ 14 h 17"/>
                  <a:gd name="T18" fmla="*/ 21 w 21"/>
                  <a:gd name="T19" fmla="*/ 12 h 17"/>
                  <a:gd name="T20" fmla="*/ 20 w 21"/>
                  <a:gd name="T21" fmla="*/ 10 h 17"/>
                  <a:gd name="T22" fmla="*/ 14 w 21"/>
                  <a:gd name="T23" fmla="*/ 10 h 17"/>
                  <a:gd name="T24" fmla="*/ 12 w 21"/>
                  <a:gd name="T25" fmla="*/ 8 h 17"/>
                  <a:gd name="T26" fmla="*/ 7 w 21"/>
                  <a:gd name="T27" fmla="*/ 4 h 17"/>
                  <a:gd name="T28" fmla="*/ 14 w 21"/>
                  <a:gd name="T29" fmla="*/ 8 h 17"/>
                  <a:gd name="T30" fmla="*/ 18 w 21"/>
                  <a:gd name="T31" fmla="*/ 9 h 17"/>
                  <a:gd name="T32" fmla="*/ 17 w 21"/>
                  <a:gd name="T33" fmla="*/ 5 h 17"/>
                  <a:gd name="T34" fmla="*/ 19 w 21"/>
                  <a:gd name="T35" fmla="*/ 6 h 17"/>
                  <a:gd name="T36" fmla="*/ 20 w 21"/>
                  <a:gd name="T37" fmla="*/ 4 h 17"/>
                  <a:gd name="T38" fmla="*/ 17 w 21"/>
                  <a:gd name="T39" fmla="*/ 2 h 17"/>
                  <a:gd name="T40" fmla="*/ 14 w 21"/>
                  <a:gd name="T41" fmla="*/ 2 h 17"/>
                  <a:gd name="T42" fmla="*/ 9 w 21"/>
                  <a:gd name="T43" fmla="*/ 4 h 17"/>
                  <a:gd name="T44" fmla="*/ 12 w 21"/>
                  <a:gd name="T45" fmla="*/ 2 h 17"/>
                  <a:gd name="T46" fmla="*/ 9 w 21"/>
                  <a:gd name="T47" fmla="*/ 0 h 17"/>
                  <a:gd name="T48" fmla="*/ 4 w 21"/>
                  <a:gd name="T49" fmla="*/ 0 h 17"/>
                  <a:gd name="T50" fmla="*/ 3 w 21"/>
                  <a:gd name="T51" fmla="*/ 2 h 17"/>
                  <a:gd name="T52" fmla="*/ 1 w 21"/>
                  <a:gd name="T53" fmla="*/ 0 h 17"/>
                  <a:gd name="T54" fmla="*/ 0 w 21"/>
                  <a:gd name="T55" fmla="*/ 2 h 17"/>
                  <a:gd name="T56" fmla="*/ 2 w 21"/>
                  <a:gd name="T57" fmla="*/ 5 h 17"/>
                  <a:gd name="T58" fmla="*/ 0 w 21"/>
                  <a:gd name="T59" fmla="*/ 8 h 17"/>
                  <a:gd name="T60" fmla="*/ 2 w 21"/>
                  <a:gd name="T61" fmla="*/ 9 h 17"/>
                  <a:gd name="T62" fmla="*/ 4 w 21"/>
                  <a:gd name="T63" fmla="*/ 12 h 17"/>
                  <a:gd name="T64" fmla="*/ 9 w 21"/>
                  <a:gd name="T65" fmla="*/ 15 h 17"/>
                  <a:gd name="T66" fmla="*/ 9 w 21"/>
                  <a:gd name="T67" fmla="*/ 1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1" h="17">
                    <a:moveTo>
                      <a:pt x="9" y="15"/>
                    </a:moveTo>
                    <a:lnTo>
                      <a:pt x="5" y="13"/>
                    </a:lnTo>
                    <a:lnTo>
                      <a:pt x="8" y="17"/>
                    </a:lnTo>
                    <a:lnTo>
                      <a:pt x="10" y="15"/>
                    </a:lnTo>
                    <a:lnTo>
                      <a:pt x="11" y="13"/>
                    </a:lnTo>
                    <a:lnTo>
                      <a:pt x="9" y="11"/>
                    </a:lnTo>
                    <a:lnTo>
                      <a:pt x="11" y="11"/>
                    </a:lnTo>
                    <a:lnTo>
                      <a:pt x="17" y="13"/>
                    </a:lnTo>
                    <a:lnTo>
                      <a:pt x="19" y="14"/>
                    </a:lnTo>
                    <a:lnTo>
                      <a:pt x="21" y="12"/>
                    </a:lnTo>
                    <a:lnTo>
                      <a:pt x="20" y="10"/>
                    </a:lnTo>
                    <a:lnTo>
                      <a:pt x="14" y="10"/>
                    </a:lnTo>
                    <a:lnTo>
                      <a:pt x="12" y="8"/>
                    </a:lnTo>
                    <a:lnTo>
                      <a:pt x="7" y="4"/>
                    </a:lnTo>
                    <a:lnTo>
                      <a:pt x="14" y="8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9" y="6"/>
                    </a:lnTo>
                    <a:lnTo>
                      <a:pt x="20" y="4"/>
                    </a:lnTo>
                    <a:lnTo>
                      <a:pt x="17" y="2"/>
                    </a:lnTo>
                    <a:lnTo>
                      <a:pt x="14" y="2"/>
                    </a:lnTo>
                    <a:lnTo>
                      <a:pt x="9" y="4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2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2" y="5"/>
                    </a:lnTo>
                    <a:lnTo>
                      <a:pt x="0" y="8"/>
                    </a:lnTo>
                    <a:lnTo>
                      <a:pt x="2" y="9"/>
                    </a:lnTo>
                    <a:lnTo>
                      <a:pt x="4" y="12"/>
                    </a:lnTo>
                    <a:lnTo>
                      <a:pt x="9" y="15"/>
                    </a:lnTo>
                    <a:lnTo>
                      <a:pt x="9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2" name="Freeform 8">
                <a:extLst>
                  <a:ext uri="{FF2B5EF4-FFF2-40B4-BE49-F238E27FC236}">
                    <a16:creationId xmlns:a16="http://schemas.microsoft.com/office/drawing/2014/main" id="{22537EA4-925F-42CE-8562-95E79AC4CF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8" y="1917"/>
                <a:ext cx="14" cy="24"/>
              </a:xfrm>
              <a:custGeom>
                <a:avLst/>
                <a:gdLst>
                  <a:gd name="T0" fmla="*/ 7 w 14"/>
                  <a:gd name="T1" fmla="*/ 17 h 24"/>
                  <a:gd name="T2" fmla="*/ 9 w 14"/>
                  <a:gd name="T3" fmla="*/ 16 h 24"/>
                  <a:gd name="T4" fmla="*/ 8 w 14"/>
                  <a:gd name="T5" fmla="*/ 18 h 24"/>
                  <a:gd name="T6" fmla="*/ 10 w 14"/>
                  <a:gd name="T7" fmla="*/ 24 h 24"/>
                  <a:gd name="T8" fmla="*/ 14 w 14"/>
                  <a:gd name="T9" fmla="*/ 22 h 24"/>
                  <a:gd name="T10" fmla="*/ 12 w 14"/>
                  <a:gd name="T11" fmla="*/ 18 h 24"/>
                  <a:gd name="T12" fmla="*/ 14 w 14"/>
                  <a:gd name="T13" fmla="*/ 16 h 24"/>
                  <a:gd name="T14" fmla="*/ 10 w 14"/>
                  <a:gd name="T15" fmla="*/ 5 h 24"/>
                  <a:gd name="T16" fmla="*/ 9 w 14"/>
                  <a:gd name="T17" fmla="*/ 3 h 24"/>
                  <a:gd name="T18" fmla="*/ 6 w 14"/>
                  <a:gd name="T19" fmla="*/ 1 h 24"/>
                  <a:gd name="T20" fmla="*/ 3 w 14"/>
                  <a:gd name="T21" fmla="*/ 0 h 24"/>
                  <a:gd name="T22" fmla="*/ 0 w 14"/>
                  <a:gd name="T23" fmla="*/ 1 h 24"/>
                  <a:gd name="T24" fmla="*/ 0 w 14"/>
                  <a:gd name="T25" fmla="*/ 4 h 24"/>
                  <a:gd name="T26" fmla="*/ 2 w 14"/>
                  <a:gd name="T27" fmla="*/ 5 h 24"/>
                  <a:gd name="T28" fmla="*/ 2 w 14"/>
                  <a:gd name="T29" fmla="*/ 7 h 24"/>
                  <a:gd name="T30" fmla="*/ 6 w 14"/>
                  <a:gd name="T31" fmla="*/ 9 h 24"/>
                  <a:gd name="T32" fmla="*/ 2 w 14"/>
                  <a:gd name="T33" fmla="*/ 11 h 24"/>
                  <a:gd name="T34" fmla="*/ 3 w 14"/>
                  <a:gd name="T35" fmla="*/ 14 h 24"/>
                  <a:gd name="T36" fmla="*/ 6 w 14"/>
                  <a:gd name="T37" fmla="*/ 13 h 24"/>
                  <a:gd name="T38" fmla="*/ 6 w 14"/>
                  <a:gd name="T39" fmla="*/ 16 h 24"/>
                  <a:gd name="T40" fmla="*/ 8 w 14"/>
                  <a:gd name="T41" fmla="*/ 14 h 24"/>
                  <a:gd name="T42" fmla="*/ 6 w 14"/>
                  <a:gd name="T43" fmla="*/ 17 h 24"/>
                  <a:gd name="T44" fmla="*/ 7 w 14"/>
                  <a:gd name="T45" fmla="*/ 17 h 24"/>
                  <a:gd name="T46" fmla="*/ 7 w 14"/>
                  <a:gd name="T47" fmla="*/ 17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" h="24">
                    <a:moveTo>
                      <a:pt x="7" y="17"/>
                    </a:moveTo>
                    <a:lnTo>
                      <a:pt x="9" y="16"/>
                    </a:lnTo>
                    <a:lnTo>
                      <a:pt x="8" y="18"/>
                    </a:lnTo>
                    <a:lnTo>
                      <a:pt x="10" y="24"/>
                    </a:lnTo>
                    <a:lnTo>
                      <a:pt x="14" y="22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0" y="5"/>
                    </a:lnTo>
                    <a:lnTo>
                      <a:pt x="9" y="3"/>
                    </a:lnTo>
                    <a:lnTo>
                      <a:pt x="6" y="1"/>
                    </a:lnTo>
                    <a:lnTo>
                      <a:pt x="3" y="0"/>
                    </a:lnTo>
                    <a:lnTo>
                      <a:pt x="0" y="1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6" y="9"/>
                    </a:lnTo>
                    <a:lnTo>
                      <a:pt x="2" y="11"/>
                    </a:lnTo>
                    <a:lnTo>
                      <a:pt x="3" y="14"/>
                    </a:lnTo>
                    <a:lnTo>
                      <a:pt x="6" y="13"/>
                    </a:lnTo>
                    <a:lnTo>
                      <a:pt x="6" y="16"/>
                    </a:lnTo>
                    <a:lnTo>
                      <a:pt x="8" y="14"/>
                    </a:lnTo>
                    <a:lnTo>
                      <a:pt x="6" y="17"/>
                    </a:lnTo>
                    <a:lnTo>
                      <a:pt x="7" y="17"/>
                    </a:lnTo>
                    <a:lnTo>
                      <a:pt x="7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3" name="Freeform 9">
                <a:extLst>
                  <a:ext uri="{FF2B5EF4-FFF2-40B4-BE49-F238E27FC236}">
                    <a16:creationId xmlns:a16="http://schemas.microsoft.com/office/drawing/2014/main" id="{E76420E8-2814-41DA-AF0B-93B402EC73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7" y="1899"/>
                <a:ext cx="15" cy="26"/>
              </a:xfrm>
              <a:custGeom>
                <a:avLst/>
                <a:gdLst>
                  <a:gd name="T0" fmla="*/ 5 w 15"/>
                  <a:gd name="T1" fmla="*/ 18 h 26"/>
                  <a:gd name="T2" fmla="*/ 7 w 15"/>
                  <a:gd name="T3" fmla="*/ 17 h 26"/>
                  <a:gd name="T4" fmla="*/ 5 w 15"/>
                  <a:gd name="T5" fmla="*/ 18 h 26"/>
                  <a:gd name="T6" fmla="*/ 7 w 15"/>
                  <a:gd name="T7" fmla="*/ 21 h 26"/>
                  <a:gd name="T8" fmla="*/ 5 w 15"/>
                  <a:gd name="T9" fmla="*/ 22 h 26"/>
                  <a:gd name="T10" fmla="*/ 5 w 15"/>
                  <a:gd name="T11" fmla="*/ 25 h 26"/>
                  <a:gd name="T12" fmla="*/ 7 w 15"/>
                  <a:gd name="T13" fmla="*/ 26 h 26"/>
                  <a:gd name="T14" fmla="*/ 10 w 15"/>
                  <a:gd name="T15" fmla="*/ 24 h 26"/>
                  <a:gd name="T16" fmla="*/ 10 w 15"/>
                  <a:gd name="T17" fmla="*/ 22 h 26"/>
                  <a:gd name="T18" fmla="*/ 14 w 15"/>
                  <a:gd name="T19" fmla="*/ 22 h 26"/>
                  <a:gd name="T20" fmla="*/ 13 w 15"/>
                  <a:gd name="T21" fmla="*/ 19 h 26"/>
                  <a:gd name="T22" fmla="*/ 14 w 15"/>
                  <a:gd name="T23" fmla="*/ 16 h 26"/>
                  <a:gd name="T24" fmla="*/ 9 w 15"/>
                  <a:gd name="T25" fmla="*/ 10 h 26"/>
                  <a:gd name="T26" fmla="*/ 9 w 15"/>
                  <a:gd name="T27" fmla="*/ 8 h 26"/>
                  <a:gd name="T28" fmla="*/ 13 w 15"/>
                  <a:gd name="T29" fmla="*/ 14 h 26"/>
                  <a:gd name="T30" fmla="*/ 15 w 15"/>
                  <a:gd name="T31" fmla="*/ 16 h 26"/>
                  <a:gd name="T32" fmla="*/ 14 w 15"/>
                  <a:gd name="T33" fmla="*/ 12 h 26"/>
                  <a:gd name="T34" fmla="*/ 11 w 15"/>
                  <a:gd name="T35" fmla="*/ 8 h 26"/>
                  <a:gd name="T36" fmla="*/ 10 w 15"/>
                  <a:gd name="T37" fmla="*/ 6 h 26"/>
                  <a:gd name="T38" fmla="*/ 5 w 15"/>
                  <a:gd name="T39" fmla="*/ 5 h 26"/>
                  <a:gd name="T40" fmla="*/ 2 w 15"/>
                  <a:gd name="T41" fmla="*/ 2 h 26"/>
                  <a:gd name="T42" fmla="*/ 0 w 15"/>
                  <a:gd name="T43" fmla="*/ 0 h 26"/>
                  <a:gd name="T44" fmla="*/ 0 w 15"/>
                  <a:gd name="T45" fmla="*/ 2 h 26"/>
                  <a:gd name="T46" fmla="*/ 1 w 15"/>
                  <a:gd name="T47" fmla="*/ 6 h 26"/>
                  <a:gd name="T48" fmla="*/ 2 w 15"/>
                  <a:gd name="T49" fmla="*/ 8 h 26"/>
                  <a:gd name="T50" fmla="*/ 2 w 15"/>
                  <a:gd name="T51" fmla="*/ 14 h 26"/>
                  <a:gd name="T52" fmla="*/ 5 w 15"/>
                  <a:gd name="T53" fmla="*/ 18 h 26"/>
                  <a:gd name="T54" fmla="*/ 5 w 15"/>
                  <a:gd name="T55" fmla="*/ 18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" h="26">
                    <a:moveTo>
                      <a:pt x="5" y="18"/>
                    </a:moveTo>
                    <a:lnTo>
                      <a:pt x="7" y="17"/>
                    </a:lnTo>
                    <a:lnTo>
                      <a:pt x="5" y="18"/>
                    </a:lnTo>
                    <a:lnTo>
                      <a:pt x="7" y="21"/>
                    </a:lnTo>
                    <a:lnTo>
                      <a:pt x="5" y="22"/>
                    </a:lnTo>
                    <a:lnTo>
                      <a:pt x="5" y="25"/>
                    </a:lnTo>
                    <a:lnTo>
                      <a:pt x="7" y="26"/>
                    </a:lnTo>
                    <a:lnTo>
                      <a:pt x="10" y="24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3" y="19"/>
                    </a:lnTo>
                    <a:lnTo>
                      <a:pt x="14" y="16"/>
                    </a:lnTo>
                    <a:lnTo>
                      <a:pt x="9" y="10"/>
                    </a:lnTo>
                    <a:lnTo>
                      <a:pt x="9" y="8"/>
                    </a:lnTo>
                    <a:lnTo>
                      <a:pt x="13" y="14"/>
                    </a:lnTo>
                    <a:lnTo>
                      <a:pt x="15" y="16"/>
                    </a:lnTo>
                    <a:lnTo>
                      <a:pt x="14" y="12"/>
                    </a:lnTo>
                    <a:lnTo>
                      <a:pt x="11" y="8"/>
                    </a:lnTo>
                    <a:lnTo>
                      <a:pt x="10" y="6"/>
                    </a:lnTo>
                    <a:lnTo>
                      <a:pt x="5" y="5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1" y="6"/>
                    </a:lnTo>
                    <a:lnTo>
                      <a:pt x="2" y="8"/>
                    </a:lnTo>
                    <a:lnTo>
                      <a:pt x="2" y="14"/>
                    </a:lnTo>
                    <a:lnTo>
                      <a:pt x="5" y="18"/>
                    </a:lnTo>
                    <a:lnTo>
                      <a:pt x="5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4" name="Freeform 10">
                <a:extLst>
                  <a:ext uri="{FF2B5EF4-FFF2-40B4-BE49-F238E27FC236}">
                    <a16:creationId xmlns:a16="http://schemas.microsoft.com/office/drawing/2014/main" id="{C75CCCA9-26A2-4C10-BF3F-DDD7219193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3" y="1900"/>
                <a:ext cx="2" cy="3"/>
              </a:xfrm>
              <a:custGeom>
                <a:avLst/>
                <a:gdLst>
                  <a:gd name="T0" fmla="*/ 0 w 2"/>
                  <a:gd name="T1" fmla="*/ 0 h 3"/>
                  <a:gd name="T2" fmla="*/ 0 w 2"/>
                  <a:gd name="T3" fmla="*/ 3 h 3"/>
                  <a:gd name="T4" fmla="*/ 2 w 2"/>
                  <a:gd name="T5" fmla="*/ 3 h 3"/>
                  <a:gd name="T6" fmla="*/ 0 w 2"/>
                  <a:gd name="T7" fmla="*/ 0 h 3"/>
                  <a:gd name="T8" fmla="*/ 0 w 2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0" y="3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5" name="Freeform 11">
                <a:extLst>
                  <a:ext uri="{FF2B5EF4-FFF2-40B4-BE49-F238E27FC236}">
                    <a16:creationId xmlns:a16="http://schemas.microsoft.com/office/drawing/2014/main" id="{0E27090A-89E8-4A5F-8B7F-195B15A429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4" y="1929"/>
                <a:ext cx="9" cy="18"/>
              </a:xfrm>
              <a:custGeom>
                <a:avLst/>
                <a:gdLst>
                  <a:gd name="T0" fmla="*/ 3 w 9"/>
                  <a:gd name="T1" fmla="*/ 18 h 18"/>
                  <a:gd name="T2" fmla="*/ 4 w 9"/>
                  <a:gd name="T3" fmla="*/ 12 h 18"/>
                  <a:gd name="T4" fmla="*/ 6 w 9"/>
                  <a:gd name="T5" fmla="*/ 14 h 18"/>
                  <a:gd name="T6" fmla="*/ 7 w 9"/>
                  <a:gd name="T7" fmla="*/ 12 h 18"/>
                  <a:gd name="T8" fmla="*/ 8 w 9"/>
                  <a:gd name="T9" fmla="*/ 6 h 18"/>
                  <a:gd name="T10" fmla="*/ 9 w 9"/>
                  <a:gd name="T11" fmla="*/ 4 h 18"/>
                  <a:gd name="T12" fmla="*/ 6 w 9"/>
                  <a:gd name="T13" fmla="*/ 5 h 18"/>
                  <a:gd name="T14" fmla="*/ 7 w 9"/>
                  <a:gd name="T15" fmla="*/ 2 h 18"/>
                  <a:gd name="T16" fmla="*/ 4 w 9"/>
                  <a:gd name="T17" fmla="*/ 0 h 18"/>
                  <a:gd name="T18" fmla="*/ 1 w 9"/>
                  <a:gd name="T19" fmla="*/ 0 h 18"/>
                  <a:gd name="T20" fmla="*/ 0 w 9"/>
                  <a:gd name="T21" fmla="*/ 3 h 18"/>
                  <a:gd name="T22" fmla="*/ 2 w 9"/>
                  <a:gd name="T23" fmla="*/ 5 h 18"/>
                  <a:gd name="T24" fmla="*/ 4 w 9"/>
                  <a:gd name="T25" fmla="*/ 6 h 18"/>
                  <a:gd name="T26" fmla="*/ 6 w 9"/>
                  <a:gd name="T27" fmla="*/ 9 h 18"/>
                  <a:gd name="T28" fmla="*/ 2 w 9"/>
                  <a:gd name="T29" fmla="*/ 9 h 18"/>
                  <a:gd name="T30" fmla="*/ 3 w 9"/>
                  <a:gd name="T31" fmla="*/ 14 h 18"/>
                  <a:gd name="T32" fmla="*/ 3 w 9"/>
                  <a:gd name="T33" fmla="*/ 18 h 18"/>
                  <a:gd name="T34" fmla="*/ 3 w 9"/>
                  <a:gd name="T3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" h="18">
                    <a:moveTo>
                      <a:pt x="3" y="18"/>
                    </a:moveTo>
                    <a:lnTo>
                      <a:pt x="4" y="12"/>
                    </a:lnTo>
                    <a:lnTo>
                      <a:pt x="6" y="14"/>
                    </a:lnTo>
                    <a:lnTo>
                      <a:pt x="7" y="12"/>
                    </a:lnTo>
                    <a:lnTo>
                      <a:pt x="8" y="6"/>
                    </a:lnTo>
                    <a:lnTo>
                      <a:pt x="9" y="4"/>
                    </a:lnTo>
                    <a:lnTo>
                      <a:pt x="6" y="5"/>
                    </a:lnTo>
                    <a:lnTo>
                      <a:pt x="7" y="2"/>
                    </a:lnTo>
                    <a:lnTo>
                      <a:pt x="4" y="0"/>
                    </a:lnTo>
                    <a:lnTo>
                      <a:pt x="1" y="0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4" y="6"/>
                    </a:lnTo>
                    <a:lnTo>
                      <a:pt x="6" y="9"/>
                    </a:lnTo>
                    <a:lnTo>
                      <a:pt x="2" y="9"/>
                    </a:lnTo>
                    <a:lnTo>
                      <a:pt x="3" y="14"/>
                    </a:lnTo>
                    <a:lnTo>
                      <a:pt x="3" y="18"/>
                    </a:lnTo>
                    <a:lnTo>
                      <a:pt x="3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6" name="Freeform 12">
                <a:extLst>
                  <a:ext uri="{FF2B5EF4-FFF2-40B4-BE49-F238E27FC236}">
                    <a16:creationId xmlns:a16="http://schemas.microsoft.com/office/drawing/2014/main" id="{85EB06DB-A51E-46B5-8E28-78521A5622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3" y="1938"/>
                <a:ext cx="6" cy="4"/>
              </a:xfrm>
              <a:custGeom>
                <a:avLst/>
                <a:gdLst>
                  <a:gd name="T0" fmla="*/ 5 w 6"/>
                  <a:gd name="T1" fmla="*/ 0 h 4"/>
                  <a:gd name="T2" fmla="*/ 2 w 6"/>
                  <a:gd name="T3" fmla="*/ 0 h 4"/>
                  <a:gd name="T4" fmla="*/ 0 w 6"/>
                  <a:gd name="T5" fmla="*/ 2 h 4"/>
                  <a:gd name="T6" fmla="*/ 2 w 6"/>
                  <a:gd name="T7" fmla="*/ 4 h 4"/>
                  <a:gd name="T8" fmla="*/ 6 w 6"/>
                  <a:gd name="T9" fmla="*/ 2 h 4"/>
                  <a:gd name="T10" fmla="*/ 5 w 6"/>
                  <a:gd name="T11" fmla="*/ 0 h 4"/>
                  <a:gd name="T12" fmla="*/ 5 w 6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5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7" name="Freeform 13">
                <a:extLst>
                  <a:ext uri="{FF2B5EF4-FFF2-40B4-BE49-F238E27FC236}">
                    <a16:creationId xmlns:a16="http://schemas.microsoft.com/office/drawing/2014/main" id="{6D6CB40F-B1DF-4102-A43E-6F434398F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5" y="1961"/>
                <a:ext cx="3" cy="4"/>
              </a:xfrm>
              <a:custGeom>
                <a:avLst/>
                <a:gdLst>
                  <a:gd name="T0" fmla="*/ 0 w 3"/>
                  <a:gd name="T1" fmla="*/ 0 h 4"/>
                  <a:gd name="T2" fmla="*/ 0 w 3"/>
                  <a:gd name="T3" fmla="*/ 4 h 4"/>
                  <a:gd name="T4" fmla="*/ 3 w 3"/>
                  <a:gd name="T5" fmla="*/ 4 h 4"/>
                  <a:gd name="T6" fmla="*/ 0 w 3"/>
                  <a:gd name="T7" fmla="*/ 0 h 4"/>
                  <a:gd name="T8" fmla="*/ 0 w 3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lnTo>
                      <a:pt x="0" y="4"/>
                    </a:lnTo>
                    <a:lnTo>
                      <a:pt x="3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8" name="Freeform 14">
                <a:extLst>
                  <a:ext uri="{FF2B5EF4-FFF2-40B4-BE49-F238E27FC236}">
                    <a16:creationId xmlns:a16="http://schemas.microsoft.com/office/drawing/2014/main" id="{DE1EFA14-6F9E-4472-8318-1C2ACECD0C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8" y="1940"/>
                <a:ext cx="6" cy="7"/>
              </a:xfrm>
              <a:custGeom>
                <a:avLst/>
                <a:gdLst>
                  <a:gd name="T0" fmla="*/ 4 w 6"/>
                  <a:gd name="T1" fmla="*/ 0 h 7"/>
                  <a:gd name="T2" fmla="*/ 2 w 6"/>
                  <a:gd name="T3" fmla="*/ 0 h 7"/>
                  <a:gd name="T4" fmla="*/ 0 w 6"/>
                  <a:gd name="T5" fmla="*/ 2 h 7"/>
                  <a:gd name="T6" fmla="*/ 1 w 6"/>
                  <a:gd name="T7" fmla="*/ 5 h 7"/>
                  <a:gd name="T8" fmla="*/ 4 w 6"/>
                  <a:gd name="T9" fmla="*/ 7 h 7"/>
                  <a:gd name="T10" fmla="*/ 6 w 6"/>
                  <a:gd name="T11" fmla="*/ 6 h 7"/>
                  <a:gd name="T12" fmla="*/ 5 w 6"/>
                  <a:gd name="T13" fmla="*/ 2 h 7"/>
                  <a:gd name="T14" fmla="*/ 2 w 6"/>
                  <a:gd name="T15" fmla="*/ 2 h 7"/>
                  <a:gd name="T16" fmla="*/ 4 w 6"/>
                  <a:gd name="T17" fmla="*/ 0 h 7"/>
                  <a:gd name="T18" fmla="*/ 4 w 6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7">
                    <a:moveTo>
                      <a:pt x="4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1" y="5"/>
                    </a:lnTo>
                    <a:lnTo>
                      <a:pt x="4" y="7"/>
                    </a:lnTo>
                    <a:lnTo>
                      <a:pt x="6" y="6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9" name="Freeform 15">
                <a:extLst>
                  <a:ext uri="{FF2B5EF4-FFF2-40B4-BE49-F238E27FC236}">
                    <a16:creationId xmlns:a16="http://schemas.microsoft.com/office/drawing/2014/main" id="{E290F6B0-B678-476E-BCD5-5939F882A1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2" y="1937"/>
                <a:ext cx="6" cy="6"/>
              </a:xfrm>
              <a:custGeom>
                <a:avLst/>
                <a:gdLst>
                  <a:gd name="T0" fmla="*/ 0 w 6"/>
                  <a:gd name="T1" fmla="*/ 0 h 6"/>
                  <a:gd name="T2" fmla="*/ 0 w 6"/>
                  <a:gd name="T3" fmla="*/ 4 h 6"/>
                  <a:gd name="T4" fmla="*/ 2 w 6"/>
                  <a:gd name="T5" fmla="*/ 6 h 6"/>
                  <a:gd name="T6" fmla="*/ 6 w 6"/>
                  <a:gd name="T7" fmla="*/ 5 h 6"/>
                  <a:gd name="T8" fmla="*/ 0 w 6"/>
                  <a:gd name="T9" fmla="*/ 0 h 6"/>
                  <a:gd name="T10" fmla="*/ 0 w 6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lnTo>
                      <a:pt x="0" y="4"/>
                    </a:lnTo>
                    <a:lnTo>
                      <a:pt x="2" y="6"/>
                    </a:lnTo>
                    <a:lnTo>
                      <a:pt x="6" y="5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0" name="Freeform 16">
                <a:extLst>
                  <a:ext uri="{FF2B5EF4-FFF2-40B4-BE49-F238E27FC236}">
                    <a16:creationId xmlns:a16="http://schemas.microsoft.com/office/drawing/2014/main" id="{9B50BCF7-6FFD-4B0B-881C-9A73A275DD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9" y="1958"/>
                <a:ext cx="3" cy="5"/>
              </a:xfrm>
              <a:custGeom>
                <a:avLst/>
                <a:gdLst>
                  <a:gd name="T0" fmla="*/ 0 w 3"/>
                  <a:gd name="T1" fmla="*/ 0 h 5"/>
                  <a:gd name="T2" fmla="*/ 0 w 3"/>
                  <a:gd name="T3" fmla="*/ 1 h 5"/>
                  <a:gd name="T4" fmla="*/ 1 w 3"/>
                  <a:gd name="T5" fmla="*/ 5 h 5"/>
                  <a:gd name="T6" fmla="*/ 3 w 3"/>
                  <a:gd name="T7" fmla="*/ 1 h 5"/>
                  <a:gd name="T8" fmla="*/ 0 w 3"/>
                  <a:gd name="T9" fmla="*/ 0 h 5"/>
                  <a:gd name="T10" fmla="*/ 0 w 3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5">
                    <a:moveTo>
                      <a:pt x="0" y="0"/>
                    </a:moveTo>
                    <a:lnTo>
                      <a:pt x="0" y="1"/>
                    </a:lnTo>
                    <a:lnTo>
                      <a:pt x="1" y="5"/>
                    </a:lnTo>
                    <a:lnTo>
                      <a:pt x="3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1" name="Freeform 17">
                <a:extLst>
                  <a:ext uri="{FF2B5EF4-FFF2-40B4-BE49-F238E27FC236}">
                    <a16:creationId xmlns:a16="http://schemas.microsoft.com/office/drawing/2014/main" id="{E96F29C5-1ABE-4D6B-A381-E8373C231C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0" y="1947"/>
                <a:ext cx="11" cy="13"/>
              </a:xfrm>
              <a:custGeom>
                <a:avLst/>
                <a:gdLst>
                  <a:gd name="T0" fmla="*/ 2 w 11"/>
                  <a:gd name="T1" fmla="*/ 12 h 13"/>
                  <a:gd name="T2" fmla="*/ 4 w 11"/>
                  <a:gd name="T3" fmla="*/ 10 h 13"/>
                  <a:gd name="T4" fmla="*/ 7 w 11"/>
                  <a:gd name="T5" fmla="*/ 10 h 13"/>
                  <a:gd name="T6" fmla="*/ 6 w 11"/>
                  <a:gd name="T7" fmla="*/ 8 h 13"/>
                  <a:gd name="T8" fmla="*/ 7 w 11"/>
                  <a:gd name="T9" fmla="*/ 10 h 13"/>
                  <a:gd name="T10" fmla="*/ 5 w 11"/>
                  <a:gd name="T11" fmla="*/ 12 h 13"/>
                  <a:gd name="T12" fmla="*/ 7 w 11"/>
                  <a:gd name="T13" fmla="*/ 12 h 13"/>
                  <a:gd name="T14" fmla="*/ 10 w 11"/>
                  <a:gd name="T15" fmla="*/ 13 h 13"/>
                  <a:gd name="T16" fmla="*/ 11 w 11"/>
                  <a:gd name="T17" fmla="*/ 5 h 13"/>
                  <a:gd name="T18" fmla="*/ 10 w 11"/>
                  <a:gd name="T19" fmla="*/ 3 h 13"/>
                  <a:gd name="T20" fmla="*/ 7 w 11"/>
                  <a:gd name="T21" fmla="*/ 0 h 13"/>
                  <a:gd name="T22" fmla="*/ 5 w 11"/>
                  <a:gd name="T23" fmla="*/ 1 h 13"/>
                  <a:gd name="T24" fmla="*/ 2 w 11"/>
                  <a:gd name="T25" fmla="*/ 2 h 13"/>
                  <a:gd name="T26" fmla="*/ 2 w 11"/>
                  <a:gd name="T27" fmla="*/ 8 h 13"/>
                  <a:gd name="T28" fmla="*/ 0 w 11"/>
                  <a:gd name="T29" fmla="*/ 11 h 13"/>
                  <a:gd name="T30" fmla="*/ 2 w 11"/>
                  <a:gd name="T31" fmla="*/ 12 h 13"/>
                  <a:gd name="T32" fmla="*/ 2 w 11"/>
                  <a:gd name="T33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2" y="12"/>
                    </a:moveTo>
                    <a:lnTo>
                      <a:pt x="4" y="10"/>
                    </a:lnTo>
                    <a:lnTo>
                      <a:pt x="7" y="10"/>
                    </a:lnTo>
                    <a:lnTo>
                      <a:pt x="6" y="8"/>
                    </a:lnTo>
                    <a:lnTo>
                      <a:pt x="7" y="10"/>
                    </a:lnTo>
                    <a:lnTo>
                      <a:pt x="5" y="12"/>
                    </a:lnTo>
                    <a:lnTo>
                      <a:pt x="7" y="12"/>
                    </a:lnTo>
                    <a:lnTo>
                      <a:pt x="10" y="13"/>
                    </a:lnTo>
                    <a:lnTo>
                      <a:pt x="11" y="5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5" y="1"/>
                    </a:lnTo>
                    <a:lnTo>
                      <a:pt x="2" y="2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2" y="12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2" name="Freeform 18">
                <a:extLst>
                  <a:ext uri="{FF2B5EF4-FFF2-40B4-BE49-F238E27FC236}">
                    <a16:creationId xmlns:a16="http://schemas.microsoft.com/office/drawing/2014/main" id="{43E0AFE0-DF59-426F-98B1-0D89E87802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2" y="1981"/>
                <a:ext cx="19" cy="19"/>
              </a:xfrm>
              <a:custGeom>
                <a:avLst/>
                <a:gdLst>
                  <a:gd name="T0" fmla="*/ 2 w 19"/>
                  <a:gd name="T1" fmla="*/ 11 h 19"/>
                  <a:gd name="T2" fmla="*/ 5 w 19"/>
                  <a:gd name="T3" fmla="*/ 13 h 19"/>
                  <a:gd name="T4" fmla="*/ 7 w 19"/>
                  <a:gd name="T5" fmla="*/ 14 h 19"/>
                  <a:gd name="T6" fmla="*/ 5 w 19"/>
                  <a:gd name="T7" fmla="*/ 16 h 19"/>
                  <a:gd name="T8" fmla="*/ 8 w 19"/>
                  <a:gd name="T9" fmla="*/ 16 h 19"/>
                  <a:gd name="T10" fmla="*/ 8 w 19"/>
                  <a:gd name="T11" fmla="*/ 18 h 19"/>
                  <a:gd name="T12" fmla="*/ 10 w 19"/>
                  <a:gd name="T13" fmla="*/ 19 h 19"/>
                  <a:gd name="T14" fmla="*/ 14 w 19"/>
                  <a:gd name="T15" fmla="*/ 18 h 19"/>
                  <a:gd name="T16" fmla="*/ 16 w 19"/>
                  <a:gd name="T17" fmla="*/ 16 h 19"/>
                  <a:gd name="T18" fmla="*/ 16 w 19"/>
                  <a:gd name="T19" fmla="*/ 10 h 19"/>
                  <a:gd name="T20" fmla="*/ 17 w 19"/>
                  <a:gd name="T21" fmla="*/ 8 h 19"/>
                  <a:gd name="T22" fmla="*/ 18 w 19"/>
                  <a:gd name="T23" fmla="*/ 5 h 19"/>
                  <a:gd name="T24" fmla="*/ 19 w 19"/>
                  <a:gd name="T25" fmla="*/ 2 h 19"/>
                  <a:gd name="T26" fmla="*/ 17 w 19"/>
                  <a:gd name="T27" fmla="*/ 2 h 19"/>
                  <a:gd name="T28" fmla="*/ 15 w 19"/>
                  <a:gd name="T29" fmla="*/ 3 h 19"/>
                  <a:gd name="T30" fmla="*/ 14 w 19"/>
                  <a:gd name="T31" fmla="*/ 5 h 19"/>
                  <a:gd name="T32" fmla="*/ 12 w 19"/>
                  <a:gd name="T33" fmla="*/ 9 h 19"/>
                  <a:gd name="T34" fmla="*/ 10 w 19"/>
                  <a:gd name="T35" fmla="*/ 11 h 19"/>
                  <a:gd name="T36" fmla="*/ 7 w 19"/>
                  <a:gd name="T37" fmla="*/ 10 h 19"/>
                  <a:gd name="T38" fmla="*/ 10 w 19"/>
                  <a:gd name="T39" fmla="*/ 8 h 19"/>
                  <a:gd name="T40" fmla="*/ 12 w 19"/>
                  <a:gd name="T41" fmla="*/ 7 h 19"/>
                  <a:gd name="T42" fmla="*/ 14 w 19"/>
                  <a:gd name="T43" fmla="*/ 4 h 19"/>
                  <a:gd name="T44" fmla="*/ 10 w 19"/>
                  <a:gd name="T45" fmla="*/ 1 h 19"/>
                  <a:gd name="T46" fmla="*/ 8 w 19"/>
                  <a:gd name="T47" fmla="*/ 2 h 19"/>
                  <a:gd name="T48" fmla="*/ 5 w 19"/>
                  <a:gd name="T49" fmla="*/ 1 h 19"/>
                  <a:gd name="T50" fmla="*/ 2 w 19"/>
                  <a:gd name="T51" fmla="*/ 0 h 19"/>
                  <a:gd name="T52" fmla="*/ 0 w 19"/>
                  <a:gd name="T53" fmla="*/ 3 h 19"/>
                  <a:gd name="T54" fmla="*/ 0 w 19"/>
                  <a:gd name="T55" fmla="*/ 5 h 19"/>
                  <a:gd name="T56" fmla="*/ 2 w 19"/>
                  <a:gd name="T57" fmla="*/ 11 h 19"/>
                  <a:gd name="T58" fmla="*/ 2 w 19"/>
                  <a:gd name="T59" fmla="*/ 1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9" h="19">
                    <a:moveTo>
                      <a:pt x="2" y="11"/>
                    </a:moveTo>
                    <a:lnTo>
                      <a:pt x="5" y="13"/>
                    </a:lnTo>
                    <a:lnTo>
                      <a:pt x="7" y="14"/>
                    </a:lnTo>
                    <a:lnTo>
                      <a:pt x="5" y="16"/>
                    </a:lnTo>
                    <a:lnTo>
                      <a:pt x="8" y="16"/>
                    </a:lnTo>
                    <a:lnTo>
                      <a:pt x="8" y="18"/>
                    </a:lnTo>
                    <a:lnTo>
                      <a:pt x="10" y="19"/>
                    </a:lnTo>
                    <a:lnTo>
                      <a:pt x="14" y="18"/>
                    </a:lnTo>
                    <a:lnTo>
                      <a:pt x="16" y="16"/>
                    </a:lnTo>
                    <a:lnTo>
                      <a:pt x="16" y="10"/>
                    </a:lnTo>
                    <a:lnTo>
                      <a:pt x="17" y="8"/>
                    </a:lnTo>
                    <a:lnTo>
                      <a:pt x="18" y="5"/>
                    </a:lnTo>
                    <a:lnTo>
                      <a:pt x="19" y="2"/>
                    </a:lnTo>
                    <a:lnTo>
                      <a:pt x="17" y="2"/>
                    </a:lnTo>
                    <a:lnTo>
                      <a:pt x="15" y="3"/>
                    </a:lnTo>
                    <a:lnTo>
                      <a:pt x="14" y="5"/>
                    </a:lnTo>
                    <a:lnTo>
                      <a:pt x="12" y="9"/>
                    </a:lnTo>
                    <a:lnTo>
                      <a:pt x="10" y="11"/>
                    </a:lnTo>
                    <a:lnTo>
                      <a:pt x="7" y="10"/>
                    </a:lnTo>
                    <a:lnTo>
                      <a:pt x="10" y="8"/>
                    </a:lnTo>
                    <a:lnTo>
                      <a:pt x="12" y="7"/>
                    </a:lnTo>
                    <a:lnTo>
                      <a:pt x="14" y="4"/>
                    </a:lnTo>
                    <a:lnTo>
                      <a:pt x="10" y="1"/>
                    </a:lnTo>
                    <a:lnTo>
                      <a:pt x="8" y="2"/>
                    </a:lnTo>
                    <a:lnTo>
                      <a:pt x="5" y="1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11"/>
                    </a:lnTo>
                    <a:lnTo>
                      <a:pt x="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3" name="Freeform 19">
                <a:extLst>
                  <a:ext uri="{FF2B5EF4-FFF2-40B4-BE49-F238E27FC236}">
                    <a16:creationId xmlns:a16="http://schemas.microsoft.com/office/drawing/2014/main" id="{76220191-31EC-4C2B-B8E7-3B5A4C905D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0" y="1999"/>
                <a:ext cx="20" cy="20"/>
              </a:xfrm>
              <a:custGeom>
                <a:avLst/>
                <a:gdLst>
                  <a:gd name="T0" fmla="*/ 8 w 20"/>
                  <a:gd name="T1" fmla="*/ 4 h 20"/>
                  <a:gd name="T2" fmla="*/ 11 w 20"/>
                  <a:gd name="T3" fmla="*/ 7 h 20"/>
                  <a:gd name="T4" fmla="*/ 11 w 20"/>
                  <a:gd name="T5" fmla="*/ 4 h 20"/>
                  <a:gd name="T6" fmla="*/ 9 w 20"/>
                  <a:gd name="T7" fmla="*/ 3 h 20"/>
                  <a:gd name="T8" fmla="*/ 11 w 20"/>
                  <a:gd name="T9" fmla="*/ 3 h 20"/>
                  <a:gd name="T10" fmla="*/ 10 w 20"/>
                  <a:gd name="T11" fmla="*/ 0 h 20"/>
                  <a:gd name="T12" fmla="*/ 8 w 20"/>
                  <a:gd name="T13" fmla="*/ 0 h 20"/>
                  <a:gd name="T14" fmla="*/ 4 w 20"/>
                  <a:gd name="T15" fmla="*/ 1 h 20"/>
                  <a:gd name="T16" fmla="*/ 0 w 20"/>
                  <a:gd name="T17" fmla="*/ 1 h 20"/>
                  <a:gd name="T18" fmla="*/ 2 w 20"/>
                  <a:gd name="T19" fmla="*/ 3 h 20"/>
                  <a:gd name="T20" fmla="*/ 4 w 20"/>
                  <a:gd name="T21" fmla="*/ 4 h 20"/>
                  <a:gd name="T22" fmla="*/ 2 w 20"/>
                  <a:gd name="T23" fmla="*/ 6 h 20"/>
                  <a:gd name="T24" fmla="*/ 4 w 20"/>
                  <a:gd name="T25" fmla="*/ 8 h 20"/>
                  <a:gd name="T26" fmla="*/ 7 w 20"/>
                  <a:gd name="T27" fmla="*/ 8 h 20"/>
                  <a:gd name="T28" fmla="*/ 8 w 20"/>
                  <a:gd name="T29" fmla="*/ 10 h 20"/>
                  <a:gd name="T30" fmla="*/ 10 w 20"/>
                  <a:gd name="T31" fmla="*/ 13 h 20"/>
                  <a:gd name="T32" fmla="*/ 12 w 20"/>
                  <a:gd name="T33" fmla="*/ 15 h 20"/>
                  <a:gd name="T34" fmla="*/ 15 w 20"/>
                  <a:gd name="T35" fmla="*/ 17 h 20"/>
                  <a:gd name="T36" fmla="*/ 17 w 20"/>
                  <a:gd name="T37" fmla="*/ 20 h 20"/>
                  <a:gd name="T38" fmla="*/ 19 w 20"/>
                  <a:gd name="T39" fmla="*/ 19 h 20"/>
                  <a:gd name="T40" fmla="*/ 20 w 20"/>
                  <a:gd name="T41" fmla="*/ 18 h 20"/>
                  <a:gd name="T42" fmla="*/ 17 w 20"/>
                  <a:gd name="T43" fmla="*/ 17 h 20"/>
                  <a:gd name="T44" fmla="*/ 15 w 20"/>
                  <a:gd name="T45" fmla="*/ 15 h 20"/>
                  <a:gd name="T46" fmla="*/ 12 w 20"/>
                  <a:gd name="T47" fmla="*/ 12 h 20"/>
                  <a:gd name="T48" fmla="*/ 9 w 20"/>
                  <a:gd name="T49" fmla="*/ 7 h 20"/>
                  <a:gd name="T50" fmla="*/ 8 w 20"/>
                  <a:gd name="T51" fmla="*/ 4 h 20"/>
                  <a:gd name="T52" fmla="*/ 9 w 20"/>
                  <a:gd name="T53" fmla="*/ 4 h 20"/>
                  <a:gd name="T54" fmla="*/ 8 w 20"/>
                  <a:gd name="T55" fmla="*/ 4 h 20"/>
                  <a:gd name="T56" fmla="*/ 8 w 20"/>
                  <a:gd name="T57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0" h="20">
                    <a:moveTo>
                      <a:pt x="8" y="4"/>
                    </a:moveTo>
                    <a:lnTo>
                      <a:pt x="11" y="7"/>
                    </a:lnTo>
                    <a:lnTo>
                      <a:pt x="11" y="4"/>
                    </a:lnTo>
                    <a:lnTo>
                      <a:pt x="9" y="3"/>
                    </a:lnTo>
                    <a:lnTo>
                      <a:pt x="11" y="3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4" y="1"/>
                    </a:lnTo>
                    <a:lnTo>
                      <a:pt x="0" y="1"/>
                    </a:lnTo>
                    <a:lnTo>
                      <a:pt x="2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7" y="8"/>
                    </a:lnTo>
                    <a:lnTo>
                      <a:pt x="8" y="10"/>
                    </a:lnTo>
                    <a:lnTo>
                      <a:pt x="10" y="13"/>
                    </a:lnTo>
                    <a:lnTo>
                      <a:pt x="12" y="15"/>
                    </a:lnTo>
                    <a:lnTo>
                      <a:pt x="15" y="17"/>
                    </a:lnTo>
                    <a:lnTo>
                      <a:pt x="17" y="20"/>
                    </a:lnTo>
                    <a:lnTo>
                      <a:pt x="19" y="19"/>
                    </a:lnTo>
                    <a:lnTo>
                      <a:pt x="20" y="18"/>
                    </a:lnTo>
                    <a:lnTo>
                      <a:pt x="17" y="17"/>
                    </a:lnTo>
                    <a:lnTo>
                      <a:pt x="15" y="15"/>
                    </a:lnTo>
                    <a:lnTo>
                      <a:pt x="12" y="12"/>
                    </a:lnTo>
                    <a:lnTo>
                      <a:pt x="9" y="7"/>
                    </a:lnTo>
                    <a:lnTo>
                      <a:pt x="8" y="4"/>
                    </a:lnTo>
                    <a:lnTo>
                      <a:pt x="9" y="4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4" name="Freeform 20">
                <a:extLst>
                  <a:ext uri="{FF2B5EF4-FFF2-40B4-BE49-F238E27FC236}">
                    <a16:creationId xmlns:a16="http://schemas.microsoft.com/office/drawing/2014/main" id="{5DC77C62-E5D0-43B5-982C-410F70412B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1" y="2008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0 w 4"/>
                  <a:gd name="T3" fmla="*/ 0 h 2"/>
                  <a:gd name="T4" fmla="*/ 1 w 4"/>
                  <a:gd name="T5" fmla="*/ 2 h 2"/>
                  <a:gd name="T6" fmla="*/ 4 w 4"/>
                  <a:gd name="T7" fmla="*/ 0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5" name="Freeform 21">
                <a:extLst>
                  <a:ext uri="{FF2B5EF4-FFF2-40B4-BE49-F238E27FC236}">
                    <a16:creationId xmlns:a16="http://schemas.microsoft.com/office/drawing/2014/main" id="{E34750DD-A7FF-4B07-80D2-E9B2D4CEEA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8" y="1965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0 w 4"/>
                  <a:gd name="T3" fmla="*/ 4 h 4"/>
                  <a:gd name="T4" fmla="*/ 4 w 4"/>
                  <a:gd name="T5" fmla="*/ 3 h 4"/>
                  <a:gd name="T6" fmla="*/ 4 w 4"/>
                  <a:gd name="T7" fmla="*/ 0 h 4"/>
                  <a:gd name="T8" fmla="*/ 4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0" y="4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6" name="Freeform 22">
                <a:extLst>
                  <a:ext uri="{FF2B5EF4-FFF2-40B4-BE49-F238E27FC236}">
                    <a16:creationId xmlns:a16="http://schemas.microsoft.com/office/drawing/2014/main" id="{CE67823D-6072-41FB-84FB-55DBE105A0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1" y="1925"/>
                <a:ext cx="13" cy="13"/>
              </a:xfrm>
              <a:custGeom>
                <a:avLst/>
                <a:gdLst>
                  <a:gd name="T0" fmla="*/ 4 w 13"/>
                  <a:gd name="T1" fmla="*/ 13 h 13"/>
                  <a:gd name="T2" fmla="*/ 3 w 13"/>
                  <a:gd name="T3" fmla="*/ 12 h 13"/>
                  <a:gd name="T4" fmla="*/ 3 w 13"/>
                  <a:gd name="T5" fmla="*/ 6 h 13"/>
                  <a:gd name="T6" fmla="*/ 1 w 13"/>
                  <a:gd name="T7" fmla="*/ 4 h 13"/>
                  <a:gd name="T8" fmla="*/ 0 w 13"/>
                  <a:gd name="T9" fmla="*/ 0 h 13"/>
                  <a:gd name="T10" fmla="*/ 2 w 13"/>
                  <a:gd name="T11" fmla="*/ 0 h 13"/>
                  <a:gd name="T12" fmla="*/ 8 w 13"/>
                  <a:gd name="T13" fmla="*/ 1 h 13"/>
                  <a:gd name="T14" fmla="*/ 10 w 13"/>
                  <a:gd name="T15" fmla="*/ 1 h 13"/>
                  <a:gd name="T16" fmla="*/ 13 w 13"/>
                  <a:gd name="T17" fmla="*/ 4 h 13"/>
                  <a:gd name="T18" fmla="*/ 13 w 13"/>
                  <a:gd name="T19" fmla="*/ 7 h 13"/>
                  <a:gd name="T20" fmla="*/ 12 w 13"/>
                  <a:gd name="T21" fmla="*/ 9 h 13"/>
                  <a:gd name="T22" fmla="*/ 9 w 13"/>
                  <a:gd name="T23" fmla="*/ 7 h 13"/>
                  <a:gd name="T24" fmla="*/ 11 w 13"/>
                  <a:gd name="T25" fmla="*/ 10 h 13"/>
                  <a:gd name="T26" fmla="*/ 10 w 13"/>
                  <a:gd name="T27" fmla="*/ 13 h 13"/>
                  <a:gd name="T28" fmla="*/ 6 w 13"/>
                  <a:gd name="T29" fmla="*/ 12 h 13"/>
                  <a:gd name="T30" fmla="*/ 4 w 13"/>
                  <a:gd name="T31" fmla="*/ 13 h 13"/>
                  <a:gd name="T32" fmla="*/ 4 w 13"/>
                  <a:gd name="T33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" h="13">
                    <a:moveTo>
                      <a:pt x="4" y="13"/>
                    </a:moveTo>
                    <a:lnTo>
                      <a:pt x="3" y="12"/>
                    </a:lnTo>
                    <a:lnTo>
                      <a:pt x="3" y="6"/>
                    </a:lnTo>
                    <a:lnTo>
                      <a:pt x="1" y="4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8" y="1"/>
                    </a:lnTo>
                    <a:lnTo>
                      <a:pt x="10" y="1"/>
                    </a:lnTo>
                    <a:lnTo>
                      <a:pt x="13" y="4"/>
                    </a:lnTo>
                    <a:lnTo>
                      <a:pt x="13" y="7"/>
                    </a:lnTo>
                    <a:lnTo>
                      <a:pt x="12" y="9"/>
                    </a:lnTo>
                    <a:lnTo>
                      <a:pt x="9" y="7"/>
                    </a:lnTo>
                    <a:lnTo>
                      <a:pt x="11" y="10"/>
                    </a:lnTo>
                    <a:lnTo>
                      <a:pt x="10" y="13"/>
                    </a:lnTo>
                    <a:lnTo>
                      <a:pt x="6" y="12"/>
                    </a:lnTo>
                    <a:lnTo>
                      <a:pt x="4" y="13"/>
                    </a:lnTo>
                    <a:lnTo>
                      <a:pt x="4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7" name="Freeform 23">
                <a:extLst>
                  <a:ext uri="{FF2B5EF4-FFF2-40B4-BE49-F238E27FC236}">
                    <a16:creationId xmlns:a16="http://schemas.microsoft.com/office/drawing/2014/main" id="{71C2CE1C-316E-422A-9F22-87B79D7857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5" y="1939"/>
                <a:ext cx="23" cy="32"/>
              </a:xfrm>
              <a:custGeom>
                <a:avLst/>
                <a:gdLst>
                  <a:gd name="T0" fmla="*/ 4 w 23"/>
                  <a:gd name="T1" fmla="*/ 4 h 32"/>
                  <a:gd name="T2" fmla="*/ 2 w 23"/>
                  <a:gd name="T3" fmla="*/ 4 h 32"/>
                  <a:gd name="T4" fmla="*/ 0 w 23"/>
                  <a:gd name="T5" fmla="*/ 3 h 32"/>
                  <a:gd name="T6" fmla="*/ 0 w 23"/>
                  <a:gd name="T7" fmla="*/ 0 h 32"/>
                  <a:gd name="T8" fmla="*/ 6 w 23"/>
                  <a:gd name="T9" fmla="*/ 1 h 32"/>
                  <a:gd name="T10" fmla="*/ 8 w 23"/>
                  <a:gd name="T11" fmla="*/ 3 h 32"/>
                  <a:gd name="T12" fmla="*/ 9 w 23"/>
                  <a:gd name="T13" fmla="*/ 7 h 32"/>
                  <a:gd name="T14" fmla="*/ 12 w 23"/>
                  <a:gd name="T15" fmla="*/ 7 h 32"/>
                  <a:gd name="T16" fmla="*/ 15 w 23"/>
                  <a:gd name="T17" fmla="*/ 9 h 32"/>
                  <a:gd name="T18" fmla="*/ 17 w 23"/>
                  <a:gd name="T19" fmla="*/ 15 h 32"/>
                  <a:gd name="T20" fmla="*/ 21 w 23"/>
                  <a:gd name="T21" fmla="*/ 18 h 32"/>
                  <a:gd name="T22" fmla="*/ 15 w 23"/>
                  <a:gd name="T23" fmla="*/ 15 h 32"/>
                  <a:gd name="T24" fmla="*/ 15 w 23"/>
                  <a:gd name="T25" fmla="*/ 17 h 32"/>
                  <a:gd name="T26" fmla="*/ 17 w 23"/>
                  <a:gd name="T27" fmla="*/ 19 h 32"/>
                  <a:gd name="T28" fmla="*/ 21 w 23"/>
                  <a:gd name="T29" fmla="*/ 19 h 32"/>
                  <a:gd name="T30" fmla="*/ 19 w 23"/>
                  <a:gd name="T31" fmla="*/ 22 h 32"/>
                  <a:gd name="T32" fmla="*/ 22 w 23"/>
                  <a:gd name="T33" fmla="*/ 21 h 32"/>
                  <a:gd name="T34" fmla="*/ 22 w 23"/>
                  <a:gd name="T35" fmla="*/ 24 h 32"/>
                  <a:gd name="T36" fmla="*/ 19 w 23"/>
                  <a:gd name="T37" fmla="*/ 26 h 32"/>
                  <a:gd name="T38" fmla="*/ 23 w 23"/>
                  <a:gd name="T39" fmla="*/ 26 h 32"/>
                  <a:gd name="T40" fmla="*/ 23 w 23"/>
                  <a:gd name="T41" fmla="*/ 29 h 32"/>
                  <a:gd name="T42" fmla="*/ 21 w 23"/>
                  <a:gd name="T43" fmla="*/ 32 h 32"/>
                  <a:gd name="T44" fmla="*/ 18 w 23"/>
                  <a:gd name="T45" fmla="*/ 30 h 32"/>
                  <a:gd name="T46" fmla="*/ 17 w 23"/>
                  <a:gd name="T47" fmla="*/ 28 h 32"/>
                  <a:gd name="T48" fmla="*/ 15 w 23"/>
                  <a:gd name="T49" fmla="*/ 26 h 32"/>
                  <a:gd name="T50" fmla="*/ 15 w 23"/>
                  <a:gd name="T51" fmla="*/ 24 h 32"/>
                  <a:gd name="T52" fmla="*/ 13 w 23"/>
                  <a:gd name="T53" fmla="*/ 22 h 32"/>
                  <a:gd name="T54" fmla="*/ 7 w 23"/>
                  <a:gd name="T55" fmla="*/ 19 h 32"/>
                  <a:gd name="T56" fmla="*/ 9 w 23"/>
                  <a:gd name="T57" fmla="*/ 19 h 32"/>
                  <a:gd name="T58" fmla="*/ 7 w 23"/>
                  <a:gd name="T59" fmla="*/ 17 h 32"/>
                  <a:gd name="T60" fmla="*/ 9 w 23"/>
                  <a:gd name="T61" fmla="*/ 13 h 32"/>
                  <a:gd name="T62" fmla="*/ 7 w 23"/>
                  <a:gd name="T63" fmla="*/ 15 h 32"/>
                  <a:gd name="T64" fmla="*/ 4 w 23"/>
                  <a:gd name="T65" fmla="*/ 15 h 32"/>
                  <a:gd name="T66" fmla="*/ 5 w 23"/>
                  <a:gd name="T67" fmla="*/ 12 h 32"/>
                  <a:gd name="T68" fmla="*/ 5 w 23"/>
                  <a:gd name="T69" fmla="*/ 7 h 32"/>
                  <a:gd name="T70" fmla="*/ 4 w 23"/>
                  <a:gd name="T71" fmla="*/ 6 h 32"/>
                  <a:gd name="T72" fmla="*/ 5 w 23"/>
                  <a:gd name="T73" fmla="*/ 4 h 32"/>
                  <a:gd name="T74" fmla="*/ 5 w 23"/>
                  <a:gd name="T75" fmla="*/ 4 h 32"/>
                  <a:gd name="T76" fmla="*/ 4 w 23"/>
                  <a:gd name="T77" fmla="*/ 4 h 32"/>
                  <a:gd name="T78" fmla="*/ 4 w 23"/>
                  <a:gd name="T79" fmla="*/ 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3" h="32">
                    <a:moveTo>
                      <a:pt x="4" y="4"/>
                    </a:moveTo>
                    <a:lnTo>
                      <a:pt x="2" y="4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6" y="1"/>
                    </a:lnTo>
                    <a:lnTo>
                      <a:pt x="8" y="3"/>
                    </a:lnTo>
                    <a:lnTo>
                      <a:pt x="9" y="7"/>
                    </a:lnTo>
                    <a:lnTo>
                      <a:pt x="12" y="7"/>
                    </a:lnTo>
                    <a:lnTo>
                      <a:pt x="15" y="9"/>
                    </a:lnTo>
                    <a:lnTo>
                      <a:pt x="17" y="15"/>
                    </a:lnTo>
                    <a:lnTo>
                      <a:pt x="21" y="18"/>
                    </a:lnTo>
                    <a:lnTo>
                      <a:pt x="15" y="15"/>
                    </a:lnTo>
                    <a:lnTo>
                      <a:pt x="15" y="17"/>
                    </a:lnTo>
                    <a:lnTo>
                      <a:pt x="17" y="19"/>
                    </a:lnTo>
                    <a:lnTo>
                      <a:pt x="21" y="19"/>
                    </a:lnTo>
                    <a:lnTo>
                      <a:pt x="19" y="22"/>
                    </a:lnTo>
                    <a:lnTo>
                      <a:pt x="22" y="21"/>
                    </a:lnTo>
                    <a:lnTo>
                      <a:pt x="22" y="24"/>
                    </a:lnTo>
                    <a:lnTo>
                      <a:pt x="19" y="26"/>
                    </a:lnTo>
                    <a:lnTo>
                      <a:pt x="23" y="26"/>
                    </a:lnTo>
                    <a:lnTo>
                      <a:pt x="23" y="29"/>
                    </a:lnTo>
                    <a:lnTo>
                      <a:pt x="21" y="32"/>
                    </a:lnTo>
                    <a:lnTo>
                      <a:pt x="18" y="30"/>
                    </a:lnTo>
                    <a:lnTo>
                      <a:pt x="17" y="28"/>
                    </a:lnTo>
                    <a:lnTo>
                      <a:pt x="15" y="26"/>
                    </a:lnTo>
                    <a:lnTo>
                      <a:pt x="15" y="24"/>
                    </a:lnTo>
                    <a:lnTo>
                      <a:pt x="13" y="22"/>
                    </a:lnTo>
                    <a:lnTo>
                      <a:pt x="7" y="19"/>
                    </a:lnTo>
                    <a:lnTo>
                      <a:pt x="9" y="19"/>
                    </a:lnTo>
                    <a:lnTo>
                      <a:pt x="7" y="17"/>
                    </a:lnTo>
                    <a:lnTo>
                      <a:pt x="9" y="13"/>
                    </a:lnTo>
                    <a:lnTo>
                      <a:pt x="7" y="15"/>
                    </a:lnTo>
                    <a:lnTo>
                      <a:pt x="4" y="15"/>
                    </a:lnTo>
                    <a:lnTo>
                      <a:pt x="5" y="12"/>
                    </a:lnTo>
                    <a:lnTo>
                      <a:pt x="5" y="7"/>
                    </a:lnTo>
                    <a:lnTo>
                      <a:pt x="4" y="6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8" name="Freeform 24">
                <a:extLst>
                  <a:ext uri="{FF2B5EF4-FFF2-40B4-BE49-F238E27FC236}">
                    <a16:creationId xmlns:a16="http://schemas.microsoft.com/office/drawing/2014/main" id="{C2DDE26A-A33C-4C80-BD47-4003F7269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4" y="1943"/>
                <a:ext cx="5" cy="5"/>
              </a:xfrm>
              <a:custGeom>
                <a:avLst/>
                <a:gdLst>
                  <a:gd name="T0" fmla="*/ 5 w 5"/>
                  <a:gd name="T1" fmla="*/ 0 h 5"/>
                  <a:gd name="T2" fmla="*/ 5 w 5"/>
                  <a:gd name="T3" fmla="*/ 2 h 5"/>
                  <a:gd name="T4" fmla="*/ 0 w 5"/>
                  <a:gd name="T5" fmla="*/ 5 h 5"/>
                  <a:gd name="T6" fmla="*/ 0 w 5"/>
                  <a:gd name="T7" fmla="*/ 3 h 5"/>
                  <a:gd name="T8" fmla="*/ 2 w 5"/>
                  <a:gd name="T9" fmla="*/ 2 h 5"/>
                  <a:gd name="T10" fmla="*/ 5 w 5"/>
                  <a:gd name="T11" fmla="*/ 0 h 5"/>
                  <a:gd name="T12" fmla="*/ 5 w 5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5">
                    <a:moveTo>
                      <a:pt x="5" y="0"/>
                    </a:moveTo>
                    <a:lnTo>
                      <a:pt x="5" y="2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9" name="Freeform 25">
                <a:extLst>
                  <a:ext uri="{FF2B5EF4-FFF2-40B4-BE49-F238E27FC236}">
                    <a16:creationId xmlns:a16="http://schemas.microsoft.com/office/drawing/2014/main" id="{51484EDF-1464-4163-BC43-EEDBD8C9E1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4" y="1931"/>
                <a:ext cx="5" cy="6"/>
              </a:xfrm>
              <a:custGeom>
                <a:avLst/>
                <a:gdLst>
                  <a:gd name="T0" fmla="*/ 0 w 5"/>
                  <a:gd name="T1" fmla="*/ 0 h 6"/>
                  <a:gd name="T2" fmla="*/ 3 w 5"/>
                  <a:gd name="T3" fmla="*/ 0 h 6"/>
                  <a:gd name="T4" fmla="*/ 5 w 5"/>
                  <a:gd name="T5" fmla="*/ 2 h 6"/>
                  <a:gd name="T6" fmla="*/ 4 w 5"/>
                  <a:gd name="T7" fmla="*/ 6 h 6"/>
                  <a:gd name="T8" fmla="*/ 0 w 5"/>
                  <a:gd name="T9" fmla="*/ 6 h 6"/>
                  <a:gd name="T10" fmla="*/ 0 w 5"/>
                  <a:gd name="T11" fmla="*/ 2 h 6"/>
                  <a:gd name="T12" fmla="*/ 0 w 5"/>
                  <a:gd name="T13" fmla="*/ 0 h 6"/>
                  <a:gd name="T14" fmla="*/ 0 w 5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6">
                    <a:moveTo>
                      <a:pt x="0" y="0"/>
                    </a:moveTo>
                    <a:lnTo>
                      <a:pt x="3" y="0"/>
                    </a:lnTo>
                    <a:lnTo>
                      <a:pt x="5" y="2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0" name="Freeform 26">
                <a:extLst>
                  <a:ext uri="{FF2B5EF4-FFF2-40B4-BE49-F238E27FC236}">
                    <a16:creationId xmlns:a16="http://schemas.microsoft.com/office/drawing/2014/main" id="{E5D23695-6669-4D31-A401-1F553A2272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8" y="2002"/>
                <a:ext cx="3" cy="4"/>
              </a:xfrm>
              <a:custGeom>
                <a:avLst/>
                <a:gdLst>
                  <a:gd name="T0" fmla="*/ 0 w 3"/>
                  <a:gd name="T1" fmla="*/ 1 h 4"/>
                  <a:gd name="T2" fmla="*/ 1 w 3"/>
                  <a:gd name="T3" fmla="*/ 1 h 4"/>
                  <a:gd name="T4" fmla="*/ 1 w 3"/>
                  <a:gd name="T5" fmla="*/ 0 h 4"/>
                  <a:gd name="T6" fmla="*/ 3 w 3"/>
                  <a:gd name="T7" fmla="*/ 1 h 4"/>
                  <a:gd name="T8" fmla="*/ 3 w 3"/>
                  <a:gd name="T9" fmla="*/ 4 h 4"/>
                  <a:gd name="T10" fmla="*/ 0 w 3"/>
                  <a:gd name="T11" fmla="*/ 1 h 4"/>
                  <a:gd name="T12" fmla="*/ 0 w 3"/>
                  <a:gd name="T13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0" y="1"/>
                    </a:moveTo>
                    <a:lnTo>
                      <a:pt x="1" y="1"/>
                    </a:lnTo>
                    <a:lnTo>
                      <a:pt x="1" y="0"/>
                    </a:lnTo>
                    <a:lnTo>
                      <a:pt x="3" y="1"/>
                    </a:lnTo>
                    <a:lnTo>
                      <a:pt x="3" y="4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1" name="Rectangle 27">
                <a:extLst>
                  <a:ext uri="{FF2B5EF4-FFF2-40B4-BE49-F238E27FC236}">
                    <a16:creationId xmlns:a16="http://schemas.microsoft.com/office/drawing/2014/main" id="{53227F2E-95AC-488C-8C66-4C8061C08A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9" y="2002"/>
                <a:ext cx="1" cy="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2" name="Freeform 28">
                <a:extLst>
                  <a:ext uri="{FF2B5EF4-FFF2-40B4-BE49-F238E27FC236}">
                    <a16:creationId xmlns:a16="http://schemas.microsoft.com/office/drawing/2014/main" id="{5ED9C565-7D1A-4298-842A-509424595A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3" y="1948"/>
                <a:ext cx="1" cy="11"/>
              </a:xfrm>
              <a:custGeom>
                <a:avLst/>
                <a:gdLst>
                  <a:gd name="T0" fmla="*/ 1 w 1"/>
                  <a:gd name="T1" fmla="*/ 0 h 11"/>
                  <a:gd name="T2" fmla="*/ 1 w 1"/>
                  <a:gd name="T3" fmla="*/ 0 h 11"/>
                  <a:gd name="T4" fmla="*/ 0 w 1"/>
                  <a:gd name="T5" fmla="*/ 2 h 11"/>
                  <a:gd name="T6" fmla="*/ 1 w 1"/>
                  <a:gd name="T7" fmla="*/ 11 h 11"/>
                  <a:gd name="T8" fmla="*/ 1 w 1"/>
                  <a:gd name="T9" fmla="*/ 11 h 11"/>
                  <a:gd name="T10" fmla="*/ 1 w 1"/>
                  <a:gd name="T11" fmla="*/ 9 h 11"/>
                  <a:gd name="T12" fmla="*/ 0 w 1"/>
                  <a:gd name="T13" fmla="*/ 6 h 11"/>
                  <a:gd name="T14" fmla="*/ 0 w 1"/>
                  <a:gd name="T15" fmla="*/ 3 h 11"/>
                  <a:gd name="T16" fmla="*/ 1 w 1"/>
                  <a:gd name="T17" fmla="*/ 0 h 11"/>
                  <a:gd name="T18" fmla="*/ 1 w 1"/>
                  <a:gd name="T1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" h="11">
                    <a:moveTo>
                      <a:pt x="1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1" y="11"/>
                    </a:lnTo>
                    <a:lnTo>
                      <a:pt x="1" y="11"/>
                    </a:lnTo>
                    <a:lnTo>
                      <a:pt x="1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3" name="Freeform 29">
                <a:extLst>
                  <a:ext uri="{FF2B5EF4-FFF2-40B4-BE49-F238E27FC236}">
                    <a16:creationId xmlns:a16="http://schemas.microsoft.com/office/drawing/2014/main" id="{4E04CC67-B077-4111-8837-71461199B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5" y="1489"/>
                <a:ext cx="3" cy="0"/>
              </a:xfrm>
              <a:custGeom>
                <a:avLst/>
                <a:gdLst>
                  <a:gd name="T0" fmla="*/ 0 w 3"/>
                  <a:gd name="T1" fmla="*/ 0 w 3"/>
                  <a:gd name="T2" fmla="*/ 3 w 3"/>
                  <a:gd name="T3" fmla="*/ 0 w 3"/>
                  <a:gd name="T4" fmla="*/ 0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4" name="Freeform 30">
                <a:extLst>
                  <a:ext uri="{FF2B5EF4-FFF2-40B4-BE49-F238E27FC236}">
                    <a16:creationId xmlns:a16="http://schemas.microsoft.com/office/drawing/2014/main" id="{1E2FD237-DEA5-45E9-9DF9-DB05D04EDA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9" y="1427"/>
                <a:ext cx="20" cy="10"/>
              </a:xfrm>
              <a:custGeom>
                <a:avLst/>
                <a:gdLst>
                  <a:gd name="T0" fmla="*/ 10 w 20"/>
                  <a:gd name="T1" fmla="*/ 0 h 10"/>
                  <a:gd name="T2" fmla="*/ 6 w 20"/>
                  <a:gd name="T3" fmla="*/ 1 h 10"/>
                  <a:gd name="T4" fmla="*/ 0 w 20"/>
                  <a:gd name="T5" fmla="*/ 3 h 10"/>
                  <a:gd name="T6" fmla="*/ 2 w 20"/>
                  <a:gd name="T7" fmla="*/ 6 h 10"/>
                  <a:gd name="T8" fmla="*/ 9 w 20"/>
                  <a:gd name="T9" fmla="*/ 10 h 10"/>
                  <a:gd name="T10" fmla="*/ 11 w 20"/>
                  <a:gd name="T11" fmla="*/ 10 h 10"/>
                  <a:gd name="T12" fmla="*/ 17 w 20"/>
                  <a:gd name="T13" fmla="*/ 9 h 10"/>
                  <a:gd name="T14" fmla="*/ 20 w 20"/>
                  <a:gd name="T15" fmla="*/ 7 h 10"/>
                  <a:gd name="T16" fmla="*/ 17 w 20"/>
                  <a:gd name="T17" fmla="*/ 5 h 10"/>
                  <a:gd name="T18" fmla="*/ 15 w 20"/>
                  <a:gd name="T19" fmla="*/ 3 h 10"/>
                  <a:gd name="T20" fmla="*/ 11 w 20"/>
                  <a:gd name="T21" fmla="*/ 2 h 10"/>
                  <a:gd name="T22" fmla="*/ 10 w 20"/>
                  <a:gd name="T23" fmla="*/ 0 h 10"/>
                  <a:gd name="T24" fmla="*/ 10 w 20"/>
                  <a:gd name="T2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10">
                    <a:moveTo>
                      <a:pt x="10" y="0"/>
                    </a:moveTo>
                    <a:lnTo>
                      <a:pt x="6" y="1"/>
                    </a:lnTo>
                    <a:lnTo>
                      <a:pt x="0" y="3"/>
                    </a:lnTo>
                    <a:lnTo>
                      <a:pt x="2" y="6"/>
                    </a:lnTo>
                    <a:lnTo>
                      <a:pt x="9" y="10"/>
                    </a:lnTo>
                    <a:lnTo>
                      <a:pt x="11" y="10"/>
                    </a:lnTo>
                    <a:lnTo>
                      <a:pt x="17" y="9"/>
                    </a:lnTo>
                    <a:lnTo>
                      <a:pt x="20" y="7"/>
                    </a:lnTo>
                    <a:lnTo>
                      <a:pt x="17" y="5"/>
                    </a:lnTo>
                    <a:lnTo>
                      <a:pt x="15" y="3"/>
                    </a:lnTo>
                    <a:lnTo>
                      <a:pt x="11" y="2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5" name="Freeform 31">
                <a:extLst>
                  <a:ext uri="{FF2B5EF4-FFF2-40B4-BE49-F238E27FC236}">
                    <a16:creationId xmlns:a16="http://schemas.microsoft.com/office/drawing/2014/main" id="{60942DF1-681C-44B7-8C8F-90B668B62B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3" y="1461"/>
                <a:ext cx="17" cy="6"/>
              </a:xfrm>
              <a:custGeom>
                <a:avLst/>
                <a:gdLst>
                  <a:gd name="T0" fmla="*/ 10 w 17"/>
                  <a:gd name="T1" fmla="*/ 6 h 6"/>
                  <a:gd name="T2" fmla="*/ 16 w 17"/>
                  <a:gd name="T3" fmla="*/ 4 h 6"/>
                  <a:gd name="T4" fmla="*/ 17 w 17"/>
                  <a:gd name="T5" fmla="*/ 2 h 6"/>
                  <a:gd name="T6" fmla="*/ 15 w 17"/>
                  <a:gd name="T7" fmla="*/ 1 h 6"/>
                  <a:gd name="T8" fmla="*/ 12 w 17"/>
                  <a:gd name="T9" fmla="*/ 0 h 6"/>
                  <a:gd name="T10" fmla="*/ 10 w 17"/>
                  <a:gd name="T11" fmla="*/ 0 h 6"/>
                  <a:gd name="T12" fmla="*/ 4 w 17"/>
                  <a:gd name="T13" fmla="*/ 1 h 6"/>
                  <a:gd name="T14" fmla="*/ 0 w 17"/>
                  <a:gd name="T15" fmla="*/ 2 h 6"/>
                  <a:gd name="T16" fmla="*/ 2 w 17"/>
                  <a:gd name="T17" fmla="*/ 4 h 6"/>
                  <a:gd name="T18" fmla="*/ 10 w 17"/>
                  <a:gd name="T19" fmla="*/ 6 h 6"/>
                  <a:gd name="T20" fmla="*/ 10 w 17"/>
                  <a:gd name="T2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" h="6">
                    <a:moveTo>
                      <a:pt x="10" y="6"/>
                    </a:moveTo>
                    <a:lnTo>
                      <a:pt x="16" y="4"/>
                    </a:lnTo>
                    <a:lnTo>
                      <a:pt x="17" y="2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4" y="1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10" y="6"/>
                    </a:lnTo>
                    <a:lnTo>
                      <a:pt x="10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6" name="Freeform 32">
                <a:extLst>
                  <a:ext uri="{FF2B5EF4-FFF2-40B4-BE49-F238E27FC236}">
                    <a16:creationId xmlns:a16="http://schemas.microsoft.com/office/drawing/2014/main" id="{8C8D218C-67D1-4309-8E49-606ECE51E2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2" y="1468"/>
                <a:ext cx="20" cy="10"/>
              </a:xfrm>
              <a:custGeom>
                <a:avLst/>
                <a:gdLst>
                  <a:gd name="T0" fmla="*/ 6 w 20"/>
                  <a:gd name="T1" fmla="*/ 0 h 10"/>
                  <a:gd name="T2" fmla="*/ 3 w 20"/>
                  <a:gd name="T3" fmla="*/ 0 h 10"/>
                  <a:gd name="T4" fmla="*/ 0 w 20"/>
                  <a:gd name="T5" fmla="*/ 2 h 10"/>
                  <a:gd name="T6" fmla="*/ 1 w 20"/>
                  <a:gd name="T7" fmla="*/ 4 h 10"/>
                  <a:gd name="T8" fmla="*/ 3 w 20"/>
                  <a:gd name="T9" fmla="*/ 7 h 10"/>
                  <a:gd name="T10" fmla="*/ 3 w 20"/>
                  <a:gd name="T11" fmla="*/ 10 h 10"/>
                  <a:gd name="T12" fmla="*/ 9 w 20"/>
                  <a:gd name="T13" fmla="*/ 10 h 10"/>
                  <a:gd name="T14" fmla="*/ 12 w 20"/>
                  <a:gd name="T15" fmla="*/ 10 h 10"/>
                  <a:gd name="T16" fmla="*/ 18 w 20"/>
                  <a:gd name="T17" fmla="*/ 9 h 10"/>
                  <a:gd name="T18" fmla="*/ 20 w 20"/>
                  <a:gd name="T19" fmla="*/ 8 h 10"/>
                  <a:gd name="T20" fmla="*/ 20 w 20"/>
                  <a:gd name="T21" fmla="*/ 5 h 10"/>
                  <a:gd name="T22" fmla="*/ 14 w 20"/>
                  <a:gd name="T23" fmla="*/ 4 h 10"/>
                  <a:gd name="T24" fmla="*/ 12 w 20"/>
                  <a:gd name="T25" fmla="*/ 2 h 10"/>
                  <a:gd name="T26" fmla="*/ 9 w 20"/>
                  <a:gd name="T27" fmla="*/ 0 h 10"/>
                  <a:gd name="T28" fmla="*/ 6 w 20"/>
                  <a:gd name="T29" fmla="*/ 0 h 10"/>
                  <a:gd name="T30" fmla="*/ 6 w 20"/>
                  <a:gd name="T3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0" h="10">
                    <a:moveTo>
                      <a:pt x="6" y="0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1" y="4"/>
                    </a:lnTo>
                    <a:lnTo>
                      <a:pt x="3" y="7"/>
                    </a:lnTo>
                    <a:lnTo>
                      <a:pt x="3" y="10"/>
                    </a:lnTo>
                    <a:lnTo>
                      <a:pt x="9" y="10"/>
                    </a:lnTo>
                    <a:lnTo>
                      <a:pt x="12" y="10"/>
                    </a:lnTo>
                    <a:lnTo>
                      <a:pt x="18" y="9"/>
                    </a:lnTo>
                    <a:lnTo>
                      <a:pt x="20" y="8"/>
                    </a:lnTo>
                    <a:lnTo>
                      <a:pt x="20" y="5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7" name="Freeform 33">
                <a:extLst>
                  <a:ext uri="{FF2B5EF4-FFF2-40B4-BE49-F238E27FC236}">
                    <a16:creationId xmlns:a16="http://schemas.microsoft.com/office/drawing/2014/main" id="{384BF7A7-81F0-41C4-A6E9-776C8711F7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5" y="1478"/>
                <a:ext cx="25" cy="8"/>
              </a:xfrm>
              <a:custGeom>
                <a:avLst/>
                <a:gdLst>
                  <a:gd name="T0" fmla="*/ 24 w 25"/>
                  <a:gd name="T1" fmla="*/ 0 h 8"/>
                  <a:gd name="T2" fmla="*/ 22 w 25"/>
                  <a:gd name="T3" fmla="*/ 0 h 8"/>
                  <a:gd name="T4" fmla="*/ 18 w 25"/>
                  <a:gd name="T5" fmla="*/ 0 h 8"/>
                  <a:gd name="T6" fmla="*/ 2 w 25"/>
                  <a:gd name="T7" fmla="*/ 2 h 8"/>
                  <a:gd name="T8" fmla="*/ 0 w 25"/>
                  <a:gd name="T9" fmla="*/ 3 h 8"/>
                  <a:gd name="T10" fmla="*/ 0 w 25"/>
                  <a:gd name="T11" fmla="*/ 7 h 8"/>
                  <a:gd name="T12" fmla="*/ 8 w 25"/>
                  <a:gd name="T13" fmla="*/ 8 h 8"/>
                  <a:gd name="T14" fmla="*/ 15 w 25"/>
                  <a:gd name="T15" fmla="*/ 8 h 8"/>
                  <a:gd name="T16" fmla="*/ 19 w 25"/>
                  <a:gd name="T17" fmla="*/ 7 h 8"/>
                  <a:gd name="T18" fmla="*/ 23 w 25"/>
                  <a:gd name="T19" fmla="*/ 6 h 8"/>
                  <a:gd name="T20" fmla="*/ 25 w 25"/>
                  <a:gd name="T21" fmla="*/ 3 h 8"/>
                  <a:gd name="T22" fmla="*/ 24 w 25"/>
                  <a:gd name="T23" fmla="*/ 0 h 8"/>
                  <a:gd name="T24" fmla="*/ 24 w 25"/>
                  <a:gd name="T2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8">
                    <a:moveTo>
                      <a:pt x="24" y="0"/>
                    </a:moveTo>
                    <a:lnTo>
                      <a:pt x="22" y="0"/>
                    </a:lnTo>
                    <a:lnTo>
                      <a:pt x="18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8" y="8"/>
                    </a:lnTo>
                    <a:lnTo>
                      <a:pt x="15" y="8"/>
                    </a:lnTo>
                    <a:lnTo>
                      <a:pt x="19" y="7"/>
                    </a:lnTo>
                    <a:lnTo>
                      <a:pt x="23" y="6"/>
                    </a:lnTo>
                    <a:lnTo>
                      <a:pt x="25" y="3"/>
                    </a:lnTo>
                    <a:lnTo>
                      <a:pt x="24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8" name="Freeform 34">
                <a:extLst>
                  <a:ext uri="{FF2B5EF4-FFF2-40B4-BE49-F238E27FC236}">
                    <a16:creationId xmlns:a16="http://schemas.microsoft.com/office/drawing/2014/main" id="{AC7FFD82-E701-46DC-B52C-C43AFC7F11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3" y="1485"/>
                <a:ext cx="20" cy="4"/>
              </a:xfrm>
              <a:custGeom>
                <a:avLst/>
                <a:gdLst>
                  <a:gd name="T0" fmla="*/ 20 w 20"/>
                  <a:gd name="T1" fmla="*/ 0 h 4"/>
                  <a:gd name="T2" fmla="*/ 15 w 20"/>
                  <a:gd name="T3" fmla="*/ 0 h 4"/>
                  <a:gd name="T4" fmla="*/ 7 w 20"/>
                  <a:gd name="T5" fmla="*/ 1 h 4"/>
                  <a:gd name="T6" fmla="*/ 3 w 20"/>
                  <a:gd name="T7" fmla="*/ 2 h 4"/>
                  <a:gd name="T8" fmla="*/ 0 w 20"/>
                  <a:gd name="T9" fmla="*/ 4 h 4"/>
                  <a:gd name="T10" fmla="*/ 6 w 20"/>
                  <a:gd name="T11" fmla="*/ 4 h 4"/>
                  <a:gd name="T12" fmla="*/ 15 w 20"/>
                  <a:gd name="T13" fmla="*/ 3 h 4"/>
                  <a:gd name="T14" fmla="*/ 17 w 20"/>
                  <a:gd name="T15" fmla="*/ 2 h 4"/>
                  <a:gd name="T16" fmla="*/ 20 w 20"/>
                  <a:gd name="T17" fmla="*/ 0 h 4"/>
                  <a:gd name="T18" fmla="*/ 20 w 20"/>
                  <a:gd name="T1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" h="4">
                    <a:moveTo>
                      <a:pt x="20" y="0"/>
                    </a:moveTo>
                    <a:lnTo>
                      <a:pt x="15" y="0"/>
                    </a:lnTo>
                    <a:lnTo>
                      <a:pt x="7" y="1"/>
                    </a:lnTo>
                    <a:lnTo>
                      <a:pt x="3" y="2"/>
                    </a:lnTo>
                    <a:lnTo>
                      <a:pt x="0" y="4"/>
                    </a:lnTo>
                    <a:lnTo>
                      <a:pt x="6" y="4"/>
                    </a:lnTo>
                    <a:lnTo>
                      <a:pt x="15" y="3"/>
                    </a:lnTo>
                    <a:lnTo>
                      <a:pt x="17" y="2"/>
                    </a:lnTo>
                    <a:lnTo>
                      <a:pt x="20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9" name="Freeform 35">
                <a:extLst>
                  <a:ext uri="{FF2B5EF4-FFF2-40B4-BE49-F238E27FC236}">
                    <a16:creationId xmlns:a16="http://schemas.microsoft.com/office/drawing/2014/main" id="{14F03BA5-0CBD-4DB9-AB17-C1E3877977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3" y="1497"/>
                <a:ext cx="9" cy="2"/>
              </a:xfrm>
              <a:custGeom>
                <a:avLst/>
                <a:gdLst>
                  <a:gd name="T0" fmla="*/ 5 w 9"/>
                  <a:gd name="T1" fmla="*/ 2 h 2"/>
                  <a:gd name="T2" fmla="*/ 9 w 9"/>
                  <a:gd name="T3" fmla="*/ 0 h 2"/>
                  <a:gd name="T4" fmla="*/ 3 w 9"/>
                  <a:gd name="T5" fmla="*/ 1 h 2"/>
                  <a:gd name="T6" fmla="*/ 0 w 9"/>
                  <a:gd name="T7" fmla="*/ 2 h 2"/>
                  <a:gd name="T8" fmla="*/ 3 w 9"/>
                  <a:gd name="T9" fmla="*/ 1 h 2"/>
                  <a:gd name="T10" fmla="*/ 5 w 9"/>
                  <a:gd name="T11" fmla="*/ 2 h 2"/>
                  <a:gd name="T12" fmla="*/ 5 w 9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2">
                    <a:moveTo>
                      <a:pt x="5" y="2"/>
                    </a:moveTo>
                    <a:lnTo>
                      <a:pt x="9" y="0"/>
                    </a:lnTo>
                    <a:lnTo>
                      <a:pt x="3" y="1"/>
                    </a:lnTo>
                    <a:lnTo>
                      <a:pt x="0" y="2"/>
                    </a:lnTo>
                    <a:lnTo>
                      <a:pt x="3" y="1"/>
                    </a:lnTo>
                    <a:lnTo>
                      <a:pt x="5" y="2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0" name="Freeform 36">
                <a:extLst>
                  <a:ext uri="{FF2B5EF4-FFF2-40B4-BE49-F238E27FC236}">
                    <a16:creationId xmlns:a16="http://schemas.microsoft.com/office/drawing/2014/main" id="{CB33B236-C9FD-4678-AB0F-B58C0E5790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" y="1537"/>
                <a:ext cx="74" cy="56"/>
              </a:xfrm>
              <a:custGeom>
                <a:avLst/>
                <a:gdLst>
                  <a:gd name="T0" fmla="*/ 41 w 74"/>
                  <a:gd name="T1" fmla="*/ 2 h 56"/>
                  <a:gd name="T2" fmla="*/ 39 w 74"/>
                  <a:gd name="T3" fmla="*/ 1 h 56"/>
                  <a:gd name="T4" fmla="*/ 33 w 74"/>
                  <a:gd name="T5" fmla="*/ 0 h 56"/>
                  <a:gd name="T6" fmla="*/ 29 w 74"/>
                  <a:gd name="T7" fmla="*/ 0 h 56"/>
                  <a:gd name="T8" fmla="*/ 26 w 74"/>
                  <a:gd name="T9" fmla="*/ 1 h 56"/>
                  <a:gd name="T10" fmla="*/ 22 w 74"/>
                  <a:gd name="T11" fmla="*/ 1 h 56"/>
                  <a:gd name="T12" fmla="*/ 12 w 74"/>
                  <a:gd name="T13" fmla="*/ 2 h 56"/>
                  <a:gd name="T14" fmla="*/ 10 w 74"/>
                  <a:gd name="T15" fmla="*/ 3 h 56"/>
                  <a:gd name="T16" fmla="*/ 7 w 74"/>
                  <a:gd name="T17" fmla="*/ 4 h 56"/>
                  <a:gd name="T18" fmla="*/ 6 w 74"/>
                  <a:gd name="T19" fmla="*/ 7 h 56"/>
                  <a:gd name="T20" fmla="*/ 10 w 74"/>
                  <a:gd name="T21" fmla="*/ 12 h 56"/>
                  <a:gd name="T22" fmla="*/ 14 w 74"/>
                  <a:gd name="T23" fmla="*/ 13 h 56"/>
                  <a:gd name="T24" fmla="*/ 10 w 74"/>
                  <a:gd name="T25" fmla="*/ 13 h 56"/>
                  <a:gd name="T26" fmla="*/ 5 w 74"/>
                  <a:gd name="T27" fmla="*/ 11 h 56"/>
                  <a:gd name="T28" fmla="*/ 2 w 74"/>
                  <a:gd name="T29" fmla="*/ 11 h 56"/>
                  <a:gd name="T30" fmla="*/ 0 w 74"/>
                  <a:gd name="T31" fmla="*/ 13 h 56"/>
                  <a:gd name="T32" fmla="*/ 1 w 74"/>
                  <a:gd name="T33" fmla="*/ 17 h 56"/>
                  <a:gd name="T34" fmla="*/ 0 w 74"/>
                  <a:gd name="T35" fmla="*/ 19 h 56"/>
                  <a:gd name="T36" fmla="*/ 1 w 74"/>
                  <a:gd name="T37" fmla="*/ 25 h 56"/>
                  <a:gd name="T38" fmla="*/ 0 w 74"/>
                  <a:gd name="T39" fmla="*/ 30 h 56"/>
                  <a:gd name="T40" fmla="*/ 0 w 74"/>
                  <a:gd name="T41" fmla="*/ 36 h 56"/>
                  <a:gd name="T42" fmla="*/ 1 w 74"/>
                  <a:gd name="T43" fmla="*/ 38 h 56"/>
                  <a:gd name="T44" fmla="*/ 5 w 74"/>
                  <a:gd name="T45" fmla="*/ 39 h 56"/>
                  <a:gd name="T46" fmla="*/ 6 w 74"/>
                  <a:gd name="T47" fmla="*/ 43 h 56"/>
                  <a:gd name="T48" fmla="*/ 8 w 74"/>
                  <a:gd name="T49" fmla="*/ 45 h 56"/>
                  <a:gd name="T50" fmla="*/ 7 w 74"/>
                  <a:gd name="T51" fmla="*/ 51 h 56"/>
                  <a:gd name="T52" fmla="*/ 10 w 74"/>
                  <a:gd name="T53" fmla="*/ 53 h 56"/>
                  <a:gd name="T54" fmla="*/ 12 w 74"/>
                  <a:gd name="T55" fmla="*/ 53 h 56"/>
                  <a:gd name="T56" fmla="*/ 7 w 74"/>
                  <a:gd name="T57" fmla="*/ 54 h 56"/>
                  <a:gd name="T58" fmla="*/ 7 w 74"/>
                  <a:gd name="T59" fmla="*/ 56 h 56"/>
                  <a:gd name="T60" fmla="*/ 10 w 74"/>
                  <a:gd name="T61" fmla="*/ 56 h 56"/>
                  <a:gd name="T62" fmla="*/ 18 w 74"/>
                  <a:gd name="T63" fmla="*/ 56 h 56"/>
                  <a:gd name="T64" fmla="*/ 20 w 74"/>
                  <a:gd name="T65" fmla="*/ 56 h 56"/>
                  <a:gd name="T66" fmla="*/ 26 w 74"/>
                  <a:gd name="T67" fmla="*/ 49 h 56"/>
                  <a:gd name="T68" fmla="*/ 29 w 74"/>
                  <a:gd name="T69" fmla="*/ 46 h 56"/>
                  <a:gd name="T70" fmla="*/ 31 w 74"/>
                  <a:gd name="T71" fmla="*/ 44 h 56"/>
                  <a:gd name="T72" fmla="*/ 26 w 74"/>
                  <a:gd name="T73" fmla="*/ 38 h 56"/>
                  <a:gd name="T74" fmla="*/ 20 w 74"/>
                  <a:gd name="T75" fmla="*/ 38 h 56"/>
                  <a:gd name="T76" fmla="*/ 24 w 74"/>
                  <a:gd name="T77" fmla="*/ 37 h 56"/>
                  <a:gd name="T78" fmla="*/ 32 w 74"/>
                  <a:gd name="T79" fmla="*/ 36 h 56"/>
                  <a:gd name="T80" fmla="*/ 45 w 74"/>
                  <a:gd name="T81" fmla="*/ 38 h 56"/>
                  <a:gd name="T82" fmla="*/ 49 w 74"/>
                  <a:gd name="T83" fmla="*/ 38 h 56"/>
                  <a:gd name="T84" fmla="*/ 51 w 74"/>
                  <a:gd name="T85" fmla="*/ 36 h 56"/>
                  <a:gd name="T86" fmla="*/ 54 w 74"/>
                  <a:gd name="T87" fmla="*/ 33 h 56"/>
                  <a:gd name="T88" fmla="*/ 58 w 74"/>
                  <a:gd name="T89" fmla="*/ 27 h 56"/>
                  <a:gd name="T90" fmla="*/ 57 w 74"/>
                  <a:gd name="T91" fmla="*/ 25 h 56"/>
                  <a:gd name="T92" fmla="*/ 60 w 74"/>
                  <a:gd name="T93" fmla="*/ 25 h 56"/>
                  <a:gd name="T94" fmla="*/ 62 w 74"/>
                  <a:gd name="T95" fmla="*/ 21 h 56"/>
                  <a:gd name="T96" fmla="*/ 70 w 74"/>
                  <a:gd name="T97" fmla="*/ 13 h 56"/>
                  <a:gd name="T98" fmla="*/ 73 w 74"/>
                  <a:gd name="T99" fmla="*/ 11 h 56"/>
                  <a:gd name="T100" fmla="*/ 74 w 74"/>
                  <a:gd name="T101" fmla="*/ 8 h 56"/>
                  <a:gd name="T102" fmla="*/ 70 w 74"/>
                  <a:gd name="T103" fmla="*/ 5 h 56"/>
                  <a:gd name="T104" fmla="*/ 68 w 74"/>
                  <a:gd name="T105" fmla="*/ 5 h 56"/>
                  <a:gd name="T106" fmla="*/ 57 w 74"/>
                  <a:gd name="T107" fmla="*/ 3 h 56"/>
                  <a:gd name="T108" fmla="*/ 51 w 74"/>
                  <a:gd name="T109" fmla="*/ 4 h 56"/>
                  <a:gd name="T110" fmla="*/ 49 w 74"/>
                  <a:gd name="T111" fmla="*/ 5 h 56"/>
                  <a:gd name="T112" fmla="*/ 45 w 74"/>
                  <a:gd name="T113" fmla="*/ 3 h 56"/>
                  <a:gd name="T114" fmla="*/ 43 w 74"/>
                  <a:gd name="T115" fmla="*/ 2 h 56"/>
                  <a:gd name="T116" fmla="*/ 41 w 74"/>
                  <a:gd name="T117" fmla="*/ 2 h 56"/>
                  <a:gd name="T118" fmla="*/ 41 w 74"/>
                  <a:gd name="T119" fmla="*/ 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" h="56">
                    <a:moveTo>
                      <a:pt x="41" y="2"/>
                    </a:moveTo>
                    <a:lnTo>
                      <a:pt x="39" y="1"/>
                    </a:lnTo>
                    <a:lnTo>
                      <a:pt x="33" y="0"/>
                    </a:lnTo>
                    <a:lnTo>
                      <a:pt x="29" y="0"/>
                    </a:lnTo>
                    <a:lnTo>
                      <a:pt x="26" y="1"/>
                    </a:lnTo>
                    <a:lnTo>
                      <a:pt x="22" y="1"/>
                    </a:lnTo>
                    <a:lnTo>
                      <a:pt x="12" y="2"/>
                    </a:lnTo>
                    <a:lnTo>
                      <a:pt x="10" y="3"/>
                    </a:lnTo>
                    <a:lnTo>
                      <a:pt x="7" y="4"/>
                    </a:lnTo>
                    <a:lnTo>
                      <a:pt x="6" y="7"/>
                    </a:lnTo>
                    <a:lnTo>
                      <a:pt x="10" y="12"/>
                    </a:lnTo>
                    <a:lnTo>
                      <a:pt x="14" y="13"/>
                    </a:lnTo>
                    <a:lnTo>
                      <a:pt x="10" y="13"/>
                    </a:lnTo>
                    <a:lnTo>
                      <a:pt x="5" y="11"/>
                    </a:lnTo>
                    <a:lnTo>
                      <a:pt x="2" y="11"/>
                    </a:lnTo>
                    <a:lnTo>
                      <a:pt x="0" y="13"/>
                    </a:lnTo>
                    <a:lnTo>
                      <a:pt x="1" y="17"/>
                    </a:lnTo>
                    <a:lnTo>
                      <a:pt x="0" y="19"/>
                    </a:lnTo>
                    <a:lnTo>
                      <a:pt x="1" y="25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1" y="38"/>
                    </a:lnTo>
                    <a:lnTo>
                      <a:pt x="5" y="39"/>
                    </a:lnTo>
                    <a:lnTo>
                      <a:pt x="6" y="43"/>
                    </a:lnTo>
                    <a:lnTo>
                      <a:pt x="8" y="45"/>
                    </a:lnTo>
                    <a:lnTo>
                      <a:pt x="7" y="51"/>
                    </a:lnTo>
                    <a:lnTo>
                      <a:pt x="10" y="53"/>
                    </a:lnTo>
                    <a:lnTo>
                      <a:pt x="12" y="53"/>
                    </a:lnTo>
                    <a:lnTo>
                      <a:pt x="7" y="54"/>
                    </a:lnTo>
                    <a:lnTo>
                      <a:pt x="7" y="56"/>
                    </a:lnTo>
                    <a:lnTo>
                      <a:pt x="10" y="56"/>
                    </a:lnTo>
                    <a:lnTo>
                      <a:pt x="18" y="56"/>
                    </a:lnTo>
                    <a:lnTo>
                      <a:pt x="20" y="56"/>
                    </a:lnTo>
                    <a:lnTo>
                      <a:pt x="26" y="49"/>
                    </a:lnTo>
                    <a:lnTo>
                      <a:pt x="29" y="46"/>
                    </a:lnTo>
                    <a:lnTo>
                      <a:pt x="31" y="44"/>
                    </a:lnTo>
                    <a:lnTo>
                      <a:pt x="26" y="38"/>
                    </a:lnTo>
                    <a:lnTo>
                      <a:pt x="20" y="38"/>
                    </a:lnTo>
                    <a:lnTo>
                      <a:pt x="24" y="37"/>
                    </a:lnTo>
                    <a:lnTo>
                      <a:pt x="32" y="36"/>
                    </a:lnTo>
                    <a:lnTo>
                      <a:pt x="45" y="38"/>
                    </a:lnTo>
                    <a:lnTo>
                      <a:pt x="49" y="38"/>
                    </a:lnTo>
                    <a:lnTo>
                      <a:pt x="51" y="36"/>
                    </a:lnTo>
                    <a:lnTo>
                      <a:pt x="54" y="33"/>
                    </a:lnTo>
                    <a:lnTo>
                      <a:pt x="58" y="27"/>
                    </a:lnTo>
                    <a:lnTo>
                      <a:pt x="57" y="25"/>
                    </a:lnTo>
                    <a:lnTo>
                      <a:pt x="60" y="25"/>
                    </a:lnTo>
                    <a:lnTo>
                      <a:pt x="62" y="21"/>
                    </a:lnTo>
                    <a:lnTo>
                      <a:pt x="70" y="13"/>
                    </a:lnTo>
                    <a:lnTo>
                      <a:pt x="73" y="11"/>
                    </a:lnTo>
                    <a:lnTo>
                      <a:pt x="74" y="8"/>
                    </a:lnTo>
                    <a:lnTo>
                      <a:pt x="70" y="5"/>
                    </a:lnTo>
                    <a:lnTo>
                      <a:pt x="68" y="5"/>
                    </a:lnTo>
                    <a:lnTo>
                      <a:pt x="57" y="3"/>
                    </a:lnTo>
                    <a:lnTo>
                      <a:pt x="51" y="4"/>
                    </a:lnTo>
                    <a:lnTo>
                      <a:pt x="49" y="5"/>
                    </a:lnTo>
                    <a:lnTo>
                      <a:pt x="45" y="3"/>
                    </a:lnTo>
                    <a:lnTo>
                      <a:pt x="43" y="2"/>
                    </a:lnTo>
                    <a:lnTo>
                      <a:pt x="41" y="2"/>
                    </a:lnTo>
                    <a:lnTo>
                      <a:pt x="41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1" name="Freeform 37">
                <a:extLst>
                  <a:ext uri="{FF2B5EF4-FFF2-40B4-BE49-F238E27FC236}">
                    <a16:creationId xmlns:a16="http://schemas.microsoft.com/office/drawing/2014/main" id="{F8698516-F50F-4015-AFBA-7C8E605717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6" y="1439"/>
                <a:ext cx="21" cy="13"/>
              </a:xfrm>
              <a:custGeom>
                <a:avLst/>
                <a:gdLst>
                  <a:gd name="T0" fmla="*/ 16 w 21"/>
                  <a:gd name="T1" fmla="*/ 3 h 13"/>
                  <a:gd name="T2" fmla="*/ 11 w 21"/>
                  <a:gd name="T3" fmla="*/ 0 h 13"/>
                  <a:gd name="T4" fmla="*/ 7 w 21"/>
                  <a:gd name="T5" fmla="*/ 0 h 13"/>
                  <a:gd name="T6" fmla="*/ 5 w 21"/>
                  <a:gd name="T7" fmla="*/ 0 h 13"/>
                  <a:gd name="T8" fmla="*/ 3 w 21"/>
                  <a:gd name="T9" fmla="*/ 0 h 13"/>
                  <a:gd name="T10" fmla="*/ 0 w 21"/>
                  <a:gd name="T11" fmla="*/ 4 h 13"/>
                  <a:gd name="T12" fmla="*/ 0 w 21"/>
                  <a:gd name="T13" fmla="*/ 6 h 13"/>
                  <a:gd name="T14" fmla="*/ 1 w 21"/>
                  <a:gd name="T15" fmla="*/ 10 h 13"/>
                  <a:gd name="T16" fmla="*/ 5 w 21"/>
                  <a:gd name="T17" fmla="*/ 11 h 13"/>
                  <a:gd name="T18" fmla="*/ 13 w 21"/>
                  <a:gd name="T19" fmla="*/ 13 h 13"/>
                  <a:gd name="T20" fmla="*/ 16 w 21"/>
                  <a:gd name="T21" fmla="*/ 13 h 13"/>
                  <a:gd name="T22" fmla="*/ 18 w 21"/>
                  <a:gd name="T23" fmla="*/ 12 h 13"/>
                  <a:gd name="T24" fmla="*/ 21 w 21"/>
                  <a:gd name="T25" fmla="*/ 8 h 13"/>
                  <a:gd name="T26" fmla="*/ 21 w 21"/>
                  <a:gd name="T27" fmla="*/ 6 h 13"/>
                  <a:gd name="T28" fmla="*/ 16 w 21"/>
                  <a:gd name="T29" fmla="*/ 3 h 13"/>
                  <a:gd name="T30" fmla="*/ 16 w 21"/>
                  <a:gd name="T31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" h="13">
                    <a:moveTo>
                      <a:pt x="16" y="3"/>
                    </a:moveTo>
                    <a:lnTo>
                      <a:pt x="11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1" y="10"/>
                    </a:lnTo>
                    <a:lnTo>
                      <a:pt x="5" y="11"/>
                    </a:lnTo>
                    <a:lnTo>
                      <a:pt x="13" y="13"/>
                    </a:lnTo>
                    <a:lnTo>
                      <a:pt x="16" y="13"/>
                    </a:lnTo>
                    <a:lnTo>
                      <a:pt x="18" y="12"/>
                    </a:lnTo>
                    <a:lnTo>
                      <a:pt x="21" y="8"/>
                    </a:lnTo>
                    <a:lnTo>
                      <a:pt x="21" y="6"/>
                    </a:lnTo>
                    <a:lnTo>
                      <a:pt x="16" y="3"/>
                    </a:lnTo>
                    <a:lnTo>
                      <a:pt x="16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2" name="Freeform 38">
                <a:extLst>
                  <a:ext uri="{FF2B5EF4-FFF2-40B4-BE49-F238E27FC236}">
                    <a16:creationId xmlns:a16="http://schemas.microsoft.com/office/drawing/2014/main" id="{13894A76-2F95-4467-9E87-85E452A22D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4" y="1463"/>
                <a:ext cx="13" cy="10"/>
              </a:xfrm>
              <a:custGeom>
                <a:avLst/>
                <a:gdLst>
                  <a:gd name="T0" fmla="*/ 8 w 13"/>
                  <a:gd name="T1" fmla="*/ 10 h 10"/>
                  <a:gd name="T2" fmla="*/ 9 w 13"/>
                  <a:gd name="T3" fmla="*/ 9 h 10"/>
                  <a:gd name="T4" fmla="*/ 13 w 13"/>
                  <a:gd name="T5" fmla="*/ 9 h 10"/>
                  <a:gd name="T6" fmla="*/ 10 w 13"/>
                  <a:gd name="T7" fmla="*/ 7 h 10"/>
                  <a:gd name="T8" fmla="*/ 13 w 13"/>
                  <a:gd name="T9" fmla="*/ 4 h 10"/>
                  <a:gd name="T10" fmla="*/ 12 w 13"/>
                  <a:gd name="T11" fmla="*/ 1 h 10"/>
                  <a:gd name="T12" fmla="*/ 8 w 13"/>
                  <a:gd name="T13" fmla="*/ 0 h 10"/>
                  <a:gd name="T14" fmla="*/ 3 w 13"/>
                  <a:gd name="T15" fmla="*/ 0 h 10"/>
                  <a:gd name="T16" fmla="*/ 0 w 13"/>
                  <a:gd name="T17" fmla="*/ 4 h 10"/>
                  <a:gd name="T18" fmla="*/ 6 w 13"/>
                  <a:gd name="T19" fmla="*/ 9 h 10"/>
                  <a:gd name="T20" fmla="*/ 8 w 13"/>
                  <a:gd name="T21" fmla="*/ 10 h 10"/>
                  <a:gd name="T22" fmla="*/ 8 w 13"/>
                  <a:gd name="T2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" h="10">
                    <a:moveTo>
                      <a:pt x="8" y="10"/>
                    </a:moveTo>
                    <a:lnTo>
                      <a:pt x="9" y="9"/>
                    </a:lnTo>
                    <a:lnTo>
                      <a:pt x="13" y="9"/>
                    </a:lnTo>
                    <a:lnTo>
                      <a:pt x="10" y="7"/>
                    </a:lnTo>
                    <a:lnTo>
                      <a:pt x="13" y="4"/>
                    </a:lnTo>
                    <a:lnTo>
                      <a:pt x="12" y="1"/>
                    </a:lnTo>
                    <a:lnTo>
                      <a:pt x="8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6" y="9"/>
                    </a:lnTo>
                    <a:lnTo>
                      <a:pt x="8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3" name="Freeform 39">
                <a:extLst>
                  <a:ext uri="{FF2B5EF4-FFF2-40B4-BE49-F238E27FC236}">
                    <a16:creationId xmlns:a16="http://schemas.microsoft.com/office/drawing/2014/main" id="{2A1F235F-30D2-4263-9123-30DC6C3568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3" y="1398"/>
                <a:ext cx="14" cy="4"/>
              </a:xfrm>
              <a:custGeom>
                <a:avLst/>
                <a:gdLst>
                  <a:gd name="T0" fmla="*/ 5 w 14"/>
                  <a:gd name="T1" fmla="*/ 0 h 4"/>
                  <a:gd name="T2" fmla="*/ 0 w 14"/>
                  <a:gd name="T3" fmla="*/ 2 h 4"/>
                  <a:gd name="T4" fmla="*/ 0 w 14"/>
                  <a:gd name="T5" fmla="*/ 4 h 4"/>
                  <a:gd name="T6" fmla="*/ 11 w 14"/>
                  <a:gd name="T7" fmla="*/ 2 h 4"/>
                  <a:gd name="T8" fmla="*/ 14 w 14"/>
                  <a:gd name="T9" fmla="*/ 0 h 4"/>
                  <a:gd name="T10" fmla="*/ 8 w 14"/>
                  <a:gd name="T11" fmla="*/ 0 h 4"/>
                  <a:gd name="T12" fmla="*/ 5 w 14"/>
                  <a:gd name="T13" fmla="*/ 0 h 4"/>
                  <a:gd name="T14" fmla="*/ 5 w 14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4">
                    <a:moveTo>
                      <a:pt x="5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11" y="2"/>
                    </a:lnTo>
                    <a:lnTo>
                      <a:pt x="14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4" name="Freeform 40">
                <a:extLst>
                  <a:ext uri="{FF2B5EF4-FFF2-40B4-BE49-F238E27FC236}">
                    <a16:creationId xmlns:a16="http://schemas.microsoft.com/office/drawing/2014/main" id="{3A73ED96-723F-43F7-A967-B6335B2F12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8" y="1542"/>
                <a:ext cx="87" cy="70"/>
              </a:xfrm>
              <a:custGeom>
                <a:avLst/>
                <a:gdLst>
                  <a:gd name="T0" fmla="*/ 87 w 87"/>
                  <a:gd name="T1" fmla="*/ 41 h 70"/>
                  <a:gd name="T2" fmla="*/ 85 w 87"/>
                  <a:gd name="T3" fmla="*/ 33 h 70"/>
                  <a:gd name="T4" fmla="*/ 78 w 87"/>
                  <a:gd name="T5" fmla="*/ 33 h 70"/>
                  <a:gd name="T6" fmla="*/ 74 w 87"/>
                  <a:gd name="T7" fmla="*/ 27 h 70"/>
                  <a:gd name="T8" fmla="*/ 63 w 87"/>
                  <a:gd name="T9" fmla="*/ 25 h 70"/>
                  <a:gd name="T10" fmla="*/ 59 w 87"/>
                  <a:gd name="T11" fmla="*/ 27 h 70"/>
                  <a:gd name="T12" fmla="*/ 74 w 87"/>
                  <a:gd name="T13" fmla="*/ 16 h 70"/>
                  <a:gd name="T14" fmla="*/ 72 w 87"/>
                  <a:gd name="T15" fmla="*/ 11 h 70"/>
                  <a:gd name="T16" fmla="*/ 79 w 87"/>
                  <a:gd name="T17" fmla="*/ 7 h 70"/>
                  <a:gd name="T18" fmla="*/ 65 w 87"/>
                  <a:gd name="T19" fmla="*/ 4 h 70"/>
                  <a:gd name="T20" fmla="*/ 54 w 87"/>
                  <a:gd name="T21" fmla="*/ 6 h 70"/>
                  <a:gd name="T22" fmla="*/ 46 w 87"/>
                  <a:gd name="T23" fmla="*/ 5 h 70"/>
                  <a:gd name="T24" fmla="*/ 37 w 87"/>
                  <a:gd name="T25" fmla="*/ 0 h 70"/>
                  <a:gd name="T26" fmla="*/ 37 w 87"/>
                  <a:gd name="T27" fmla="*/ 5 h 70"/>
                  <a:gd name="T28" fmla="*/ 29 w 87"/>
                  <a:gd name="T29" fmla="*/ 4 h 70"/>
                  <a:gd name="T30" fmla="*/ 22 w 87"/>
                  <a:gd name="T31" fmla="*/ 7 h 70"/>
                  <a:gd name="T32" fmla="*/ 29 w 87"/>
                  <a:gd name="T33" fmla="*/ 13 h 70"/>
                  <a:gd name="T34" fmla="*/ 26 w 87"/>
                  <a:gd name="T35" fmla="*/ 12 h 70"/>
                  <a:gd name="T36" fmla="*/ 18 w 87"/>
                  <a:gd name="T37" fmla="*/ 12 h 70"/>
                  <a:gd name="T38" fmla="*/ 24 w 87"/>
                  <a:gd name="T39" fmla="*/ 19 h 70"/>
                  <a:gd name="T40" fmla="*/ 35 w 87"/>
                  <a:gd name="T41" fmla="*/ 17 h 70"/>
                  <a:gd name="T42" fmla="*/ 37 w 87"/>
                  <a:gd name="T43" fmla="*/ 21 h 70"/>
                  <a:gd name="T44" fmla="*/ 33 w 87"/>
                  <a:gd name="T45" fmla="*/ 22 h 70"/>
                  <a:gd name="T46" fmla="*/ 34 w 87"/>
                  <a:gd name="T47" fmla="*/ 29 h 70"/>
                  <a:gd name="T48" fmla="*/ 33 w 87"/>
                  <a:gd name="T49" fmla="*/ 32 h 70"/>
                  <a:gd name="T50" fmla="*/ 24 w 87"/>
                  <a:gd name="T51" fmla="*/ 33 h 70"/>
                  <a:gd name="T52" fmla="*/ 16 w 87"/>
                  <a:gd name="T53" fmla="*/ 29 h 70"/>
                  <a:gd name="T54" fmla="*/ 10 w 87"/>
                  <a:gd name="T55" fmla="*/ 24 h 70"/>
                  <a:gd name="T56" fmla="*/ 3 w 87"/>
                  <a:gd name="T57" fmla="*/ 25 h 70"/>
                  <a:gd name="T58" fmla="*/ 0 w 87"/>
                  <a:gd name="T59" fmla="*/ 33 h 70"/>
                  <a:gd name="T60" fmla="*/ 11 w 87"/>
                  <a:gd name="T61" fmla="*/ 39 h 70"/>
                  <a:gd name="T62" fmla="*/ 14 w 87"/>
                  <a:gd name="T63" fmla="*/ 45 h 70"/>
                  <a:gd name="T64" fmla="*/ 22 w 87"/>
                  <a:gd name="T65" fmla="*/ 45 h 70"/>
                  <a:gd name="T66" fmla="*/ 29 w 87"/>
                  <a:gd name="T67" fmla="*/ 48 h 70"/>
                  <a:gd name="T68" fmla="*/ 45 w 87"/>
                  <a:gd name="T69" fmla="*/ 62 h 70"/>
                  <a:gd name="T70" fmla="*/ 53 w 87"/>
                  <a:gd name="T71" fmla="*/ 70 h 70"/>
                  <a:gd name="T72" fmla="*/ 61 w 87"/>
                  <a:gd name="T73" fmla="*/ 67 h 70"/>
                  <a:gd name="T74" fmla="*/ 59 w 87"/>
                  <a:gd name="T75" fmla="*/ 59 h 70"/>
                  <a:gd name="T76" fmla="*/ 60 w 87"/>
                  <a:gd name="T77" fmla="*/ 57 h 70"/>
                  <a:gd name="T78" fmla="*/ 70 w 87"/>
                  <a:gd name="T79" fmla="*/ 62 h 70"/>
                  <a:gd name="T80" fmla="*/ 80 w 87"/>
                  <a:gd name="T81" fmla="*/ 56 h 70"/>
                  <a:gd name="T82" fmla="*/ 82 w 87"/>
                  <a:gd name="T83" fmla="*/ 54 h 70"/>
                  <a:gd name="T84" fmla="*/ 86 w 87"/>
                  <a:gd name="T85" fmla="*/ 4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87" h="70">
                    <a:moveTo>
                      <a:pt x="85" y="47"/>
                    </a:moveTo>
                    <a:lnTo>
                      <a:pt x="82" y="44"/>
                    </a:lnTo>
                    <a:lnTo>
                      <a:pt x="87" y="41"/>
                    </a:lnTo>
                    <a:lnTo>
                      <a:pt x="87" y="39"/>
                    </a:lnTo>
                    <a:lnTo>
                      <a:pt x="86" y="36"/>
                    </a:lnTo>
                    <a:lnTo>
                      <a:pt x="85" y="33"/>
                    </a:lnTo>
                    <a:lnTo>
                      <a:pt x="79" y="34"/>
                    </a:lnTo>
                    <a:lnTo>
                      <a:pt x="77" y="36"/>
                    </a:lnTo>
                    <a:lnTo>
                      <a:pt x="78" y="33"/>
                    </a:lnTo>
                    <a:lnTo>
                      <a:pt x="76" y="31"/>
                    </a:lnTo>
                    <a:lnTo>
                      <a:pt x="73" y="30"/>
                    </a:lnTo>
                    <a:lnTo>
                      <a:pt x="74" y="27"/>
                    </a:lnTo>
                    <a:lnTo>
                      <a:pt x="69" y="25"/>
                    </a:lnTo>
                    <a:lnTo>
                      <a:pt x="65" y="24"/>
                    </a:lnTo>
                    <a:lnTo>
                      <a:pt x="63" y="25"/>
                    </a:lnTo>
                    <a:lnTo>
                      <a:pt x="61" y="27"/>
                    </a:lnTo>
                    <a:lnTo>
                      <a:pt x="59" y="30"/>
                    </a:lnTo>
                    <a:lnTo>
                      <a:pt x="59" y="27"/>
                    </a:lnTo>
                    <a:lnTo>
                      <a:pt x="63" y="22"/>
                    </a:lnTo>
                    <a:lnTo>
                      <a:pt x="69" y="17"/>
                    </a:lnTo>
                    <a:lnTo>
                      <a:pt x="74" y="16"/>
                    </a:lnTo>
                    <a:lnTo>
                      <a:pt x="76" y="13"/>
                    </a:lnTo>
                    <a:lnTo>
                      <a:pt x="70" y="14"/>
                    </a:lnTo>
                    <a:lnTo>
                      <a:pt x="72" y="11"/>
                    </a:lnTo>
                    <a:lnTo>
                      <a:pt x="74" y="12"/>
                    </a:lnTo>
                    <a:lnTo>
                      <a:pt x="78" y="10"/>
                    </a:lnTo>
                    <a:lnTo>
                      <a:pt x="79" y="7"/>
                    </a:lnTo>
                    <a:lnTo>
                      <a:pt x="77" y="4"/>
                    </a:lnTo>
                    <a:lnTo>
                      <a:pt x="71" y="3"/>
                    </a:lnTo>
                    <a:lnTo>
                      <a:pt x="65" y="4"/>
                    </a:lnTo>
                    <a:lnTo>
                      <a:pt x="62" y="4"/>
                    </a:lnTo>
                    <a:lnTo>
                      <a:pt x="56" y="5"/>
                    </a:lnTo>
                    <a:lnTo>
                      <a:pt x="54" y="6"/>
                    </a:lnTo>
                    <a:lnTo>
                      <a:pt x="51" y="6"/>
                    </a:lnTo>
                    <a:lnTo>
                      <a:pt x="48" y="7"/>
                    </a:lnTo>
                    <a:lnTo>
                      <a:pt x="46" y="5"/>
                    </a:lnTo>
                    <a:lnTo>
                      <a:pt x="41" y="3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5" y="2"/>
                    </a:lnTo>
                    <a:lnTo>
                      <a:pt x="37" y="4"/>
                    </a:lnTo>
                    <a:lnTo>
                      <a:pt x="37" y="5"/>
                    </a:lnTo>
                    <a:lnTo>
                      <a:pt x="35" y="5"/>
                    </a:lnTo>
                    <a:lnTo>
                      <a:pt x="31" y="4"/>
                    </a:lnTo>
                    <a:lnTo>
                      <a:pt x="29" y="4"/>
                    </a:lnTo>
                    <a:lnTo>
                      <a:pt x="26" y="4"/>
                    </a:lnTo>
                    <a:lnTo>
                      <a:pt x="24" y="5"/>
                    </a:lnTo>
                    <a:lnTo>
                      <a:pt x="22" y="7"/>
                    </a:lnTo>
                    <a:lnTo>
                      <a:pt x="26" y="8"/>
                    </a:lnTo>
                    <a:lnTo>
                      <a:pt x="28" y="10"/>
                    </a:lnTo>
                    <a:lnTo>
                      <a:pt x="29" y="13"/>
                    </a:lnTo>
                    <a:lnTo>
                      <a:pt x="31" y="15"/>
                    </a:lnTo>
                    <a:lnTo>
                      <a:pt x="29" y="14"/>
                    </a:lnTo>
                    <a:lnTo>
                      <a:pt x="26" y="12"/>
                    </a:lnTo>
                    <a:lnTo>
                      <a:pt x="24" y="11"/>
                    </a:lnTo>
                    <a:lnTo>
                      <a:pt x="20" y="10"/>
                    </a:lnTo>
                    <a:lnTo>
                      <a:pt x="18" y="12"/>
                    </a:lnTo>
                    <a:lnTo>
                      <a:pt x="16" y="14"/>
                    </a:lnTo>
                    <a:lnTo>
                      <a:pt x="18" y="15"/>
                    </a:lnTo>
                    <a:lnTo>
                      <a:pt x="24" y="19"/>
                    </a:lnTo>
                    <a:lnTo>
                      <a:pt x="27" y="19"/>
                    </a:lnTo>
                    <a:lnTo>
                      <a:pt x="31" y="17"/>
                    </a:lnTo>
                    <a:lnTo>
                      <a:pt x="35" y="17"/>
                    </a:lnTo>
                    <a:lnTo>
                      <a:pt x="37" y="20"/>
                    </a:lnTo>
                    <a:lnTo>
                      <a:pt x="41" y="20"/>
                    </a:lnTo>
                    <a:lnTo>
                      <a:pt x="37" y="21"/>
                    </a:lnTo>
                    <a:lnTo>
                      <a:pt x="31" y="19"/>
                    </a:lnTo>
                    <a:lnTo>
                      <a:pt x="30" y="21"/>
                    </a:lnTo>
                    <a:lnTo>
                      <a:pt x="33" y="22"/>
                    </a:lnTo>
                    <a:lnTo>
                      <a:pt x="35" y="25"/>
                    </a:lnTo>
                    <a:lnTo>
                      <a:pt x="36" y="28"/>
                    </a:lnTo>
                    <a:lnTo>
                      <a:pt x="34" y="29"/>
                    </a:lnTo>
                    <a:lnTo>
                      <a:pt x="31" y="27"/>
                    </a:lnTo>
                    <a:lnTo>
                      <a:pt x="31" y="29"/>
                    </a:lnTo>
                    <a:lnTo>
                      <a:pt x="33" y="32"/>
                    </a:lnTo>
                    <a:lnTo>
                      <a:pt x="29" y="32"/>
                    </a:lnTo>
                    <a:lnTo>
                      <a:pt x="26" y="32"/>
                    </a:lnTo>
                    <a:lnTo>
                      <a:pt x="24" y="33"/>
                    </a:lnTo>
                    <a:lnTo>
                      <a:pt x="20" y="33"/>
                    </a:lnTo>
                    <a:lnTo>
                      <a:pt x="18" y="31"/>
                    </a:lnTo>
                    <a:lnTo>
                      <a:pt x="16" y="29"/>
                    </a:lnTo>
                    <a:lnTo>
                      <a:pt x="13" y="28"/>
                    </a:lnTo>
                    <a:lnTo>
                      <a:pt x="11" y="24"/>
                    </a:lnTo>
                    <a:lnTo>
                      <a:pt x="10" y="24"/>
                    </a:lnTo>
                    <a:lnTo>
                      <a:pt x="9" y="23"/>
                    </a:lnTo>
                    <a:lnTo>
                      <a:pt x="5" y="24"/>
                    </a:lnTo>
                    <a:lnTo>
                      <a:pt x="3" y="25"/>
                    </a:lnTo>
                    <a:lnTo>
                      <a:pt x="2" y="28"/>
                    </a:lnTo>
                    <a:lnTo>
                      <a:pt x="0" y="30"/>
                    </a:lnTo>
                    <a:lnTo>
                      <a:pt x="0" y="33"/>
                    </a:lnTo>
                    <a:lnTo>
                      <a:pt x="5" y="37"/>
                    </a:lnTo>
                    <a:lnTo>
                      <a:pt x="10" y="39"/>
                    </a:lnTo>
                    <a:lnTo>
                      <a:pt x="11" y="39"/>
                    </a:lnTo>
                    <a:lnTo>
                      <a:pt x="12" y="42"/>
                    </a:lnTo>
                    <a:lnTo>
                      <a:pt x="11" y="42"/>
                    </a:lnTo>
                    <a:lnTo>
                      <a:pt x="14" y="45"/>
                    </a:lnTo>
                    <a:lnTo>
                      <a:pt x="17" y="45"/>
                    </a:lnTo>
                    <a:lnTo>
                      <a:pt x="19" y="44"/>
                    </a:lnTo>
                    <a:lnTo>
                      <a:pt x="22" y="45"/>
                    </a:lnTo>
                    <a:lnTo>
                      <a:pt x="24" y="47"/>
                    </a:lnTo>
                    <a:lnTo>
                      <a:pt x="27" y="47"/>
                    </a:lnTo>
                    <a:lnTo>
                      <a:pt x="29" y="48"/>
                    </a:lnTo>
                    <a:lnTo>
                      <a:pt x="35" y="53"/>
                    </a:lnTo>
                    <a:lnTo>
                      <a:pt x="39" y="57"/>
                    </a:lnTo>
                    <a:lnTo>
                      <a:pt x="45" y="62"/>
                    </a:lnTo>
                    <a:lnTo>
                      <a:pt x="47" y="67"/>
                    </a:lnTo>
                    <a:lnTo>
                      <a:pt x="51" y="67"/>
                    </a:lnTo>
                    <a:lnTo>
                      <a:pt x="53" y="70"/>
                    </a:lnTo>
                    <a:lnTo>
                      <a:pt x="55" y="70"/>
                    </a:lnTo>
                    <a:lnTo>
                      <a:pt x="59" y="70"/>
                    </a:lnTo>
                    <a:lnTo>
                      <a:pt x="61" y="67"/>
                    </a:lnTo>
                    <a:lnTo>
                      <a:pt x="63" y="64"/>
                    </a:lnTo>
                    <a:lnTo>
                      <a:pt x="61" y="62"/>
                    </a:lnTo>
                    <a:lnTo>
                      <a:pt x="59" y="59"/>
                    </a:lnTo>
                    <a:lnTo>
                      <a:pt x="59" y="56"/>
                    </a:lnTo>
                    <a:lnTo>
                      <a:pt x="62" y="55"/>
                    </a:lnTo>
                    <a:lnTo>
                      <a:pt x="60" y="57"/>
                    </a:lnTo>
                    <a:lnTo>
                      <a:pt x="61" y="61"/>
                    </a:lnTo>
                    <a:lnTo>
                      <a:pt x="64" y="61"/>
                    </a:lnTo>
                    <a:lnTo>
                      <a:pt x="70" y="62"/>
                    </a:lnTo>
                    <a:lnTo>
                      <a:pt x="72" y="62"/>
                    </a:lnTo>
                    <a:lnTo>
                      <a:pt x="74" y="61"/>
                    </a:lnTo>
                    <a:lnTo>
                      <a:pt x="80" y="56"/>
                    </a:lnTo>
                    <a:lnTo>
                      <a:pt x="84" y="56"/>
                    </a:lnTo>
                    <a:lnTo>
                      <a:pt x="86" y="54"/>
                    </a:lnTo>
                    <a:lnTo>
                      <a:pt x="82" y="54"/>
                    </a:lnTo>
                    <a:lnTo>
                      <a:pt x="86" y="51"/>
                    </a:lnTo>
                    <a:lnTo>
                      <a:pt x="82" y="51"/>
                    </a:lnTo>
                    <a:lnTo>
                      <a:pt x="86" y="49"/>
                    </a:lnTo>
                    <a:lnTo>
                      <a:pt x="85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5" name="Freeform 41">
                <a:extLst>
                  <a:ext uri="{FF2B5EF4-FFF2-40B4-BE49-F238E27FC236}">
                    <a16:creationId xmlns:a16="http://schemas.microsoft.com/office/drawing/2014/main" id="{B0B7E97C-0206-42E2-8E9D-1ABCDA87C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0" y="1487"/>
                <a:ext cx="18" cy="7"/>
              </a:xfrm>
              <a:custGeom>
                <a:avLst/>
                <a:gdLst>
                  <a:gd name="T0" fmla="*/ 18 w 18"/>
                  <a:gd name="T1" fmla="*/ 1 h 7"/>
                  <a:gd name="T2" fmla="*/ 12 w 18"/>
                  <a:gd name="T3" fmla="*/ 2 h 7"/>
                  <a:gd name="T4" fmla="*/ 11 w 18"/>
                  <a:gd name="T5" fmla="*/ 6 h 7"/>
                  <a:gd name="T6" fmla="*/ 5 w 18"/>
                  <a:gd name="T7" fmla="*/ 7 h 7"/>
                  <a:gd name="T8" fmla="*/ 0 w 18"/>
                  <a:gd name="T9" fmla="*/ 7 h 7"/>
                  <a:gd name="T10" fmla="*/ 5 w 18"/>
                  <a:gd name="T11" fmla="*/ 2 h 7"/>
                  <a:gd name="T12" fmla="*/ 8 w 18"/>
                  <a:gd name="T13" fmla="*/ 1 h 7"/>
                  <a:gd name="T14" fmla="*/ 13 w 18"/>
                  <a:gd name="T15" fmla="*/ 0 h 7"/>
                  <a:gd name="T16" fmla="*/ 17 w 18"/>
                  <a:gd name="T17" fmla="*/ 0 h 7"/>
                  <a:gd name="T18" fmla="*/ 18 w 18"/>
                  <a:gd name="T19" fmla="*/ 1 h 7"/>
                  <a:gd name="T20" fmla="*/ 18 w 18"/>
                  <a:gd name="T21" fmla="*/ 1 h 7"/>
                  <a:gd name="T22" fmla="*/ 18 w 18"/>
                  <a:gd name="T23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" h="7">
                    <a:moveTo>
                      <a:pt x="18" y="1"/>
                    </a:moveTo>
                    <a:lnTo>
                      <a:pt x="12" y="2"/>
                    </a:lnTo>
                    <a:lnTo>
                      <a:pt x="11" y="6"/>
                    </a:lnTo>
                    <a:lnTo>
                      <a:pt x="5" y="7"/>
                    </a:lnTo>
                    <a:lnTo>
                      <a:pt x="0" y="7"/>
                    </a:lnTo>
                    <a:lnTo>
                      <a:pt x="5" y="2"/>
                    </a:lnTo>
                    <a:lnTo>
                      <a:pt x="8" y="1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18" y="1"/>
                    </a:lnTo>
                    <a:lnTo>
                      <a:pt x="18" y="1"/>
                    </a:lnTo>
                    <a:lnTo>
                      <a:pt x="18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6" name="Freeform 42">
                <a:extLst>
                  <a:ext uri="{FF2B5EF4-FFF2-40B4-BE49-F238E27FC236}">
                    <a16:creationId xmlns:a16="http://schemas.microsoft.com/office/drawing/2014/main" id="{0EAF2E22-830E-42B9-A0AA-94DB685FDC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6" y="1476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4 h 4"/>
                  <a:gd name="T4" fmla="*/ 1 w 2"/>
                  <a:gd name="T5" fmla="*/ 1 h 4"/>
                  <a:gd name="T6" fmla="*/ 2 w 2"/>
                  <a:gd name="T7" fmla="*/ 0 h 4"/>
                  <a:gd name="T8" fmla="*/ 2 w 2"/>
                  <a:gd name="T9" fmla="*/ 4 h 4"/>
                  <a:gd name="T10" fmla="*/ 2 w 2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4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7" name="Freeform 43">
                <a:extLst>
                  <a:ext uri="{FF2B5EF4-FFF2-40B4-BE49-F238E27FC236}">
                    <a16:creationId xmlns:a16="http://schemas.microsoft.com/office/drawing/2014/main" id="{E83523CC-0ACA-49B4-9CE3-4B0ED40115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8" y="1737"/>
                <a:ext cx="8" cy="10"/>
              </a:xfrm>
              <a:custGeom>
                <a:avLst/>
                <a:gdLst>
                  <a:gd name="T0" fmla="*/ 3 w 8"/>
                  <a:gd name="T1" fmla="*/ 0 h 10"/>
                  <a:gd name="T2" fmla="*/ 3 w 8"/>
                  <a:gd name="T3" fmla="*/ 0 h 10"/>
                  <a:gd name="T4" fmla="*/ 0 w 8"/>
                  <a:gd name="T5" fmla="*/ 1 h 10"/>
                  <a:gd name="T6" fmla="*/ 1 w 8"/>
                  <a:gd name="T7" fmla="*/ 4 h 10"/>
                  <a:gd name="T8" fmla="*/ 1 w 8"/>
                  <a:gd name="T9" fmla="*/ 7 h 10"/>
                  <a:gd name="T10" fmla="*/ 4 w 8"/>
                  <a:gd name="T11" fmla="*/ 8 h 10"/>
                  <a:gd name="T12" fmla="*/ 6 w 8"/>
                  <a:gd name="T13" fmla="*/ 10 h 10"/>
                  <a:gd name="T14" fmla="*/ 8 w 8"/>
                  <a:gd name="T15" fmla="*/ 9 h 10"/>
                  <a:gd name="T16" fmla="*/ 6 w 8"/>
                  <a:gd name="T17" fmla="*/ 4 h 10"/>
                  <a:gd name="T18" fmla="*/ 3 w 8"/>
                  <a:gd name="T19" fmla="*/ 0 h 10"/>
                  <a:gd name="T20" fmla="*/ 3 w 8"/>
                  <a:gd name="T2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10">
                    <a:moveTo>
                      <a:pt x="3" y="0"/>
                    </a:moveTo>
                    <a:lnTo>
                      <a:pt x="3" y="0"/>
                    </a:lnTo>
                    <a:lnTo>
                      <a:pt x="0" y="1"/>
                    </a:lnTo>
                    <a:lnTo>
                      <a:pt x="1" y="4"/>
                    </a:lnTo>
                    <a:lnTo>
                      <a:pt x="1" y="7"/>
                    </a:lnTo>
                    <a:lnTo>
                      <a:pt x="4" y="8"/>
                    </a:lnTo>
                    <a:lnTo>
                      <a:pt x="6" y="10"/>
                    </a:lnTo>
                    <a:lnTo>
                      <a:pt x="8" y="9"/>
                    </a:lnTo>
                    <a:lnTo>
                      <a:pt x="6" y="4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8" name="Freeform 44">
                <a:extLst>
                  <a:ext uri="{FF2B5EF4-FFF2-40B4-BE49-F238E27FC236}">
                    <a16:creationId xmlns:a16="http://schemas.microsoft.com/office/drawing/2014/main" id="{7D07BD7B-9470-4467-9562-B3A3CEEC7D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5" y="1804"/>
                <a:ext cx="27" cy="17"/>
              </a:xfrm>
              <a:custGeom>
                <a:avLst/>
                <a:gdLst>
                  <a:gd name="T0" fmla="*/ 0 w 27"/>
                  <a:gd name="T1" fmla="*/ 11 h 17"/>
                  <a:gd name="T2" fmla="*/ 3 w 27"/>
                  <a:gd name="T3" fmla="*/ 17 h 17"/>
                  <a:gd name="T4" fmla="*/ 6 w 27"/>
                  <a:gd name="T5" fmla="*/ 17 h 17"/>
                  <a:gd name="T6" fmla="*/ 9 w 27"/>
                  <a:gd name="T7" fmla="*/ 16 h 17"/>
                  <a:gd name="T8" fmla="*/ 11 w 27"/>
                  <a:gd name="T9" fmla="*/ 17 h 17"/>
                  <a:gd name="T10" fmla="*/ 17 w 27"/>
                  <a:gd name="T11" fmla="*/ 15 h 17"/>
                  <a:gd name="T12" fmla="*/ 21 w 27"/>
                  <a:gd name="T13" fmla="*/ 9 h 17"/>
                  <a:gd name="T14" fmla="*/ 25 w 27"/>
                  <a:gd name="T15" fmla="*/ 8 h 17"/>
                  <a:gd name="T16" fmla="*/ 27 w 27"/>
                  <a:gd name="T17" fmla="*/ 7 h 17"/>
                  <a:gd name="T18" fmla="*/ 27 w 27"/>
                  <a:gd name="T19" fmla="*/ 1 h 17"/>
                  <a:gd name="T20" fmla="*/ 25 w 27"/>
                  <a:gd name="T21" fmla="*/ 0 h 17"/>
                  <a:gd name="T22" fmla="*/ 17 w 27"/>
                  <a:gd name="T23" fmla="*/ 1 h 17"/>
                  <a:gd name="T24" fmla="*/ 13 w 27"/>
                  <a:gd name="T25" fmla="*/ 3 h 17"/>
                  <a:gd name="T26" fmla="*/ 11 w 27"/>
                  <a:gd name="T27" fmla="*/ 3 h 17"/>
                  <a:gd name="T28" fmla="*/ 9 w 27"/>
                  <a:gd name="T29" fmla="*/ 2 h 17"/>
                  <a:gd name="T30" fmla="*/ 6 w 27"/>
                  <a:gd name="T31" fmla="*/ 5 h 17"/>
                  <a:gd name="T32" fmla="*/ 4 w 27"/>
                  <a:gd name="T33" fmla="*/ 7 h 17"/>
                  <a:gd name="T34" fmla="*/ 0 w 27"/>
                  <a:gd name="T35" fmla="*/ 11 h 17"/>
                  <a:gd name="T36" fmla="*/ 0 w 27"/>
                  <a:gd name="T37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" h="17">
                    <a:moveTo>
                      <a:pt x="0" y="11"/>
                    </a:moveTo>
                    <a:lnTo>
                      <a:pt x="3" y="17"/>
                    </a:lnTo>
                    <a:lnTo>
                      <a:pt x="6" y="17"/>
                    </a:lnTo>
                    <a:lnTo>
                      <a:pt x="9" y="16"/>
                    </a:lnTo>
                    <a:lnTo>
                      <a:pt x="11" y="17"/>
                    </a:lnTo>
                    <a:lnTo>
                      <a:pt x="17" y="15"/>
                    </a:lnTo>
                    <a:lnTo>
                      <a:pt x="21" y="9"/>
                    </a:lnTo>
                    <a:lnTo>
                      <a:pt x="25" y="8"/>
                    </a:lnTo>
                    <a:lnTo>
                      <a:pt x="27" y="7"/>
                    </a:lnTo>
                    <a:lnTo>
                      <a:pt x="27" y="1"/>
                    </a:lnTo>
                    <a:lnTo>
                      <a:pt x="25" y="0"/>
                    </a:lnTo>
                    <a:lnTo>
                      <a:pt x="17" y="1"/>
                    </a:lnTo>
                    <a:lnTo>
                      <a:pt x="13" y="3"/>
                    </a:lnTo>
                    <a:lnTo>
                      <a:pt x="11" y="3"/>
                    </a:lnTo>
                    <a:lnTo>
                      <a:pt x="9" y="2"/>
                    </a:lnTo>
                    <a:lnTo>
                      <a:pt x="6" y="5"/>
                    </a:lnTo>
                    <a:lnTo>
                      <a:pt x="4" y="7"/>
                    </a:lnTo>
                    <a:lnTo>
                      <a:pt x="0" y="11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9" name="Freeform 45">
                <a:extLst>
                  <a:ext uri="{FF2B5EF4-FFF2-40B4-BE49-F238E27FC236}">
                    <a16:creationId xmlns:a16="http://schemas.microsoft.com/office/drawing/2014/main" id="{B8EAFAB0-1EF5-4593-ACC9-D3AAB5DD3C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1" y="1999"/>
                <a:ext cx="19" cy="9"/>
              </a:xfrm>
              <a:custGeom>
                <a:avLst/>
                <a:gdLst>
                  <a:gd name="T0" fmla="*/ 14 w 19"/>
                  <a:gd name="T1" fmla="*/ 1 h 9"/>
                  <a:gd name="T2" fmla="*/ 10 w 19"/>
                  <a:gd name="T3" fmla="*/ 0 h 9"/>
                  <a:gd name="T4" fmla="*/ 2 w 19"/>
                  <a:gd name="T5" fmla="*/ 1 h 9"/>
                  <a:gd name="T6" fmla="*/ 0 w 19"/>
                  <a:gd name="T7" fmla="*/ 3 h 9"/>
                  <a:gd name="T8" fmla="*/ 2 w 19"/>
                  <a:gd name="T9" fmla="*/ 4 h 9"/>
                  <a:gd name="T10" fmla="*/ 11 w 19"/>
                  <a:gd name="T11" fmla="*/ 7 h 9"/>
                  <a:gd name="T12" fmla="*/ 14 w 19"/>
                  <a:gd name="T13" fmla="*/ 8 h 9"/>
                  <a:gd name="T14" fmla="*/ 19 w 19"/>
                  <a:gd name="T15" fmla="*/ 9 h 9"/>
                  <a:gd name="T16" fmla="*/ 18 w 19"/>
                  <a:gd name="T17" fmla="*/ 6 h 9"/>
                  <a:gd name="T18" fmla="*/ 14 w 19"/>
                  <a:gd name="T19" fmla="*/ 1 h 9"/>
                  <a:gd name="T20" fmla="*/ 14 w 19"/>
                  <a:gd name="T21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" h="9">
                    <a:moveTo>
                      <a:pt x="14" y="1"/>
                    </a:moveTo>
                    <a:lnTo>
                      <a:pt x="10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2" y="4"/>
                    </a:lnTo>
                    <a:lnTo>
                      <a:pt x="11" y="7"/>
                    </a:lnTo>
                    <a:lnTo>
                      <a:pt x="14" y="8"/>
                    </a:lnTo>
                    <a:lnTo>
                      <a:pt x="19" y="9"/>
                    </a:lnTo>
                    <a:lnTo>
                      <a:pt x="18" y="6"/>
                    </a:lnTo>
                    <a:lnTo>
                      <a:pt x="14" y="1"/>
                    </a:lnTo>
                    <a:lnTo>
                      <a:pt x="14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0" name="Freeform 46">
                <a:extLst>
                  <a:ext uri="{FF2B5EF4-FFF2-40B4-BE49-F238E27FC236}">
                    <a16:creationId xmlns:a16="http://schemas.microsoft.com/office/drawing/2014/main" id="{35C0A3BF-BA3B-4DB7-9001-31A3DD569C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8" y="1648"/>
                <a:ext cx="19" cy="8"/>
              </a:xfrm>
              <a:custGeom>
                <a:avLst/>
                <a:gdLst>
                  <a:gd name="T0" fmla="*/ 11 w 19"/>
                  <a:gd name="T1" fmla="*/ 7 h 8"/>
                  <a:gd name="T2" fmla="*/ 11 w 19"/>
                  <a:gd name="T3" fmla="*/ 4 h 8"/>
                  <a:gd name="T4" fmla="*/ 13 w 19"/>
                  <a:gd name="T5" fmla="*/ 5 h 8"/>
                  <a:gd name="T6" fmla="*/ 17 w 19"/>
                  <a:gd name="T7" fmla="*/ 5 h 8"/>
                  <a:gd name="T8" fmla="*/ 19 w 19"/>
                  <a:gd name="T9" fmla="*/ 3 h 8"/>
                  <a:gd name="T10" fmla="*/ 19 w 19"/>
                  <a:gd name="T11" fmla="*/ 1 h 8"/>
                  <a:gd name="T12" fmla="*/ 16 w 19"/>
                  <a:gd name="T13" fmla="*/ 0 h 8"/>
                  <a:gd name="T14" fmla="*/ 11 w 19"/>
                  <a:gd name="T15" fmla="*/ 2 h 8"/>
                  <a:gd name="T16" fmla="*/ 8 w 19"/>
                  <a:gd name="T17" fmla="*/ 1 h 8"/>
                  <a:gd name="T18" fmla="*/ 6 w 19"/>
                  <a:gd name="T19" fmla="*/ 1 h 8"/>
                  <a:gd name="T20" fmla="*/ 6 w 19"/>
                  <a:gd name="T21" fmla="*/ 3 h 8"/>
                  <a:gd name="T22" fmla="*/ 3 w 19"/>
                  <a:gd name="T23" fmla="*/ 2 h 8"/>
                  <a:gd name="T24" fmla="*/ 0 w 19"/>
                  <a:gd name="T25" fmla="*/ 3 h 8"/>
                  <a:gd name="T26" fmla="*/ 6 w 19"/>
                  <a:gd name="T27" fmla="*/ 4 h 8"/>
                  <a:gd name="T28" fmla="*/ 9 w 19"/>
                  <a:gd name="T29" fmla="*/ 7 h 8"/>
                  <a:gd name="T30" fmla="*/ 11 w 19"/>
                  <a:gd name="T31" fmla="*/ 8 h 8"/>
                  <a:gd name="T32" fmla="*/ 11 w 19"/>
                  <a:gd name="T33" fmla="*/ 7 h 8"/>
                  <a:gd name="T34" fmla="*/ 11 w 19"/>
                  <a:gd name="T35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" h="8">
                    <a:moveTo>
                      <a:pt x="11" y="7"/>
                    </a:moveTo>
                    <a:lnTo>
                      <a:pt x="11" y="4"/>
                    </a:lnTo>
                    <a:lnTo>
                      <a:pt x="13" y="5"/>
                    </a:lnTo>
                    <a:lnTo>
                      <a:pt x="17" y="5"/>
                    </a:lnTo>
                    <a:lnTo>
                      <a:pt x="19" y="3"/>
                    </a:lnTo>
                    <a:lnTo>
                      <a:pt x="19" y="1"/>
                    </a:lnTo>
                    <a:lnTo>
                      <a:pt x="16" y="0"/>
                    </a:lnTo>
                    <a:lnTo>
                      <a:pt x="11" y="2"/>
                    </a:lnTo>
                    <a:lnTo>
                      <a:pt x="8" y="1"/>
                    </a:lnTo>
                    <a:lnTo>
                      <a:pt x="6" y="1"/>
                    </a:lnTo>
                    <a:lnTo>
                      <a:pt x="6" y="3"/>
                    </a:lnTo>
                    <a:lnTo>
                      <a:pt x="3" y="2"/>
                    </a:lnTo>
                    <a:lnTo>
                      <a:pt x="0" y="3"/>
                    </a:lnTo>
                    <a:lnTo>
                      <a:pt x="6" y="4"/>
                    </a:lnTo>
                    <a:lnTo>
                      <a:pt x="9" y="7"/>
                    </a:lnTo>
                    <a:lnTo>
                      <a:pt x="11" y="8"/>
                    </a:lnTo>
                    <a:lnTo>
                      <a:pt x="11" y="7"/>
                    </a:lnTo>
                    <a:lnTo>
                      <a:pt x="11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1" name="Freeform 47">
                <a:extLst>
                  <a:ext uri="{FF2B5EF4-FFF2-40B4-BE49-F238E27FC236}">
                    <a16:creationId xmlns:a16="http://schemas.microsoft.com/office/drawing/2014/main" id="{0C813FEA-57B6-408B-9913-C1EEF24DB7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5" y="1817"/>
                <a:ext cx="14" cy="18"/>
              </a:xfrm>
              <a:custGeom>
                <a:avLst/>
                <a:gdLst>
                  <a:gd name="T0" fmla="*/ 4 w 14"/>
                  <a:gd name="T1" fmla="*/ 14 h 18"/>
                  <a:gd name="T2" fmla="*/ 6 w 14"/>
                  <a:gd name="T3" fmla="*/ 18 h 18"/>
                  <a:gd name="T4" fmla="*/ 10 w 14"/>
                  <a:gd name="T5" fmla="*/ 14 h 18"/>
                  <a:gd name="T6" fmla="*/ 12 w 14"/>
                  <a:gd name="T7" fmla="*/ 10 h 18"/>
                  <a:gd name="T8" fmla="*/ 13 w 14"/>
                  <a:gd name="T9" fmla="*/ 6 h 18"/>
                  <a:gd name="T10" fmla="*/ 14 w 14"/>
                  <a:gd name="T11" fmla="*/ 4 h 18"/>
                  <a:gd name="T12" fmla="*/ 12 w 14"/>
                  <a:gd name="T13" fmla="*/ 1 h 18"/>
                  <a:gd name="T14" fmla="*/ 10 w 14"/>
                  <a:gd name="T15" fmla="*/ 0 h 18"/>
                  <a:gd name="T16" fmla="*/ 4 w 14"/>
                  <a:gd name="T17" fmla="*/ 1 h 18"/>
                  <a:gd name="T18" fmla="*/ 1 w 14"/>
                  <a:gd name="T19" fmla="*/ 5 h 18"/>
                  <a:gd name="T20" fmla="*/ 0 w 14"/>
                  <a:gd name="T21" fmla="*/ 7 h 18"/>
                  <a:gd name="T22" fmla="*/ 2 w 14"/>
                  <a:gd name="T23" fmla="*/ 13 h 18"/>
                  <a:gd name="T24" fmla="*/ 4 w 14"/>
                  <a:gd name="T25" fmla="*/ 14 h 18"/>
                  <a:gd name="T26" fmla="*/ 4 w 14"/>
                  <a:gd name="T27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" h="18">
                    <a:moveTo>
                      <a:pt x="4" y="14"/>
                    </a:moveTo>
                    <a:lnTo>
                      <a:pt x="6" y="18"/>
                    </a:lnTo>
                    <a:lnTo>
                      <a:pt x="10" y="14"/>
                    </a:lnTo>
                    <a:lnTo>
                      <a:pt x="12" y="10"/>
                    </a:lnTo>
                    <a:lnTo>
                      <a:pt x="13" y="6"/>
                    </a:lnTo>
                    <a:lnTo>
                      <a:pt x="14" y="4"/>
                    </a:lnTo>
                    <a:lnTo>
                      <a:pt x="12" y="1"/>
                    </a:lnTo>
                    <a:lnTo>
                      <a:pt x="10" y="0"/>
                    </a:lnTo>
                    <a:lnTo>
                      <a:pt x="4" y="1"/>
                    </a:lnTo>
                    <a:lnTo>
                      <a:pt x="1" y="5"/>
                    </a:lnTo>
                    <a:lnTo>
                      <a:pt x="0" y="7"/>
                    </a:lnTo>
                    <a:lnTo>
                      <a:pt x="2" y="13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2" name="Freeform 48">
                <a:extLst>
                  <a:ext uri="{FF2B5EF4-FFF2-40B4-BE49-F238E27FC236}">
                    <a16:creationId xmlns:a16="http://schemas.microsoft.com/office/drawing/2014/main" id="{16D7E10F-B288-45F1-A84F-AE71E5AA3C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7" y="1659"/>
                <a:ext cx="16" cy="13"/>
              </a:xfrm>
              <a:custGeom>
                <a:avLst/>
                <a:gdLst>
                  <a:gd name="T0" fmla="*/ 13 w 16"/>
                  <a:gd name="T1" fmla="*/ 0 h 13"/>
                  <a:gd name="T2" fmla="*/ 10 w 16"/>
                  <a:gd name="T3" fmla="*/ 0 h 13"/>
                  <a:gd name="T4" fmla="*/ 7 w 16"/>
                  <a:gd name="T5" fmla="*/ 6 h 13"/>
                  <a:gd name="T6" fmla="*/ 4 w 16"/>
                  <a:gd name="T7" fmla="*/ 7 h 13"/>
                  <a:gd name="T8" fmla="*/ 1 w 16"/>
                  <a:gd name="T9" fmla="*/ 9 h 13"/>
                  <a:gd name="T10" fmla="*/ 0 w 16"/>
                  <a:gd name="T11" fmla="*/ 13 h 13"/>
                  <a:gd name="T12" fmla="*/ 4 w 16"/>
                  <a:gd name="T13" fmla="*/ 13 h 13"/>
                  <a:gd name="T14" fmla="*/ 8 w 16"/>
                  <a:gd name="T15" fmla="*/ 10 h 13"/>
                  <a:gd name="T16" fmla="*/ 13 w 16"/>
                  <a:gd name="T17" fmla="*/ 5 h 13"/>
                  <a:gd name="T18" fmla="*/ 16 w 16"/>
                  <a:gd name="T19" fmla="*/ 2 h 13"/>
                  <a:gd name="T20" fmla="*/ 15 w 16"/>
                  <a:gd name="T21" fmla="*/ 0 h 13"/>
                  <a:gd name="T22" fmla="*/ 13 w 16"/>
                  <a:gd name="T23" fmla="*/ 0 h 13"/>
                  <a:gd name="T24" fmla="*/ 13 w 16"/>
                  <a:gd name="T2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13">
                    <a:moveTo>
                      <a:pt x="13" y="0"/>
                    </a:moveTo>
                    <a:lnTo>
                      <a:pt x="10" y="0"/>
                    </a:lnTo>
                    <a:lnTo>
                      <a:pt x="7" y="6"/>
                    </a:lnTo>
                    <a:lnTo>
                      <a:pt x="4" y="7"/>
                    </a:lnTo>
                    <a:lnTo>
                      <a:pt x="1" y="9"/>
                    </a:lnTo>
                    <a:lnTo>
                      <a:pt x="0" y="13"/>
                    </a:lnTo>
                    <a:lnTo>
                      <a:pt x="4" y="13"/>
                    </a:lnTo>
                    <a:lnTo>
                      <a:pt x="8" y="10"/>
                    </a:lnTo>
                    <a:lnTo>
                      <a:pt x="13" y="5"/>
                    </a:lnTo>
                    <a:lnTo>
                      <a:pt x="16" y="2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3" name="Freeform 49">
                <a:extLst>
                  <a:ext uri="{FF2B5EF4-FFF2-40B4-BE49-F238E27FC236}">
                    <a16:creationId xmlns:a16="http://schemas.microsoft.com/office/drawing/2014/main" id="{32AEE333-9439-4C86-B2EB-AF90B9F75A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1" y="1683"/>
                <a:ext cx="3" cy="4"/>
              </a:xfrm>
              <a:custGeom>
                <a:avLst/>
                <a:gdLst>
                  <a:gd name="T0" fmla="*/ 1 w 3"/>
                  <a:gd name="T1" fmla="*/ 0 h 4"/>
                  <a:gd name="T2" fmla="*/ 0 w 3"/>
                  <a:gd name="T3" fmla="*/ 1 h 4"/>
                  <a:gd name="T4" fmla="*/ 0 w 3"/>
                  <a:gd name="T5" fmla="*/ 4 h 4"/>
                  <a:gd name="T6" fmla="*/ 3 w 3"/>
                  <a:gd name="T7" fmla="*/ 3 h 4"/>
                  <a:gd name="T8" fmla="*/ 3 w 3"/>
                  <a:gd name="T9" fmla="*/ 1 h 4"/>
                  <a:gd name="T10" fmla="*/ 1 w 3"/>
                  <a:gd name="T11" fmla="*/ 0 h 4"/>
                  <a:gd name="T12" fmla="*/ 1 w 3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1" y="0"/>
                    </a:moveTo>
                    <a:lnTo>
                      <a:pt x="0" y="1"/>
                    </a:lnTo>
                    <a:lnTo>
                      <a:pt x="0" y="4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4" name="Freeform 50">
                <a:extLst>
                  <a:ext uri="{FF2B5EF4-FFF2-40B4-BE49-F238E27FC236}">
                    <a16:creationId xmlns:a16="http://schemas.microsoft.com/office/drawing/2014/main" id="{C6E9FB73-B943-4F95-A82E-6158A07AA3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6" y="1650"/>
                <a:ext cx="12" cy="6"/>
              </a:xfrm>
              <a:custGeom>
                <a:avLst/>
                <a:gdLst>
                  <a:gd name="T0" fmla="*/ 8 w 12"/>
                  <a:gd name="T1" fmla="*/ 0 h 6"/>
                  <a:gd name="T2" fmla="*/ 2 w 12"/>
                  <a:gd name="T3" fmla="*/ 2 h 6"/>
                  <a:gd name="T4" fmla="*/ 0 w 12"/>
                  <a:gd name="T5" fmla="*/ 5 h 6"/>
                  <a:gd name="T6" fmla="*/ 2 w 12"/>
                  <a:gd name="T7" fmla="*/ 6 h 6"/>
                  <a:gd name="T8" fmla="*/ 12 w 12"/>
                  <a:gd name="T9" fmla="*/ 2 h 6"/>
                  <a:gd name="T10" fmla="*/ 8 w 12"/>
                  <a:gd name="T11" fmla="*/ 0 h 6"/>
                  <a:gd name="T12" fmla="*/ 8 w 1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">
                    <a:moveTo>
                      <a:pt x="8" y="0"/>
                    </a:moveTo>
                    <a:lnTo>
                      <a:pt x="2" y="2"/>
                    </a:lnTo>
                    <a:lnTo>
                      <a:pt x="0" y="5"/>
                    </a:lnTo>
                    <a:lnTo>
                      <a:pt x="2" y="6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5" name="Freeform 51">
                <a:extLst>
                  <a:ext uri="{FF2B5EF4-FFF2-40B4-BE49-F238E27FC236}">
                    <a16:creationId xmlns:a16="http://schemas.microsoft.com/office/drawing/2014/main" id="{EF7B31E3-3B97-4170-90E8-CC2D83D181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1" y="1793"/>
                <a:ext cx="11" cy="9"/>
              </a:xfrm>
              <a:custGeom>
                <a:avLst/>
                <a:gdLst>
                  <a:gd name="T0" fmla="*/ 2 w 11"/>
                  <a:gd name="T1" fmla="*/ 0 h 9"/>
                  <a:gd name="T2" fmla="*/ 0 w 11"/>
                  <a:gd name="T3" fmla="*/ 1 h 9"/>
                  <a:gd name="T4" fmla="*/ 0 w 11"/>
                  <a:gd name="T5" fmla="*/ 3 h 9"/>
                  <a:gd name="T6" fmla="*/ 5 w 11"/>
                  <a:gd name="T7" fmla="*/ 9 h 9"/>
                  <a:gd name="T8" fmla="*/ 8 w 11"/>
                  <a:gd name="T9" fmla="*/ 9 h 9"/>
                  <a:gd name="T10" fmla="*/ 11 w 11"/>
                  <a:gd name="T11" fmla="*/ 8 h 9"/>
                  <a:gd name="T12" fmla="*/ 11 w 11"/>
                  <a:gd name="T13" fmla="*/ 4 h 9"/>
                  <a:gd name="T14" fmla="*/ 10 w 11"/>
                  <a:gd name="T15" fmla="*/ 2 h 9"/>
                  <a:gd name="T16" fmla="*/ 7 w 11"/>
                  <a:gd name="T17" fmla="*/ 1 h 9"/>
                  <a:gd name="T18" fmla="*/ 4 w 11"/>
                  <a:gd name="T19" fmla="*/ 1 h 9"/>
                  <a:gd name="T20" fmla="*/ 2 w 11"/>
                  <a:gd name="T21" fmla="*/ 0 h 9"/>
                  <a:gd name="T22" fmla="*/ 2 w 11"/>
                  <a:gd name="T2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lnTo>
                      <a:pt x="0" y="1"/>
                    </a:lnTo>
                    <a:lnTo>
                      <a:pt x="0" y="3"/>
                    </a:lnTo>
                    <a:lnTo>
                      <a:pt x="5" y="9"/>
                    </a:lnTo>
                    <a:lnTo>
                      <a:pt x="8" y="9"/>
                    </a:lnTo>
                    <a:lnTo>
                      <a:pt x="11" y="8"/>
                    </a:lnTo>
                    <a:lnTo>
                      <a:pt x="11" y="4"/>
                    </a:lnTo>
                    <a:lnTo>
                      <a:pt x="10" y="2"/>
                    </a:lnTo>
                    <a:lnTo>
                      <a:pt x="7" y="1"/>
                    </a:lnTo>
                    <a:lnTo>
                      <a:pt x="4" y="1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6" name="Freeform 52">
                <a:extLst>
                  <a:ext uri="{FF2B5EF4-FFF2-40B4-BE49-F238E27FC236}">
                    <a16:creationId xmlns:a16="http://schemas.microsoft.com/office/drawing/2014/main" id="{D387E02E-9CF0-4B8A-9946-477BE0A5AF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1657"/>
                <a:ext cx="10" cy="8"/>
              </a:xfrm>
              <a:custGeom>
                <a:avLst/>
                <a:gdLst>
                  <a:gd name="T0" fmla="*/ 4 w 10"/>
                  <a:gd name="T1" fmla="*/ 0 h 8"/>
                  <a:gd name="T2" fmla="*/ 0 w 10"/>
                  <a:gd name="T3" fmla="*/ 1 h 8"/>
                  <a:gd name="T4" fmla="*/ 0 w 10"/>
                  <a:gd name="T5" fmla="*/ 4 h 8"/>
                  <a:gd name="T6" fmla="*/ 0 w 10"/>
                  <a:gd name="T7" fmla="*/ 7 h 8"/>
                  <a:gd name="T8" fmla="*/ 4 w 10"/>
                  <a:gd name="T9" fmla="*/ 8 h 8"/>
                  <a:gd name="T10" fmla="*/ 6 w 10"/>
                  <a:gd name="T11" fmla="*/ 8 h 8"/>
                  <a:gd name="T12" fmla="*/ 7 w 10"/>
                  <a:gd name="T13" fmla="*/ 6 h 8"/>
                  <a:gd name="T14" fmla="*/ 10 w 10"/>
                  <a:gd name="T15" fmla="*/ 3 h 8"/>
                  <a:gd name="T16" fmla="*/ 10 w 10"/>
                  <a:gd name="T17" fmla="*/ 1 h 8"/>
                  <a:gd name="T18" fmla="*/ 6 w 10"/>
                  <a:gd name="T19" fmla="*/ 1 h 8"/>
                  <a:gd name="T20" fmla="*/ 4 w 10"/>
                  <a:gd name="T21" fmla="*/ 0 h 8"/>
                  <a:gd name="T22" fmla="*/ 4 w 10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8">
                    <a:moveTo>
                      <a:pt x="4" y="0"/>
                    </a:moveTo>
                    <a:lnTo>
                      <a:pt x="0" y="1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7" y="6"/>
                    </a:lnTo>
                    <a:lnTo>
                      <a:pt x="10" y="3"/>
                    </a:lnTo>
                    <a:lnTo>
                      <a:pt x="10" y="1"/>
                    </a:lnTo>
                    <a:lnTo>
                      <a:pt x="6" y="1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7" name="Freeform 53">
                <a:extLst>
                  <a:ext uri="{FF2B5EF4-FFF2-40B4-BE49-F238E27FC236}">
                    <a16:creationId xmlns:a16="http://schemas.microsoft.com/office/drawing/2014/main" id="{D450C346-9E69-4B19-9B2B-CBBD9B0ABC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7" y="1684"/>
                <a:ext cx="30" cy="26"/>
              </a:xfrm>
              <a:custGeom>
                <a:avLst/>
                <a:gdLst>
                  <a:gd name="T0" fmla="*/ 1 w 30"/>
                  <a:gd name="T1" fmla="*/ 22 h 26"/>
                  <a:gd name="T2" fmla="*/ 2 w 30"/>
                  <a:gd name="T3" fmla="*/ 24 h 26"/>
                  <a:gd name="T4" fmla="*/ 4 w 30"/>
                  <a:gd name="T5" fmla="*/ 25 h 26"/>
                  <a:gd name="T6" fmla="*/ 8 w 30"/>
                  <a:gd name="T7" fmla="*/ 26 h 26"/>
                  <a:gd name="T8" fmla="*/ 15 w 30"/>
                  <a:gd name="T9" fmla="*/ 25 h 26"/>
                  <a:gd name="T10" fmla="*/ 18 w 30"/>
                  <a:gd name="T11" fmla="*/ 25 h 26"/>
                  <a:gd name="T12" fmla="*/ 23 w 30"/>
                  <a:gd name="T13" fmla="*/ 23 h 26"/>
                  <a:gd name="T14" fmla="*/ 27 w 30"/>
                  <a:gd name="T15" fmla="*/ 22 h 26"/>
                  <a:gd name="T16" fmla="*/ 29 w 30"/>
                  <a:gd name="T17" fmla="*/ 19 h 26"/>
                  <a:gd name="T18" fmla="*/ 30 w 30"/>
                  <a:gd name="T19" fmla="*/ 16 h 26"/>
                  <a:gd name="T20" fmla="*/ 29 w 30"/>
                  <a:gd name="T21" fmla="*/ 8 h 26"/>
                  <a:gd name="T22" fmla="*/ 30 w 30"/>
                  <a:gd name="T23" fmla="*/ 6 h 26"/>
                  <a:gd name="T24" fmla="*/ 29 w 30"/>
                  <a:gd name="T25" fmla="*/ 2 h 26"/>
                  <a:gd name="T26" fmla="*/ 21 w 30"/>
                  <a:gd name="T27" fmla="*/ 0 h 26"/>
                  <a:gd name="T28" fmla="*/ 18 w 30"/>
                  <a:gd name="T29" fmla="*/ 0 h 26"/>
                  <a:gd name="T30" fmla="*/ 15 w 30"/>
                  <a:gd name="T31" fmla="*/ 1 h 26"/>
                  <a:gd name="T32" fmla="*/ 12 w 30"/>
                  <a:gd name="T33" fmla="*/ 0 h 26"/>
                  <a:gd name="T34" fmla="*/ 8 w 30"/>
                  <a:gd name="T35" fmla="*/ 2 h 26"/>
                  <a:gd name="T36" fmla="*/ 4 w 30"/>
                  <a:gd name="T37" fmla="*/ 5 h 26"/>
                  <a:gd name="T38" fmla="*/ 1 w 30"/>
                  <a:gd name="T39" fmla="*/ 10 h 26"/>
                  <a:gd name="T40" fmla="*/ 0 w 30"/>
                  <a:gd name="T41" fmla="*/ 13 h 26"/>
                  <a:gd name="T42" fmla="*/ 0 w 30"/>
                  <a:gd name="T43" fmla="*/ 15 h 26"/>
                  <a:gd name="T44" fmla="*/ 0 w 30"/>
                  <a:gd name="T45" fmla="*/ 18 h 26"/>
                  <a:gd name="T46" fmla="*/ 0 w 30"/>
                  <a:gd name="T47" fmla="*/ 20 h 26"/>
                  <a:gd name="T48" fmla="*/ 1 w 30"/>
                  <a:gd name="T49" fmla="*/ 22 h 26"/>
                  <a:gd name="T50" fmla="*/ 1 w 30"/>
                  <a:gd name="T51" fmla="*/ 2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26">
                    <a:moveTo>
                      <a:pt x="1" y="22"/>
                    </a:moveTo>
                    <a:lnTo>
                      <a:pt x="2" y="24"/>
                    </a:lnTo>
                    <a:lnTo>
                      <a:pt x="4" y="25"/>
                    </a:lnTo>
                    <a:lnTo>
                      <a:pt x="8" y="26"/>
                    </a:lnTo>
                    <a:lnTo>
                      <a:pt x="15" y="25"/>
                    </a:lnTo>
                    <a:lnTo>
                      <a:pt x="18" y="25"/>
                    </a:lnTo>
                    <a:lnTo>
                      <a:pt x="23" y="23"/>
                    </a:lnTo>
                    <a:lnTo>
                      <a:pt x="27" y="22"/>
                    </a:lnTo>
                    <a:lnTo>
                      <a:pt x="29" y="19"/>
                    </a:lnTo>
                    <a:lnTo>
                      <a:pt x="30" y="16"/>
                    </a:lnTo>
                    <a:lnTo>
                      <a:pt x="29" y="8"/>
                    </a:lnTo>
                    <a:lnTo>
                      <a:pt x="30" y="6"/>
                    </a:lnTo>
                    <a:lnTo>
                      <a:pt x="29" y="2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1" y="22"/>
                    </a:lnTo>
                    <a:lnTo>
                      <a:pt x="1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8" name="Freeform 54">
                <a:extLst>
                  <a:ext uri="{FF2B5EF4-FFF2-40B4-BE49-F238E27FC236}">
                    <a16:creationId xmlns:a16="http://schemas.microsoft.com/office/drawing/2014/main" id="{3E6F7BFF-AB25-4F53-A6AB-FBBD1A68B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6" y="1681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0 w 4"/>
                  <a:gd name="T3" fmla="*/ 2 h 4"/>
                  <a:gd name="T4" fmla="*/ 4 w 4"/>
                  <a:gd name="T5" fmla="*/ 4 h 4"/>
                  <a:gd name="T6" fmla="*/ 4 w 4"/>
                  <a:gd name="T7" fmla="*/ 2 h 4"/>
                  <a:gd name="T8" fmla="*/ 0 w 4"/>
                  <a:gd name="T9" fmla="*/ 0 h 4"/>
                  <a:gd name="T10" fmla="*/ 0 w 4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2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9" name="Rectangle 55">
                <a:extLst>
                  <a:ext uri="{FF2B5EF4-FFF2-40B4-BE49-F238E27FC236}">
                    <a16:creationId xmlns:a16="http://schemas.microsoft.com/office/drawing/2014/main" id="{05693B65-5043-4CAA-8F7C-35EC902560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21" y="1391"/>
                <a:ext cx="1" cy="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0" name="Freeform 56">
                <a:extLst>
                  <a:ext uri="{FF2B5EF4-FFF2-40B4-BE49-F238E27FC236}">
                    <a16:creationId xmlns:a16="http://schemas.microsoft.com/office/drawing/2014/main" id="{59C07678-88DD-4FC2-BB8E-AB19041FAE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1" y="1331"/>
                <a:ext cx="35" cy="4"/>
              </a:xfrm>
              <a:custGeom>
                <a:avLst/>
                <a:gdLst>
                  <a:gd name="T0" fmla="*/ 0 w 35"/>
                  <a:gd name="T1" fmla="*/ 4 h 4"/>
                  <a:gd name="T2" fmla="*/ 0 w 35"/>
                  <a:gd name="T3" fmla="*/ 3 h 4"/>
                  <a:gd name="T4" fmla="*/ 22 w 35"/>
                  <a:gd name="T5" fmla="*/ 1 h 4"/>
                  <a:gd name="T6" fmla="*/ 30 w 35"/>
                  <a:gd name="T7" fmla="*/ 0 h 4"/>
                  <a:gd name="T8" fmla="*/ 35 w 35"/>
                  <a:gd name="T9" fmla="*/ 0 h 4"/>
                  <a:gd name="T10" fmla="*/ 30 w 35"/>
                  <a:gd name="T11" fmla="*/ 2 h 4"/>
                  <a:gd name="T12" fmla="*/ 24 w 35"/>
                  <a:gd name="T13" fmla="*/ 2 h 4"/>
                  <a:gd name="T14" fmla="*/ 18 w 35"/>
                  <a:gd name="T15" fmla="*/ 3 h 4"/>
                  <a:gd name="T16" fmla="*/ 12 w 35"/>
                  <a:gd name="T17" fmla="*/ 3 h 4"/>
                  <a:gd name="T18" fmla="*/ 4 w 35"/>
                  <a:gd name="T19" fmla="*/ 4 h 4"/>
                  <a:gd name="T20" fmla="*/ 0 w 35"/>
                  <a:gd name="T21" fmla="*/ 4 h 4"/>
                  <a:gd name="T22" fmla="*/ 0 w 35"/>
                  <a:gd name="T23" fmla="*/ 4 h 4"/>
                  <a:gd name="T24" fmla="*/ 0 w 35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" h="4">
                    <a:moveTo>
                      <a:pt x="0" y="4"/>
                    </a:moveTo>
                    <a:lnTo>
                      <a:pt x="0" y="3"/>
                    </a:lnTo>
                    <a:lnTo>
                      <a:pt x="22" y="1"/>
                    </a:lnTo>
                    <a:lnTo>
                      <a:pt x="30" y="0"/>
                    </a:lnTo>
                    <a:lnTo>
                      <a:pt x="35" y="0"/>
                    </a:lnTo>
                    <a:lnTo>
                      <a:pt x="30" y="2"/>
                    </a:lnTo>
                    <a:lnTo>
                      <a:pt x="24" y="2"/>
                    </a:lnTo>
                    <a:lnTo>
                      <a:pt x="18" y="3"/>
                    </a:lnTo>
                    <a:lnTo>
                      <a:pt x="12" y="3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1" name="Freeform 57">
                <a:extLst>
                  <a:ext uri="{FF2B5EF4-FFF2-40B4-BE49-F238E27FC236}">
                    <a16:creationId xmlns:a16="http://schemas.microsoft.com/office/drawing/2014/main" id="{8871E57A-C87C-4E9E-B570-B39B062485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1" y="1326"/>
                <a:ext cx="3" cy="2"/>
              </a:xfrm>
              <a:custGeom>
                <a:avLst/>
                <a:gdLst>
                  <a:gd name="T0" fmla="*/ 0 w 3"/>
                  <a:gd name="T1" fmla="*/ 2 h 2"/>
                  <a:gd name="T2" fmla="*/ 0 w 3"/>
                  <a:gd name="T3" fmla="*/ 0 h 2"/>
                  <a:gd name="T4" fmla="*/ 0 w 3"/>
                  <a:gd name="T5" fmla="*/ 0 h 2"/>
                  <a:gd name="T6" fmla="*/ 3 w 3"/>
                  <a:gd name="T7" fmla="*/ 2 h 2"/>
                  <a:gd name="T8" fmla="*/ 0 w 3"/>
                  <a:gd name="T9" fmla="*/ 2 h 2"/>
                  <a:gd name="T10" fmla="*/ 0 w 3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2" name="Freeform 58">
                <a:extLst>
                  <a:ext uri="{FF2B5EF4-FFF2-40B4-BE49-F238E27FC236}">
                    <a16:creationId xmlns:a16="http://schemas.microsoft.com/office/drawing/2014/main" id="{FB3AD00B-F17B-46D0-B697-2A9F0CF8A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1" y="1306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1 h 1"/>
                  <a:gd name="T3" fmla="*/ 1 h 1"/>
                  <a:gd name="T4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3" name="Freeform 59">
                <a:extLst>
                  <a:ext uri="{FF2B5EF4-FFF2-40B4-BE49-F238E27FC236}">
                    <a16:creationId xmlns:a16="http://schemas.microsoft.com/office/drawing/2014/main" id="{5836CE95-0722-48D7-90FA-5397E9E2B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0" y="1305"/>
                <a:ext cx="1" cy="1"/>
              </a:xfrm>
              <a:custGeom>
                <a:avLst/>
                <a:gdLst>
                  <a:gd name="T0" fmla="*/ 1 w 1"/>
                  <a:gd name="T1" fmla="*/ 1 h 1"/>
                  <a:gd name="T2" fmla="*/ 0 w 1"/>
                  <a:gd name="T3" fmla="*/ 0 h 1"/>
                  <a:gd name="T4" fmla="*/ 1 w 1"/>
                  <a:gd name="T5" fmla="*/ 0 h 1"/>
                  <a:gd name="T6" fmla="*/ 1 w 1"/>
                  <a:gd name="T7" fmla="*/ 1 h 1"/>
                  <a:gd name="T8" fmla="*/ 1 w 1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4" name="Freeform 60">
                <a:extLst>
                  <a:ext uri="{FF2B5EF4-FFF2-40B4-BE49-F238E27FC236}">
                    <a16:creationId xmlns:a16="http://schemas.microsoft.com/office/drawing/2014/main" id="{F5D52485-CD94-4315-A196-0187B8D897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1" y="1304"/>
                <a:ext cx="3" cy="3"/>
              </a:xfrm>
              <a:custGeom>
                <a:avLst/>
                <a:gdLst>
                  <a:gd name="T0" fmla="*/ 0 w 3"/>
                  <a:gd name="T1" fmla="*/ 1 h 3"/>
                  <a:gd name="T2" fmla="*/ 0 w 3"/>
                  <a:gd name="T3" fmla="*/ 0 h 3"/>
                  <a:gd name="T4" fmla="*/ 0 w 3"/>
                  <a:gd name="T5" fmla="*/ 0 h 3"/>
                  <a:gd name="T6" fmla="*/ 3 w 3"/>
                  <a:gd name="T7" fmla="*/ 1 h 3"/>
                  <a:gd name="T8" fmla="*/ 3 w 3"/>
                  <a:gd name="T9" fmla="*/ 3 h 3"/>
                  <a:gd name="T10" fmla="*/ 1 w 3"/>
                  <a:gd name="T11" fmla="*/ 1 h 3"/>
                  <a:gd name="T12" fmla="*/ 0 w 3"/>
                  <a:gd name="T13" fmla="*/ 1 h 3"/>
                  <a:gd name="T14" fmla="*/ 0 w 3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3">
                    <a:moveTo>
                      <a:pt x="0" y="1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" y="1"/>
                    </a:lnTo>
                    <a:lnTo>
                      <a:pt x="3" y="3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5" name="Freeform 61">
                <a:extLst>
                  <a:ext uri="{FF2B5EF4-FFF2-40B4-BE49-F238E27FC236}">
                    <a16:creationId xmlns:a16="http://schemas.microsoft.com/office/drawing/2014/main" id="{B2A3A276-92D4-4797-A9C8-3D93477906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4" y="2549"/>
                <a:ext cx="21" cy="8"/>
              </a:xfrm>
              <a:custGeom>
                <a:avLst/>
                <a:gdLst>
                  <a:gd name="T0" fmla="*/ 18 w 21"/>
                  <a:gd name="T1" fmla="*/ 8 h 8"/>
                  <a:gd name="T2" fmla="*/ 19 w 21"/>
                  <a:gd name="T3" fmla="*/ 7 h 8"/>
                  <a:gd name="T4" fmla="*/ 21 w 21"/>
                  <a:gd name="T5" fmla="*/ 5 h 8"/>
                  <a:gd name="T6" fmla="*/ 20 w 21"/>
                  <a:gd name="T7" fmla="*/ 2 h 8"/>
                  <a:gd name="T8" fmla="*/ 18 w 21"/>
                  <a:gd name="T9" fmla="*/ 1 h 8"/>
                  <a:gd name="T10" fmla="*/ 2 w 21"/>
                  <a:gd name="T11" fmla="*/ 0 h 8"/>
                  <a:gd name="T12" fmla="*/ 0 w 21"/>
                  <a:gd name="T13" fmla="*/ 2 h 8"/>
                  <a:gd name="T14" fmla="*/ 2 w 21"/>
                  <a:gd name="T15" fmla="*/ 8 h 8"/>
                  <a:gd name="T16" fmla="*/ 4 w 21"/>
                  <a:gd name="T17" fmla="*/ 8 h 8"/>
                  <a:gd name="T18" fmla="*/ 6 w 21"/>
                  <a:gd name="T19" fmla="*/ 8 h 8"/>
                  <a:gd name="T20" fmla="*/ 12 w 21"/>
                  <a:gd name="T21" fmla="*/ 8 h 8"/>
                  <a:gd name="T22" fmla="*/ 14 w 21"/>
                  <a:gd name="T23" fmla="*/ 8 h 8"/>
                  <a:gd name="T24" fmla="*/ 18 w 21"/>
                  <a:gd name="T25" fmla="*/ 8 h 8"/>
                  <a:gd name="T26" fmla="*/ 18 w 21"/>
                  <a:gd name="T2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8">
                    <a:moveTo>
                      <a:pt x="18" y="8"/>
                    </a:moveTo>
                    <a:lnTo>
                      <a:pt x="19" y="7"/>
                    </a:lnTo>
                    <a:lnTo>
                      <a:pt x="21" y="5"/>
                    </a:lnTo>
                    <a:lnTo>
                      <a:pt x="20" y="2"/>
                    </a:lnTo>
                    <a:lnTo>
                      <a:pt x="18" y="1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6" name="Freeform 62">
                <a:extLst>
                  <a:ext uri="{FF2B5EF4-FFF2-40B4-BE49-F238E27FC236}">
                    <a16:creationId xmlns:a16="http://schemas.microsoft.com/office/drawing/2014/main" id="{E178C496-CC02-49FA-A473-AF8315BC18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2" y="2111"/>
                <a:ext cx="33" cy="17"/>
              </a:xfrm>
              <a:custGeom>
                <a:avLst/>
                <a:gdLst>
                  <a:gd name="T0" fmla="*/ 29 w 33"/>
                  <a:gd name="T1" fmla="*/ 8 h 17"/>
                  <a:gd name="T2" fmla="*/ 18 w 33"/>
                  <a:gd name="T3" fmla="*/ 9 h 17"/>
                  <a:gd name="T4" fmla="*/ 13 w 33"/>
                  <a:gd name="T5" fmla="*/ 7 h 17"/>
                  <a:gd name="T6" fmla="*/ 10 w 33"/>
                  <a:gd name="T7" fmla="*/ 8 h 17"/>
                  <a:gd name="T8" fmla="*/ 7 w 33"/>
                  <a:gd name="T9" fmla="*/ 8 h 17"/>
                  <a:gd name="T10" fmla="*/ 8 w 33"/>
                  <a:gd name="T11" fmla="*/ 6 h 17"/>
                  <a:gd name="T12" fmla="*/ 5 w 33"/>
                  <a:gd name="T13" fmla="*/ 3 h 17"/>
                  <a:gd name="T14" fmla="*/ 7 w 33"/>
                  <a:gd name="T15" fmla="*/ 1 h 17"/>
                  <a:gd name="T16" fmla="*/ 4 w 33"/>
                  <a:gd name="T17" fmla="*/ 0 h 17"/>
                  <a:gd name="T18" fmla="*/ 0 w 33"/>
                  <a:gd name="T19" fmla="*/ 6 h 17"/>
                  <a:gd name="T20" fmla="*/ 4 w 33"/>
                  <a:gd name="T21" fmla="*/ 6 h 17"/>
                  <a:gd name="T22" fmla="*/ 5 w 33"/>
                  <a:gd name="T23" fmla="*/ 9 h 17"/>
                  <a:gd name="T24" fmla="*/ 10 w 33"/>
                  <a:gd name="T25" fmla="*/ 10 h 17"/>
                  <a:gd name="T26" fmla="*/ 10 w 33"/>
                  <a:gd name="T27" fmla="*/ 12 h 17"/>
                  <a:gd name="T28" fmla="*/ 13 w 33"/>
                  <a:gd name="T29" fmla="*/ 14 h 17"/>
                  <a:gd name="T30" fmla="*/ 16 w 33"/>
                  <a:gd name="T31" fmla="*/ 14 h 17"/>
                  <a:gd name="T32" fmla="*/ 18 w 33"/>
                  <a:gd name="T33" fmla="*/ 12 h 17"/>
                  <a:gd name="T34" fmla="*/ 22 w 33"/>
                  <a:gd name="T35" fmla="*/ 14 h 17"/>
                  <a:gd name="T36" fmla="*/ 22 w 33"/>
                  <a:gd name="T37" fmla="*/ 17 h 17"/>
                  <a:gd name="T38" fmla="*/ 24 w 33"/>
                  <a:gd name="T39" fmla="*/ 17 h 17"/>
                  <a:gd name="T40" fmla="*/ 27 w 33"/>
                  <a:gd name="T41" fmla="*/ 17 h 17"/>
                  <a:gd name="T42" fmla="*/ 27 w 33"/>
                  <a:gd name="T43" fmla="*/ 14 h 17"/>
                  <a:gd name="T44" fmla="*/ 29 w 33"/>
                  <a:gd name="T45" fmla="*/ 11 h 17"/>
                  <a:gd name="T46" fmla="*/ 33 w 33"/>
                  <a:gd name="T47" fmla="*/ 9 h 17"/>
                  <a:gd name="T48" fmla="*/ 31 w 33"/>
                  <a:gd name="T49" fmla="*/ 8 h 17"/>
                  <a:gd name="T50" fmla="*/ 29 w 33"/>
                  <a:gd name="T51" fmla="*/ 8 h 17"/>
                  <a:gd name="T52" fmla="*/ 29 w 33"/>
                  <a:gd name="T5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3" h="17">
                    <a:moveTo>
                      <a:pt x="29" y="8"/>
                    </a:moveTo>
                    <a:lnTo>
                      <a:pt x="18" y="9"/>
                    </a:lnTo>
                    <a:lnTo>
                      <a:pt x="13" y="7"/>
                    </a:lnTo>
                    <a:lnTo>
                      <a:pt x="10" y="8"/>
                    </a:lnTo>
                    <a:lnTo>
                      <a:pt x="7" y="8"/>
                    </a:lnTo>
                    <a:lnTo>
                      <a:pt x="8" y="6"/>
                    </a:lnTo>
                    <a:lnTo>
                      <a:pt x="5" y="3"/>
                    </a:lnTo>
                    <a:lnTo>
                      <a:pt x="7" y="1"/>
                    </a:lnTo>
                    <a:lnTo>
                      <a:pt x="4" y="0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5" y="9"/>
                    </a:lnTo>
                    <a:lnTo>
                      <a:pt x="10" y="10"/>
                    </a:lnTo>
                    <a:lnTo>
                      <a:pt x="10" y="12"/>
                    </a:lnTo>
                    <a:lnTo>
                      <a:pt x="13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22" y="14"/>
                    </a:lnTo>
                    <a:lnTo>
                      <a:pt x="22" y="17"/>
                    </a:lnTo>
                    <a:lnTo>
                      <a:pt x="24" y="17"/>
                    </a:lnTo>
                    <a:lnTo>
                      <a:pt x="27" y="17"/>
                    </a:lnTo>
                    <a:lnTo>
                      <a:pt x="27" y="14"/>
                    </a:lnTo>
                    <a:lnTo>
                      <a:pt x="29" y="11"/>
                    </a:lnTo>
                    <a:lnTo>
                      <a:pt x="33" y="9"/>
                    </a:lnTo>
                    <a:lnTo>
                      <a:pt x="31" y="8"/>
                    </a:lnTo>
                    <a:lnTo>
                      <a:pt x="29" y="8"/>
                    </a:lnTo>
                    <a:lnTo>
                      <a:pt x="29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7" name="Freeform 63">
                <a:extLst>
                  <a:ext uri="{FF2B5EF4-FFF2-40B4-BE49-F238E27FC236}">
                    <a16:creationId xmlns:a16="http://schemas.microsoft.com/office/drawing/2014/main" id="{8C6FF026-562C-46D3-A913-28CE0024F0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2" y="1636"/>
                <a:ext cx="42" cy="27"/>
              </a:xfrm>
              <a:custGeom>
                <a:avLst/>
                <a:gdLst>
                  <a:gd name="T0" fmla="*/ 4 w 42"/>
                  <a:gd name="T1" fmla="*/ 7 h 27"/>
                  <a:gd name="T2" fmla="*/ 10 w 42"/>
                  <a:gd name="T3" fmla="*/ 10 h 27"/>
                  <a:gd name="T4" fmla="*/ 4 w 42"/>
                  <a:gd name="T5" fmla="*/ 8 h 27"/>
                  <a:gd name="T6" fmla="*/ 2 w 42"/>
                  <a:gd name="T7" fmla="*/ 10 h 27"/>
                  <a:gd name="T8" fmla="*/ 0 w 42"/>
                  <a:gd name="T9" fmla="*/ 12 h 27"/>
                  <a:gd name="T10" fmla="*/ 4 w 42"/>
                  <a:gd name="T11" fmla="*/ 13 h 27"/>
                  <a:gd name="T12" fmla="*/ 6 w 42"/>
                  <a:gd name="T13" fmla="*/ 15 h 27"/>
                  <a:gd name="T14" fmla="*/ 4 w 42"/>
                  <a:gd name="T15" fmla="*/ 14 h 27"/>
                  <a:gd name="T16" fmla="*/ 0 w 42"/>
                  <a:gd name="T17" fmla="*/ 16 h 27"/>
                  <a:gd name="T18" fmla="*/ 4 w 42"/>
                  <a:gd name="T19" fmla="*/ 17 h 27"/>
                  <a:gd name="T20" fmla="*/ 6 w 42"/>
                  <a:gd name="T21" fmla="*/ 19 h 27"/>
                  <a:gd name="T22" fmla="*/ 12 w 42"/>
                  <a:gd name="T23" fmla="*/ 19 h 27"/>
                  <a:gd name="T24" fmla="*/ 17 w 42"/>
                  <a:gd name="T25" fmla="*/ 21 h 27"/>
                  <a:gd name="T26" fmla="*/ 20 w 42"/>
                  <a:gd name="T27" fmla="*/ 19 h 27"/>
                  <a:gd name="T28" fmla="*/ 22 w 42"/>
                  <a:gd name="T29" fmla="*/ 21 h 27"/>
                  <a:gd name="T30" fmla="*/ 19 w 42"/>
                  <a:gd name="T31" fmla="*/ 21 h 27"/>
                  <a:gd name="T32" fmla="*/ 16 w 42"/>
                  <a:gd name="T33" fmla="*/ 22 h 27"/>
                  <a:gd name="T34" fmla="*/ 13 w 42"/>
                  <a:gd name="T35" fmla="*/ 21 h 27"/>
                  <a:gd name="T36" fmla="*/ 11 w 42"/>
                  <a:gd name="T37" fmla="*/ 23 h 27"/>
                  <a:gd name="T38" fmla="*/ 13 w 42"/>
                  <a:gd name="T39" fmla="*/ 24 h 27"/>
                  <a:gd name="T40" fmla="*/ 16 w 42"/>
                  <a:gd name="T41" fmla="*/ 25 h 27"/>
                  <a:gd name="T42" fmla="*/ 20 w 42"/>
                  <a:gd name="T43" fmla="*/ 27 h 27"/>
                  <a:gd name="T44" fmla="*/ 37 w 42"/>
                  <a:gd name="T45" fmla="*/ 21 h 27"/>
                  <a:gd name="T46" fmla="*/ 39 w 42"/>
                  <a:gd name="T47" fmla="*/ 20 h 27"/>
                  <a:gd name="T48" fmla="*/ 42 w 42"/>
                  <a:gd name="T49" fmla="*/ 17 h 27"/>
                  <a:gd name="T50" fmla="*/ 41 w 42"/>
                  <a:gd name="T51" fmla="*/ 15 h 27"/>
                  <a:gd name="T52" fmla="*/ 40 w 42"/>
                  <a:gd name="T53" fmla="*/ 12 h 27"/>
                  <a:gd name="T54" fmla="*/ 31 w 42"/>
                  <a:gd name="T55" fmla="*/ 10 h 27"/>
                  <a:gd name="T56" fmla="*/ 29 w 42"/>
                  <a:gd name="T57" fmla="*/ 7 h 27"/>
                  <a:gd name="T58" fmla="*/ 27 w 42"/>
                  <a:gd name="T59" fmla="*/ 5 h 27"/>
                  <a:gd name="T60" fmla="*/ 21 w 42"/>
                  <a:gd name="T61" fmla="*/ 2 h 27"/>
                  <a:gd name="T62" fmla="*/ 10 w 42"/>
                  <a:gd name="T63" fmla="*/ 0 h 27"/>
                  <a:gd name="T64" fmla="*/ 7 w 42"/>
                  <a:gd name="T65" fmla="*/ 0 h 27"/>
                  <a:gd name="T66" fmla="*/ 4 w 42"/>
                  <a:gd name="T67" fmla="*/ 0 h 27"/>
                  <a:gd name="T68" fmla="*/ 2 w 42"/>
                  <a:gd name="T69" fmla="*/ 4 h 27"/>
                  <a:gd name="T70" fmla="*/ 2 w 42"/>
                  <a:gd name="T71" fmla="*/ 6 h 27"/>
                  <a:gd name="T72" fmla="*/ 4 w 42"/>
                  <a:gd name="T73" fmla="*/ 7 h 27"/>
                  <a:gd name="T74" fmla="*/ 4 w 42"/>
                  <a:gd name="T75" fmla="*/ 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2" h="27">
                    <a:moveTo>
                      <a:pt x="4" y="7"/>
                    </a:moveTo>
                    <a:lnTo>
                      <a:pt x="10" y="10"/>
                    </a:lnTo>
                    <a:lnTo>
                      <a:pt x="4" y="8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4" y="13"/>
                    </a:lnTo>
                    <a:lnTo>
                      <a:pt x="6" y="15"/>
                    </a:lnTo>
                    <a:lnTo>
                      <a:pt x="4" y="14"/>
                    </a:lnTo>
                    <a:lnTo>
                      <a:pt x="0" y="16"/>
                    </a:lnTo>
                    <a:lnTo>
                      <a:pt x="4" y="17"/>
                    </a:lnTo>
                    <a:lnTo>
                      <a:pt x="6" y="19"/>
                    </a:lnTo>
                    <a:lnTo>
                      <a:pt x="12" y="19"/>
                    </a:lnTo>
                    <a:lnTo>
                      <a:pt x="17" y="21"/>
                    </a:lnTo>
                    <a:lnTo>
                      <a:pt x="20" y="19"/>
                    </a:lnTo>
                    <a:lnTo>
                      <a:pt x="22" y="21"/>
                    </a:lnTo>
                    <a:lnTo>
                      <a:pt x="19" y="21"/>
                    </a:lnTo>
                    <a:lnTo>
                      <a:pt x="16" y="22"/>
                    </a:lnTo>
                    <a:lnTo>
                      <a:pt x="13" y="21"/>
                    </a:lnTo>
                    <a:lnTo>
                      <a:pt x="11" y="23"/>
                    </a:lnTo>
                    <a:lnTo>
                      <a:pt x="13" y="24"/>
                    </a:lnTo>
                    <a:lnTo>
                      <a:pt x="16" y="25"/>
                    </a:lnTo>
                    <a:lnTo>
                      <a:pt x="20" y="27"/>
                    </a:lnTo>
                    <a:lnTo>
                      <a:pt x="37" y="21"/>
                    </a:lnTo>
                    <a:lnTo>
                      <a:pt x="39" y="20"/>
                    </a:lnTo>
                    <a:lnTo>
                      <a:pt x="42" y="17"/>
                    </a:lnTo>
                    <a:lnTo>
                      <a:pt x="41" y="15"/>
                    </a:lnTo>
                    <a:lnTo>
                      <a:pt x="40" y="12"/>
                    </a:lnTo>
                    <a:lnTo>
                      <a:pt x="31" y="10"/>
                    </a:lnTo>
                    <a:lnTo>
                      <a:pt x="29" y="7"/>
                    </a:lnTo>
                    <a:lnTo>
                      <a:pt x="27" y="5"/>
                    </a:lnTo>
                    <a:lnTo>
                      <a:pt x="21" y="2"/>
                    </a:lnTo>
                    <a:lnTo>
                      <a:pt x="10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4" y="7"/>
                    </a:lnTo>
                    <a:lnTo>
                      <a:pt x="4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8" name="Freeform 64">
                <a:extLst>
                  <a:ext uri="{FF2B5EF4-FFF2-40B4-BE49-F238E27FC236}">
                    <a16:creationId xmlns:a16="http://schemas.microsoft.com/office/drawing/2014/main" id="{8E380526-3F9A-4776-9823-97AB252C26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1" y="2059"/>
                <a:ext cx="39" cy="15"/>
              </a:xfrm>
              <a:custGeom>
                <a:avLst/>
                <a:gdLst>
                  <a:gd name="T0" fmla="*/ 35 w 39"/>
                  <a:gd name="T1" fmla="*/ 10 h 15"/>
                  <a:gd name="T2" fmla="*/ 33 w 39"/>
                  <a:gd name="T3" fmla="*/ 9 h 15"/>
                  <a:gd name="T4" fmla="*/ 27 w 39"/>
                  <a:gd name="T5" fmla="*/ 6 h 15"/>
                  <a:gd name="T6" fmla="*/ 19 w 39"/>
                  <a:gd name="T7" fmla="*/ 2 h 15"/>
                  <a:gd name="T8" fmla="*/ 16 w 39"/>
                  <a:gd name="T9" fmla="*/ 2 h 15"/>
                  <a:gd name="T10" fmla="*/ 14 w 39"/>
                  <a:gd name="T11" fmla="*/ 1 h 15"/>
                  <a:gd name="T12" fmla="*/ 9 w 39"/>
                  <a:gd name="T13" fmla="*/ 1 h 15"/>
                  <a:gd name="T14" fmla="*/ 6 w 39"/>
                  <a:gd name="T15" fmla="*/ 0 h 15"/>
                  <a:gd name="T16" fmla="*/ 0 w 39"/>
                  <a:gd name="T17" fmla="*/ 1 h 15"/>
                  <a:gd name="T18" fmla="*/ 3 w 39"/>
                  <a:gd name="T19" fmla="*/ 2 h 15"/>
                  <a:gd name="T20" fmla="*/ 9 w 39"/>
                  <a:gd name="T21" fmla="*/ 4 h 15"/>
                  <a:gd name="T22" fmla="*/ 11 w 39"/>
                  <a:gd name="T23" fmla="*/ 7 h 15"/>
                  <a:gd name="T24" fmla="*/ 13 w 39"/>
                  <a:gd name="T25" fmla="*/ 9 h 15"/>
                  <a:gd name="T26" fmla="*/ 16 w 39"/>
                  <a:gd name="T27" fmla="*/ 10 h 15"/>
                  <a:gd name="T28" fmla="*/ 24 w 39"/>
                  <a:gd name="T29" fmla="*/ 13 h 15"/>
                  <a:gd name="T30" fmla="*/ 32 w 39"/>
                  <a:gd name="T31" fmla="*/ 15 h 15"/>
                  <a:gd name="T32" fmla="*/ 37 w 39"/>
                  <a:gd name="T33" fmla="*/ 15 h 15"/>
                  <a:gd name="T34" fmla="*/ 39 w 39"/>
                  <a:gd name="T35" fmla="*/ 12 h 15"/>
                  <a:gd name="T36" fmla="*/ 35 w 39"/>
                  <a:gd name="T37" fmla="*/ 1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9" h="15">
                    <a:moveTo>
                      <a:pt x="35" y="10"/>
                    </a:moveTo>
                    <a:lnTo>
                      <a:pt x="33" y="9"/>
                    </a:lnTo>
                    <a:lnTo>
                      <a:pt x="27" y="6"/>
                    </a:lnTo>
                    <a:lnTo>
                      <a:pt x="19" y="2"/>
                    </a:lnTo>
                    <a:lnTo>
                      <a:pt x="16" y="2"/>
                    </a:lnTo>
                    <a:lnTo>
                      <a:pt x="14" y="1"/>
                    </a:lnTo>
                    <a:lnTo>
                      <a:pt x="9" y="1"/>
                    </a:lnTo>
                    <a:lnTo>
                      <a:pt x="6" y="0"/>
                    </a:lnTo>
                    <a:lnTo>
                      <a:pt x="0" y="1"/>
                    </a:lnTo>
                    <a:lnTo>
                      <a:pt x="3" y="2"/>
                    </a:lnTo>
                    <a:lnTo>
                      <a:pt x="9" y="4"/>
                    </a:lnTo>
                    <a:lnTo>
                      <a:pt x="11" y="7"/>
                    </a:lnTo>
                    <a:lnTo>
                      <a:pt x="13" y="9"/>
                    </a:lnTo>
                    <a:lnTo>
                      <a:pt x="16" y="10"/>
                    </a:lnTo>
                    <a:lnTo>
                      <a:pt x="24" y="13"/>
                    </a:lnTo>
                    <a:lnTo>
                      <a:pt x="32" y="15"/>
                    </a:lnTo>
                    <a:lnTo>
                      <a:pt x="37" y="15"/>
                    </a:lnTo>
                    <a:lnTo>
                      <a:pt x="39" y="12"/>
                    </a:lnTo>
                    <a:lnTo>
                      <a:pt x="35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9" name="Freeform 65">
                <a:extLst>
                  <a:ext uri="{FF2B5EF4-FFF2-40B4-BE49-F238E27FC236}">
                    <a16:creationId xmlns:a16="http://schemas.microsoft.com/office/drawing/2014/main" id="{FA4EC948-76CD-40D8-9E15-F1256DAF29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2" y="1274"/>
                <a:ext cx="11" cy="4"/>
              </a:xfrm>
              <a:custGeom>
                <a:avLst/>
                <a:gdLst>
                  <a:gd name="T0" fmla="*/ 1 w 11"/>
                  <a:gd name="T1" fmla="*/ 4 h 4"/>
                  <a:gd name="T2" fmla="*/ 8 w 11"/>
                  <a:gd name="T3" fmla="*/ 4 h 4"/>
                  <a:gd name="T4" fmla="*/ 11 w 11"/>
                  <a:gd name="T5" fmla="*/ 2 h 4"/>
                  <a:gd name="T6" fmla="*/ 9 w 11"/>
                  <a:gd name="T7" fmla="*/ 1 h 4"/>
                  <a:gd name="T8" fmla="*/ 2 w 11"/>
                  <a:gd name="T9" fmla="*/ 0 h 4"/>
                  <a:gd name="T10" fmla="*/ 0 w 11"/>
                  <a:gd name="T11" fmla="*/ 1 h 4"/>
                  <a:gd name="T12" fmla="*/ 1 w 11"/>
                  <a:gd name="T13" fmla="*/ 4 h 4"/>
                  <a:gd name="T14" fmla="*/ 1 w 11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4">
                    <a:moveTo>
                      <a:pt x="1" y="4"/>
                    </a:moveTo>
                    <a:lnTo>
                      <a:pt x="8" y="4"/>
                    </a:lnTo>
                    <a:lnTo>
                      <a:pt x="11" y="2"/>
                    </a:lnTo>
                    <a:lnTo>
                      <a:pt x="9" y="1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1" y="4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0" name="Freeform 66">
                <a:extLst>
                  <a:ext uri="{FF2B5EF4-FFF2-40B4-BE49-F238E27FC236}">
                    <a16:creationId xmlns:a16="http://schemas.microsoft.com/office/drawing/2014/main" id="{A2214696-7645-457F-B97A-5771083B78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2" y="1281"/>
                <a:ext cx="43" cy="21"/>
              </a:xfrm>
              <a:custGeom>
                <a:avLst/>
                <a:gdLst>
                  <a:gd name="T0" fmla="*/ 6 w 43"/>
                  <a:gd name="T1" fmla="*/ 6 h 21"/>
                  <a:gd name="T2" fmla="*/ 11 w 43"/>
                  <a:gd name="T3" fmla="*/ 11 h 21"/>
                  <a:gd name="T4" fmla="*/ 28 w 43"/>
                  <a:gd name="T5" fmla="*/ 16 h 21"/>
                  <a:gd name="T6" fmla="*/ 31 w 43"/>
                  <a:gd name="T7" fmla="*/ 17 h 21"/>
                  <a:gd name="T8" fmla="*/ 34 w 43"/>
                  <a:gd name="T9" fmla="*/ 20 h 21"/>
                  <a:gd name="T10" fmla="*/ 36 w 43"/>
                  <a:gd name="T11" fmla="*/ 21 h 21"/>
                  <a:gd name="T12" fmla="*/ 39 w 43"/>
                  <a:gd name="T13" fmla="*/ 20 h 21"/>
                  <a:gd name="T14" fmla="*/ 36 w 43"/>
                  <a:gd name="T15" fmla="*/ 15 h 21"/>
                  <a:gd name="T16" fmla="*/ 39 w 43"/>
                  <a:gd name="T17" fmla="*/ 13 h 21"/>
                  <a:gd name="T18" fmla="*/ 42 w 43"/>
                  <a:gd name="T19" fmla="*/ 12 h 21"/>
                  <a:gd name="T20" fmla="*/ 43 w 43"/>
                  <a:gd name="T21" fmla="*/ 9 h 21"/>
                  <a:gd name="T22" fmla="*/ 41 w 43"/>
                  <a:gd name="T23" fmla="*/ 8 h 21"/>
                  <a:gd name="T24" fmla="*/ 38 w 43"/>
                  <a:gd name="T25" fmla="*/ 7 h 21"/>
                  <a:gd name="T26" fmla="*/ 35 w 43"/>
                  <a:gd name="T27" fmla="*/ 6 h 21"/>
                  <a:gd name="T28" fmla="*/ 24 w 43"/>
                  <a:gd name="T29" fmla="*/ 2 h 21"/>
                  <a:gd name="T30" fmla="*/ 18 w 43"/>
                  <a:gd name="T31" fmla="*/ 0 h 21"/>
                  <a:gd name="T32" fmla="*/ 13 w 43"/>
                  <a:gd name="T33" fmla="*/ 0 h 21"/>
                  <a:gd name="T34" fmla="*/ 9 w 43"/>
                  <a:gd name="T35" fmla="*/ 1 h 21"/>
                  <a:gd name="T36" fmla="*/ 0 w 43"/>
                  <a:gd name="T37" fmla="*/ 1 h 21"/>
                  <a:gd name="T38" fmla="*/ 6 w 43"/>
                  <a:gd name="T39" fmla="*/ 6 h 21"/>
                  <a:gd name="T40" fmla="*/ 6 w 43"/>
                  <a:gd name="T41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3" h="21">
                    <a:moveTo>
                      <a:pt x="6" y="6"/>
                    </a:moveTo>
                    <a:lnTo>
                      <a:pt x="11" y="11"/>
                    </a:lnTo>
                    <a:lnTo>
                      <a:pt x="28" y="16"/>
                    </a:lnTo>
                    <a:lnTo>
                      <a:pt x="31" y="17"/>
                    </a:lnTo>
                    <a:lnTo>
                      <a:pt x="34" y="20"/>
                    </a:lnTo>
                    <a:lnTo>
                      <a:pt x="36" y="21"/>
                    </a:lnTo>
                    <a:lnTo>
                      <a:pt x="39" y="20"/>
                    </a:lnTo>
                    <a:lnTo>
                      <a:pt x="36" y="15"/>
                    </a:lnTo>
                    <a:lnTo>
                      <a:pt x="39" y="13"/>
                    </a:lnTo>
                    <a:lnTo>
                      <a:pt x="42" y="12"/>
                    </a:lnTo>
                    <a:lnTo>
                      <a:pt x="43" y="9"/>
                    </a:lnTo>
                    <a:lnTo>
                      <a:pt x="41" y="8"/>
                    </a:lnTo>
                    <a:lnTo>
                      <a:pt x="38" y="7"/>
                    </a:lnTo>
                    <a:lnTo>
                      <a:pt x="35" y="6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9" y="1"/>
                    </a:lnTo>
                    <a:lnTo>
                      <a:pt x="0" y="1"/>
                    </a:lnTo>
                    <a:lnTo>
                      <a:pt x="6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1" name="Freeform 67">
                <a:extLst>
                  <a:ext uri="{FF2B5EF4-FFF2-40B4-BE49-F238E27FC236}">
                    <a16:creationId xmlns:a16="http://schemas.microsoft.com/office/drawing/2014/main" id="{085472D6-B955-4D4C-ADE0-869CBCE074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8" y="1264"/>
                <a:ext cx="21" cy="7"/>
              </a:xfrm>
              <a:custGeom>
                <a:avLst/>
                <a:gdLst>
                  <a:gd name="T0" fmla="*/ 21 w 21"/>
                  <a:gd name="T1" fmla="*/ 7 h 7"/>
                  <a:gd name="T2" fmla="*/ 19 w 21"/>
                  <a:gd name="T3" fmla="*/ 6 h 7"/>
                  <a:gd name="T4" fmla="*/ 16 w 21"/>
                  <a:gd name="T5" fmla="*/ 4 h 7"/>
                  <a:gd name="T6" fmla="*/ 13 w 21"/>
                  <a:gd name="T7" fmla="*/ 3 h 7"/>
                  <a:gd name="T8" fmla="*/ 9 w 21"/>
                  <a:gd name="T9" fmla="*/ 2 h 7"/>
                  <a:gd name="T10" fmla="*/ 7 w 21"/>
                  <a:gd name="T11" fmla="*/ 0 h 7"/>
                  <a:gd name="T12" fmla="*/ 4 w 21"/>
                  <a:gd name="T13" fmla="*/ 0 h 7"/>
                  <a:gd name="T14" fmla="*/ 0 w 21"/>
                  <a:gd name="T15" fmla="*/ 1 h 7"/>
                  <a:gd name="T16" fmla="*/ 12 w 21"/>
                  <a:gd name="T17" fmla="*/ 7 h 7"/>
                  <a:gd name="T18" fmla="*/ 21 w 21"/>
                  <a:gd name="T19" fmla="*/ 7 h 7"/>
                  <a:gd name="T20" fmla="*/ 21 w 21"/>
                  <a:gd name="T2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7">
                    <a:moveTo>
                      <a:pt x="21" y="7"/>
                    </a:moveTo>
                    <a:lnTo>
                      <a:pt x="19" y="6"/>
                    </a:lnTo>
                    <a:lnTo>
                      <a:pt x="16" y="4"/>
                    </a:lnTo>
                    <a:lnTo>
                      <a:pt x="13" y="3"/>
                    </a:lnTo>
                    <a:lnTo>
                      <a:pt x="9" y="2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0" y="1"/>
                    </a:lnTo>
                    <a:lnTo>
                      <a:pt x="12" y="7"/>
                    </a:lnTo>
                    <a:lnTo>
                      <a:pt x="21" y="7"/>
                    </a:lnTo>
                    <a:lnTo>
                      <a:pt x="21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2" name="Freeform 68">
                <a:extLst>
                  <a:ext uri="{FF2B5EF4-FFF2-40B4-BE49-F238E27FC236}">
                    <a16:creationId xmlns:a16="http://schemas.microsoft.com/office/drawing/2014/main" id="{9BE2309F-5AF2-4E5A-9513-BFCD9685A5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8" y="1258"/>
                <a:ext cx="26" cy="8"/>
              </a:xfrm>
              <a:custGeom>
                <a:avLst/>
                <a:gdLst>
                  <a:gd name="T0" fmla="*/ 23 w 26"/>
                  <a:gd name="T1" fmla="*/ 8 h 8"/>
                  <a:gd name="T2" fmla="*/ 24 w 26"/>
                  <a:gd name="T3" fmla="*/ 8 h 8"/>
                  <a:gd name="T4" fmla="*/ 26 w 26"/>
                  <a:gd name="T5" fmla="*/ 8 h 8"/>
                  <a:gd name="T6" fmla="*/ 24 w 26"/>
                  <a:gd name="T7" fmla="*/ 6 h 8"/>
                  <a:gd name="T8" fmla="*/ 17 w 26"/>
                  <a:gd name="T9" fmla="*/ 5 h 8"/>
                  <a:gd name="T10" fmla="*/ 15 w 26"/>
                  <a:gd name="T11" fmla="*/ 5 h 8"/>
                  <a:gd name="T12" fmla="*/ 12 w 26"/>
                  <a:gd name="T13" fmla="*/ 3 h 8"/>
                  <a:gd name="T14" fmla="*/ 3 w 26"/>
                  <a:gd name="T15" fmla="*/ 0 h 8"/>
                  <a:gd name="T16" fmla="*/ 0 w 26"/>
                  <a:gd name="T17" fmla="*/ 4 h 8"/>
                  <a:gd name="T18" fmla="*/ 8 w 26"/>
                  <a:gd name="T19" fmla="*/ 4 h 8"/>
                  <a:gd name="T20" fmla="*/ 12 w 26"/>
                  <a:gd name="T21" fmla="*/ 6 h 8"/>
                  <a:gd name="T22" fmla="*/ 15 w 26"/>
                  <a:gd name="T23" fmla="*/ 7 h 8"/>
                  <a:gd name="T24" fmla="*/ 23 w 26"/>
                  <a:gd name="T25" fmla="*/ 8 h 8"/>
                  <a:gd name="T26" fmla="*/ 23 w 26"/>
                  <a:gd name="T2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8">
                    <a:moveTo>
                      <a:pt x="23" y="8"/>
                    </a:moveTo>
                    <a:lnTo>
                      <a:pt x="24" y="8"/>
                    </a:lnTo>
                    <a:lnTo>
                      <a:pt x="26" y="8"/>
                    </a:lnTo>
                    <a:lnTo>
                      <a:pt x="24" y="6"/>
                    </a:lnTo>
                    <a:lnTo>
                      <a:pt x="17" y="5"/>
                    </a:lnTo>
                    <a:lnTo>
                      <a:pt x="15" y="5"/>
                    </a:lnTo>
                    <a:lnTo>
                      <a:pt x="12" y="3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8" y="4"/>
                    </a:lnTo>
                    <a:lnTo>
                      <a:pt x="12" y="6"/>
                    </a:lnTo>
                    <a:lnTo>
                      <a:pt x="15" y="7"/>
                    </a:lnTo>
                    <a:lnTo>
                      <a:pt x="23" y="8"/>
                    </a:lnTo>
                    <a:lnTo>
                      <a:pt x="23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3" name="Freeform 69">
                <a:extLst>
                  <a:ext uri="{FF2B5EF4-FFF2-40B4-BE49-F238E27FC236}">
                    <a16:creationId xmlns:a16="http://schemas.microsoft.com/office/drawing/2014/main" id="{52DE0D83-8AC6-4EF8-9F77-DF012902F0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1" y="1264"/>
                <a:ext cx="16" cy="7"/>
              </a:xfrm>
              <a:custGeom>
                <a:avLst/>
                <a:gdLst>
                  <a:gd name="T0" fmla="*/ 11 w 16"/>
                  <a:gd name="T1" fmla="*/ 7 h 7"/>
                  <a:gd name="T2" fmla="*/ 13 w 16"/>
                  <a:gd name="T3" fmla="*/ 6 h 7"/>
                  <a:gd name="T4" fmla="*/ 16 w 16"/>
                  <a:gd name="T5" fmla="*/ 3 h 7"/>
                  <a:gd name="T6" fmla="*/ 9 w 16"/>
                  <a:gd name="T7" fmla="*/ 2 h 7"/>
                  <a:gd name="T8" fmla="*/ 6 w 16"/>
                  <a:gd name="T9" fmla="*/ 1 h 7"/>
                  <a:gd name="T10" fmla="*/ 3 w 16"/>
                  <a:gd name="T11" fmla="*/ 0 h 7"/>
                  <a:gd name="T12" fmla="*/ 0 w 16"/>
                  <a:gd name="T13" fmla="*/ 2 h 7"/>
                  <a:gd name="T14" fmla="*/ 3 w 16"/>
                  <a:gd name="T15" fmla="*/ 3 h 7"/>
                  <a:gd name="T16" fmla="*/ 5 w 16"/>
                  <a:gd name="T17" fmla="*/ 3 h 7"/>
                  <a:gd name="T18" fmla="*/ 9 w 16"/>
                  <a:gd name="T19" fmla="*/ 6 h 7"/>
                  <a:gd name="T20" fmla="*/ 11 w 16"/>
                  <a:gd name="T21" fmla="*/ 7 h 7"/>
                  <a:gd name="T22" fmla="*/ 11 w 16"/>
                  <a:gd name="T2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7">
                    <a:moveTo>
                      <a:pt x="11" y="7"/>
                    </a:moveTo>
                    <a:lnTo>
                      <a:pt x="13" y="6"/>
                    </a:lnTo>
                    <a:lnTo>
                      <a:pt x="16" y="3"/>
                    </a:lnTo>
                    <a:lnTo>
                      <a:pt x="9" y="2"/>
                    </a:lnTo>
                    <a:lnTo>
                      <a:pt x="6" y="1"/>
                    </a:lnTo>
                    <a:lnTo>
                      <a:pt x="3" y="0"/>
                    </a:lnTo>
                    <a:lnTo>
                      <a:pt x="0" y="2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9" y="6"/>
                    </a:lnTo>
                    <a:lnTo>
                      <a:pt x="11" y="7"/>
                    </a:lnTo>
                    <a:lnTo>
                      <a:pt x="11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4" name="Freeform 70">
                <a:extLst>
                  <a:ext uri="{FF2B5EF4-FFF2-40B4-BE49-F238E27FC236}">
                    <a16:creationId xmlns:a16="http://schemas.microsoft.com/office/drawing/2014/main" id="{288B03A0-BD4B-49AE-852E-E2AC358263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5" y="1297"/>
                <a:ext cx="18" cy="8"/>
              </a:xfrm>
              <a:custGeom>
                <a:avLst/>
                <a:gdLst>
                  <a:gd name="T0" fmla="*/ 0 w 18"/>
                  <a:gd name="T1" fmla="*/ 5 h 8"/>
                  <a:gd name="T2" fmla="*/ 0 w 18"/>
                  <a:gd name="T3" fmla="*/ 0 h 8"/>
                  <a:gd name="T4" fmla="*/ 3 w 18"/>
                  <a:gd name="T5" fmla="*/ 1 h 8"/>
                  <a:gd name="T6" fmla="*/ 6 w 18"/>
                  <a:gd name="T7" fmla="*/ 1 h 8"/>
                  <a:gd name="T8" fmla="*/ 9 w 18"/>
                  <a:gd name="T9" fmla="*/ 2 h 8"/>
                  <a:gd name="T10" fmla="*/ 17 w 18"/>
                  <a:gd name="T11" fmla="*/ 7 h 8"/>
                  <a:gd name="T12" fmla="*/ 18 w 18"/>
                  <a:gd name="T13" fmla="*/ 8 h 8"/>
                  <a:gd name="T14" fmla="*/ 13 w 18"/>
                  <a:gd name="T15" fmla="*/ 8 h 8"/>
                  <a:gd name="T16" fmla="*/ 9 w 18"/>
                  <a:gd name="T17" fmla="*/ 8 h 8"/>
                  <a:gd name="T18" fmla="*/ 0 w 18"/>
                  <a:gd name="T19" fmla="*/ 5 h 8"/>
                  <a:gd name="T20" fmla="*/ 0 w 18"/>
                  <a:gd name="T21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" h="8">
                    <a:moveTo>
                      <a:pt x="0" y="5"/>
                    </a:moveTo>
                    <a:lnTo>
                      <a:pt x="0" y="0"/>
                    </a:lnTo>
                    <a:lnTo>
                      <a:pt x="3" y="1"/>
                    </a:lnTo>
                    <a:lnTo>
                      <a:pt x="6" y="1"/>
                    </a:lnTo>
                    <a:lnTo>
                      <a:pt x="9" y="2"/>
                    </a:lnTo>
                    <a:lnTo>
                      <a:pt x="17" y="7"/>
                    </a:lnTo>
                    <a:lnTo>
                      <a:pt x="18" y="8"/>
                    </a:lnTo>
                    <a:lnTo>
                      <a:pt x="13" y="8"/>
                    </a:lnTo>
                    <a:lnTo>
                      <a:pt x="9" y="8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5" name="Freeform 71">
                <a:extLst>
                  <a:ext uri="{FF2B5EF4-FFF2-40B4-BE49-F238E27FC236}">
                    <a16:creationId xmlns:a16="http://schemas.microsoft.com/office/drawing/2014/main" id="{011ED35D-E51C-4D5E-82C0-B821E0AD9F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4" y="1293"/>
                <a:ext cx="11" cy="9"/>
              </a:xfrm>
              <a:custGeom>
                <a:avLst/>
                <a:gdLst>
                  <a:gd name="T0" fmla="*/ 11 w 11"/>
                  <a:gd name="T1" fmla="*/ 9 h 9"/>
                  <a:gd name="T2" fmla="*/ 3 w 11"/>
                  <a:gd name="T3" fmla="*/ 7 h 9"/>
                  <a:gd name="T4" fmla="*/ 1 w 11"/>
                  <a:gd name="T5" fmla="*/ 5 h 9"/>
                  <a:gd name="T6" fmla="*/ 0 w 11"/>
                  <a:gd name="T7" fmla="*/ 3 h 9"/>
                  <a:gd name="T8" fmla="*/ 3 w 11"/>
                  <a:gd name="T9" fmla="*/ 0 h 9"/>
                  <a:gd name="T10" fmla="*/ 7 w 11"/>
                  <a:gd name="T11" fmla="*/ 0 h 9"/>
                  <a:gd name="T12" fmla="*/ 9 w 11"/>
                  <a:gd name="T13" fmla="*/ 0 h 9"/>
                  <a:gd name="T14" fmla="*/ 11 w 11"/>
                  <a:gd name="T15" fmla="*/ 4 h 9"/>
                  <a:gd name="T16" fmla="*/ 11 w 11"/>
                  <a:gd name="T17" fmla="*/ 4 h 9"/>
                  <a:gd name="T18" fmla="*/ 11 w 11"/>
                  <a:gd name="T19" fmla="*/ 9 h 9"/>
                  <a:gd name="T20" fmla="*/ 11 w 11"/>
                  <a:gd name="T21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9">
                    <a:moveTo>
                      <a:pt x="11" y="9"/>
                    </a:moveTo>
                    <a:lnTo>
                      <a:pt x="3" y="7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11" y="9"/>
                    </a:lnTo>
                    <a:lnTo>
                      <a:pt x="1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6" name="Freeform 72">
                <a:extLst>
                  <a:ext uri="{FF2B5EF4-FFF2-40B4-BE49-F238E27FC236}">
                    <a16:creationId xmlns:a16="http://schemas.microsoft.com/office/drawing/2014/main" id="{76FD86AE-8D79-4E4B-B45D-D64704ECE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2" y="1297"/>
                <a:ext cx="15" cy="1"/>
              </a:xfrm>
              <a:custGeom>
                <a:avLst/>
                <a:gdLst>
                  <a:gd name="T0" fmla="*/ 12 w 15"/>
                  <a:gd name="T1" fmla="*/ 1 h 1"/>
                  <a:gd name="T2" fmla="*/ 15 w 15"/>
                  <a:gd name="T3" fmla="*/ 1 h 1"/>
                  <a:gd name="T4" fmla="*/ 6 w 15"/>
                  <a:gd name="T5" fmla="*/ 1 h 1"/>
                  <a:gd name="T6" fmla="*/ 0 w 15"/>
                  <a:gd name="T7" fmla="*/ 1 h 1"/>
                  <a:gd name="T8" fmla="*/ 9 w 15"/>
                  <a:gd name="T9" fmla="*/ 0 h 1"/>
                  <a:gd name="T10" fmla="*/ 12 w 15"/>
                  <a:gd name="T11" fmla="*/ 1 h 1"/>
                  <a:gd name="T12" fmla="*/ 12 w 15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">
                    <a:moveTo>
                      <a:pt x="12" y="1"/>
                    </a:moveTo>
                    <a:lnTo>
                      <a:pt x="15" y="1"/>
                    </a:lnTo>
                    <a:lnTo>
                      <a:pt x="6" y="1"/>
                    </a:lnTo>
                    <a:lnTo>
                      <a:pt x="0" y="1"/>
                    </a:lnTo>
                    <a:lnTo>
                      <a:pt x="9" y="0"/>
                    </a:lnTo>
                    <a:lnTo>
                      <a:pt x="12" y="1"/>
                    </a:lnTo>
                    <a:lnTo>
                      <a:pt x="12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7" name="Freeform 73">
                <a:extLst>
                  <a:ext uri="{FF2B5EF4-FFF2-40B4-BE49-F238E27FC236}">
                    <a16:creationId xmlns:a16="http://schemas.microsoft.com/office/drawing/2014/main" id="{6E36D2D7-CEE2-4400-90C5-28A1334107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2" y="1617"/>
                <a:ext cx="36" cy="16"/>
              </a:xfrm>
              <a:custGeom>
                <a:avLst/>
                <a:gdLst>
                  <a:gd name="T0" fmla="*/ 31 w 36"/>
                  <a:gd name="T1" fmla="*/ 0 h 16"/>
                  <a:gd name="T2" fmla="*/ 28 w 36"/>
                  <a:gd name="T3" fmla="*/ 1 h 16"/>
                  <a:gd name="T4" fmla="*/ 25 w 36"/>
                  <a:gd name="T5" fmla="*/ 2 h 16"/>
                  <a:gd name="T6" fmla="*/ 22 w 36"/>
                  <a:gd name="T7" fmla="*/ 4 h 16"/>
                  <a:gd name="T8" fmla="*/ 20 w 36"/>
                  <a:gd name="T9" fmla="*/ 5 h 16"/>
                  <a:gd name="T10" fmla="*/ 12 w 36"/>
                  <a:gd name="T11" fmla="*/ 5 h 16"/>
                  <a:gd name="T12" fmla="*/ 9 w 36"/>
                  <a:gd name="T13" fmla="*/ 7 h 16"/>
                  <a:gd name="T14" fmla="*/ 7 w 36"/>
                  <a:gd name="T15" fmla="*/ 8 h 16"/>
                  <a:gd name="T16" fmla="*/ 3 w 36"/>
                  <a:gd name="T17" fmla="*/ 10 h 16"/>
                  <a:gd name="T18" fmla="*/ 1 w 36"/>
                  <a:gd name="T19" fmla="*/ 12 h 16"/>
                  <a:gd name="T20" fmla="*/ 0 w 36"/>
                  <a:gd name="T21" fmla="*/ 14 h 16"/>
                  <a:gd name="T22" fmla="*/ 2 w 36"/>
                  <a:gd name="T23" fmla="*/ 16 h 16"/>
                  <a:gd name="T24" fmla="*/ 11 w 36"/>
                  <a:gd name="T25" fmla="*/ 15 h 16"/>
                  <a:gd name="T26" fmla="*/ 13 w 36"/>
                  <a:gd name="T27" fmla="*/ 14 h 16"/>
                  <a:gd name="T28" fmla="*/ 19 w 36"/>
                  <a:gd name="T29" fmla="*/ 14 h 16"/>
                  <a:gd name="T30" fmla="*/ 21 w 36"/>
                  <a:gd name="T31" fmla="*/ 13 h 16"/>
                  <a:gd name="T32" fmla="*/ 25 w 36"/>
                  <a:gd name="T33" fmla="*/ 13 h 16"/>
                  <a:gd name="T34" fmla="*/ 27 w 36"/>
                  <a:gd name="T35" fmla="*/ 13 h 16"/>
                  <a:gd name="T36" fmla="*/ 29 w 36"/>
                  <a:gd name="T37" fmla="*/ 12 h 16"/>
                  <a:gd name="T38" fmla="*/ 35 w 36"/>
                  <a:gd name="T39" fmla="*/ 10 h 16"/>
                  <a:gd name="T40" fmla="*/ 36 w 36"/>
                  <a:gd name="T41" fmla="*/ 8 h 16"/>
                  <a:gd name="T42" fmla="*/ 35 w 36"/>
                  <a:gd name="T43" fmla="*/ 5 h 16"/>
                  <a:gd name="T44" fmla="*/ 33 w 36"/>
                  <a:gd name="T45" fmla="*/ 2 h 16"/>
                  <a:gd name="T46" fmla="*/ 31 w 36"/>
                  <a:gd name="T47" fmla="*/ 0 h 16"/>
                  <a:gd name="T48" fmla="*/ 31 w 36"/>
                  <a:gd name="T4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6" h="16">
                    <a:moveTo>
                      <a:pt x="31" y="0"/>
                    </a:moveTo>
                    <a:lnTo>
                      <a:pt x="28" y="1"/>
                    </a:lnTo>
                    <a:lnTo>
                      <a:pt x="25" y="2"/>
                    </a:lnTo>
                    <a:lnTo>
                      <a:pt x="22" y="4"/>
                    </a:lnTo>
                    <a:lnTo>
                      <a:pt x="20" y="5"/>
                    </a:lnTo>
                    <a:lnTo>
                      <a:pt x="12" y="5"/>
                    </a:lnTo>
                    <a:lnTo>
                      <a:pt x="9" y="7"/>
                    </a:lnTo>
                    <a:lnTo>
                      <a:pt x="7" y="8"/>
                    </a:lnTo>
                    <a:lnTo>
                      <a:pt x="3" y="10"/>
                    </a:lnTo>
                    <a:lnTo>
                      <a:pt x="1" y="12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11" y="15"/>
                    </a:lnTo>
                    <a:lnTo>
                      <a:pt x="13" y="14"/>
                    </a:lnTo>
                    <a:lnTo>
                      <a:pt x="19" y="14"/>
                    </a:lnTo>
                    <a:lnTo>
                      <a:pt x="21" y="13"/>
                    </a:lnTo>
                    <a:lnTo>
                      <a:pt x="25" y="13"/>
                    </a:lnTo>
                    <a:lnTo>
                      <a:pt x="27" y="13"/>
                    </a:lnTo>
                    <a:lnTo>
                      <a:pt x="29" y="12"/>
                    </a:lnTo>
                    <a:lnTo>
                      <a:pt x="35" y="10"/>
                    </a:lnTo>
                    <a:lnTo>
                      <a:pt x="36" y="8"/>
                    </a:lnTo>
                    <a:lnTo>
                      <a:pt x="35" y="5"/>
                    </a:lnTo>
                    <a:lnTo>
                      <a:pt x="33" y="2"/>
                    </a:lnTo>
                    <a:lnTo>
                      <a:pt x="31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8" name="Freeform 74">
                <a:extLst>
                  <a:ext uri="{FF2B5EF4-FFF2-40B4-BE49-F238E27FC236}">
                    <a16:creationId xmlns:a16="http://schemas.microsoft.com/office/drawing/2014/main" id="{C7406DA9-2DF5-4E66-AB8F-FED2481AEA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5" y="1622"/>
                <a:ext cx="6" cy="3"/>
              </a:xfrm>
              <a:custGeom>
                <a:avLst/>
                <a:gdLst>
                  <a:gd name="T0" fmla="*/ 6 w 6"/>
                  <a:gd name="T1" fmla="*/ 0 h 3"/>
                  <a:gd name="T2" fmla="*/ 2 w 6"/>
                  <a:gd name="T3" fmla="*/ 0 h 3"/>
                  <a:gd name="T4" fmla="*/ 0 w 6"/>
                  <a:gd name="T5" fmla="*/ 1 h 3"/>
                  <a:gd name="T6" fmla="*/ 0 w 6"/>
                  <a:gd name="T7" fmla="*/ 3 h 3"/>
                  <a:gd name="T8" fmla="*/ 4 w 6"/>
                  <a:gd name="T9" fmla="*/ 2 h 3"/>
                  <a:gd name="T10" fmla="*/ 6 w 6"/>
                  <a:gd name="T11" fmla="*/ 0 h 3"/>
                  <a:gd name="T12" fmla="*/ 6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9" name="Freeform 75">
                <a:extLst>
                  <a:ext uri="{FF2B5EF4-FFF2-40B4-BE49-F238E27FC236}">
                    <a16:creationId xmlns:a16="http://schemas.microsoft.com/office/drawing/2014/main" id="{D9F434CB-F1B9-4540-B230-ECF629F5B0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4" y="1631"/>
                <a:ext cx="4" cy="1"/>
              </a:xfrm>
              <a:custGeom>
                <a:avLst/>
                <a:gdLst>
                  <a:gd name="T0" fmla="*/ 4 w 4"/>
                  <a:gd name="T1" fmla="*/ 0 h 1"/>
                  <a:gd name="T2" fmla="*/ 3 w 4"/>
                  <a:gd name="T3" fmla="*/ 0 h 1"/>
                  <a:gd name="T4" fmla="*/ 0 w 4"/>
                  <a:gd name="T5" fmla="*/ 1 h 1"/>
                  <a:gd name="T6" fmla="*/ 4 w 4"/>
                  <a:gd name="T7" fmla="*/ 0 h 1"/>
                  <a:gd name="T8" fmla="*/ 4 w 4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">
                    <a:moveTo>
                      <a:pt x="4" y="0"/>
                    </a:moveTo>
                    <a:lnTo>
                      <a:pt x="3" y="0"/>
                    </a:lnTo>
                    <a:lnTo>
                      <a:pt x="0" y="1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0" name="Freeform 76">
                <a:extLst>
                  <a:ext uri="{FF2B5EF4-FFF2-40B4-BE49-F238E27FC236}">
                    <a16:creationId xmlns:a16="http://schemas.microsoft.com/office/drawing/2014/main" id="{5D0F453F-3B7D-4EB9-833E-1778DB4B62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8" y="1571"/>
                <a:ext cx="7" cy="2"/>
              </a:xfrm>
              <a:custGeom>
                <a:avLst/>
                <a:gdLst>
                  <a:gd name="T0" fmla="*/ 7 w 7"/>
                  <a:gd name="T1" fmla="*/ 0 h 2"/>
                  <a:gd name="T2" fmla="*/ 6 w 7"/>
                  <a:gd name="T3" fmla="*/ 0 h 2"/>
                  <a:gd name="T4" fmla="*/ 3 w 7"/>
                  <a:gd name="T5" fmla="*/ 0 h 2"/>
                  <a:gd name="T6" fmla="*/ 0 w 7"/>
                  <a:gd name="T7" fmla="*/ 1 h 2"/>
                  <a:gd name="T8" fmla="*/ 6 w 7"/>
                  <a:gd name="T9" fmla="*/ 2 h 2"/>
                  <a:gd name="T10" fmla="*/ 7 w 7"/>
                  <a:gd name="T11" fmla="*/ 0 h 2"/>
                  <a:gd name="T12" fmla="*/ 7 w 7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2">
                    <a:moveTo>
                      <a:pt x="7" y="0"/>
                    </a:moveTo>
                    <a:lnTo>
                      <a:pt x="6" y="0"/>
                    </a:lnTo>
                    <a:lnTo>
                      <a:pt x="3" y="0"/>
                    </a:lnTo>
                    <a:lnTo>
                      <a:pt x="0" y="1"/>
                    </a:lnTo>
                    <a:lnTo>
                      <a:pt x="6" y="2"/>
                    </a:lnTo>
                    <a:lnTo>
                      <a:pt x="7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1" name="Freeform 77">
                <a:extLst>
                  <a:ext uri="{FF2B5EF4-FFF2-40B4-BE49-F238E27FC236}">
                    <a16:creationId xmlns:a16="http://schemas.microsoft.com/office/drawing/2014/main" id="{1A725826-40EB-4379-84CC-2F2A3B0152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0" y="1557"/>
                <a:ext cx="24" cy="5"/>
              </a:xfrm>
              <a:custGeom>
                <a:avLst/>
                <a:gdLst>
                  <a:gd name="T0" fmla="*/ 2 w 24"/>
                  <a:gd name="T1" fmla="*/ 2 h 5"/>
                  <a:gd name="T2" fmla="*/ 13 w 24"/>
                  <a:gd name="T3" fmla="*/ 4 h 5"/>
                  <a:gd name="T4" fmla="*/ 18 w 24"/>
                  <a:gd name="T5" fmla="*/ 5 h 5"/>
                  <a:gd name="T6" fmla="*/ 22 w 24"/>
                  <a:gd name="T7" fmla="*/ 5 h 5"/>
                  <a:gd name="T8" fmla="*/ 24 w 24"/>
                  <a:gd name="T9" fmla="*/ 4 h 5"/>
                  <a:gd name="T10" fmla="*/ 18 w 24"/>
                  <a:gd name="T11" fmla="*/ 1 h 5"/>
                  <a:gd name="T12" fmla="*/ 10 w 24"/>
                  <a:gd name="T13" fmla="*/ 0 h 5"/>
                  <a:gd name="T14" fmla="*/ 2 w 24"/>
                  <a:gd name="T15" fmla="*/ 0 h 5"/>
                  <a:gd name="T16" fmla="*/ 0 w 24"/>
                  <a:gd name="T17" fmla="*/ 2 h 5"/>
                  <a:gd name="T18" fmla="*/ 2 w 24"/>
                  <a:gd name="T19" fmla="*/ 2 h 5"/>
                  <a:gd name="T20" fmla="*/ 2 w 24"/>
                  <a:gd name="T21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5">
                    <a:moveTo>
                      <a:pt x="2" y="2"/>
                    </a:moveTo>
                    <a:lnTo>
                      <a:pt x="13" y="4"/>
                    </a:lnTo>
                    <a:lnTo>
                      <a:pt x="18" y="5"/>
                    </a:lnTo>
                    <a:lnTo>
                      <a:pt x="22" y="5"/>
                    </a:lnTo>
                    <a:lnTo>
                      <a:pt x="24" y="4"/>
                    </a:lnTo>
                    <a:lnTo>
                      <a:pt x="18" y="1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2" name="Freeform 78">
                <a:extLst>
                  <a:ext uri="{FF2B5EF4-FFF2-40B4-BE49-F238E27FC236}">
                    <a16:creationId xmlns:a16="http://schemas.microsoft.com/office/drawing/2014/main" id="{B7912520-033D-425C-B561-0C6D87BF7C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0" y="1566"/>
                <a:ext cx="34" cy="9"/>
              </a:xfrm>
              <a:custGeom>
                <a:avLst/>
                <a:gdLst>
                  <a:gd name="T0" fmla="*/ 34 w 34"/>
                  <a:gd name="T1" fmla="*/ 4 h 9"/>
                  <a:gd name="T2" fmla="*/ 28 w 34"/>
                  <a:gd name="T3" fmla="*/ 1 h 9"/>
                  <a:gd name="T4" fmla="*/ 22 w 34"/>
                  <a:gd name="T5" fmla="*/ 1 h 9"/>
                  <a:gd name="T6" fmla="*/ 20 w 34"/>
                  <a:gd name="T7" fmla="*/ 1 h 9"/>
                  <a:gd name="T8" fmla="*/ 16 w 34"/>
                  <a:gd name="T9" fmla="*/ 0 h 9"/>
                  <a:gd name="T10" fmla="*/ 11 w 34"/>
                  <a:gd name="T11" fmla="*/ 1 h 9"/>
                  <a:gd name="T12" fmla="*/ 3 w 34"/>
                  <a:gd name="T13" fmla="*/ 1 h 9"/>
                  <a:gd name="T14" fmla="*/ 0 w 34"/>
                  <a:gd name="T15" fmla="*/ 5 h 9"/>
                  <a:gd name="T16" fmla="*/ 6 w 34"/>
                  <a:gd name="T17" fmla="*/ 4 h 9"/>
                  <a:gd name="T18" fmla="*/ 12 w 34"/>
                  <a:gd name="T19" fmla="*/ 5 h 9"/>
                  <a:gd name="T20" fmla="*/ 20 w 34"/>
                  <a:gd name="T21" fmla="*/ 6 h 9"/>
                  <a:gd name="T22" fmla="*/ 22 w 34"/>
                  <a:gd name="T23" fmla="*/ 7 h 9"/>
                  <a:gd name="T24" fmla="*/ 24 w 34"/>
                  <a:gd name="T25" fmla="*/ 9 h 9"/>
                  <a:gd name="T26" fmla="*/ 29 w 34"/>
                  <a:gd name="T27" fmla="*/ 9 h 9"/>
                  <a:gd name="T28" fmla="*/ 34 w 34"/>
                  <a:gd name="T29" fmla="*/ 9 h 9"/>
                  <a:gd name="T30" fmla="*/ 32 w 34"/>
                  <a:gd name="T31" fmla="*/ 6 h 9"/>
                  <a:gd name="T32" fmla="*/ 34 w 34"/>
                  <a:gd name="T33" fmla="*/ 4 h 9"/>
                  <a:gd name="T34" fmla="*/ 34 w 34"/>
                  <a:gd name="T3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" h="9">
                    <a:moveTo>
                      <a:pt x="34" y="4"/>
                    </a:moveTo>
                    <a:lnTo>
                      <a:pt x="28" y="1"/>
                    </a:lnTo>
                    <a:lnTo>
                      <a:pt x="22" y="1"/>
                    </a:lnTo>
                    <a:lnTo>
                      <a:pt x="20" y="1"/>
                    </a:lnTo>
                    <a:lnTo>
                      <a:pt x="16" y="0"/>
                    </a:lnTo>
                    <a:lnTo>
                      <a:pt x="11" y="1"/>
                    </a:lnTo>
                    <a:lnTo>
                      <a:pt x="3" y="1"/>
                    </a:lnTo>
                    <a:lnTo>
                      <a:pt x="0" y="5"/>
                    </a:lnTo>
                    <a:lnTo>
                      <a:pt x="6" y="4"/>
                    </a:lnTo>
                    <a:lnTo>
                      <a:pt x="12" y="5"/>
                    </a:lnTo>
                    <a:lnTo>
                      <a:pt x="20" y="6"/>
                    </a:lnTo>
                    <a:lnTo>
                      <a:pt x="22" y="7"/>
                    </a:lnTo>
                    <a:lnTo>
                      <a:pt x="24" y="9"/>
                    </a:lnTo>
                    <a:lnTo>
                      <a:pt x="29" y="9"/>
                    </a:lnTo>
                    <a:lnTo>
                      <a:pt x="34" y="9"/>
                    </a:lnTo>
                    <a:lnTo>
                      <a:pt x="32" y="6"/>
                    </a:lnTo>
                    <a:lnTo>
                      <a:pt x="34" y="4"/>
                    </a:lnTo>
                    <a:lnTo>
                      <a:pt x="3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3" name="Freeform 79">
                <a:extLst>
                  <a:ext uri="{FF2B5EF4-FFF2-40B4-BE49-F238E27FC236}">
                    <a16:creationId xmlns:a16="http://schemas.microsoft.com/office/drawing/2014/main" id="{0E807397-F55E-4146-A8D2-1DA2F5B98E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0" y="1571"/>
                <a:ext cx="33" cy="19"/>
              </a:xfrm>
              <a:custGeom>
                <a:avLst/>
                <a:gdLst>
                  <a:gd name="T0" fmla="*/ 26 w 33"/>
                  <a:gd name="T1" fmla="*/ 13 h 19"/>
                  <a:gd name="T2" fmla="*/ 24 w 33"/>
                  <a:gd name="T3" fmla="*/ 13 h 19"/>
                  <a:gd name="T4" fmla="*/ 24 w 33"/>
                  <a:gd name="T5" fmla="*/ 11 h 19"/>
                  <a:gd name="T6" fmla="*/ 26 w 33"/>
                  <a:gd name="T7" fmla="*/ 11 h 19"/>
                  <a:gd name="T8" fmla="*/ 30 w 33"/>
                  <a:gd name="T9" fmla="*/ 11 h 19"/>
                  <a:gd name="T10" fmla="*/ 32 w 33"/>
                  <a:gd name="T11" fmla="*/ 12 h 19"/>
                  <a:gd name="T12" fmla="*/ 33 w 33"/>
                  <a:gd name="T13" fmla="*/ 10 h 19"/>
                  <a:gd name="T14" fmla="*/ 31 w 33"/>
                  <a:gd name="T15" fmla="*/ 10 h 19"/>
                  <a:gd name="T16" fmla="*/ 28 w 33"/>
                  <a:gd name="T17" fmla="*/ 8 h 19"/>
                  <a:gd name="T18" fmla="*/ 25 w 33"/>
                  <a:gd name="T19" fmla="*/ 7 h 19"/>
                  <a:gd name="T20" fmla="*/ 23 w 33"/>
                  <a:gd name="T21" fmla="*/ 5 h 19"/>
                  <a:gd name="T22" fmla="*/ 20 w 33"/>
                  <a:gd name="T23" fmla="*/ 4 h 19"/>
                  <a:gd name="T24" fmla="*/ 17 w 33"/>
                  <a:gd name="T25" fmla="*/ 1 h 19"/>
                  <a:gd name="T26" fmla="*/ 12 w 33"/>
                  <a:gd name="T27" fmla="*/ 1 h 19"/>
                  <a:gd name="T28" fmla="*/ 7 w 33"/>
                  <a:gd name="T29" fmla="*/ 0 h 19"/>
                  <a:gd name="T30" fmla="*/ 2 w 33"/>
                  <a:gd name="T31" fmla="*/ 1 h 19"/>
                  <a:gd name="T32" fmla="*/ 0 w 33"/>
                  <a:gd name="T33" fmla="*/ 3 h 19"/>
                  <a:gd name="T34" fmla="*/ 0 w 33"/>
                  <a:gd name="T35" fmla="*/ 5 h 19"/>
                  <a:gd name="T36" fmla="*/ 3 w 33"/>
                  <a:gd name="T37" fmla="*/ 9 h 19"/>
                  <a:gd name="T38" fmla="*/ 6 w 33"/>
                  <a:gd name="T39" fmla="*/ 9 h 19"/>
                  <a:gd name="T40" fmla="*/ 8 w 33"/>
                  <a:gd name="T41" fmla="*/ 11 h 19"/>
                  <a:gd name="T42" fmla="*/ 16 w 33"/>
                  <a:gd name="T43" fmla="*/ 13 h 19"/>
                  <a:gd name="T44" fmla="*/ 22 w 33"/>
                  <a:gd name="T45" fmla="*/ 17 h 19"/>
                  <a:gd name="T46" fmla="*/ 28 w 33"/>
                  <a:gd name="T47" fmla="*/ 19 h 19"/>
                  <a:gd name="T48" fmla="*/ 30 w 33"/>
                  <a:gd name="T49" fmla="*/ 19 h 19"/>
                  <a:gd name="T50" fmla="*/ 31 w 33"/>
                  <a:gd name="T51" fmla="*/ 17 h 19"/>
                  <a:gd name="T52" fmla="*/ 26 w 33"/>
                  <a:gd name="T53" fmla="*/ 13 h 19"/>
                  <a:gd name="T54" fmla="*/ 26 w 33"/>
                  <a:gd name="T5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3" h="19">
                    <a:moveTo>
                      <a:pt x="26" y="13"/>
                    </a:moveTo>
                    <a:lnTo>
                      <a:pt x="24" y="13"/>
                    </a:lnTo>
                    <a:lnTo>
                      <a:pt x="24" y="11"/>
                    </a:lnTo>
                    <a:lnTo>
                      <a:pt x="26" y="11"/>
                    </a:lnTo>
                    <a:lnTo>
                      <a:pt x="30" y="11"/>
                    </a:lnTo>
                    <a:lnTo>
                      <a:pt x="32" y="12"/>
                    </a:lnTo>
                    <a:lnTo>
                      <a:pt x="33" y="10"/>
                    </a:lnTo>
                    <a:lnTo>
                      <a:pt x="31" y="10"/>
                    </a:lnTo>
                    <a:lnTo>
                      <a:pt x="28" y="8"/>
                    </a:lnTo>
                    <a:lnTo>
                      <a:pt x="25" y="7"/>
                    </a:lnTo>
                    <a:lnTo>
                      <a:pt x="23" y="5"/>
                    </a:lnTo>
                    <a:lnTo>
                      <a:pt x="20" y="4"/>
                    </a:lnTo>
                    <a:lnTo>
                      <a:pt x="17" y="1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3" y="9"/>
                    </a:lnTo>
                    <a:lnTo>
                      <a:pt x="6" y="9"/>
                    </a:lnTo>
                    <a:lnTo>
                      <a:pt x="8" y="11"/>
                    </a:lnTo>
                    <a:lnTo>
                      <a:pt x="16" y="13"/>
                    </a:lnTo>
                    <a:lnTo>
                      <a:pt x="22" y="17"/>
                    </a:lnTo>
                    <a:lnTo>
                      <a:pt x="28" y="19"/>
                    </a:lnTo>
                    <a:lnTo>
                      <a:pt x="30" y="19"/>
                    </a:lnTo>
                    <a:lnTo>
                      <a:pt x="31" y="17"/>
                    </a:lnTo>
                    <a:lnTo>
                      <a:pt x="26" y="13"/>
                    </a:lnTo>
                    <a:lnTo>
                      <a:pt x="2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4" name="Freeform 80">
                <a:extLst>
                  <a:ext uri="{FF2B5EF4-FFF2-40B4-BE49-F238E27FC236}">
                    <a16:creationId xmlns:a16="http://schemas.microsoft.com/office/drawing/2014/main" id="{EED43C17-7596-4854-B6E8-CC442970A4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3" y="1529"/>
                <a:ext cx="26" cy="10"/>
              </a:xfrm>
              <a:custGeom>
                <a:avLst/>
                <a:gdLst>
                  <a:gd name="T0" fmla="*/ 15 w 26"/>
                  <a:gd name="T1" fmla="*/ 0 h 10"/>
                  <a:gd name="T2" fmla="*/ 9 w 26"/>
                  <a:gd name="T3" fmla="*/ 0 h 10"/>
                  <a:gd name="T4" fmla="*/ 4 w 26"/>
                  <a:gd name="T5" fmla="*/ 2 h 10"/>
                  <a:gd name="T6" fmla="*/ 0 w 26"/>
                  <a:gd name="T7" fmla="*/ 6 h 10"/>
                  <a:gd name="T8" fmla="*/ 4 w 26"/>
                  <a:gd name="T9" fmla="*/ 8 h 10"/>
                  <a:gd name="T10" fmla="*/ 12 w 26"/>
                  <a:gd name="T11" fmla="*/ 10 h 10"/>
                  <a:gd name="T12" fmla="*/ 23 w 26"/>
                  <a:gd name="T13" fmla="*/ 8 h 10"/>
                  <a:gd name="T14" fmla="*/ 26 w 26"/>
                  <a:gd name="T15" fmla="*/ 7 h 10"/>
                  <a:gd name="T16" fmla="*/ 23 w 26"/>
                  <a:gd name="T17" fmla="*/ 6 h 10"/>
                  <a:gd name="T18" fmla="*/ 22 w 26"/>
                  <a:gd name="T19" fmla="*/ 3 h 10"/>
                  <a:gd name="T20" fmla="*/ 18 w 26"/>
                  <a:gd name="T21" fmla="*/ 1 h 10"/>
                  <a:gd name="T22" fmla="*/ 15 w 26"/>
                  <a:gd name="T23" fmla="*/ 0 h 10"/>
                  <a:gd name="T24" fmla="*/ 15 w 26"/>
                  <a:gd name="T2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" h="10">
                    <a:moveTo>
                      <a:pt x="15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12" y="10"/>
                    </a:lnTo>
                    <a:lnTo>
                      <a:pt x="23" y="8"/>
                    </a:lnTo>
                    <a:lnTo>
                      <a:pt x="26" y="7"/>
                    </a:lnTo>
                    <a:lnTo>
                      <a:pt x="23" y="6"/>
                    </a:lnTo>
                    <a:lnTo>
                      <a:pt x="22" y="3"/>
                    </a:lnTo>
                    <a:lnTo>
                      <a:pt x="18" y="1"/>
                    </a:lnTo>
                    <a:lnTo>
                      <a:pt x="15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5" name="Freeform 81">
                <a:extLst>
                  <a:ext uri="{FF2B5EF4-FFF2-40B4-BE49-F238E27FC236}">
                    <a16:creationId xmlns:a16="http://schemas.microsoft.com/office/drawing/2014/main" id="{0E71C552-842C-4BE9-A6FB-72EC5991F3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3" y="1429"/>
                <a:ext cx="3" cy="3"/>
              </a:xfrm>
              <a:custGeom>
                <a:avLst/>
                <a:gdLst>
                  <a:gd name="T0" fmla="*/ 3 w 3"/>
                  <a:gd name="T1" fmla="*/ 0 h 3"/>
                  <a:gd name="T2" fmla="*/ 0 w 3"/>
                  <a:gd name="T3" fmla="*/ 0 h 3"/>
                  <a:gd name="T4" fmla="*/ 0 w 3"/>
                  <a:gd name="T5" fmla="*/ 3 h 3"/>
                  <a:gd name="T6" fmla="*/ 3 w 3"/>
                  <a:gd name="T7" fmla="*/ 0 h 3"/>
                  <a:gd name="T8" fmla="*/ 3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6" name="Freeform 82">
                <a:extLst>
                  <a:ext uri="{FF2B5EF4-FFF2-40B4-BE49-F238E27FC236}">
                    <a16:creationId xmlns:a16="http://schemas.microsoft.com/office/drawing/2014/main" id="{5F0BA4A4-E5D8-42A7-950C-0595827962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0" y="1298"/>
                <a:ext cx="14" cy="10"/>
              </a:xfrm>
              <a:custGeom>
                <a:avLst/>
                <a:gdLst>
                  <a:gd name="T0" fmla="*/ 8 w 14"/>
                  <a:gd name="T1" fmla="*/ 9 h 10"/>
                  <a:gd name="T2" fmla="*/ 12 w 14"/>
                  <a:gd name="T3" fmla="*/ 10 h 10"/>
                  <a:gd name="T4" fmla="*/ 14 w 14"/>
                  <a:gd name="T5" fmla="*/ 9 h 10"/>
                  <a:gd name="T6" fmla="*/ 12 w 14"/>
                  <a:gd name="T7" fmla="*/ 6 h 10"/>
                  <a:gd name="T8" fmla="*/ 9 w 14"/>
                  <a:gd name="T9" fmla="*/ 4 h 10"/>
                  <a:gd name="T10" fmla="*/ 7 w 14"/>
                  <a:gd name="T11" fmla="*/ 1 h 10"/>
                  <a:gd name="T12" fmla="*/ 4 w 14"/>
                  <a:gd name="T13" fmla="*/ 0 h 10"/>
                  <a:gd name="T14" fmla="*/ 0 w 14"/>
                  <a:gd name="T15" fmla="*/ 2 h 10"/>
                  <a:gd name="T16" fmla="*/ 3 w 14"/>
                  <a:gd name="T17" fmla="*/ 4 h 10"/>
                  <a:gd name="T18" fmla="*/ 8 w 14"/>
                  <a:gd name="T19" fmla="*/ 9 h 10"/>
                  <a:gd name="T20" fmla="*/ 8 w 14"/>
                  <a:gd name="T21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" h="10">
                    <a:moveTo>
                      <a:pt x="8" y="9"/>
                    </a:moveTo>
                    <a:lnTo>
                      <a:pt x="12" y="10"/>
                    </a:lnTo>
                    <a:lnTo>
                      <a:pt x="14" y="9"/>
                    </a:lnTo>
                    <a:lnTo>
                      <a:pt x="12" y="6"/>
                    </a:lnTo>
                    <a:lnTo>
                      <a:pt x="9" y="4"/>
                    </a:lnTo>
                    <a:lnTo>
                      <a:pt x="7" y="1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3" y="4"/>
                    </a:lnTo>
                    <a:lnTo>
                      <a:pt x="8" y="9"/>
                    </a:lnTo>
                    <a:lnTo>
                      <a:pt x="8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7" name="Freeform 83">
                <a:extLst>
                  <a:ext uri="{FF2B5EF4-FFF2-40B4-BE49-F238E27FC236}">
                    <a16:creationId xmlns:a16="http://schemas.microsoft.com/office/drawing/2014/main" id="{8161EEE9-AFDA-4DCE-8F41-BEA401057C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3" y="1513"/>
                <a:ext cx="11" cy="9"/>
              </a:xfrm>
              <a:custGeom>
                <a:avLst/>
                <a:gdLst>
                  <a:gd name="T0" fmla="*/ 7 w 11"/>
                  <a:gd name="T1" fmla="*/ 3 h 9"/>
                  <a:gd name="T2" fmla="*/ 5 w 11"/>
                  <a:gd name="T3" fmla="*/ 3 h 9"/>
                  <a:gd name="T4" fmla="*/ 7 w 11"/>
                  <a:gd name="T5" fmla="*/ 2 h 9"/>
                  <a:gd name="T6" fmla="*/ 7 w 11"/>
                  <a:gd name="T7" fmla="*/ 1 h 9"/>
                  <a:gd name="T8" fmla="*/ 5 w 11"/>
                  <a:gd name="T9" fmla="*/ 0 h 9"/>
                  <a:gd name="T10" fmla="*/ 2 w 11"/>
                  <a:gd name="T11" fmla="*/ 0 h 9"/>
                  <a:gd name="T12" fmla="*/ 0 w 11"/>
                  <a:gd name="T13" fmla="*/ 2 h 9"/>
                  <a:gd name="T14" fmla="*/ 0 w 11"/>
                  <a:gd name="T15" fmla="*/ 5 h 9"/>
                  <a:gd name="T16" fmla="*/ 0 w 11"/>
                  <a:gd name="T17" fmla="*/ 7 h 9"/>
                  <a:gd name="T18" fmla="*/ 3 w 11"/>
                  <a:gd name="T19" fmla="*/ 9 h 9"/>
                  <a:gd name="T20" fmla="*/ 6 w 11"/>
                  <a:gd name="T21" fmla="*/ 9 h 9"/>
                  <a:gd name="T22" fmla="*/ 7 w 11"/>
                  <a:gd name="T23" fmla="*/ 9 h 9"/>
                  <a:gd name="T24" fmla="*/ 11 w 11"/>
                  <a:gd name="T25" fmla="*/ 7 h 9"/>
                  <a:gd name="T26" fmla="*/ 9 w 11"/>
                  <a:gd name="T27" fmla="*/ 3 h 9"/>
                  <a:gd name="T28" fmla="*/ 7 w 11"/>
                  <a:gd name="T29" fmla="*/ 3 h 9"/>
                  <a:gd name="T30" fmla="*/ 7 w 11"/>
                  <a:gd name="T31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9">
                    <a:moveTo>
                      <a:pt x="7" y="3"/>
                    </a:moveTo>
                    <a:lnTo>
                      <a:pt x="5" y="3"/>
                    </a:lnTo>
                    <a:lnTo>
                      <a:pt x="7" y="2"/>
                    </a:lnTo>
                    <a:lnTo>
                      <a:pt x="7" y="1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3" y="9"/>
                    </a:lnTo>
                    <a:lnTo>
                      <a:pt x="6" y="9"/>
                    </a:lnTo>
                    <a:lnTo>
                      <a:pt x="7" y="9"/>
                    </a:lnTo>
                    <a:lnTo>
                      <a:pt x="11" y="7"/>
                    </a:lnTo>
                    <a:lnTo>
                      <a:pt x="9" y="3"/>
                    </a:lnTo>
                    <a:lnTo>
                      <a:pt x="7" y="3"/>
                    </a:lnTo>
                    <a:lnTo>
                      <a:pt x="7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8" name="Freeform 84">
                <a:extLst>
                  <a:ext uri="{FF2B5EF4-FFF2-40B4-BE49-F238E27FC236}">
                    <a16:creationId xmlns:a16="http://schemas.microsoft.com/office/drawing/2014/main" id="{FC162C67-38BF-4669-A5AC-93F365610A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1429"/>
                <a:ext cx="15" cy="6"/>
              </a:xfrm>
              <a:custGeom>
                <a:avLst/>
                <a:gdLst>
                  <a:gd name="T0" fmla="*/ 5 w 15"/>
                  <a:gd name="T1" fmla="*/ 0 h 6"/>
                  <a:gd name="T2" fmla="*/ 0 w 15"/>
                  <a:gd name="T3" fmla="*/ 0 h 6"/>
                  <a:gd name="T4" fmla="*/ 3 w 15"/>
                  <a:gd name="T5" fmla="*/ 3 h 6"/>
                  <a:gd name="T6" fmla="*/ 5 w 15"/>
                  <a:gd name="T7" fmla="*/ 4 h 6"/>
                  <a:gd name="T8" fmla="*/ 9 w 15"/>
                  <a:gd name="T9" fmla="*/ 5 h 6"/>
                  <a:gd name="T10" fmla="*/ 13 w 15"/>
                  <a:gd name="T11" fmla="*/ 6 h 6"/>
                  <a:gd name="T12" fmla="*/ 15 w 15"/>
                  <a:gd name="T13" fmla="*/ 4 h 6"/>
                  <a:gd name="T14" fmla="*/ 9 w 15"/>
                  <a:gd name="T15" fmla="*/ 4 h 6"/>
                  <a:gd name="T16" fmla="*/ 5 w 15"/>
                  <a:gd name="T17" fmla="*/ 1 h 6"/>
                  <a:gd name="T18" fmla="*/ 5 w 15"/>
                  <a:gd name="T19" fmla="*/ 0 h 6"/>
                  <a:gd name="T20" fmla="*/ 5 w 15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" h="6">
                    <a:moveTo>
                      <a:pt x="5" y="0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5" y="4"/>
                    </a:lnTo>
                    <a:lnTo>
                      <a:pt x="9" y="5"/>
                    </a:lnTo>
                    <a:lnTo>
                      <a:pt x="13" y="6"/>
                    </a:lnTo>
                    <a:lnTo>
                      <a:pt x="15" y="4"/>
                    </a:lnTo>
                    <a:lnTo>
                      <a:pt x="9" y="4"/>
                    </a:lnTo>
                    <a:lnTo>
                      <a:pt x="5" y="1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9" name="Freeform 85">
                <a:extLst>
                  <a:ext uri="{FF2B5EF4-FFF2-40B4-BE49-F238E27FC236}">
                    <a16:creationId xmlns:a16="http://schemas.microsoft.com/office/drawing/2014/main" id="{AE4C2F7B-F594-45D6-BA3D-B38134A51D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3" y="1310"/>
                <a:ext cx="10" cy="6"/>
              </a:xfrm>
              <a:custGeom>
                <a:avLst/>
                <a:gdLst>
                  <a:gd name="T0" fmla="*/ 8 w 10"/>
                  <a:gd name="T1" fmla="*/ 6 h 6"/>
                  <a:gd name="T2" fmla="*/ 10 w 10"/>
                  <a:gd name="T3" fmla="*/ 4 h 6"/>
                  <a:gd name="T4" fmla="*/ 4 w 10"/>
                  <a:gd name="T5" fmla="*/ 0 h 6"/>
                  <a:gd name="T6" fmla="*/ 2 w 10"/>
                  <a:gd name="T7" fmla="*/ 0 h 6"/>
                  <a:gd name="T8" fmla="*/ 0 w 10"/>
                  <a:gd name="T9" fmla="*/ 1 h 6"/>
                  <a:gd name="T10" fmla="*/ 8 w 10"/>
                  <a:gd name="T11" fmla="*/ 6 h 6"/>
                  <a:gd name="T12" fmla="*/ 8 w 10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6">
                    <a:moveTo>
                      <a:pt x="8" y="6"/>
                    </a:moveTo>
                    <a:lnTo>
                      <a:pt x="10" y="4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8" y="6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0" name="Freeform 86">
                <a:extLst>
                  <a:ext uri="{FF2B5EF4-FFF2-40B4-BE49-F238E27FC236}">
                    <a16:creationId xmlns:a16="http://schemas.microsoft.com/office/drawing/2014/main" id="{00DB7028-B639-43B2-BCE4-ED21E1683A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6" y="1503"/>
                <a:ext cx="22" cy="12"/>
              </a:xfrm>
              <a:custGeom>
                <a:avLst/>
                <a:gdLst>
                  <a:gd name="T0" fmla="*/ 14 w 22"/>
                  <a:gd name="T1" fmla="*/ 0 h 12"/>
                  <a:gd name="T2" fmla="*/ 11 w 22"/>
                  <a:gd name="T3" fmla="*/ 2 h 12"/>
                  <a:gd name="T4" fmla="*/ 8 w 22"/>
                  <a:gd name="T5" fmla="*/ 3 h 12"/>
                  <a:gd name="T6" fmla="*/ 5 w 22"/>
                  <a:gd name="T7" fmla="*/ 1 h 12"/>
                  <a:gd name="T8" fmla="*/ 0 w 22"/>
                  <a:gd name="T9" fmla="*/ 2 h 12"/>
                  <a:gd name="T10" fmla="*/ 1 w 22"/>
                  <a:gd name="T11" fmla="*/ 6 h 12"/>
                  <a:gd name="T12" fmla="*/ 0 w 22"/>
                  <a:gd name="T13" fmla="*/ 11 h 12"/>
                  <a:gd name="T14" fmla="*/ 6 w 22"/>
                  <a:gd name="T15" fmla="*/ 12 h 12"/>
                  <a:gd name="T16" fmla="*/ 8 w 22"/>
                  <a:gd name="T17" fmla="*/ 11 h 12"/>
                  <a:gd name="T18" fmla="*/ 11 w 22"/>
                  <a:gd name="T19" fmla="*/ 11 h 12"/>
                  <a:gd name="T20" fmla="*/ 16 w 22"/>
                  <a:gd name="T21" fmla="*/ 11 h 12"/>
                  <a:gd name="T22" fmla="*/ 20 w 22"/>
                  <a:gd name="T23" fmla="*/ 12 h 12"/>
                  <a:gd name="T24" fmla="*/ 22 w 22"/>
                  <a:gd name="T25" fmla="*/ 10 h 12"/>
                  <a:gd name="T26" fmla="*/ 22 w 22"/>
                  <a:gd name="T27" fmla="*/ 8 h 12"/>
                  <a:gd name="T28" fmla="*/ 20 w 22"/>
                  <a:gd name="T29" fmla="*/ 8 h 12"/>
                  <a:gd name="T30" fmla="*/ 16 w 22"/>
                  <a:gd name="T31" fmla="*/ 9 h 12"/>
                  <a:gd name="T32" fmla="*/ 14 w 22"/>
                  <a:gd name="T33" fmla="*/ 8 h 12"/>
                  <a:gd name="T34" fmla="*/ 13 w 22"/>
                  <a:gd name="T35" fmla="*/ 4 h 12"/>
                  <a:gd name="T36" fmla="*/ 9 w 22"/>
                  <a:gd name="T37" fmla="*/ 6 h 12"/>
                  <a:gd name="T38" fmla="*/ 13 w 22"/>
                  <a:gd name="T39" fmla="*/ 4 h 12"/>
                  <a:gd name="T40" fmla="*/ 15 w 22"/>
                  <a:gd name="T41" fmla="*/ 3 h 12"/>
                  <a:gd name="T42" fmla="*/ 14 w 22"/>
                  <a:gd name="T43" fmla="*/ 0 h 12"/>
                  <a:gd name="T44" fmla="*/ 14 w 22"/>
                  <a:gd name="T4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" h="12">
                    <a:moveTo>
                      <a:pt x="14" y="0"/>
                    </a:moveTo>
                    <a:lnTo>
                      <a:pt x="11" y="2"/>
                    </a:lnTo>
                    <a:lnTo>
                      <a:pt x="8" y="3"/>
                    </a:lnTo>
                    <a:lnTo>
                      <a:pt x="5" y="1"/>
                    </a:lnTo>
                    <a:lnTo>
                      <a:pt x="0" y="2"/>
                    </a:lnTo>
                    <a:lnTo>
                      <a:pt x="1" y="6"/>
                    </a:lnTo>
                    <a:lnTo>
                      <a:pt x="0" y="11"/>
                    </a:lnTo>
                    <a:lnTo>
                      <a:pt x="6" y="12"/>
                    </a:lnTo>
                    <a:lnTo>
                      <a:pt x="8" y="11"/>
                    </a:lnTo>
                    <a:lnTo>
                      <a:pt x="11" y="11"/>
                    </a:lnTo>
                    <a:lnTo>
                      <a:pt x="16" y="11"/>
                    </a:lnTo>
                    <a:lnTo>
                      <a:pt x="20" y="12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0" y="8"/>
                    </a:lnTo>
                    <a:lnTo>
                      <a:pt x="16" y="9"/>
                    </a:lnTo>
                    <a:lnTo>
                      <a:pt x="14" y="8"/>
                    </a:lnTo>
                    <a:lnTo>
                      <a:pt x="13" y="4"/>
                    </a:lnTo>
                    <a:lnTo>
                      <a:pt x="9" y="6"/>
                    </a:lnTo>
                    <a:lnTo>
                      <a:pt x="13" y="4"/>
                    </a:lnTo>
                    <a:lnTo>
                      <a:pt x="15" y="3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1" name="Freeform 87">
                <a:extLst>
                  <a:ext uri="{FF2B5EF4-FFF2-40B4-BE49-F238E27FC236}">
                    <a16:creationId xmlns:a16="http://schemas.microsoft.com/office/drawing/2014/main" id="{D9DEFA48-8289-4954-A706-330203BA5E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7" y="2207"/>
                <a:ext cx="22" cy="39"/>
              </a:xfrm>
              <a:custGeom>
                <a:avLst/>
                <a:gdLst>
                  <a:gd name="T0" fmla="*/ 4 w 22"/>
                  <a:gd name="T1" fmla="*/ 25 h 39"/>
                  <a:gd name="T2" fmla="*/ 3 w 22"/>
                  <a:gd name="T3" fmla="*/ 25 h 39"/>
                  <a:gd name="T4" fmla="*/ 2 w 22"/>
                  <a:gd name="T5" fmla="*/ 35 h 39"/>
                  <a:gd name="T6" fmla="*/ 5 w 22"/>
                  <a:gd name="T7" fmla="*/ 35 h 39"/>
                  <a:gd name="T8" fmla="*/ 5 w 22"/>
                  <a:gd name="T9" fmla="*/ 39 h 39"/>
                  <a:gd name="T10" fmla="*/ 9 w 22"/>
                  <a:gd name="T11" fmla="*/ 38 h 39"/>
                  <a:gd name="T12" fmla="*/ 11 w 22"/>
                  <a:gd name="T13" fmla="*/ 35 h 39"/>
                  <a:gd name="T14" fmla="*/ 12 w 22"/>
                  <a:gd name="T15" fmla="*/ 33 h 39"/>
                  <a:gd name="T16" fmla="*/ 11 w 22"/>
                  <a:gd name="T17" fmla="*/ 32 h 39"/>
                  <a:gd name="T18" fmla="*/ 12 w 22"/>
                  <a:gd name="T19" fmla="*/ 33 h 39"/>
                  <a:gd name="T20" fmla="*/ 16 w 22"/>
                  <a:gd name="T21" fmla="*/ 33 h 39"/>
                  <a:gd name="T22" fmla="*/ 19 w 22"/>
                  <a:gd name="T23" fmla="*/ 33 h 39"/>
                  <a:gd name="T24" fmla="*/ 20 w 22"/>
                  <a:gd name="T25" fmla="*/ 27 h 39"/>
                  <a:gd name="T26" fmla="*/ 20 w 22"/>
                  <a:gd name="T27" fmla="*/ 21 h 39"/>
                  <a:gd name="T28" fmla="*/ 20 w 22"/>
                  <a:gd name="T29" fmla="*/ 19 h 39"/>
                  <a:gd name="T30" fmla="*/ 19 w 22"/>
                  <a:gd name="T31" fmla="*/ 17 h 39"/>
                  <a:gd name="T32" fmla="*/ 20 w 22"/>
                  <a:gd name="T33" fmla="*/ 14 h 39"/>
                  <a:gd name="T34" fmla="*/ 22 w 22"/>
                  <a:gd name="T35" fmla="*/ 12 h 39"/>
                  <a:gd name="T36" fmla="*/ 19 w 22"/>
                  <a:gd name="T37" fmla="*/ 4 h 39"/>
                  <a:gd name="T38" fmla="*/ 17 w 22"/>
                  <a:gd name="T39" fmla="*/ 1 h 39"/>
                  <a:gd name="T40" fmla="*/ 13 w 22"/>
                  <a:gd name="T41" fmla="*/ 0 h 39"/>
                  <a:gd name="T42" fmla="*/ 11 w 22"/>
                  <a:gd name="T43" fmla="*/ 1 h 39"/>
                  <a:gd name="T44" fmla="*/ 9 w 22"/>
                  <a:gd name="T45" fmla="*/ 5 h 39"/>
                  <a:gd name="T46" fmla="*/ 5 w 22"/>
                  <a:gd name="T47" fmla="*/ 6 h 39"/>
                  <a:gd name="T48" fmla="*/ 3 w 22"/>
                  <a:gd name="T49" fmla="*/ 7 h 39"/>
                  <a:gd name="T50" fmla="*/ 0 w 22"/>
                  <a:gd name="T51" fmla="*/ 5 h 39"/>
                  <a:gd name="T52" fmla="*/ 0 w 22"/>
                  <a:gd name="T53" fmla="*/ 9 h 39"/>
                  <a:gd name="T54" fmla="*/ 2 w 22"/>
                  <a:gd name="T55" fmla="*/ 13 h 39"/>
                  <a:gd name="T56" fmla="*/ 4 w 22"/>
                  <a:gd name="T57" fmla="*/ 15 h 39"/>
                  <a:gd name="T58" fmla="*/ 3 w 22"/>
                  <a:gd name="T59" fmla="*/ 21 h 39"/>
                  <a:gd name="T60" fmla="*/ 4 w 22"/>
                  <a:gd name="T61" fmla="*/ 22 h 39"/>
                  <a:gd name="T62" fmla="*/ 4 w 22"/>
                  <a:gd name="T63" fmla="*/ 25 h 39"/>
                  <a:gd name="T64" fmla="*/ 4 w 22"/>
                  <a:gd name="T65" fmla="*/ 25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2" h="39">
                    <a:moveTo>
                      <a:pt x="4" y="25"/>
                    </a:moveTo>
                    <a:lnTo>
                      <a:pt x="3" y="25"/>
                    </a:lnTo>
                    <a:lnTo>
                      <a:pt x="2" y="35"/>
                    </a:lnTo>
                    <a:lnTo>
                      <a:pt x="5" y="35"/>
                    </a:lnTo>
                    <a:lnTo>
                      <a:pt x="5" y="39"/>
                    </a:lnTo>
                    <a:lnTo>
                      <a:pt x="9" y="38"/>
                    </a:lnTo>
                    <a:lnTo>
                      <a:pt x="11" y="35"/>
                    </a:lnTo>
                    <a:lnTo>
                      <a:pt x="12" y="33"/>
                    </a:lnTo>
                    <a:lnTo>
                      <a:pt x="11" y="32"/>
                    </a:lnTo>
                    <a:lnTo>
                      <a:pt x="12" y="33"/>
                    </a:lnTo>
                    <a:lnTo>
                      <a:pt x="16" y="33"/>
                    </a:lnTo>
                    <a:lnTo>
                      <a:pt x="19" y="33"/>
                    </a:lnTo>
                    <a:lnTo>
                      <a:pt x="20" y="27"/>
                    </a:lnTo>
                    <a:lnTo>
                      <a:pt x="20" y="21"/>
                    </a:lnTo>
                    <a:lnTo>
                      <a:pt x="20" y="19"/>
                    </a:lnTo>
                    <a:lnTo>
                      <a:pt x="19" y="17"/>
                    </a:lnTo>
                    <a:lnTo>
                      <a:pt x="20" y="14"/>
                    </a:lnTo>
                    <a:lnTo>
                      <a:pt x="22" y="12"/>
                    </a:lnTo>
                    <a:lnTo>
                      <a:pt x="19" y="4"/>
                    </a:lnTo>
                    <a:lnTo>
                      <a:pt x="17" y="1"/>
                    </a:lnTo>
                    <a:lnTo>
                      <a:pt x="13" y="0"/>
                    </a:lnTo>
                    <a:lnTo>
                      <a:pt x="11" y="1"/>
                    </a:lnTo>
                    <a:lnTo>
                      <a:pt x="9" y="5"/>
                    </a:lnTo>
                    <a:lnTo>
                      <a:pt x="5" y="6"/>
                    </a:lnTo>
                    <a:lnTo>
                      <a:pt x="3" y="7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2" y="13"/>
                    </a:lnTo>
                    <a:lnTo>
                      <a:pt x="4" y="15"/>
                    </a:lnTo>
                    <a:lnTo>
                      <a:pt x="3" y="21"/>
                    </a:lnTo>
                    <a:lnTo>
                      <a:pt x="4" y="22"/>
                    </a:lnTo>
                    <a:lnTo>
                      <a:pt x="4" y="25"/>
                    </a:lnTo>
                    <a:lnTo>
                      <a:pt x="4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2" name="Freeform 88">
                <a:extLst>
                  <a:ext uri="{FF2B5EF4-FFF2-40B4-BE49-F238E27FC236}">
                    <a16:creationId xmlns:a16="http://schemas.microsoft.com/office/drawing/2014/main" id="{99A5D240-3D54-4A9A-8D38-760A85DB75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2" y="2178"/>
                <a:ext cx="14" cy="27"/>
              </a:xfrm>
              <a:custGeom>
                <a:avLst/>
                <a:gdLst>
                  <a:gd name="T0" fmla="*/ 0 w 14"/>
                  <a:gd name="T1" fmla="*/ 10 h 27"/>
                  <a:gd name="T2" fmla="*/ 2 w 14"/>
                  <a:gd name="T3" fmla="*/ 12 h 27"/>
                  <a:gd name="T4" fmla="*/ 0 w 14"/>
                  <a:gd name="T5" fmla="*/ 17 h 27"/>
                  <a:gd name="T6" fmla="*/ 3 w 14"/>
                  <a:gd name="T7" fmla="*/ 18 h 27"/>
                  <a:gd name="T8" fmla="*/ 2 w 14"/>
                  <a:gd name="T9" fmla="*/ 21 h 27"/>
                  <a:gd name="T10" fmla="*/ 4 w 14"/>
                  <a:gd name="T11" fmla="*/ 22 h 27"/>
                  <a:gd name="T12" fmla="*/ 5 w 14"/>
                  <a:gd name="T13" fmla="*/ 25 h 27"/>
                  <a:gd name="T14" fmla="*/ 8 w 14"/>
                  <a:gd name="T15" fmla="*/ 27 h 27"/>
                  <a:gd name="T16" fmla="*/ 9 w 14"/>
                  <a:gd name="T17" fmla="*/ 27 h 27"/>
                  <a:gd name="T18" fmla="*/ 12 w 14"/>
                  <a:gd name="T19" fmla="*/ 21 h 27"/>
                  <a:gd name="T20" fmla="*/ 12 w 14"/>
                  <a:gd name="T21" fmla="*/ 18 h 27"/>
                  <a:gd name="T22" fmla="*/ 13 w 14"/>
                  <a:gd name="T23" fmla="*/ 15 h 27"/>
                  <a:gd name="T24" fmla="*/ 14 w 14"/>
                  <a:gd name="T25" fmla="*/ 13 h 27"/>
                  <a:gd name="T26" fmla="*/ 13 w 14"/>
                  <a:gd name="T27" fmla="*/ 8 h 27"/>
                  <a:gd name="T28" fmla="*/ 12 w 14"/>
                  <a:gd name="T29" fmla="*/ 5 h 27"/>
                  <a:gd name="T30" fmla="*/ 13 w 14"/>
                  <a:gd name="T31" fmla="*/ 3 h 27"/>
                  <a:gd name="T32" fmla="*/ 12 w 14"/>
                  <a:gd name="T33" fmla="*/ 0 h 27"/>
                  <a:gd name="T34" fmla="*/ 11 w 14"/>
                  <a:gd name="T35" fmla="*/ 2 h 27"/>
                  <a:gd name="T36" fmla="*/ 9 w 14"/>
                  <a:gd name="T37" fmla="*/ 5 h 27"/>
                  <a:gd name="T38" fmla="*/ 7 w 14"/>
                  <a:gd name="T39" fmla="*/ 4 h 27"/>
                  <a:gd name="T40" fmla="*/ 2 w 14"/>
                  <a:gd name="T41" fmla="*/ 8 h 27"/>
                  <a:gd name="T42" fmla="*/ 0 w 14"/>
                  <a:gd name="T43" fmla="*/ 10 h 27"/>
                  <a:gd name="T44" fmla="*/ 0 w 14"/>
                  <a:gd name="T45" fmla="*/ 1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" h="27">
                    <a:moveTo>
                      <a:pt x="0" y="10"/>
                    </a:moveTo>
                    <a:lnTo>
                      <a:pt x="2" y="12"/>
                    </a:lnTo>
                    <a:lnTo>
                      <a:pt x="0" y="17"/>
                    </a:lnTo>
                    <a:lnTo>
                      <a:pt x="3" y="18"/>
                    </a:lnTo>
                    <a:lnTo>
                      <a:pt x="2" y="21"/>
                    </a:lnTo>
                    <a:lnTo>
                      <a:pt x="4" y="22"/>
                    </a:lnTo>
                    <a:lnTo>
                      <a:pt x="5" y="25"/>
                    </a:lnTo>
                    <a:lnTo>
                      <a:pt x="8" y="27"/>
                    </a:lnTo>
                    <a:lnTo>
                      <a:pt x="9" y="27"/>
                    </a:lnTo>
                    <a:lnTo>
                      <a:pt x="12" y="21"/>
                    </a:lnTo>
                    <a:lnTo>
                      <a:pt x="12" y="18"/>
                    </a:lnTo>
                    <a:lnTo>
                      <a:pt x="13" y="15"/>
                    </a:lnTo>
                    <a:lnTo>
                      <a:pt x="14" y="13"/>
                    </a:lnTo>
                    <a:lnTo>
                      <a:pt x="13" y="8"/>
                    </a:lnTo>
                    <a:lnTo>
                      <a:pt x="12" y="5"/>
                    </a:lnTo>
                    <a:lnTo>
                      <a:pt x="13" y="3"/>
                    </a:lnTo>
                    <a:lnTo>
                      <a:pt x="12" y="0"/>
                    </a:lnTo>
                    <a:lnTo>
                      <a:pt x="11" y="2"/>
                    </a:lnTo>
                    <a:lnTo>
                      <a:pt x="9" y="5"/>
                    </a:lnTo>
                    <a:lnTo>
                      <a:pt x="7" y="4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3" name="Freeform 89">
                <a:extLst>
                  <a:ext uri="{FF2B5EF4-FFF2-40B4-BE49-F238E27FC236}">
                    <a16:creationId xmlns:a16="http://schemas.microsoft.com/office/drawing/2014/main" id="{41A4B892-96EE-4043-9105-806C0DD242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6" y="2255"/>
                <a:ext cx="42" cy="25"/>
              </a:xfrm>
              <a:custGeom>
                <a:avLst/>
                <a:gdLst>
                  <a:gd name="T0" fmla="*/ 26 w 42"/>
                  <a:gd name="T1" fmla="*/ 20 h 25"/>
                  <a:gd name="T2" fmla="*/ 26 w 42"/>
                  <a:gd name="T3" fmla="*/ 21 h 25"/>
                  <a:gd name="T4" fmla="*/ 29 w 42"/>
                  <a:gd name="T5" fmla="*/ 24 h 25"/>
                  <a:gd name="T6" fmla="*/ 34 w 42"/>
                  <a:gd name="T7" fmla="*/ 25 h 25"/>
                  <a:gd name="T8" fmla="*/ 36 w 42"/>
                  <a:gd name="T9" fmla="*/ 25 h 25"/>
                  <a:gd name="T10" fmla="*/ 36 w 42"/>
                  <a:gd name="T11" fmla="*/ 21 h 25"/>
                  <a:gd name="T12" fmla="*/ 38 w 42"/>
                  <a:gd name="T13" fmla="*/ 19 h 25"/>
                  <a:gd name="T14" fmla="*/ 37 w 42"/>
                  <a:gd name="T15" fmla="*/ 17 h 25"/>
                  <a:gd name="T16" fmla="*/ 36 w 42"/>
                  <a:gd name="T17" fmla="*/ 15 h 25"/>
                  <a:gd name="T18" fmla="*/ 35 w 42"/>
                  <a:gd name="T19" fmla="*/ 12 h 25"/>
                  <a:gd name="T20" fmla="*/ 37 w 42"/>
                  <a:gd name="T21" fmla="*/ 8 h 25"/>
                  <a:gd name="T22" fmla="*/ 42 w 42"/>
                  <a:gd name="T23" fmla="*/ 2 h 25"/>
                  <a:gd name="T24" fmla="*/ 42 w 42"/>
                  <a:gd name="T25" fmla="*/ 0 h 25"/>
                  <a:gd name="T26" fmla="*/ 37 w 42"/>
                  <a:gd name="T27" fmla="*/ 2 h 25"/>
                  <a:gd name="T28" fmla="*/ 31 w 42"/>
                  <a:gd name="T29" fmla="*/ 2 h 25"/>
                  <a:gd name="T30" fmla="*/ 26 w 42"/>
                  <a:gd name="T31" fmla="*/ 4 h 25"/>
                  <a:gd name="T32" fmla="*/ 20 w 42"/>
                  <a:gd name="T33" fmla="*/ 3 h 25"/>
                  <a:gd name="T34" fmla="*/ 17 w 42"/>
                  <a:gd name="T35" fmla="*/ 4 h 25"/>
                  <a:gd name="T36" fmla="*/ 12 w 42"/>
                  <a:gd name="T37" fmla="*/ 1 h 25"/>
                  <a:gd name="T38" fmla="*/ 9 w 42"/>
                  <a:gd name="T39" fmla="*/ 1 h 25"/>
                  <a:gd name="T40" fmla="*/ 6 w 42"/>
                  <a:gd name="T41" fmla="*/ 3 h 25"/>
                  <a:gd name="T42" fmla="*/ 4 w 42"/>
                  <a:gd name="T43" fmla="*/ 3 h 25"/>
                  <a:gd name="T44" fmla="*/ 2 w 42"/>
                  <a:gd name="T45" fmla="*/ 3 h 25"/>
                  <a:gd name="T46" fmla="*/ 0 w 42"/>
                  <a:gd name="T47" fmla="*/ 5 h 25"/>
                  <a:gd name="T48" fmla="*/ 0 w 42"/>
                  <a:gd name="T49" fmla="*/ 9 h 25"/>
                  <a:gd name="T50" fmla="*/ 2 w 42"/>
                  <a:gd name="T51" fmla="*/ 11 h 25"/>
                  <a:gd name="T52" fmla="*/ 5 w 42"/>
                  <a:gd name="T53" fmla="*/ 11 h 25"/>
                  <a:gd name="T54" fmla="*/ 14 w 42"/>
                  <a:gd name="T55" fmla="*/ 16 h 25"/>
                  <a:gd name="T56" fmla="*/ 17 w 42"/>
                  <a:gd name="T57" fmla="*/ 18 h 25"/>
                  <a:gd name="T58" fmla="*/ 20 w 42"/>
                  <a:gd name="T59" fmla="*/ 18 h 25"/>
                  <a:gd name="T60" fmla="*/ 22 w 42"/>
                  <a:gd name="T61" fmla="*/ 18 h 25"/>
                  <a:gd name="T62" fmla="*/ 26 w 42"/>
                  <a:gd name="T63" fmla="*/ 20 h 25"/>
                  <a:gd name="T64" fmla="*/ 26 w 42"/>
                  <a:gd name="T65" fmla="*/ 2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2" h="25">
                    <a:moveTo>
                      <a:pt x="26" y="20"/>
                    </a:moveTo>
                    <a:lnTo>
                      <a:pt x="26" y="21"/>
                    </a:lnTo>
                    <a:lnTo>
                      <a:pt x="29" y="24"/>
                    </a:lnTo>
                    <a:lnTo>
                      <a:pt x="34" y="25"/>
                    </a:lnTo>
                    <a:lnTo>
                      <a:pt x="36" y="25"/>
                    </a:lnTo>
                    <a:lnTo>
                      <a:pt x="36" y="21"/>
                    </a:lnTo>
                    <a:lnTo>
                      <a:pt x="38" y="19"/>
                    </a:lnTo>
                    <a:lnTo>
                      <a:pt x="37" y="17"/>
                    </a:lnTo>
                    <a:lnTo>
                      <a:pt x="36" y="15"/>
                    </a:lnTo>
                    <a:lnTo>
                      <a:pt x="35" y="12"/>
                    </a:lnTo>
                    <a:lnTo>
                      <a:pt x="37" y="8"/>
                    </a:lnTo>
                    <a:lnTo>
                      <a:pt x="42" y="2"/>
                    </a:lnTo>
                    <a:lnTo>
                      <a:pt x="42" y="0"/>
                    </a:lnTo>
                    <a:lnTo>
                      <a:pt x="37" y="2"/>
                    </a:lnTo>
                    <a:lnTo>
                      <a:pt x="31" y="2"/>
                    </a:lnTo>
                    <a:lnTo>
                      <a:pt x="26" y="4"/>
                    </a:lnTo>
                    <a:lnTo>
                      <a:pt x="20" y="3"/>
                    </a:lnTo>
                    <a:lnTo>
                      <a:pt x="17" y="4"/>
                    </a:lnTo>
                    <a:lnTo>
                      <a:pt x="12" y="1"/>
                    </a:lnTo>
                    <a:lnTo>
                      <a:pt x="9" y="1"/>
                    </a:lnTo>
                    <a:lnTo>
                      <a:pt x="6" y="3"/>
                    </a:lnTo>
                    <a:lnTo>
                      <a:pt x="4" y="3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5" y="11"/>
                    </a:lnTo>
                    <a:lnTo>
                      <a:pt x="14" y="16"/>
                    </a:lnTo>
                    <a:lnTo>
                      <a:pt x="17" y="18"/>
                    </a:lnTo>
                    <a:lnTo>
                      <a:pt x="20" y="18"/>
                    </a:lnTo>
                    <a:lnTo>
                      <a:pt x="22" y="18"/>
                    </a:lnTo>
                    <a:lnTo>
                      <a:pt x="26" y="20"/>
                    </a:lnTo>
                    <a:lnTo>
                      <a:pt x="26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4" name="Freeform 90">
                <a:extLst>
                  <a:ext uri="{FF2B5EF4-FFF2-40B4-BE49-F238E27FC236}">
                    <a16:creationId xmlns:a16="http://schemas.microsoft.com/office/drawing/2014/main" id="{452BD31F-462A-461D-8E35-0CC6A97041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42" y="1894"/>
                <a:ext cx="166" cy="164"/>
              </a:xfrm>
              <a:custGeom>
                <a:avLst/>
                <a:gdLst>
                  <a:gd name="T0" fmla="*/ 51 w 166"/>
                  <a:gd name="T1" fmla="*/ 12 h 164"/>
                  <a:gd name="T2" fmla="*/ 52 w 166"/>
                  <a:gd name="T3" fmla="*/ 6 h 164"/>
                  <a:gd name="T4" fmla="*/ 54 w 166"/>
                  <a:gd name="T5" fmla="*/ 20 h 164"/>
                  <a:gd name="T6" fmla="*/ 62 w 166"/>
                  <a:gd name="T7" fmla="*/ 30 h 164"/>
                  <a:gd name="T8" fmla="*/ 56 w 166"/>
                  <a:gd name="T9" fmla="*/ 47 h 164"/>
                  <a:gd name="T10" fmla="*/ 60 w 166"/>
                  <a:gd name="T11" fmla="*/ 45 h 164"/>
                  <a:gd name="T12" fmla="*/ 148 w 166"/>
                  <a:gd name="T13" fmla="*/ 113 h 164"/>
                  <a:gd name="T14" fmla="*/ 134 w 166"/>
                  <a:gd name="T15" fmla="*/ 96 h 164"/>
                  <a:gd name="T16" fmla="*/ 135 w 166"/>
                  <a:gd name="T17" fmla="*/ 81 h 164"/>
                  <a:gd name="T18" fmla="*/ 118 w 166"/>
                  <a:gd name="T19" fmla="*/ 60 h 164"/>
                  <a:gd name="T20" fmla="*/ 90 w 166"/>
                  <a:gd name="T21" fmla="*/ 51 h 164"/>
                  <a:gd name="T22" fmla="*/ 103 w 166"/>
                  <a:gd name="T23" fmla="*/ 44 h 164"/>
                  <a:gd name="T24" fmla="*/ 115 w 166"/>
                  <a:gd name="T25" fmla="*/ 28 h 164"/>
                  <a:gd name="T26" fmla="*/ 90 w 166"/>
                  <a:gd name="T27" fmla="*/ 21 h 164"/>
                  <a:gd name="T28" fmla="*/ 87 w 166"/>
                  <a:gd name="T29" fmla="*/ 14 h 164"/>
                  <a:gd name="T30" fmla="*/ 87 w 166"/>
                  <a:gd name="T31" fmla="*/ 2 h 164"/>
                  <a:gd name="T32" fmla="*/ 69 w 166"/>
                  <a:gd name="T33" fmla="*/ 9 h 164"/>
                  <a:gd name="T34" fmla="*/ 62 w 166"/>
                  <a:gd name="T35" fmla="*/ 23 h 164"/>
                  <a:gd name="T36" fmla="*/ 69 w 166"/>
                  <a:gd name="T37" fmla="*/ 30 h 164"/>
                  <a:gd name="T38" fmla="*/ 59 w 166"/>
                  <a:gd name="T39" fmla="*/ 39 h 164"/>
                  <a:gd name="T40" fmla="*/ 72 w 166"/>
                  <a:gd name="T41" fmla="*/ 39 h 164"/>
                  <a:gd name="T42" fmla="*/ 67 w 166"/>
                  <a:gd name="T43" fmla="*/ 48 h 164"/>
                  <a:gd name="T44" fmla="*/ 68 w 166"/>
                  <a:gd name="T45" fmla="*/ 61 h 164"/>
                  <a:gd name="T46" fmla="*/ 77 w 166"/>
                  <a:gd name="T47" fmla="*/ 49 h 164"/>
                  <a:gd name="T48" fmla="*/ 78 w 166"/>
                  <a:gd name="T49" fmla="*/ 63 h 164"/>
                  <a:gd name="T50" fmla="*/ 76 w 166"/>
                  <a:gd name="T51" fmla="*/ 78 h 164"/>
                  <a:gd name="T52" fmla="*/ 87 w 166"/>
                  <a:gd name="T53" fmla="*/ 75 h 164"/>
                  <a:gd name="T54" fmla="*/ 96 w 166"/>
                  <a:gd name="T55" fmla="*/ 83 h 164"/>
                  <a:gd name="T56" fmla="*/ 103 w 166"/>
                  <a:gd name="T57" fmla="*/ 96 h 164"/>
                  <a:gd name="T58" fmla="*/ 92 w 166"/>
                  <a:gd name="T59" fmla="*/ 104 h 164"/>
                  <a:gd name="T60" fmla="*/ 80 w 166"/>
                  <a:gd name="T61" fmla="*/ 111 h 164"/>
                  <a:gd name="T62" fmla="*/ 87 w 166"/>
                  <a:gd name="T63" fmla="*/ 118 h 164"/>
                  <a:gd name="T64" fmla="*/ 75 w 166"/>
                  <a:gd name="T65" fmla="*/ 133 h 164"/>
                  <a:gd name="T66" fmla="*/ 84 w 166"/>
                  <a:gd name="T67" fmla="*/ 135 h 164"/>
                  <a:gd name="T68" fmla="*/ 103 w 166"/>
                  <a:gd name="T69" fmla="*/ 135 h 164"/>
                  <a:gd name="T70" fmla="*/ 94 w 166"/>
                  <a:gd name="T71" fmla="*/ 141 h 164"/>
                  <a:gd name="T72" fmla="*/ 71 w 166"/>
                  <a:gd name="T73" fmla="*/ 158 h 164"/>
                  <a:gd name="T74" fmla="*/ 77 w 166"/>
                  <a:gd name="T75" fmla="*/ 159 h 164"/>
                  <a:gd name="T76" fmla="*/ 95 w 166"/>
                  <a:gd name="T77" fmla="*/ 151 h 164"/>
                  <a:gd name="T78" fmla="*/ 122 w 166"/>
                  <a:gd name="T79" fmla="*/ 150 h 164"/>
                  <a:gd name="T80" fmla="*/ 155 w 166"/>
                  <a:gd name="T81" fmla="*/ 147 h 164"/>
                  <a:gd name="T82" fmla="*/ 148 w 166"/>
                  <a:gd name="T83" fmla="*/ 138 h 164"/>
                  <a:gd name="T84" fmla="*/ 157 w 166"/>
                  <a:gd name="T85" fmla="*/ 129 h 164"/>
                  <a:gd name="T86" fmla="*/ 68 w 166"/>
                  <a:gd name="T87" fmla="*/ 83 h 164"/>
                  <a:gd name="T88" fmla="*/ 61 w 166"/>
                  <a:gd name="T89" fmla="*/ 70 h 164"/>
                  <a:gd name="T90" fmla="*/ 43 w 166"/>
                  <a:gd name="T91" fmla="*/ 70 h 164"/>
                  <a:gd name="T92" fmla="*/ 38 w 166"/>
                  <a:gd name="T93" fmla="*/ 71 h 164"/>
                  <a:gd name="T94" fmla="*/ 32 w 166"/>
                  <a:gd name="T95" fmla="*/ 79 h 164"/>
                  <a:gd name="T96" fmla="*/ 17 w 166"/>
                  <a:gd name="T97" fmla="*/ 87 h 164"/>
                  <a:gd name="T98" fmla="*/ 7 w 166"/>
                  <a:gd name="T99" fmla="*/ 92 h 164"/>
                  <a:gd name="T100" fmla="*/ 3 w 166"/>
                  <a:gd name="T101" fmla="*/ 99 h 164"/>
                  <a:gd name="T102" fmla="*/ 16 w 166"/>
                  <a:gd name="T103" fmla="*/ 106 h 164"/>
                  <a:gd name="T104" fmla="*/ 23 w 166"/>
                  <a:gd name="T105" fmla="*/ 115 h 164"/>
                  <a:gd name="T106" fmla="*/ 9 w 166"/>
                  <a:gd name="T107" fmla="*/ 125 h 164"/>
                  <a:gd name="T108" fmla="*/ 6 w 166"/>
                  <a:gd name="T109" fmla="*/ 134 h 164"/>
                  <a:gd name="T110" fmla="*/ 27 w 166"/>
                  <a:gd name="T111" fmla="*/ 130 h 164"/>
                  <a:gd name="T112" fmla="*/ 43 w 166"/>
                  <a:gd name="T113" fmla="*/ 125 h 164"/>
                  <a:gd name="T114" fmla="*/ 55 w 166"/>
                  <a:gd name="T115" fmla="*/ 121 h 164"/>
                  <a:gd name="T116" fmla="*/ 59 w 166"/>
                  <a:gd name="T117" fmla="*/ 100 h 164"/>
                  <a:gd name="T118" fmla="*/ 67 w 166"/>
                  <a:gd name="T119" fmla="*/ 83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6" h="164">
                    <a:moveTo>
                      <a:pt x="50" y="15"/>
                    </a:moveTo>
                    <a:lnTo>
                      <a:pt x="49" y="15"/>
                    </a:lnTo>
                    <a:lnTo>
                      <a:pt x="45" y="17"/>
                    </a:lnTo>
                    <a:lnTo>
                      <a:pt x="49" y="18"/>
                    </a:lnTo>
                    <a:lnTo>
                      <a:pt x="50" y="15"/>
                    </a:lnTo>
                    <a:close/>
                    <a:moveTo>
                      <a:pt x="50" y="15"/>
                    </a:moveTo>
                    <a:lnTo>
                      <a:pt x="51" y="14"/>
                    </a:lnTo>
                    <a:lnTo>
                      <a:pt x="51" y="12"/>
                    </a:lnTo>
                    <a:lnTo>
                      <a:pt x="52" y="14"/>
                    </a:lnTo>
                    <a:lnTo>
                      <a:pt x="54" y="14"/>
                    </a:lnTo>
                    <a:lnTo>
                      <a:pt x="54" y="11"/>
                    </a:lnTo>
                    <a:lnTo>
                      <a:pt x="56" y="9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5" y="4"/>
                    </a:lnTo>
                    <a:lnTo>
                      <a:pt x="52" y="6"/>
                    </a:lnTo>
                    <a:lnTo>
                      <a:pt x="50" y="9"/>
                    </a:lnTo>
                    <a:lnTo>
                      <a:pt x="49" y="11"/>
                    </a:lnTo>
                    <a:lnTo>
                      <a:pt x="46" y="9"/>
                    </a:lnTo>
                    <a:lnTo>
                      <a:pt x="45" y="11"/>
                    </a:lnTo>
                    <a:lnTo>
                      <a:pt x="46" y="14"/>
                    </a:lnTo>
                    <a:lnTo>
                      <a:pt x="50" y="15"/>
                    </a:lnTo>
                    <a:close/>
                    <a:moveTo>
                      <a:pt x="58" y="20"/>
                    </a:moveTo>
                    <a:lnTo>
                      <a:pt x="54" y="20"/>
                    </a:lnTo>
                    <a:lnTo>
                      <a:pt x="55" y="23"/>
                    </a:lnTo>
                    <a:lnTo>
                      <a:pt x="53" y="22"/>
                    </a:lnTo>
                    <a:lnTo>
                      <a:pt x="50" y="23"/>
                    </a:lnTo>
                    <a:lnTo>
                      <a:pt x="51" y="26"/>
                    </a:lnTo>
                    <a:lnTo>
                      <a:pt x="54" y="27"/>
                    </a:lnTo>
                    <a:lnTo>
                      <a:pt x="56" y="30"/>
                    </a:lnTo>
                    <a:lnTo>
                      <a:pt x="59" y="30"/>
                    </a:lnTo>
                    <a:lnTo>
                      <a:pt x="62" y="30"/>
                    </a:lnTo>
                    <a:lnTo>
                      <a:pt x="60" y="32"/>
                    </a:lnTo>
                    <a:lnTo>
                      <a:pt x="63" y="30"/>
                    </a:lnTo>
                    <a:lnTo>
                      <a:pt x="64" y="28"/>
                    </a:lnTo>
                    <a:lnTo>
                      <a:pt x="61" y="28"/>
                    </a:lnTo>
                    <a:lnTo>
                      <a:pt x="59" y="26"/>
                    </a:lnTo>
                    <a:lnTo>
                      <a:pt x="59" y="23"/>
                    </a:lnTo>
                    <a:lnTo>
                      <a:pt x="58" y="20"/>
                    </a:lnTo>
                    <a:close/>
                    <a:moveTo>
                      <a:pt x="56" y="47"/>
                    </a:moveTo>
                    <a:lnTo>
                      <a:pt x="61" y="46"/>
                    </a:lnTo>
                    <a:lnTo>
                      <a:pt x="64" y="46"/>
                    </a:lnTo>
                    <a:lnTo>
                      <a:pt x="64" y="43"/>
                    </a:lnTo>
                    <a:lnTo>
                      <a:pt x="61" y="43"/>
                    </a:lnTo>
                    <a:lnTo>
                      <a:pt x="59" y="39"/>
                    </a:lnTo>
                    <a:lnTo>
                      <a:pt x="58" y="43"/>
                    </a:lnTo>
                    <a:lnTo>
                      <a:pt x="60" y="43"/>
                    </a:lnTo>
                    <a:lnTo>
                      <a:pt x="60" y="45"/>
                    </a:lnTo>
                    <a:lnTo>
                      <a:pt x="56" y="47"/>
                    </a:lnTo>
                    <a:close/>
                    <a:moveTo>
                      <a:pt x="166" y="116"/>
                    </a:moveTo>
                    <a:lnTo>
                      <a:pt x="165" y="113"/>
                    </a:lnTo>
                    <a:lnTo>
                      <a:pt x="160" y="111"/>
                    </a:lnTo>
                    <a:lnTo>
                      <a:pt x="155" y="109"/>
                    </a:lnTo>
                    <a:lnTo>
                      <a:pt x="152" y="109"/>
                    </a:lnTo>
                    <a:lnTo>
                      <a:pt x="149" y="111"/>
                    </a:lnTo>
                    <a:lnTo>
                      <a:pt x="148" y="113"/>
                    </a:lnTo>
                    <a:lnTo>
                      <a:pt x="143" y="112"/>
                    </a:lnTo>
                    <a:lnTo>
                      <a:pt x="147" y="106"/>
                    </a:lnTo>
                    <a:lnTo>
                      <a:pt x="147" y="104"/>
                    </a:lnTo>
                    <a:lnTo>
                      <a:pt x="146" y="101"/>
                    </a:lnTo>
                    <a:lnTo>
                      <a:pt x="138" y="96"/>
                    </a:lnTo>
                    <a:lnTo>
                      <a:pt x="136" y="96"/>
                    </a:lnTo>
                    <a:lnTo>
                      <a:pt x="132" y="96"/>
                    </a:lnTo>
                    <a:lnTo>
                      <a:pt x="134" y="96"/>
                    </a:lnTo>
                    <a:lnTo>
                      <a:pt x="137" y="96"/>
                    </a:lnTo>
                    <a:lnTo>
                      <a:pt x="138" y="96"/>
                    </a:lnTo>
                    <a:lnTo>
                      <a:pt x="143" y="97"/>
                    </a:lnTo>
                    <a:lnTo>
                      <a:pt x="145" y="97"/>
                    </a:lnTo>
                    <a:lnTo>
                      <a:pt x="141" y="92"/>
                    </a:lnTo>
                    <a:lnTo>
                      <a:pt x="140" y="90"/>
                    </a:lnTo>
                    <a:lnTo>
                      <a:pt x="140" y="88"/>
                    </a:lnTo>
                    <a:lnTo>
                      <a:pt x="135" y="81"/>
                    </a:lnTo>
                    <a:lnTo>
                      <a:pt x="132" y="80"/>
                    </a:lnTo>
                    <a:lnTo>
                      <a:pt x="127" y="79"/>
                    </a:lnTo>
                    <a:lnTo>
                      <a:pt x="127" y="78"/>
                    </a:lnTo>
                    <a:lnTo>
                      <a:pt x="124" y="75"/>
                    </a:lnTo>
                    <a:lnTo>
                      <a:pt x="123" y="70"/>
                    </a:lnTo>
                    <a:lnTo>
                      <a:pt x="122" y="69"/>
                    </a:lnTo>
                    <a:lnTo>
                      <a:pt x="120" y="61"/>
                    </a:lnTo>
                    <a:lnTo>
                      <a:pt x="118" y="60"/>
                    </a:lnTo>
                    <a:lnTo>
                      <a:pt x="113" y="54"/>
                    </a:lnTo>
                    <a:lnTo>
                      <a:pt x="111" y="53"/>
                    </a:lnTo>
                    <a:lnTo>
                      <a:pt x="107" y="52"/>
                    </a:lnTo>
                    <a:lnTo>
                      <a:pt x="104" y="52"/>
                    </a:lnTo>
                    <a:lnTo>
                      <a:pt x="102" y="53"/>
                    </a:lnTo>
                    <a:lnTo>
                      <a:pt x="94" y="53"/>
                    </a:lnTo>
                    <a:lnTo>
                      <a:pt x="92" y="52"/>
                    </a:lnTo>
                    <a:lnTo>
                      <a:pt x="90" y="51"/>
                    </a:lnTo>
                    <a:lnTo>
                      <a:pt x="92" y="52"/>
                    </a:lnTo>
                    <a:lnTo>
                      <a:pt x="94" y="52"/>
                    </a:lnTo>
                    <a:lnTo>
                      <a:pt x="96" y="52"/>
                    </a:lnTo>
                    <a:lnTo>
                      <a:pt x="98" y="52"/>
                    </a:lnTo>
                    <a:lnTo>
                      <a:pt x="102" y="48"/>
                    </a:lnTo>
                    <a:lnTo>
                      <a:pt x="104" y="48"/>
                    </a:lnTo>
                    <a:lnTo>
                      <a:pt x="105" y="46"/>
                    </a:lnTo>
                    <a:lnTo>
                      <a:pt x="103" y="44"/>
                    </a:lnTo>
                    <a:lnTo>
                      <a:pt x="98" y="46"/>
                    </a:lnTo>
                    <a:lnTo>
                      <a:pt x="97" y="45"/>
                    </a:lnTo>
                    <a:lnTo>
                      <a:pt x="102" y="44"/>
                    </a:lnTo>
                    <a:lnTo>
                      <a:pt x="105" y="44"/>
                    </a:lnTo>
                    <a:lnTo>
                      <a:pt x="107" y="41"/>
                    </a:lnTo>
                    <a:lnTo>
                      <a:pt x="110" y="38"/>
                    </a:lnTo>
                    <a:lnTo>
                      <a:pt x="113" y="35"/>
                    </a:lnTo>
                    <a:lnTo>
                      <a:pt x="115" y="28"/>
                    </a:lnTo>
                    <a:lnTo>
                      <a:pt x="118" y="26"/>
                    </a:lnTo>
                    <a:lnTo>
                      <a:pt x="118" y="22"/>
                    </a:lnTo>
                    <a:lnTo>
                      <a:pt x="117" y="20"/>
                    </a:lnTo>
                    <a:lnTo>
                      <a:pt x="109" y="20"/>
                    </a:lnTo>
                    <a:lnTo>
                      <a:pt x="103" y="19"/>
                    </a:lnTo>
                    <a:lnTo>
                      <a:pt x="101" y="20"/>
                    </a:lnTo>
                    <a:lnTo>
                      <a:pt x="96" y="19"/>
                    </a:lnTo>
                    <a:lnTo>
                      <a:pt x="90" y="21"/>
                    </a:lnTo>
                    <a:lnTo>
                      <a:pt x="87" y="21"/>
                    </a:lnTo>
                    <a:lnTo>
                      <a:pt x="85" y="23"/>
                    </a:lnTo>
                    <a:lnTo>
                      <a:pt x="85" y="20"/>
                    </a:lnTo>
                    <a:lnTo>
                      <a:pt x="88" y="19"/>
                    </a:lnTo>
                    <a:lnTo>
                      <a:pt x="88" y="17"/>
                    </a:lnTo>
                    <a:lnTo>
                      <a:pt x="86" y="17"/>
                    </a:lnTo>
                    <a:lnTo>
                      <a:pt x="84" y="15"/>
                    </a:lnTo>
                    <a:lnTo>
                      <a:pt x="87" y="14"/>
                    </a:lnTo>
                    <a:lnTo>
                      <a:pt x="88" y="14"/>
                    </a:lnTo>
                    <a:lnTo>
                      <a:pt x="100" y="5"/>
                    </a:lnTo>
                    <a:lnTo>
                      <a:pt x="100" y="1"/>
                    </a:lnTo>
                    <a:lnTo>
                      <a:pt x="97" y="0"/>
                    </a:lnTo>
                    <a:lnTo>
                      <a:pt x="94" y="1"/>
                    </a:lnTo>
                    <a:lnTo>
                      <a:pt x="93" y="1"/>
                    </a:lnTo>
                    <a:lnTo>
                      <a:pt x="89" y="2"/>
                    </a:lnTo>
                    <a:lnTo>
                      <a:pt x="87" y="2"/>
                    </a:lnTo>
                    <a:lnTo>
                      <a:pt x="85" y="3"/>
                    </a:lnTo>
                    <a:lnTo>
                      <a:pt x="81" y="3"/>
                    </a:lnTo>
                    <a:lnTo>
                      <a:pt x="77" y="2"/>
                    </a:lnTo>
                    <a:lnTo>
                      <a:pt x="75" y="1"/>
                    </a:lnTo>
                    <a:lnTo>
                      <a:pt x="75" y="4"/>
                    </a:lnTo>
                    <a:lnTo>
                      <a:pt x="72" y="5"/>
                    </a:lnTo>
                    <a:lnTo>
                      <a:pt x="73" y="9"/>
                    </a:lnTo>
                    <a:lnTo>
                      <a:pt x="69" y="9"/>
                    </a:lnTo>
                    <a:lnTo>
                      <a:pt x="70" y="11"/>
                    </a:lnTo>
                    <a:lnTo>
                      <a:pt x="70" y="13"/>
                    </a:lnTo>
                    <a:lnTo>
                      <a:pt x="71" y="17"/>
                    </a:lnTo>
                    <a:lnTo>
                      <a:pt x="66" y="15"/>
                    </a:lnTo>
                    <a:lnTo>
                      <a:pt x="63" y="18"/>
                    </a:lnTo>
                    <a:lnTo>
                      <a:pt x="64" y="21"/>
                    </a:lnTo>
                    <a:lnTo>
                      <a:pt x="64" y="22"/>
                    </a:lnTo>
                    <a:lnTo>
                      <a:pt x="62" y="23"/>
                    </a:lnTo>
                    <a:lnTo>
                      <a:pt x="64" y="26"/>
                    </a:lnTo>
                    <a:lnTo>
                      <a:pt x="67" y="26"/>
                    </a:lnTo>
                    <a:lnTo>
                      <a:pt x="64" y="27"/>
                    </a:lnTo>
                    <a:lnTo>
                      <a:pt x="68" y="27"/>
                    </a:lnTo>
                    <a:lnTo>
                      <a:pt x="68" y="29"/>
                    </a:lnTo>
                    <a:lnTo>
                      <a:pt x="66" y="28"/>
                    </a:lnTo>
                    <a:lnTo>
                      <a:pt x="66" y="30"/>
                    </a:lnTo>
                    <a:lnTo>
                      <a:pt x="69" y="30"/>
                    </a:lnTo>
                    <a:lnTo>
                      <a:pt x="67" y="30"/>
                    </a:lnTo>
                    <a:lnTo>
                      <a:pt x="63" y="31"/>
                    </a:lnTo>
                    <a:lnTo>
                      <a:pt x="67" y="34"/>
                    </a:lnTo>
                    <a:lnTo>
                      <a:pt x="63" y="32"/>
                    </a:lnTo>
                    <a:lnTo>
                      <a:pt x="63" y="35"/>
                    </a:lnTo>
                    <a:lnTo>
                      <a:pt x="62" y="38"/>
                    </a:lnTo>
                    <a:lnTo>
                      <a:pt x="61" y="37"/>
                    </a:lnTo>
                    <a:lnTo>
                      <a:pt x="59" y="39"/>
                    </a:lnTo>
                    <a:lnTo>
                      <a:pt x="63" y="38"/>
                    </a:lnTo>
                    <a:lnTo>
                      <a:pt x="67" y="39"/>
                    </a:lnTo>
                    <a:lnTo>
                      <a:pt x="63" y="39"/>
                    </a:lnTo>
                    <a:lnTo>
                      <a:pt x="62" y="41"/>
                    </a:lnTo>
                    <a:lnTo>
                      <a:pt x="64" y="43"/>
                    </a:lnTo>
                    <a:lnTo>
                      <a:pt x="68" y="41"/>
                    </a:lnTo>
                    <a:lnTo>
                      <a:pt x="72" y="36"/>
                    </a:lnTo>
                    <a:lnTo>
                      <a:pt x="72" y="39"/>
                    </a:lnTo>
                    <a:lnTo>
                      <a:pt x="75" y="38"/>
                    </a:lnTo>
                    <a:lnTo>
                      <a:pt x="70" y="39"/>
                    </a:lnTo>
                    <a:lnTo>
                      <a:pt x="69" y="41"/>
                    </a:lnTo>
                    <a:lnTo>
                      <a:pt x="69" y="44"/>
                    </a:lnTo>
                    <a:lnTo>
                      <a:pt x="71" y="44"/>
                    </a:lnTo>
                    <a:lnTo>
                      <a:pt x="69" y="44"/>
                    </a:lnTo>
                    <a:lnTo>
                      <a:pt x="67" y="46"/>
                    </a:lnTo>
                    <a:lnTo>
                      <a:pt x="67" y="48"/>
                    </a:lnTo>
                    <a:lnTo>
                      <a:pt x="66" y="51"/>
                    </a:lnTo>
                    <a:lnTo>
                      <a:pt x="66" y="55"/>
                    </a:lnTo>
                    <a:lnTo>
                      <a:pt x="66" y="57"/>
                    </a:lnTo>
                    <a:lnTo>
                      <a:pt x="64" y="61"/>
                    </a:lnTo>
                    <a:lnTo>
                      <a:pt x="63" y="65"/>
                    </a:lnTo>
                    <a:lnTo>
                      <a:pt x="64" y="65"/>
                    </a:lnTo>
                    <a:lnTo>
                      <a:pt x="67" y="63"/>
                    </a:lnTo>
                    <a:lnTo>
                      <a:pt x="68" y="61"/>
                    </a:lnTo>
                    <a:lnTo>
                      <a:pt x="69" y="53"/>
                    </a:lnTo>
                    <a:lnTo>
                      <a:pt x="71" y="49"/>
                    </a:lnTo>
                    <a:lnTo>
                      <a:pt x="75" y="48"/>
                    </a:lnTo>
                    <a:lnTo>
                      <a:pt x="70" y="52"/>
                    </a:lnTo>
                    <a:lnTo>
                      <a:pt x="72" y="54"/>
                    </a:lnTo>
                    <a:lnTo>
                      <a:pt x="72" y="53"/>
                    </a:lnTo>
                    <a:lnTo>
                      <a:pt x="75" y="55"/>
                    </a:lnTo>
                    <a:lnTo>
                      <a:pt x="77" y="49"/>
                    </a:lnTo>
                    <a:lnTo>
                      <a:pt x="77" y="52"/>
                    </a:lnTo>
                    <a:lnTo>
                      <a:pt x="80" y="54"/>
                    </a:lnTo>
                    <a:lnTo>
                      <a:pt x="77" y="53"/>
                    </a:lnTo>
                    <a:lnTo>
                      <a:pt x="77" y="53"/>
                    </a:lnTo>
                    <a:lnTo>
                      <a:pt x="76" y="56"/>
                    </a:lnTo>
                    <a:lnTo>
                      <a:pt x="76" y="58"/>
                    </a:lnTo>
                    <a:lnTo>
                      <a:pt x="79" y="61"/>
                    </a:lnTo>
                    <a:lnTo>
                      <a:pt x="78" y="63"/>
                    </a:lnTo>
                    <a:lnTo>
                      <a:pt x="75" y="69"/>
                    </a:lnTo>
                    <a:lnTo>
                      <a:pt x="73" y="72"/>
                    </a:lnTo>
                    <a:lnTo>
                      <a:pt x="75" y="73"/>
                    </a:lnTo>
                    <a:lnTo>
                      <a:pt x="72" y="71"/>
                    </a:lnTo>
                    <a:lnTo>
                      <a:pt x="72" y="71"/>
                    </a:lnTo>
                    <a:lnTo>
                      <a:pt x="72" y="73"/>
                    </a:lnTo>
                    <a:lnTo>
                      <a:pt x="76" y="79"/>
                    </a:lnTo>
                    <a:lnTo>
                      <a:pt x="76" y="78"/>
                    </a:lnTo>
                    <a:lnTo>
                      <a:pt x="75" y="75"/>
                    </a:lnTo>
                    <a:lnTo>
                      <a:pt x="78" y="74"/>
                    </a:lnTo>
                    <a:lnTo>
                      <a:pt x="80" y="77"/>
                    </a:lnTo>
                    <a:lnTo>
                      <a:pt x="83" y="75"/>
                    </a:lnTo>
                    <a:lnTo>
                      <a:pt x="83" y="73"/>
                    </a:lnTo>
                    <a:lnTo>
                      <a:pt x="85" y="74"/>
                    </a:lnTo>
                    <a:lnTo>
                      <a:pt x="87" y="74"/>
                    </a:lnTo>
                    <a:lnTo>
                      <a:pt x="87" y="75"/>
                    </a:lnTo>
                    <a:lnTo>
                      <a:pt x="88" y="75"/>
                    </a:lnTo>
                    <a:lnTo>
                      <a:pt x="94" y="72"/>
                    </a:lnTo>
                    <a:lnTo>
                      <a:pt x="102" y="72"/>
                    </a:lnTo>
                    <a:lnTo>
                      <a:pt x="98" y="73"/>
                    </a:lnTo>
                    <a:lnTo>
                      <a:pt x="96" y="75"/>
                    </a:lnTo>
                    <a:lnTo>
                      <a:pt x="94" y="79"/>
                    </a:lnTo>
                    <a:lnTo>
                      <a:pt x="93" y="81"/>
                    </a:lnTo>
                    <a:lnTo>
                      <a:pt x="96" y="83"/>
                    </a:lnTo>
                    <a:lnTo>
                      <a:pt x="98" y="86"/>
                    </a:lnTo>
                    <a:lnTo>
                      <a:pt x="100" y="89"/>
                    </a:lnTo>
                    <a:lnTo>
                      <a:pt x="101" y="87"/>
                    </a:lnTo>
                    <a:lnTo>
                      <a:pt x="102" y="87"/>
                    </a:lnTo>
                    <a:lnTo>
                      <a:pt x="104" y="87"/>
                    </a:lnTo>
                    <a:lnTo>
                      <a:pt x="103" y="91"/>
                    </a:lnTo>
                    <a:lnTo>
                      <a:pt x="101" y="94"/>
                    </a:lnTo>
                    <a:lnTo>
                      <a:pt x="103" y="96"/>
                    </a:lnTo>
                    <a:lnTo>
                      <a:pt x="102" y="96"/>
                    </a:lnTo>
                    <a:lnTo>
                      <a:pt x="101" y="99"/>
                    </a:lnTo>
                    <a:lnTo>
                      <a:pt x="102" y="101"/>
                    </a:lnTo>
                    <a:lnTo>
                      <a:pt x="101" y="101"/>
                    </a:lnTo>
                    <a:lnTo>
                      <a:pt x="101" y="105"/>
                    </a:lnTo>
                    <a:lnTo>
                      <a:pt x="96" y="103"/>
                    </a:lnTo>
                    <a:lnTo>
                      <a:pt x="94" y="104"/>
                    </a:lnTo>
                    <a:lnTo>
                      <a:pt x="92" y="104"/>
                    </a:lnTo>
                    <a:lnTo>
                      <a:pt x="86" y="105"/>
                    </a:lnTo>
                    <a:lnTo>
                      <a:pt x="86" y="104"/>
                    </a:lnTo>
                    <a:lnTo>
                      <a:pt x="83" y="101"/>
                    </a:lnTo>
                    <a:lnTo>
                      <a:pt x="80" y="104"/>
                    </a:lnTo>
                    <a:lnTo>
                      <a:pt x="83" y="107"/>
                    </a:lnTo>
                    <a:lnTo>
                      <a:pt x="85" y="105"/>
                    </a:lnTo>
                    <a:lnTo>
                      <a:pt x="83" y="108"/>
                    </a:lnTo>
                    <a:lnTo>
                      <a:pt x="80" y="111"/>
                    </a:lnTo>
                    <a:lnTo>
                      <a:pt x="77" y="113"/>
                    </a:lnTo>
                    <a:lnTo>
                      <a:pt x="81" y="113"/>
                    </a:lnTo>
                    <a:lnTo>
                      <a:pt x="84" y="111"/>
                    </a:lnTo>
                    <a:lnTo>
                      <a:pt x="86" y="112"/>
                    </a:lnTo>
                    <a:lnTo>
                      <a:pt x="87" y="114"/>
                    </a:lnTo>
                    <a:lnTo>
                      <a:pt x="87" y="115"/>
                    </a:lnTo>
                    <a:lnTo>
                      <a:pt x="88" y="117"/>
                    </a:lnTo>
                    <a:lnTo>
                      <a:pt x="87" y="118"/>
                    </a:lnTo>
                    <a:lnTo>
                      <a:pt x="86" y="121"/>
                    </a:lnTo>
                    <a:lnTo>
                      <a:pt x="84" y="123"/>
                    </a:lnTo>
                    <a:lnTo>
                      <a:pt x="79" y="126"/>
                    </a:lnTo>
                    <a:lnTo>
                      <a:pt x="73" y="128"/>
                    </a:lnTo>
                    <a:lnTo>
                      <a:pt x="71" y="130"/>
                    </a:lnTo>
                    <a:lnTo>
                      <a:pt x="71" y="132"/>
                    </a:lnTo>
                    <a:lnTo>
                      <a:pt x="76" y="133"/>
                    </a:lnTo>
                    <a:lnTo>
                      <a:pt x="75" y="133"/>
                    </a:lnTo>
                    <a:lnTo>
                      <a:pt x="75" y="134"/>
                    </a:lnTo>
                    <a:lnTo>
                      <a:pt x="78" y="134"/>
                    </a:lnTo>
                    <a:lnTo>
                      <a:pt x="80" y="132"/>
                    </a:lnTo>
                    <a:lnTo>
                      <a:pt x="83" y="131"/>
                    </a:lnTo>
                    <a:lnTo>
                      <a:pt x="84" y="133"/>
                    </a:lnTo>
                    <a:lnTo>
                      <a:pt x="87" y="133"/>
                    </a:lnTo>
                    <a:lnTo>
                      <a:pt x="87" y="134"/>
                    </a:lnTo>
                    <a:lnTo>
                      <a:pt x="84" y="135"/>
                    </a:lnTo>
                    <a:lnTo>
                      <a:pt x="87" y="135"/>
                    </a:lnTo>
                    <a:lnTo>
                      <a:pt x="89" y="134"/>
                    </a:lnTo>
                    <a:lnTo>
                      <a:pt x="92" y="135"/>
                    </a:lnTo>
                    <a:lnTo>
                      <a:pt x="94" y="138"/>
                    </a:lnTo>
                    <a:lnTo>
                      <a:pt x="95" y="139"/>
                    </a:lnTo>
                    <a:lnTo>
                      <a:pt x="98" y="139"/>
                    </a:lnTo>
                    <a:lnTo>
                      <a:pt x="102" y="135"/>
                    </a:lnTo>
                    <a:lnTo>
                      <a:pt x="103" y="135"/>
                    </a:lnTo>
                    <a:lnTo>
                      <a:pt x="105" y="135"/>
                    </a:lnTo>
                    <a:lnTo>
                      <a:pt x="110" y="131"/>
                    </a:lnTo>
                    <a:lnTo>
                      <a:pt x="105" y="137"/>
                    </a:lnTo>
                    <a:lnTo>
                      <a:pt x="104" y="138"/>
                    </a:lnTo>
                    <a:lnTo>
                      <a:pt x="102" y="140"/>
                    </a:lnTo>
                    <a:lnTo>
                      <a:pt x="102" y="142"/>
                    </a:lnTo>
                    <a:lnTo>
                      <a:pt x="97" y="142"/>
                    </a:lnTo>
                    <a:lnTo>
                      <a:pt x="94" y="141"/>
                    </a:lnTo>
                    <a:lnTo>
                      <a:pt x="88" y="142"/>
                    </a:lnTo>
                    <a:lnTo>
                      <a:pt x="84" y="146"/>
                    </a:lnTo>
                    <a:lnTo>
                      <a:pt x="81" y="146"/>
                    </a:lnTo>
                    <a:lnTo>
                      <a:pt x="79" y="150"/>
                    </a:lnTo>
                    <a:lnTo>
                      <a:pt x="77" y="152"/>
                    </a:lnTo>
                    <a:lnTo>
                      <a:pt x="75" y="154"/>
                    </a:lnTo>
                    <a:lnTo>
                      <a:pt x="73" y="155"/>
                    </a:lnTo>
                    <a:lnTo>
                      <a:pt x="71" y="158"/>
                    </a:lnTo>
                    <a:lnTo>
                      <a:pt x="69" y="159"/>
                    </a:lnTo>
                    <a:lnTo>
                      <a:pt x="67" y="160"/>
                    </a:lnTo>
                    <a:lnTo>
                      <a:pt x="66" y="163"/>
                    </a:lnTo>
                    <a:lnTo>
                      <a:pt x="68" y="161"/>
                    </a:lnTo>
                    <a:lnTo>
                      <a:pt x="71" y="164"/>
                    </a:lnTo>
                    <a:lnTo>
                      <a:pt x="72" y="164"/>
                    </a:lnTo>
                    <a:lnTo>
                      <a:pt x="75" y="161"/>
                    </a:lnTo>
                    <a:lnTo>
                      <a:pt x="77" y="159"/>
                    </a:lnTo>
                    <a:lnTo>
                      <a:pt x="79" y="158"/>
                    </a:lnTo>
                    <a:lnTo>
                      <a:pt x="83" y="157"/>
                    </a:lnTo>
                    <a:lnTo>
                      <a:pt x="85" y="157"/>
                    </a:lnTo>
                    <a:lnTo>
                      <a:pt x="85" y="156"/>
                    </a:lnTo>
                    <a:lnTo>
                      <a:pt x="85" y="157"/>
                    </a:lnTo>
                    <a:lnTo>
                      <a:pt x="92" y="159"/>
                    </a:lnTo>
                    <a:lnTo>
                      <a:pt x="95" y="157"/>
                    </a:lnTo>
                    <a:lnTo>
                      <a:pt x="95" y="151"/>
                    </a:lnTo>
                    <a:lnTo>
                      <a:pt x="96" y="152"/>
                    </a:lnTo>
                    <a:lnTo>
                      <a:pt x="100" y="151"/>
                    </a:lnTo>
                    <a:lnTo>
                      <a:pt x="104" y="150"/>
                    </a:lnTo>
                    <a:lnTo>
                      <a:pt x="109" y="152"/>
                    </a:lnTo>
                    <a:lnTo>
                      <a:pt x="112" y="152"/>
                    </a:lnTo>
                    <a:lnTo>
                      <a:pt x="115" y="150"/>
                    </a:lnTo>
                    <a:lnTo>
                      <a:pt x="115" y="151"/>
                    </a:lnTo>
                    <a:lnTo>
                      <a:pt x="122" y="150"/>
                    </a:lnTo>
                    <a:lnTo>
                      <a:pt x="124" y="148"/>
                    </a:lnTo>
                    <a:lnTo>
                      <a:pt x="130" y="148"/>
                    </a:lnTo>
                    <a:lnTo>
                      <a:pt x="131" y="150"/>
                    </a:lnTo>
                    <a:lnTo>
                      <a:pt x="135" y="149"/>
                    </a:lnTo>
                    <a:lnTo>
                      <a:pt x="140" y="149"/>
                    </a:lnTo>
                    <a:lnTo>
                      <a:pt x="146" y="150"/>
                    </a:lnTo>
                    <a:lnTo>
                      <a:pt x="149" y="148"/>
                    </a:lnTo>
                    <a:lnTo>
                      <a:pt x="155" y="147"/>
                    </a:lnTo>
                    <a:lnTo>
                      <a:pt x="156" y="144"/>
                    </a:lnTo>
                    <a:lnTo>
                      <a:pt x="160" y="143"/>
                    </a:lnTo>
                    <a:lnTo>
                      <a:pt x="162" y="141"/>
                    </a:lnTo>
                    <a:lnTo>
                      <a:pt x="161" y="139"/>
                    </a:lnTo>
                    <a:lnTo>
                      <a:pt x="155" y="140"/>
                    </a:lnTo>
                    <a:lnTo>
                      <a:pt x="151" y="138"/>
                    </a:lnTo>
                    <a:lnTo>
                      <a:pt x="151" y="137"/>
                    </a:lnTo>
                    <a:lnTo>
                      <a:pt x="148" y="138"/>
                    </a:lnTo>
                    <a:lnTo>
                      <a:pt x="149" y="137"/>
                    </a:lnTo>
                    <a:lnTo>
                      <a:pt x="154" y="135"/>
                    </a:lnTo>
                    <a:lnTo>
                      <a:pt x="153" y="133"/>
                    </a:lnTo>
                    <a:lnTo>
                      <a:pt x="154" y="132"/>
                    </a:lnTo>
                    <a:lnTo>
                      <a:pt x="156" y="131"/>
                    </a:lnTo>
                    <a:lnTo>
                      <a:pt x="160" y="131"/>
                    </a:lnTo>
                    <a:lnTo>
                      <a:pt x="160" y="129"/>
                    </a:lnTo>
                    <a:lnTo>
                      <a:pt x="157" y="129"/>
                    </a:lnTo>
                    <a:lnTo>
                      <a:pt x="163" y="126"/>
                    </a:lnTo>
                    <a:lnTo>
                      <a:pt x="165" y="124"/>
                    </a:lnTo>
                    <a:lnTo>
                      <a:pt x="166" y="118"/>
                    </a:lnTo>
                    <a:lnTo>
                      <a:pt x="166" y="116"/>
                    </a:lnTo>
                    <a:close/>
                    <a:moveTo>
                      <a:pt x="66" y="82"/>
                    </a:moveTo>
                    <a:lnTo>
                      <a:pt x="67" y="81"/>
                    </a:lnTo>
                    <a:lnTo>
                      <a:pt x="67" y="83"/>
                    </a:lnTo>
                    <a:lnTo>
                      <a:pt x="68" y="83"/>
                    </a:lnTo>
                    <a:lnTo>
                      <a:pt x="68" y="80"/>
                    </a:lnTo>
                    <a:lnTo>
                      <a:pt x="67" y="78"/>
                    </a:lnTo>
                    <a:lnTo>
                      <a:pt x="64" y="78"/>
                    </a:lnTo>
                    <a:lnTo>
                      <a:pt x="62" y="79"/>
                    </a:lnTo>
                    <a:lnTo>
                      <a:pt x="62" y="78"/>
                    </a:lnTo>
                    <a:lnTo>
                      <a:pt x="64" y="75"/>
                    </a:lnTo>
                    <a:lnTo>
                      <a:pt x="61" y="71"/>
                    </a:lnTo>
                    <a:lnTo>
                      <a:pt x="61" y="70"/>
                    </a:lnTo>
                    <a:lnTo>
                      <a:pt x="60" y="70"/>
                    </a:lnTo>
                    <a:lnTo>
                      <a:pt x="59" y="67"/>
                    </a:lnTo>
                    <a:lnTo>
                      <a:pt x="53" y="67"/>
                    </a:lnTo>
                    <a:lnTo>
                      <a:pt x="50" y="69"/>
                    </a:lnTo>
                    <a:lnTo>
                      <a:pt x="47" y="67"/>
                    </a:lnTo>
                    <a:lnTo>
                      <a:pt x="45" y="71"/>
                    </a:lnTo>
                    <a:lnTo>
                      <a:pt x="43" y="71"/>
                    </a:lnTo>
                    <a:lnTo>
                      <a:pt x="43" y="70"/>
                    </a:lnTo>
                    <a:lnTo>
                      <a:pt x="45" y="69"/>
                    </a:lnTo>
                    <a:lnTo>
                      <a:pt x="45" y="66"/>
                    </a:lnTo>
                    <a:lnTo>
                      <a:pt x="42" y="65"/>
                    </a:lnTo>
                    <a:lnTo>
                      <a:pt x="40" y="66"/>
                    </a:lnTo>
                    <a:lnTo>
                      <a:pt x="40" y="66"/>
                    </a:lnTo>
                    <a:lnTo>
                      <a:pt x="41" y="69"/>
                    </a:lnTo>
                    <a:lnTo>
                      <a:pt x="38" y="71"/>
                    </a:lnTo>
                    <a:lnTo>
                      <a:pt x="38" y="71"/>
                    </a:lnTo>
                    <a:lnTo>
                      <a:pt x="37" y="69"/>
                    </a:lnTo>
                    <a:lnTo>
                      <a:pt x="35" y="69"/>
                    </a:lnTo>
                    <a:lnTo>
                      <a:pt x="29" y="69"/>
                    </a:lnTo>
                    <a:lnTo>
                      <a:pt x="27" y="71"/>
                    </a:lnTo>
                    <a:lnTo>
                      <a:pt x="28" y="74"/>
                    </a:lnTo>
                    <a:lnTo>
                      <a:pt x="26" y="75"/>
                    </a:lnTo>
                    <a:lnTo>
                      <a:pt x="24" y="79"/>
                    </a:lnTo>
                    <a:lnTo>
                      <a:pt x="32" y="79"/>
                    </a:lnTo>
                    <a:lnTo>
                      <a:pt x="30" y="81"/>
                    </a:lnTo>
                    <a:lnTo>
                      <a:pt x="29" y="81"/>
                    </a:lnTo>
                    <a:lnTo>
                      <a:pt x="28" y="81"/>
                    </a:lnTo>
                    <a:lnTo>
                      <a:pt x="24" y="83"/>
                    </a:lnTo>
                    <a:lnTo>
                      <a:pt x="26" y="87"/>
                    </a:lnTo>
                    <a:lnTo>
                      <a:pt x="20" y="84"/>
                    </a:lnTo>
                    <a:lnTo>
                      <a:pt x="18" y="88"/>
                    </a:lnTo>
                    <a:lnTo>
                      <a:pt x="17" y="87"/>
                    </a:lnTo>
                    <a:lnTo>
                      <a:pt x="15" y="84"/>
                    </a:lnTo>
                    <a:lnTo>
                      <a:pt x="11" y="84"/>
                    </a:lnTo>
                    <a:lnTo>
                      <a:pt x="9" y="86"/>
                    </a:lnTo>
                    <a:lnTo>
                      <a:pt x="6" y="84"/>
                    </a:lnTo>
                    <a:lnTo>
                      <a:pt x="6" y="87"/>
                    </a:lnTo>
                    <a:lnTo>
                      <a:pt x="7" y="87"/>
                    </a:lnTo>
                    <a:lnTo>
                      <a:pt x="7" y="89"/>
                    </a:lnTo>
                    <a:lnTo>
                      <a:pt x="7" y="92"/>
                    </a:lnTo>
                    <a:lnTo>
                      <a:pt x="9" y="92"/>
                    </a:lnTo>
                    <a:lnTo>
                      <a:pt x="11" y="95"/>
                    </a:lnTo>
                    <a:lnTo>
                      <a:pt x="9" y="95"/>
                    </a:lnTo>
                    <a:lnTo>
                      <a:pt x="7" y="97"/>
                    </a:lnTo>
                    <a:lnTo>
                      <a:pt x="10" y="98"/>
                    </a:lnTo>
                    <a:lnTo>
                      <a:pt x="6" y="98"/>
                    </a:lnTo>
                    <a:lnTo>
                      <a:pt x="6" y="99"/>
                    </a:lnTo>
                    <a:lnTo>
                      <a:pt x="3" y="99"/>
                    </a:lnTo>
                    <a:lnTo>
                      <a:pt x="6" y="101"/>
                    </a:lnTo>
                    <a:lnTo>
                      <a:pt x="9" y="104"/>
                    </a:lnTo>
                    <a:lnTo>
                      <a:pt x="11" y="101"/>
                    </a:lnTo>
                    <a:lnTo>
                      <a:pt x="13" y="105"/>
                    </a:lnTo>
                    <a:lnTo>
                      <a:pt x="18" y="104"/>
                    </a:lnTo>
                    <a:lnTo>
                      <a:pt x="19" y="106"/>
                    </a:lnTo>
                    <a:lnTo>
                      <a:pt x="18" y="107"/>
                    </a:lnTo>
                    <a:lnTo>
                      <a:pt x="16" y="106"/>
                    </a:lnTo>
                    <a:lnTo>
                      <a:pt x="13" y="109"/>
                    </a:lnTo>
                    <a:lnTo>
                      <a:pt x="13" y="112"/>
                    </a:lnTo>
                    <a:lnTo>
                      <a:pt x="8" y="117"/>
                    </a:lnTo>
                    <a:lnTo>
                      <a:pt x="12" y="116"/>
                    </a:lnTo>
                    <a:lnTo>
                      <a:pt x="18" y="116"/>
                    </a:lnTo>
                    <a:lnTo>
                      <a:pt x="20" y="113"/>
                    </a:lnTo>
                    <a:lnTo>
                      <a:pt x="20" y="115"/>
                    </a:lnTo>
                    <a:lnTo>
                      <a:pt x="23" y="115"/>
                    </a:lnTo>
                    <a:lnTo>
                      <a:pt x="20" y="115"/>
                    </a:lnTo>
                    <a:lnTo>
                      <a:pt x="13" y="117"/>
                    </a:lnTo>
                    <a:lnTo>
                      <a:pt x="8" y="121"/>
                    </a:lnTo>
                    <a:lnTo>
                      <a:pt x="9" y="123"/>
                    </a:lnTo>
                    <a:lnTo>
                      <a:pt x="2" y="123"/>
                    </a:lnTo>
                    <a:lnTo>
                      <a:pt x="0" y="125"/>
                    </a:lnTo>
                    <a:lnTo>
                      <a:pt x="6" y="125"/>
                    </a:lnTo>
                    <a:lnTo>
                      <a:pt x="9" y="125"/>
                    </a:lnTo>
                    <a:lnTo>
                      <a:pt x="6" y="126"/>
                    </a:lnTo>
                    <a:lnTo>
                      <a:pt x="2" y="128"/>
                    </a:lnTo>
                    <a:lnTo>
                      <a:pt x="0" y="130"/>
                    </a:lnTo>
                    <a:lnTo>
                      <a:pt x="3" y="131"/>
                    </a:lnTo>
                    <a:lnTo>
                      <a:pt x="6" y="131"/>
                    </a:lnTo>
                    <a:lnTo>
                      <a:pt x="10" y="131"/>
                    </a:lnTo>
                    <a:lnTo>
                      <a:pt x="6" y="133"/>
                    </a:lnTo>
                    <a:lnTo>
                      <a:pt x="6" y="134"/>
                    </a:lnTo>
                    <a:lnTo>
                      <a:pt x="8" y="133"/>
                    </a:lnTo>
                    <a:lnTo>
                      <a:pt x="13" y="133"/>
                    </a:lnTo>
                    <a:lnTo>
                      <a:pt x="8" y="135"/>
                    </a:lnTo>
                    <a:lnTo>
                      <a:pt x="11" y="137"/>
                    </a:lnTo>
                    <a:lnTo>
                      <a:pt x="13" y="135"/>
                    </a:lnTo>
                    <a:lnTo>
                      <a:pt x="16" y="137"/>
                    </a:lnTo>
                    <a:lnTo>
                      <a:pt x="28" y="132"/>
                    </a:lnTo>
                    <a:lnTo>
                      <a:pt x="27" y="130"/>
                    </a:lnTo>
                    <a:lnTo>
                      <a:pt x="29" y="130"/>
                    </a:lnTo>
                    <a:lnTo>
                      <a:pt x="30" y="131"/>
                    </a:lnTo>
                    <a:lnTo>
                      <a:pt x="33" y="131"/>
                    </a:lnTo>
                    <a:lnTo>
                      <a:pt x="35" y="128"/>
                    </a:lnTo>
                    <a:lnTo>
                      <a:pt x="37" y="129"/>
                    </a:lnTo>
                    <a:lnTo>
                      <a:pt x="38" y="125"/>
                    </a:lnTo>
                    <a:lnTo>
                      <a:pt x="40" y="125"/>
                    </a:lnTo>
                    <a:lnTo>
                      <a:pt x="43" y="125"/>
                    </a:lnTo>
                    <a:lnTo>
                      <a:pt x="44" y="125"/>
                    </a:lnTo>
                    <a:lnTo>
                      <a:pt x="46" y="122"/>
                    </a:lnTo>
                    <a:lnTo>
                      <a:pt x="47" y="125"/>
                    </a:lnTo>
                    <a:lnTo>
                      <a:pt x="50" y="123"/>
                    </a:lnTo>
                    <a:lnTo>
                      <a:pt x="53" y="124"/>
                    </a:lnTo>
                    <a:lnTo>
                      <a:pt x="55" y="124"/>
                    </a:lnTo>
                    <a:lnTo>
                      <a:pt x="54" y="121"/>
                    </a:lnTo>
                    <a:lnTo>
                      <a:pt x="55" y="121"/>
                    </a:lnTo>
                    <a:lnTo>
                      <a:pt x="58" y="116"/>
                    </a:lnTo>
                    <a:lnTo>
                      <a:pt x="59" y="113"/>
                    </a:lnTo>
                    <a:lnTo>
                      <a:pt x="60" y="111"/>
                    </a:lnTo>
                    <a:lnTo>
                      <a:pt x="60" y="108"/>
                    </a:lnTo>
                    <a:lnTo>
                      <a:pt x="59" y="105"/>
                    </a:lnTo>
                    <a:lnTo>
                      <a:pt x="58" y="103"/>
                    </a:lnTo>
                    <a:lnTo>
                      <a:pt x="59" y="101"/>
                    </a:lnTo>
                    <a:lnTo>
                      <a:pt x="59" y="100"/>
                    </a:lnTo>
                    <a:lnTo>
                      <a:pt x="59" y="100"/>
                    </a:lnTo>
                    <a:lnTo>
                      <a:pt x="56" y="96"/>
                    </a:lnTo>
                    <a:lnTo>
                      <a:pt x="56" y="94"/>
                    </a:lnTo>
                    <a:lnTo>
                      <a:pt x="55" y="91"/>
                    </a:lnTo>
                    <a:lnTo>
                      <a:pt x="56" y="88"/>
                    </a:lnTo>
                    <a:lnTo>
                      <a:pt x="60" y="89"/>
                    </a:lnTo>
                    <a:lnTo>
                      <a:pt x="62" y="87"/>
                    </a:lnTo>
                    <a:lnTo>
                      <a:pt x="67" y="83"/>
                    </a:lnTo>
                    <a:lnTo>
                      <a:pt x="66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5" name="Freeform 91">
                <a:extLst>
                  <a:ext uri="{FF2B5EF4-FFF2-40B4-BE49-F238E27FC236}">
                    <a16:creationId xmlns:a16="http://schemas.microsoft.com/office/drawing/2014/main" id="{70597AA3-E3E8-4499-9972-B87FD97F8A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8" y="1954"/>
                <a:ext cx="15" cy="11"/>
              </a:xfrm>
              <a:custGeom>
                <a:avLst/>
                <a:gdLst>
                  <a:gd name="T0" fmla="*/ 4 w 15"/>
                  <a:gd name="T1" fmla="*/ 7 h 11"/>
                  <a:gd name="T2" fmla="*/ 9 w 15"/>
                  <a:gd name="T3" fmla="*/ 11 h 11"/>
                  <a:gd name="T4" fmla="*/ 12 w 15"/>
                  <a:gd name="T5" fmla="*/ 10 h 11"/>
                  <a:gd name="T6" fmla="*/ 14 w 15"/>
                  <a:gd name="T7" fmla="*/ 10 h 11"/>
                  <a:gd name="T8" fmla="*/ 15 w 15"/>
                  <a:gd name="T9" fmla="*/ 9 h 11"/>
                  <a:gd name="T10" fmla="*/ 15 w 15"/>
                  <a:gd name="T11" fmla="*/ 5 h 11"/>
                  <a:gd name="T12" fmla="*/ 12 w 15"/>
                  <a:gd name="T13" fmla="*/ 0 h 11"/>
                  <a:gd name="T14" fmla="*/ 12 w 15"/>
                  <a:gd name="T15" fmla="*/ 2 h 11"/>
                  <a:gd name="T16" fmla="*/ 9 w 15"/>
                  <a:gd name="T17" fmla="*/ 3 h 11"/>
                  <a:gd name="T18" fmla="*/ 9 w 15"/>
                  <a:gd name="T19" fmla="*/ 1 h 11"/>
                  <a:gd name="T20" fmla="*/ 6 w 15"/>
                  <a:gd name="T21" fmla="*/ 0 h 11"/>
                  <a:gd name="T22" fmla="*/ 3 w 15"/>
                  <a:gd name="T23" fmla="*/ 2 h 11"/>
                  <a:gd name="T24" fmla="*/ 0 w 15"/>
                  <a:gd name="T25" fmla="*/ 2 h 11"/>
                  <a:gd name="T26" fmla="*/ 4 w 15"/>
                  <a:gd name="T27" fmla="*/ 9 h 11"/>
                  <a:gd name="T28" fmla="*/ 4 w 15"/>
                  <a:gd name="T29" fmla="*/ 7 h 11"/>
                  <a:gd name="T30" fmla="*/ 4 w 15"/>
                  <a:gd name="T31" fmla="*/ 7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11">
                    <a:moveTo>
                      <a:pt x="4" y="7"/>
                    </a:moveTo>
                    <a:lnTo>
                      <a:pt x="9" y="11"/>
                    </a:lnTo>
                    <a:lnTo>
                      <a:pt x="12" y="10"/>
                    </a:lnTo>
                    <a:lnTo>
                      <a:pt x="14" y="10"/>
                    </a:lnTo>
                    <a:lnTo>
                      <a:pt x="15" y="9"/>
                    </a:lnTo>
                    <a:lnTo>
                      <a:pt x="15" y="5"/>
                    </a:lnTo>
                    <a:lnTo>
                      <a:pt x="12" y="0"/>
                    </a:lnTo>
                    <a:lnTo>
                      <a:pt x="12" y="2"/>
                    </a:lnTo>
                    <a:lnTo>
                      <a:pt x="9" y="3"/>
                    </a:lnTo>
                    <a:lnTo>
                      <a:pt x="9" y="1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4" y="9"/>
                    </a:lnTo>
                    <a:lnTo>
                      <a:pt x="4" y="7"/>
                    </a:lnTo>
                    <a:lnTo>
                      <a:pt x="4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6" name="Freeform 92">
                <a:extLst>
                  <a:ext uri="{FF2B5EF4-FFF2-40B4-BE49-F238E27FC236}">
                    <a16:creationId xmlns:a16="http://schemas.microsoft.com/office/drawing/2014/main" id="{EA3EE0C3-36EC-46C4-BF50-A8B2149E9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4" y="1945"/>
                <a:ext cx="24" cy="28"/>
              </a:xfrm>
              <a:custGeom>
                <a:avLst/>
                <a:gdLst>
                  <a:gd name="T0" fmla="*/ 13 w 24"/>
                  <a:gd name="T1" fmla="*/ 24 h 28"/>
                  <a:gd name="T2" fmla="*/ 11 w 24"/>
                  <a:gd name="T3" fmla="*/ 23 h 28"/>
                  <a:gd name="T4" fmla="*/ 7 w 24"/>
                  <a:gd name="T5" fmla="*/ 23 h 28"/>
                  <a:gd name="T6" fmla="*/ 5 w 24"/>
                  <a:gd name="T7" fmla="*/ 21 h 28"/>
                  <a:gd name="T8" fmla="*/ 2 w 24"/>
                  <a:gd name="T9" fmla="*/ 22 h 28"/>
                  <a:gd name="T10" fmla="*/ 1 w 24"/>
                  <a:gd name="T11" fmla="*/ 24 h 28"/>
                  <a:gd name="T12" fmla="*/ 8 w 24"/>
                  <a:gd name="T13" fmla="*/ 28 h 28"/>
                  <a:gd name="T14" fmla="*/ 10 w 24"/>
                  <a:gd name="T15" fmla="*/ 27 h 28"/>
                  <a:gd name="T16" fmla="*/ 13 w 24"/>
                  <a:gd name="T17" fmla="*/ 24 h 28"/>
                  <a:gd name="T18" fmla="*/ 14 w 24"/>
                  <a:gd name="T19" fmla="*/ 26 h 28"/>
                  <a:gd name="T20" fmla="*/ 14 w 24"/>
                  <a:gd name="T21" fmla="*/ 28 h 28"/>
                  <a:gd name="T22" fmla="*/ 15 w 24"/>
                  <a:gd name="T23" fmla="*/ 28 h 28"/>
                  <a:gd name="T24" fmla="*/ 16 w 24"/>
                  <a:gd name="T25" fmla="*/ 22 h 28"/>
                  <a:gd name="T26" fmla="*/ 14 w 24"/>
                  <a:gd name="T27" fmla="*/ 20 h 28"/>
                  <a:gd name="T28" fmla="*/ 17 w 24"/>
                  <a:gd name="T29" fmla="*/ 21 h 28"/>
                  <a:gd name="T30" fmla="*/ 16 w 24"/>
                  <a:gd name="T31" fmla="*/ 18 h 28"/>
                  <a:gd name="T32" fmla="*/ 18 w 24"/>
                  <a:gd name="T33" fmla="*/ 15 h 28"/>
                  <a:gd name="T34" fmla="*/ 20 w 24"/>
                  <a:gd name="T35" fmla="*/ 15 h 28"/>
                  <a:gd name="T36" fmla="*/ 18 w 24"/>
                  <a:gd name="T37" fmla="*/ 10 h 28"/>
                  <a:gd name="T38" fmla="*/ 22 w 24"/>
                  <a:gd name="T39" fmla="*/ 9 h 28"/>
                  <a:gd name="T40" fmla="*/ 23 w 24"/>
                  <a:gd name="T41" fmla="*/ 6 h 28"/>
                  <a:gd name="T42" fmla="*/ 23 w 24"/>
                  <a:gd name="T43" fmla="*/ 2 h 28"/>
                  <a:gd name="T44" fmla="*/ 24 w 24"/>
                  <a:gd name="T45" fmla="*/ 1 h 28"/>
                  <a:gd name="T46" fmla="*/ 20 w 24"/>
                  <a:gd name="T47" fmla="*/ 0 h 28"/>
                  <a:gd name="T48" fmla="*/ 18 w 24"/>
                  <a:gd name="T49" fmla="*/ 0 h 28"/>
                  <a:gd name="T50" fmla="*/ 15 w 24"/>
                  <a:gd name="T51" fmla="*/ 1 h 28"/>
                  <a:gd name="T52" fmla="*/ 16 w 24"/>
                  <a:gd name="T53" fmla="*/ 5 h 28"/>
                  <a:gd name="T54" fmla="*/ 15 w 24"/>
                  <a:gd name="T55" fmla="*/ 6 h 28"/>
                  <a:gd name="T56" fmla="*/ 15 w 24"/>
                  <a:gd name="T57" fmla="*/ 4 h 28"/>
                  <a:gd name="T58" fmla="*/ 11 w 24"/>
                  <a:gd name="T59" fmla="*/ 7 h 28"/>
                  <a:gd name="T60" fmla="*/ 10 w 24"/>
                  <a:gd name="T61" fmla="*/ 5 h 28"/>
                  <a:gd name="T62" fmla="*/ 11 w 24"/>
                  <a:gd name="T63" fmla="*/ 2 h 28"/>
                  <a:gd name="T64" fmla="*/ 6 w 24"/>
                  <a:gd name="T65" fmla="*/ 2 h 28"/>
                  <a:gd name="T66" fmla="*/ 8 w 24"/>
                  <a:gd name="T67" fmla="*/ 4 h 28"/>
                  <a:gd name="T68" fmla="*/ 6 w 24"/>
                  <a:gd name="T69" fmla="*/ 6 h 28"/>
                  <a:gd name="T70" fmla="*/ 0 w 24"/>
                  <a:gd name="T71" fmla="*/ 6 h 28"/>
                  <a:gd name="T72" fmla="*/ 2 w 24"/>
                  <a:gd name="T73" fmla="*/ 9 h 28"/>
                  <a:gd name="T74" fmla="*/ 4 w 24"/>
                  <a:gd name="T75" fmla="*/ 11 h 28"/>
                  <a:gd name="T76" fmla="*/ 2 w 24"/>
                  <a:gd name="T77" fmla="*/ 14 h 28"/>
                  <a:gd name="T78" fmla="*/ 4 w 24"/>
                  <a:gd name="T79" fmla="*/ 14 h 28"/>
                  <a:gd name="T80" fmla="*/ 6 w 24"/>
                  <a:gd name="T81" fmla="*/ 16 h 28"/>
                  <a:gd name="T82" fmla="*/ 11 w 24"/>
                  <a:gd name="T83" fmla="*/ 16 h 28"/>
                  <a:gd name="T84" fmla="*/ 10 w 24"/>
                  <a:gd name="T85" fmla="*/ 19 h 28"/>
                  <a:gd name="T86" fmla="*/ 14 w 24"/>
                  <a:gd name="T87" fmla="*/ 20 h 28"/>
                  <a:gd name="T88" fmla="*/ 11 w 24"/>
                  <a:gd name="T89" fmla="*/ 23 h 28"/>
                  <a:gd name="T90" fmla="*/ 13 w 24"/>
                  <a:gd name="T91" fmla="*/ 24 h 28"/>
                  <a:gd name="T92" fmla="*/ 13 w 24"/>
                  <a:gd name="T93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" h="28">
                    <a:moveTo>
                      <a:pt x="13" y="24"/>
                    </a:moveTo>
                    <a:lnTo>
                      <a:pt x="11" y="23"/>
                    </a:lnTo>
                    <a:lnTo>
                      <a:pt x="7" y="23"/>
                    </a:lnTo>
                    <a:lnTo>
                      <a:pt x="5" y="21"/>
                    </a:lnTo>
                    <a:lnTo>
                      <a:pt x="2" y="22"/>
                    </a:lnTo>
                    <a:lnTo>
                      <a:pt x="1" y="24"/>
                    </a:lnTo>
                    <a:lnTo>
                      <a:pt x="8" y="28"/>
                    </a:lnTo>
                    <a:lnTo>
                      <a:pt x="10" y="27"/>
                    </a:lnTo>
                    <a:lnTo>
                      <a:pt x="13" y="24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5" y="28"/>
                    </a:lnTo>
                    <a:lnTo>
                      <a:pt x="16" y="22"/>
                    </a:lnTo>
                    <a:lnTo>
                      <a:pt x="14" y="20"/>
                    </a:lnTo>
                    <a:lnTo>
                      <a:pt x="17" y="21"/>
                    </a:lnTo>
                    <a:lnTo>
                      <a:pt x="16" y="18"/>
                    </a:lnTo>
                    <a:lnTo>
                      <a:pt x="18" y="15"/>
                    </a:lnTo>
                    <a:lnTo>
                      <a:pt x="20" y="15"/>
                    </a:lnTo>
                    <a:lnTo>
                      <a:pt x="18" y="10"/>
                    </a:lnTo>
                    <a:lnTo>
                      <a:pt x="22" y="9"/>
                    </a:lnTo>
                    <a:lnTo>
                      <a:pt x="23" y="6"/>
                    </a:lnTo>
                    <a:lnTo>
                      <a:pt x="23" y="2"/>
                    </a:lnTo>
                    <a:lnTo>
                      <a:pt x="24" y="1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5" y="1"/>
                    </a:lnTo>
                    <a:lnTo>
                      <a:pt x="16" y="5"/>
                    </a:lnTo>
                    <a:lnTo>
                      <a:pt x="15" y="6"/>
                    </a:lnTo>
                    <a:lnTo>
                      <a:pt x="15" y="4"/>
                    </a:lnTo>
                    <a:lnTo>
                      <a:pt x="11" y="7"/>
                    </a:lnTo>
                    <a:lnTo>
                      <a:pt x="10" y="5"/>
                    </a:lnTo>
                    <a:lnTo>
                      <a:pt x="11" y="2"/>
                    </a:lnTo>
                    <a:lnTo>
                      <a:pt x="6" y="2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2" y="9"/>
                    </a:lnTo>
                    <a:lnTo>
                      <a:pt x="4" y="11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1" y="16"/>
                    </a:lnTo>
                    <a:lnTo>
                      <a:pt x="10" y="19"/>
                    </a:lnTo>
                    <a:lnTo>
                      <a:pt x="14" y="20"/>
                    </a:lnTo>
                    <a:lnTo>
                      <a:pt x="11" y="23"/>
                    </a:lnTo>
                    <a:lnTo>
                      <a:pt x="13" y="24"/>
                    </a:lnTo>
                    <a:lnTo>
                      <a:pt x="13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7" name="Freeform 93">
                <a:extLst>
                  <a:ext uri="{FF2B5EF4-FFF2-40B4-BE49-F238E27FC236}">
                    <a16:creationId xmlns:a16="http://schemas.microsoft.com/office/drawing/2014/main" id="{177F0E4E-8EAB-4859-A1E8-6535D6FBFD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3" y="1908"/>
                <a:ext cx="12" cy="21"/>
              </a:xfrm>
              <a:custGeom>
                <a:avLst/>
                <a:gdLst>
                  <a:gd name="T0" fmla="*/ 3 w 12"/>
                  <a:gd name="T1" fmla="*/ 18 h 21"/>
                  <a:gd name="T2" fmla="*/ 3 w 12"/>
                  <a:gd name="T3" fmla="*/ 17 h 21"/>
                  <a:gd name="T4" fmla="*/ 6 w 12"/>
                  <a:gd name="T5" fmla="*/ 15 h 21"/>
                  <a:gd name="T6" fmla="*/ 8 w 12"/>
                  <a:gd name="T7" fmla="*/ 13 h 21"/>
                  <a:gd name="T8" fmla="*/ 9 w 12"/>
                  <a:gd name="T9" fmla="*/ 9 h 21"/>
                  <a:gd name="T10" fmla="*/ 9 w 12"/>
                  <a:gd name="T11" fmla="*/ 5 h 21"/>
                  <a:gd name="T12" fmla="*/ 12 w 12"/>
                  <a:gd name="T13" fmla="*/ 4 h 21"/>
                  <a:gd name="T14" fmla="*/ 12 w 12"/>
                  <a:gd name="T15" fmla="*/ 0 h 21"/>
                  <a:gd name="T16" fmla="*/ 9 w 12"/>
                  <a:gd name="T17" fmla="*/ 3 h 21"/>
                  <a:gd name="T18" fmla="*/ 6 w 12"/>
                  <a:gd name="T19" fmla="*/ 3 h 21"/>
                  <a:gd name="T20" fmla="*/ 4 w 12"/>
                  <a:gd name="T21" fmla="*/ 4 h 21"/>
                  <a:gd name="T22" fmla="*/ 1 w 12"/>
                  <a:gd name="T23" fmla="*/ 7 h 21"/>
                  <a:gd name="T24" fmla="*/ 0 w 12"/>
                  <a:gd name="T25" fmla="*/ 9 h 21"/>
                  <a:gd name="T26" fmla="*/ 1 w 12"/>
                  <a:gd name="T27" fmla="*/ 13 h 21"/>
                  <a:gd name="T28" fmla="*/ 1 w 12"/>
                  <a:gd name="T29" fmla="*/ 15 h 21"/>
                  <a:gd name="T30" fmla="*/ 2 w 12"/>
                  <a:gd name="T31" fmla="*/ 17 h 21"/>
                  <a:gd name="T32" fmla="*/ 1 w 12"/>
                  <a:gd name="T33" fmla="*/ 21 h 21"/>
                  <a:gd name="T34" fmla="*/ 3 w 12"/>
                  <a:gd name="T35" fmla="*/ 18 h 21"/>
                  <a:gd name="T36" fmla="*/ 3 w 12"/>
                  <a:gd name="T3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" h="21">
                    <a:moveTo>
                      <a:pt x="3" y="18"/>
                    </a:moveTo>
                    <a:lnTo>
                      <a:pt x="3" y="17"/>
                    </a:lnTo>
                    <a:lnTo>
                      <a:pt x="6" y="15"/>
                    </a:lnTo>
                    <a:lnTo>
                      <a:pt x="8" y="13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9" y="3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1" y="7"/>
                    </a:lnTo>
                    <a:lnTo>
                      <a:pt x="0" y="9"/>
                    </a:lnTo>
                    <a:lnTo>
                      <a:pt x="1" y="13"/>
                    </a:lnTo>
                    <a:lnTo>
                      <a:pt x="1" y="15"/>
                    </a:lnTo>
                    <a:lnTo>
                      <a:pt x="2" y="17"/>
                    </a:lnTo>
                    <a:lnTo>
                      <a:pt x="1" y="21"/>
                    </a:lnTo>
                    <a:lnTo>
                      <a:pt x="3" y="18"/>
                    </a:lnTo>
                    <a:lnTo>
                      <a:pt x="3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8" name="Freeform 94">
                <a:extLst>
                  <a:ext uri="{FF2B5EF4-FFF2-40B4-BE49-F238E27FC236}">
                    <a16:creationId xmlns:a16="http://schemas.microsoft.com/office/drawing/2014/main" id="{2198F8DE-799A-48A3-A081-BA0F82D08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5" y="1895"/>
                <a:ext cx="18" cy="14"/>
              </a:xfrm>
              <a:custGeom>
                <a:avLst/>
                <a:gdLst>
                  <a:gd name="T0" fmla="*/ 1 w 18"/>
                  <a:gd name="T1" fmla="*/ 14 h 14"/>
                  <a:gd name="T2" fmla="*/ 4 w 18"/>
                  <a:gd name="T3" fmla="*/ 11 h 14"/>
                  <a:gd name="T4" fmla="*/ 4 w 18"/>
                  <a:gd name="T5" fmla="*/ 9 h 14"/>
                  <a:gd name="T6" fmla="*/ 8 w 18"/>
                  <a:gd name="T7" fmla="*/ 8 h 14"/>
                  <a:gd name="T8" fmla="*/ 10 w 18"/>
                  <a:gd name="T9" fmla="*/ 8 h 14"/>
                  <a:gd name="T10" fmla="*/ 16 w 18"/>
                  <a:gd name="T11" fmla="*/ 4 h 14"/>
                  <a:gd name="T12" fmla="*/ 18 w 18"/>
                  <a:gd name="T13" fmla="*/ 3 h 14"/>
                  <a:gd name="T14" fmla="*/ 17 w 18"/>
                  <a:gd name="T15" fmla="*/ 1 h 14"/>
                  <a:gd name="T16" fmla="*/ 13 w 18"/>
                  <a:gd name="T17" fmla="*/ 0 h 14"/>
                  <a:gd name="T18" fmla="*/ 11 w 18"/>
                  <a:gd name="T19" fmla="*/ 1 h 14"/>
                  <a:gd name="T20" fmla="*/ 8 w 18"/>
                  <a:gd name="T21" fmla="*/ 0 h 14"/>
                  <a:gd name="T22" fmla="*/ 5 w 18"/>
                  <a:gd name="T23" fmla="*/ 1 h 14"/>
                  <a:gd name="T24" fmla="*/ 3 w 18"/>
                  <a:gd name="T25" fmla="*/ 2 h 14"/>
                  <a:gd name="T26" fmla="*/ 0 w 18"/>
                  <a:gd name="T27" fmla="*/ 2 h 14"/>
                  <a:gd name="T28" fmla="*/ 1 w 18"/>
                  <a:gd name="T29" fmla="*/ 4 h 14"/>
                  <a:gd name="T30" fmla="*/ 0 w 18"/>
                  <a:gd name="T31" fmla="*/ 8 h 14"/>
                  <a:gd name="T32" fmla="*/ 2 w 18"/>
                  <a:gd name="T33" fmla="*/ 9 h 14"/>
                  <a:gd name="T34" fmla="*/ 1 w 18"/>
                  <a:gd name="T35" fmla="*/ 14 h 14"/>
                  <a:gd name="T36" fmla="*/ 1 w 18"/>
                  <a:gd name="T3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" h="14">
                    <a:moveTo>
                      <a:pt x="1" y="14"/>
                    </a:moveTo>
                    <a:lnTo>
                      <a:pt x="4" y="11"/>
                    </a:lnTo>
                    <a:lnTo>
                      <a:pt x="4" y="9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6" y="4"/>
                    </a:lnTo>
                    <a:lnTo>
                      <a:pt x="18" y="3"/>
                    </a:lnTo>
                    <a:lnTo>
                      <a:pt x="17" y="1"/>
                    </a:lnTo>
                    <a:lnTo>
                      <a:pt x="13" y="0"/>
                    </a:lnTo>
                    <a:lnTo>
                      <a:pt x="11" y="1"/>
                    </a:lnTo>
                    <a:lnTo>
                      <a:pt x="8" y="0"/>
                    </a:lnTo>
                    <a:lnTo>
                      <a:pt x="5" y="1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1" y="4"/>
                    </a:lnTo>
                    <a:lnTo>
                      <a:pt x="0" y="8"/>
                    </a:lnTo>
                    <a:lnTo>
                      <a:pt x="2" y="9"/>
                    </a:lnTo>
                    <a:lnTo>
                      <a:pt x="1" y="14"/>
                    </a:lnTo>
                    <a:lnTo>
                      <a:pt x="1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9" name="Freeform 95">
                <a:extLst>
                  <a:ext uri="{FF2B5EF4-FFF2-40B4-BE49-F238E27FC236}">
                    <a16:creationId xmlns:a16="http://schemas.microsoft.com/office/drawing/2014/main" id="{6BA6FA1D-8393-45DF-8AF6-7133BA5CBE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" y="1886"/>
                <a:ext cx="12" cy="8"/>
              </a:xfrm>
              <a:custGeom>
                <a:avLst/>
                <a:gdLst>
                  <a:gd name="T0" fmla="*/ 8 w 12"/>
                  <a:gd name="T1" fmla="*/ 0 h 8"/>
                  <a:gd name="T2" fmla="*/ 6 w 12"/>
                  <a:gd name="T3" fmla="*/ 2 h 8"/>
                  <a:gd name="T4" fmla="*/ 0 w 12"/>
                  <a:gd name="T5" fmla="*/ 3 h 8"/>
                  <a:gd name="T6" fmla="*/ 6 w 12"/>
                  <a:gd name="T7" fmla="*/ 4 h 8"/>
                  <a:gd name="T8" fmla="*/ 7 w 12"/>
                  <a:gd name="T9" fmla="*/ 8 h 8"/>
                  <a:gd name="T10" fmla="*/ 12 w 12"/>
                  <a:gd name="T11" fmla="*/ 4 h 8"/>
                  <a:gd name="T12" fmla="*/ 10 w 12"/>
                  <a:gd name="T13" fmla="*/ 1 h 8"/>
                  <a:gd name="T14" fmla="*/ 8 w 12"/>
                  <a:gd name="T15" fmla="*/ 0 h 8"/>
                  <a:gd name="T16" fmla="*/ 8 w 12"/>
                  <a:gd name="T1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8">
                    <a:moveTo>
                      <a:pt x="8" y="0"/>
                    </a:moveTo>
                    <a:lnTo>
                      <a:pt x="6" y="2"/>
                    </a:lnTo>
                    <a:lnTo>
                      <a:pt x="0" y="3"/>
                    </a:lnTo>
                    <a:lnTo>
                      <a:pt x="6" y="4"/>
                    </a:lnTo>
                    <a:lnTo>
                      <a:pt x="7" y="8"/>
                    </a:lnTo>
                    <a:lnTo>
                      <a:pt x="12" y="4"/>
                    </a:lnTo>
                    <a:lnTo>
                      <a:pt x="10" y="1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0" name="Freeform 96">
                <a:extLst>
                  <a:ext uri="{FF2B5EF4-FFF2-40B4-BE49-F238E27FC236}">
                    <a16:creationId xmlns:a16="http://schemas.microsoft.com/office/drawing/2014/main" id="{06D9D89C-97A7-45E6-BDC7-DAC1DFE950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31" y="1352"/>
                <a:ext cx="226" cy="119"/>
              </a:xfrm>
              <a:custGeom>
                <a:avLst/>
                <a:gdLst>
                  <a:gd name="T0" fmla="*/ 130 w 226"/>
                  <a:gd name="T1" fmla="*/ 47 h 119"/>
                  <a:gd name="T2" fmla="*/ 111 w 226"/>
                  <a:gd name="T3" fmla="*/ 39 h 119"/>
                  <a:gd name="T4" fmla="*/ 94 w 226"/>
                  <a:gd name="T5" fmla="*/ 35 h 119"/>
                  <a:gd name="T6" fmla="*/ 84 w 226"/>
                  <a:gd name="T7" fmla="*/ 21 h 119"/>
                  <a:gd name="T8" fmla="*/ 72 w 226"/>
                  <a:gd name="T9" fmla="*/ 19 h 119"/>
                  <a:gd name="T10" fmla="*/ 73 w 226"/>
                  <a:gd name="T11" fmla="*/ 42 h 119"/>
                  <a:gd name="T12" fmla="*/ 54 w 226"/>
                  <a:gd name="T13" fmla="*/ 23 h 119"/>
                  <a:gd name="T14" fmla="*/ 45 w 226"/>
                  <a:gd name="T15" fmla="*/ 35 h 119"/>
                  <a:gd name="T16" fmla="*/ 35 w 226"/>
                  <a:gd name="T17" fmla="*/ 26 h 119"/>
                  <a:gd name="T18" fmla="*/ 28 w 226"/>
                  <a:gd name="T19" fmla="*/ 23 h 119"/>
                  <a:gd name="T20" fmla="*/ 10 w 226"/>
                  <a:gd name="T21" fmla="*/ 23 h 119"/>
                  <a:gd name="T22" fmla="*/ 3 w 226"/>
                  <a:gd name="T23" fmla="*/ 33 h 119"/>
                  <a:gd name="T24" fmla="*/ 19 w 226"/>
                  <a:gd name="T25" fmla="*/ 41 h 119"/>
                  <a:gd name="T26" fmla="*/ 5 w 226"/>
                  <a:gd name="T27" fmla="*/ 48 h 119"/>
                  <a:gd name="T28" fmla="*/ 22 w 226"/>
                  <a:gd name="T29" fmla="*/ 61 h 119"/>
                  <a:gd name="T30" fmla="*/ 33 w 226"/>
                  <a:gd name="T31" fmla="*/ 70 h 119"/>
                  <a:gd name="T32" fmla="*/ 48 w 226"/>
                  <a:gd name="T33" fmla="*/ 63 h 119"/>
                  <a:gd name="T34" fmla="*/ 61 w 226"/>
                  <a:gd name="T35" fmla="*/ 52 h 119"/>
                  <a:gd name="T36" fmla="*/ 76 w 226"/>
                  <a:gd name="T37" fmla="*/ 60 h 119"/>
                  <a:gd name="T38" fmla="*/ 87 w 226"/>
                  <a:gd name="T39" fmla="*/ 65 h 119"/>
                  <a:gd name="T40" fmla="*/ 63 w 226"/>
                  <a:gd name="T41" fmla="*/ 70 h 119"/>
                  <a:gd name="T42" fmla="*/ 38 w 226"/>
                  <a:gd name="T43" fmla="*/ 80 h 119"/>
                  <a:gd name="T44" fmla="*/ 60 w 226"/>
                  <a:gd name="T45" fmla="*/ 83 h 119"/>
                  <a:gd name="T46" fmla="*/ 85 w 226"/>
                  <a:gd name="T47" fmla="*/ 80 h 119"/>
                  <a:gd name="T48" fmla="*/ 70 w 226"/>
                  <a:gd name="T49" fmla="*/ 90 h 119"/>
                  <a:gd name="T50" fmla="*/ 55 w 226"/>
                  <a:gd name="T51" fmla="*/ 91 h 119"/>
                  <a:gd name="T52" fmla="*/ 51 w 226"/>
                  <a:gd name="T53" fmla="*/ 101 h 119"/>
                  <a:gd name="T54" fmla="*/ 79 w 226"/>
                  <a:gd name="T55" fmla="*/ 107 h 119"/>
                  <a:gd name="T56" fmla="*/ 73 w 226"/>
                  <a:gd name="T57" fmla="*/ 113 h 119"/>
                  <a:gd name="T58" fmla="*/ 85 w 226"/>
                  <a:gd name="T59" fmla="*/ 112 h 119"/>
                  <a:gd name="T60" fmla="*/ 101 w 226"/>
                  <a:gd name="T61" fmla="*/ 92 h 119"/>
                  <a:gd name="T62" fmla="*/ 113 w 226"/>
                  <a:gd name="T63" fmla="*/ 69 h 119"/>
                  <a:gd name="T64" fmla="*/ 135 w 226"/>
                  <a:gd name="T65" fmla="*/ 58 h 119"/>
                  <a:gd name="T66" fmla="*/ 200 w 226"/>
                  <a:gd name="T67" fmla="*/ 9 h 119"/>
                  <a:gd name="T68" fmla="*/ 182 w 226"/>
                  <a:gd name="T69" fmla="*/ 7 h 119"/>
                  <a:gd name="T70" fmla="*/ 172 w 226"/>
                  <a:gd name="T71" fmla="*/ 3 h 119"/>
                  <a:gd name="T72" fmla="*/ 161 w 226"/>
                  <a:gd name="T73" fmla="*/ 15 h 119"/>
                  <a:gd name="T74" fmla="*/ 139 w 226"/>
                  <a:gd name="T75" fmla="*/ 9 h 119"/>
                  <a:gd name="T76" fmla="*/ 124 w 226"/>
                  <a:gd name="T77" fmla="*/ 7 h 119"/>
                  <a:gd name="T78" fmla="*/ 118 w 226"/>
                  <a:gd name="T79" fmla="*/ 14 h 119"/>
                  <a:gd name="T80" fmla="*/ 112 w 226"/>
                  <a:gd name="T81" fmla="*/ 15 h 119"/>
                  <a:gd name="T82" fmla="*/ 112 w 226"/>
                  <a:gd name="T83" fmla="*/ 24 h 119"/>
                  <a:gd name="T84" fmla="*/ 156 w 226"/>
                  <a:gd name="T85" fmla="*/ 23 h 119"/>
                  <a:gd name="T86" fmla="*/ 141 w 226"/>
                  <a:gd name="T87" fmla="*/ 29 h 119"/>
                  <a:gd name="T88" fmla="*/ 136 w 226"/>
                  <a:gd name="T89" fmla="*/ 33 h 119"/>
                  <a:gd name="T90" fmla="*/ 166 w 226"/>
                  <a:gd name="T91" fmla="*/ 40 h 119"/>
                  <a:gd name="T92" fmla="*/ 206 w 226"/>
                  <a:gd name="T93" fmla="*/ 34 h 119"/>
                  <a:gd name="T94" fmla="*/ 225 w 226"/>
                  <a:gd name="T95" fmla="*/ 16 h 119"/>
                  <a:gd name="T96" fmla="*/ 157 w 226"/>
                  <a:gd name="T97" fmla="*/ 64 h 119"/>
                  <a:gd name="T98" fmla="*/ 135 w 226"/>
                  <a:gd name="T99" fmla="*/ 65 h 119"/>
                  <a:gd name="T100" fmla="*/ 180 w 226"/>
                  <a:gd name="T101" fmla="*/ 81 h 119"/>
                  <a:gd name="T102" fmla="*/ 167 w 226"/>
                  <a:gd name="T103" fmla="*/ 69 h 119"/>
                  <a:gd name="T104" fmla="*/ 149 w 226"/>
                  <a:gd name="T105" fmla="*/ 81 h 119"/>
                  <a:gd name="T106" fmla="*/ 148 w 226"/>
                  <a:gd name="T107" fmla="*/ 92 h 119"/>
                  <a:gd name="T108" fmla="*/ 166 w 226"/>
                  <a:gd name="T109" fmla="*/ 98 h 119"/>
                  <a:gd name="T110" fmla="*/ 193 w 226"/>
                  <a:gd name="T111" fmla="*/ 85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26" h="119">
                    <a:moveTo>
                      <a:pt x="135" y="58"/>
                    </a:moveTo>
                    <a:lnTo>
                      <a:pt x="138" y="57"/>
                    </a:lnTo>
                    <a:lnTo>
                      <a:pt x="140" y="58"/>
                    </a:lnTo>
                    <a:lnTo>
                      <a:pt x="146" y="57"/>
                    </a:lnTo>
                    <a:lnTo>
                      <a:pt x="148" y="55"/>
                    </a:lnTo>
                    <a:lnTo>
                      <a:pt x="147" y="51"/>
                    </a:lnTo>
                    <a:lnTo>
                      <a:pt x="136" y="49"/>
                    </a:lnTo>
                    <a:lnTo>
                      <a:pt x="130" y="47"/>
                    </a:lnTo>
                    <a:lnTo>
                      <a:pt x="128" y="47"/>
                    </a:lnTo>
                    <a:lnTo>
                      <a:pt x="124" y="42"/>
                    </a:lnTo>
                    <a:lnTo>
                      <a:pt x="119" y="41"/>
                    </a:lnTo>
                    <a:lnTo>
                      <a:pt x="115" y="42"/>
                    </a:lnTo>
                    <a:lnTo>
                      <a:pt x="113" y="42"/>
                    </a:lnTo>
                    <a:lnTo>
                      <a:pt x="111" y="40"/>
                    </a:lnTo>
                    <a:lnTo>
                      <a:pt x="107" y="39"/>
                    </a:lnTo>
                    <a:lnTo>
                      <a:pt x="111" y="39"/>
                    </a:lnTo>
                    <a:lnTo>
                      <a:pt x="111" y="36"/>
                    </a:lnTo>
                    <a:lnTo>
                      <a:pt x="111" y="33"/>
                    </a:lnTo>
                    <a:lnTo>
                      <a:pt x="110" y="31"/>
                    </a:lnTo>
                    <a:lnTo>
                      <a:pt x="104" y="27"/>
                    </a:lnTo>
                    <a:lnTo>
                      <a:pt x="101" y="30"/>
                    </a:lnTo>
                    <a:lnTo>
                      <a:pt x="99" y="32"/>
                    </a:lnTo>
                    <a:lnTo>
                      <a:pt x="97" y="35"/>
                    </a:lnTo>
                    <a:lnTo>
                      <a:pt x="94" y="35"/>
                    </a:lnTo>
                    <a:lnTo>
                      <a:pt x="96" y="33"/>
                    </a:lnTo>
                    <a:lnTo>
                      <a:pt x="94" y="30"/>
                    </a:lnTo>
                    <a:lnTo>
                      <a:pt x="99" y="26"/>
                    </a:lnTo>
                    <a:lnTo>
                      <a:pt x="99" y="24"/>
                    </a:lnTo>
                    <a:lnTo>
                      <a:pt x="94" y="19"/>
                    </a:lnTo>
                    <a:lnTo>
                      <a:pt x="88" y="18"/>
                    </a:lnTo>
                    <a:lnTo>
                      <a:pt x="85" y="17"/>
                    </a:lnTo>
                    <a:lnTo>
                      <a:pt x="84" y="21"/>
                    </a:lnTo>
                    <a:lnTo>
                      <a:pt x="81" y="19"/>
                    </a:lnTo>
                    <a:lnTo>
                      <a:pt x="80" y="16"/>
                    </a:lnTo>
                    <a:lnTo>
                      <a:pt x="78" y="15"/>
                    </a:lnTo>
                    <a:lnTo>
                      <a:pt x="76" y="15"/>
                    </a:lnTo>
                    <a:lnTo>
                      <a:pt x="74" y="17"/>
                    </a:lnTo>
                    <a:lnTo>
                      <a:pt x="74" y="17"/>
                    </a:lnTo>
                    <a:lnTo>
                      <a:pt x="76" y="21"/>
                    </a:lnTo>
                    <a:lnTo>
                      <a:pt x="72" y="19"/>
                    </a:lnTo>
                    <a:lnTo>
                      <a:pt x="70" y="22"/>
                    </a:lnTo>
                    <a:lnTo>
                      <a:pt x="73" y="31"/>
                    </a:lnTo>
                    <a:lnTo>
                      <a:pt x="74" y="36"/>
                    </a:lnTo>
                    <a:lnTo>
                      <a:pt x="80" y="47"/>
                    </a:lnTo>
                    <a:lnTo>
                      <a:pt x="80" y="50"/>
                    </a:lnTo>
                    <a:lnTo>
                      <a:pt x="78" y="48"/>
                    </a:lnTo>
                    <a:lnTo>
                      <a:pt x="77" y="44"/>
                    </a:lnTo>
                    <a:lnTo>
                      <a:pt x="73" y="42"/>
                    </a:lnTo>
                    <a:lnTo>
                      <a:pt x="71" y="41"/>
                    </a:lnTo>
                    <a:lnTo>
                      <a:pt x="70" y="39"/>
                    </a:lnTo>
                    <a:lnTo>
                      <a:pt x="68" y="36"/>
                    </a:lnTo>
                    <a:lnTo>
                      <a:pt x="65" y="31"/>
                    </a:lnTo>
                    <a:lnTo>
                      <a:pt x="65" y="29"/>
                    </a:lnTo>
                    <a:lnTo>
                      <a:pt x="60" y="24"/>
                    </a:lnTo>
                    <a:lnTo>
                      <a:pt x="56" y="23"/>
                    </a:lnTo>
                    <a:lnTo>
                      <a:pt x="54" y="23"/>
                    </a:lnTo>
                    <a:lnTo>
                      <a:pt x="51" y="25"/>
                    </a:lnTo>
                    <a:lnTo>
                      <a:pt x="51" y="29"/>
                    </a:lnTo>
                    <a:lnTo>
                      <a:pt x="48" y="29"/>
                    </a:lnTo>
                    <a:lnTo>
                      <a:pt x="45" y="31"/>
                    </a:lnTo>
                    <a:lnTo>
                      <a:pt x="48" y="36"/>
                    </a:lnTo>
                    <a:lnTo>
                      <a:pt x="48" y="39"/>
                    </a:lnTo>
                    <a:lnTo>
                      <a:pt x="45" y="38"/>
                    </a:lnTo>
                    <a:lnTo>
                      <a:pt x="45" y="35"/>
                    </a:lnTo>
                    <a:lnTo>
                      <a:pt x="42" y="33"/>
                    </a:lnTo>
                    <a:lnTo>
                      <a:pt x="39" y="33"/>
                    </a:lnTo>
                    <a:lnTo>
                      <a:pt x="36" y="32"/>
                    </a:lnTo>
                    <a:lnTo>
                      <a:pt x="38" y="29"/>
                    </a:lnTo>
                    <a:lnTo>
                      <a:pt x="36" y="29"/>
                    </a:lnTo>
                    <a:lnTo>
                      <a:pt x="30" y="30"/>
                    </a:lnTo>
                    <a:lnTo>
                      <a:pt x="27" y="29"/>
                    </a:lnTo>
                    <a:lnTo>
                      <a:pt x="35" y="26"/>
                    </a:lnTo>
                    <a:lnTo>
                      <a:pt x="38" y="25"/>
                    </a:lnTo>
                    <a:lnTo>
                      <a:pt x="40" y="25"/>
                    </a:lnTo>
                    <a:lnTo>
                      <a:pt x="44" y="25"/>
                    </a:lnTo>
                    <a:lnTo>
                      <a:pt x="46" y="24"/>
                    </a:lnTo>
                    <a:lnTo>
                      <a:pt x="45" y="21"/>
                    </a:lnTo>
                    <a:lnTo>
                      <a:pt x="43" y="21"/>
                    </a:lnTo>
                    <a:lnTo>
                      <a:pt x="37" y="21"/>
                    </a:lnTo>
                    <a:lnTo>
                      <a:pt x="28" y="23"/>
                    </a:lnTo>
                    <a:lnTo>
                      <a:pt x="26" y="23"/>
                    </a:lnTo>
                    <a:lnTo>
                      <a:pt x="22" y="22"/>
                    </a:lnTo>
                    <a:lnTo>
                      <a:pt x="21" y="24"/>
                    </a:lnTo>
                    <a:lnTo>
                      <a:pt x="22" y="26"/>
                    </a:lnTo>
                    <a:lnTo>
                      <a:pt x="20" y="26"/>
                    </a:lnTo>
                    <a:lnTo>
                      <a:pt x="18" y="24"/>
                    </a:lnTo>
                    <a:lnTo>
                      <a:pt x="16" y="21"/>
                    </a:lnTo>
                    <a:lnTo>
                      <a:pt x="10" y="23"/>
                    </a:lnTo>
                    <a:lnTo>
                      <a:pt x="8" y="25"/>
                    </a:lnTo>
                    <a:lnTo>
                      <a:pt x="9" y="27"/>
                    </a:lnTo>
                    <a:lnTo>
                      <a:pt x="7" y="27"/>
                    </a:lnTo>
                    <a:lnTo>
                      <a:pt x="3" y="29"/>
                    </a:lnTo>
                    <a:lnTo>
                      <a:pt x="5" y="30"/>
                    </a:lnTo>
                    <a:lnTo>
                      <a:pt x="3" y="30"/>
                    </a:lnTo>
                    <a:lnTo>
                      <a:pt x="0" y="31"/>
                    </a:lnTo>
                    <a:lnTo>
                      <a:pt x="3" y="33"/>
                    </a:lnTo>
                    <a:lnTo>
                      <a:pt x="3" y="35"/>
                    </a:lnTo>
                    <a:lnTo>
                      <a:pt x="7" y="41"/>
                    </a:lnTo>
                    <a:lnTo>
                      <a:pt x="8" y="44"/>
                    </a:lnTo>
                    <a:lnTo>
                      <a:pt x="11" y="43"/>
                    </a:lnTo>
                    <a:lnTo>
                      <a:pt x="13" y="41"/>
                    </a:lnTo>
                    <a:lnTo>
                      <a:pt x="13" y="38"/>
                    </a:lnTo>
                    <a:lnTo>
                      <a:pt x="19" y="38"/>
                    </a:lnTo>
                    <a:lnTo>
                      <a:pt x="19" y="41"/>
                    </a:lnTo>
                    <a:lnTo>
                      <a:pt x="16" y="42"/>
                    </a:lnTo>
                    <a:lnTo>
                      <a:pt x="16" y="46"/>
                    </a:lnTo>
                    <a:lnTo>
                      <a:pt x="18" y="48"/>
                    </a:lnTo>
                    <a:lnTo>
                      <a:pt x="21" y="50"/>
                    </a:lnTo>
                    <a:lnTo>
                      <a:pt x="18" y="50"/>
                    </a:lnTo>
                    <a:lnTo>
                      <a:pt x="16" y="49"/>
                    </a:lnTo>
                    <a:lnTo>
                      <a:pt x="9" y="47"/>
                    </a:lnTo>
                    <a:lnTo>
                      <a:pt x="5" y="48"/>
                    </a:lnTo>
                    <a:lnTo>
                      <a:pt x="9" y="50"/>
                    </a:lnTo>
                    <a:lnTo>
                      <a:pt x="13" y="52"/>
                    </a:lnTo>
                    <a:lnTo>
                      <a:pt x="11" y="52"/>
                    </a:lnTo>
                    <a:lnTo>
                      <a:pt x="11" y="55"/>
                    </a:lnTo>
                    <a:lnTo>
                      <a:pt x="13" y="58"/>
                    </a:lnTo>
                    <a:lnTo>
                      <a:pt x="17" y="59"/>
                    </a:lnTo>
                    <a:lnTo>
                      <a:pt x="19" y="59"/>
                    </a:lnTo>
                    <a:lnTo>
                      <a:pt x="22" y="61"/>
                    </a:lnTo>
                    <a:lnTo>
                      <a:pt x="25" y="61"/>
                    </a:lnTo>
                    <a:lnTo>
                      <a:pt x="31" y="61"/>
                    </a:lnTo>
                    <a:lnTo>
                      <a:pt x="19" y="63"/>
                    </a:lnTo>
                    <a:lnTo>
                      <a:pt x="22" y="65"/>
                    </a:lnTo>
                    <a:lnTo>
                      <a:pt x="25" y="67"/>
                    </a:lnTo>
                    <a:lnTo>
                      <a:pt x="28" y="68"/>
                    </a:lnTo>
                    <a:lnTo>
                      <a:pt x="29" y="72"/>
                    </a:lnTo>
                    <a:lnTo>
                      <a:pt x="33" y="70"/>
                    </a:lnTo>
                    <a:lnTo>
                      <a:pt x="38" y="72"/>
                    </a:lnTo>
                    <a:lnTo>
                      <a:pt x="40" y="69"/>
                    </a:lnTo>
                    <a:lnTo>
                      <a:pt x="44" y="70"/>
                    </a:lnTo>
                    <a:lnTo>
                      <a:pt x="46" y="68"/>
                    </a:lnTo>
                    <a:lnTo>
                      <a:pt x="47" y="66"/>
                    </a:lnTo>
                    <a:lnTo>
                      <a:pt x="50" y="66"/>
                    </a:lnTo>
                    <a:lnTo>
                      <a:pt x="52" y="64"/>
                    </a:lnTo>
                    <a:lnTo>
                      <a:pt x="48" y="63"/>
                    </a:lnTo>
                    <a:lnTo>
                      <a:pt x="51" y="59"/>
                    </a:lnTo>
                    <a:lnTo>
                      <a:pt x="50" y="57"/>
                    </a:lnTo>
                    <a:lnTo>
                      <a:pt x="52" y="56"/>
                    </a:lnTo>
                    <a:lnTo>
                      <a:pt x="55" y="56"/>
                    </a:lnTo>
                    <a:lnTo>
                      <a:pt x="55" y="59"/>
                    </a:lnTo>
                    <a:lnTo>
                      <a:pt x="57" y="58"/>
                    </a:lnTo>
                    <a:lnTo>
                      <a:pt x="60" y="56"/>
                    </a:lnTo>
                    <a:lnTo>
                      <a:pt x="61" y="52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3" y="58"/>
                    </a:lnTo>
                    <a:lnTo>
                      <a:pt x="61" y="60"/>
                    </a:lnTo>
                    <a:lnTo>
                      <a:pt x="62" y="63"/>
                    </a:lnTo>
                    <a:lnTo>
                      <a:pt x="64" y="64"/>
                    </a:lnTo>
                    <a:lnTo>
                      <a:pt x="70" y="63"/>
                    </a:lnTo>
                    <a:lnTo>
                      <a:pt x="76" y="60"/>
                    </a:lnTo>
                    <a:lnTo>
                      <a:pt x="77" y="58"/>
                    </a:lnTo>
                    <a:lnTo>
                      <a:pt x="80" y="57"/>
                    </a:lnTo>
                    <a:lnTo>
                      <a:pt x="80" y="59"/>
                    </a:lnTo>
                    <a:lnTo>
                      <a:pt x="78" y="61"/>
                    </a:lnTo>
                    <a:lnTo>
                      <a:pt x="78" y="64"/>
                    </a:lnTo>
                    <a:lnTo>
                      <a:pt x="81" y="65"/>
                    </a:lnTo>
                    <a:lnTo>
                      <a:pt x="84" y="66"/>
                    </a:lnTo>
                    <a:lnTo>
                      <a:pt x="87" y="65"/>
                    </a:lnTo>
                    <a:lnTo>
                      <a:pt x="89" y="65"/>
                    </a:lnTo>
                    <a:lnTo>
                      <a:pt x="84" y="67"/>
                    </a:lnTo>
                    <a:lnTo>
                      <a:pt x="81" y="67"/>
                    </a:lnTo>
                    <a:lnTo>
                      <a:pt x="72" y="67"/>
                    </a:lnTo>
                    <a:lnTo>
                      <a:pt x="70" y="67"/>
                    </a:lnTo>
                    <a:lnTo>
                      <a:pt x="67" y="68"/>
                    </a:lnTo>
                    <a:lnTo>
                      <a:pt x="67" y="70"/>
                    </a:lnTo>
                    <a:lnTo>
                      <a:pt x="63" y="70"/>
                    </a:lnTo>
                    <a:lnTo>
                      <a:pt x="55" y="74"/>
                    </a:lnTo>
                    <a:lnTo>
                      <a:pt x="50" y="75"/>
                    </a:lnTo>
                    <a:lnTo>
                      <a:pt x="46" y="74"/>
                    </a:lnTo>
                    <a:lnTo>
                      <a:pt x="46" y="77"/>
                    </a:lnTo>
                    <a:lnTo>
                      <a:pt x="44" y="75"/>
                    </a:lnTo>
                    <a:lnTo>
                      <a:pt x="40" y="75"/>
                    </a:lnTo>
                    <a:lnTo>
                      <a:pt x="38" y="77"/>
                    </a:lnTo>
                    <a:lnTo>
                      <a:pt x="38" y="80"/>
                    </a:lnTo>
                    <a:lnTo>
                      <a:pt x="39" y="83"/>
                    </a:lnTo>
                    <a:lnTo>
                      <a:pt x="40" y="85"/>
                    </a:lnTo>
                    <a:lnTo>
                      <a:pt x="43" y="85"/>
                    </a:lnTo>
                    <a:lnTo>
                      <a:pt x="46" y="84"/>
                    </a:lnTo>
                    <a:lnTo>
                      <a:pt x="48" y="84"/>
                    </a:lnTo>
                    <a:lnTo>
                      <a:pt x="52" y="84"/>
                    </a:lnTo>
                    <a:lnTo>
                      <a:pt x="56" y="83"/>
                    </a:lnTo>
                    <a:lnTo>
                      <a:pt x="60" y="83"/>
                    </a:lnTo>
                    <a:lnTo>
                      <a:pt x="62" y="81"/>
                    </a:lnTo>
                    <a:lnTo>
                      <a:pt x="65" y="81"/>
                    </a:lnTo>
                    <a:lnTo>
                      <a:pt x="68" y="82"/>
                    </a:lnTo>
                    <a:lnTo>
                      <a:pt x="71" y="82"/>
                    </a:lnTo>
                    <a:lnTo>
                      <a:pt x="73" y="82"/>
                    </a:lnTo>
                    <a:lnTo>
                      <a:pt x="79" y="82"/>
                    </a:lnTo>
                    <a:lnTo>
                      <a:pt x="82" y="80"/>
                    </a:lnTo>
                    <a:lnTo>
                      <a:pt x="85" y="80"/>
                    </a:lnTo>
                    <a:lnTo>
                      <a:pt x="84" y="82"/>
                    </a:lnTo>
                    <a:lnTo>
                      <a:pt x="86" y="84"/>
                    </a:lnTo>
                    <a:lnTo>
                      <a:pt x="84" y="83"/>
                    </a:lnTo>
                    <a:lnTo>
                      <a:pt x="69" y="84"/>
                    </a:lnTo>
                    <a:lnTo>
                      <a:pt x="61" y="85"/>
                    </a:lnTo>
                    <a:lnTo>
                      <a:pt x="57" y="86"/>
                    </a:lnTo>
                    <a:lnTo>
                      <a:pt x="55" y="87"/>
                    </a:lnTo>
                    <a:lnTo>
                      <a:pt x="70" y="90"/>
                    </a:lnTo>
                    <a:lnTo>
                      <a:pt x="72" y="92"/>
                    </a:lnTo>
                    <a:lnTo>
                      <a:pt x="74" y="93"/>
                    </a:lnTo>
                    <a:lnTo>
                      <a:pt x="72" y="93"/>
                    </a:lnTo>
                    <a:lnTo>
                      <a:pt x="70" y="91"/>
                    </a:lnTo>
                    <a:lnTo>
                      <a:pt x="67" y="91"/>
                    </a:lnTo>
                    <a:lnTo>
                      <a:pt x="64" y="91"/>
                    </a:lnTo>
                    <a:lnTo>
                      <a:pt x="59" y="90"/>
                    </a:lnTo>
                    <a:lnTo>
                      <a:pt x="55" y="91"/>
                    </a:lnTo>
                    <a:lnTo>
                      <a:pt x="53" y="92"/>
                    </a:lnTo>
                    <a:lnTo>
                      <a:pt x="51" y="90"/>
                    </a:lnTo>
                    <a:lnTo>
                      <a:pt x="47" y="90"/>
                    </a:lnTo>
                    <a:lnTo>
                      <a:pt x="45" y="90"/>
                    </a:lnTo>
                    <a:lnTo>
                      <a:pt x="42" y="91"/>
                    </a:lnTo>
                    <a:lnTo>
                      <a:pt x="43" y="94"/>
                    </a:lnTo>
                    <a:lnTo>
                      <a:pt x="47" y="100"/>
                    </a:lnTo>
                    <a:lnTo>
                      <a:pt x="51" y="101"/>
                    </a:lnTo>
                    <a:lnTo>
                      <a:pt x="53" y="101"/>
                    </a:lnTo>
                    <a:lnTo>
                      <a:pt x="56" y="102"/>
                    </a:lnTo>
                    <a:lnTo>
                      <a:pt x="59" y="104"/>
                    </a:lnTo>
                    <a:lnTo>
                      <a:pt x="62" y="106"/>
                    </a:lnTo>
                    <a:lnTo>
                      <a:pt x="68" y="107"/>
                    </a:lnTo>
                    <a:lnTo>
                      <a:pt x="70" y="104"/>
                    </a:lnTo>
                    <a:lnTo>
                      <a:pt x="73" y="106"/>
                    </a:lnTo>
                    <a:lnTo>
                      <a:pt x="79" y="107"/>
                    </a:lnTo>
                    <a:lnTo>
                      <a:pt x="76" y="108"/>
                    </a:lnTo>
                    <a:lnTo>
                      <a:pt x="73" y="107"/>
                    </a:lnTo>
                    <a:lnTo>
                      <a:pt x="70" y="108"/>
                    </a:lnTo>
                    <a:lnTo>
                      <a:pt x="68" y="108"/>
                    </a:lnTo>
                    <a:lnTo>
                      <a:pt x="64" y="110"/>
                    </a:lnTo>
                    <a:lnTo>
                      <a:pt x="68" y="111"/>
                    </a:lnTo>
                    <a:lnTo>
                      <a:pt x="70" y="112"/>
                    </a:lnTo>
                    <a:lnTo>
                      <a:pt x="73" y="113"/>
                    </a:lnTo>
                    <a:lnTo>
                      <a:pt x="76" y="116"/>
                    </a:lnTo>
                    <a:lnTo>
                      <a:pt x="76" y="119"/>
                    </a:lnTo>
                    <a:lnTo>
                      <a:pt x="79" y="118"/>
                    </a:lnTo>
                    <a:lnTo>
                      <a:pt x="81" y="119"/>
                    </a:lnTo>
                    <a:lnTo>
                      <a:pt x="84" y="118"/>
                    </a:lnTo>
                    <a:lnTo>
                      <a:pt x="87" y="116"/>
                    </a:lnTo>
                    <a:lnTo>
                      <a:pt x="87" y="113"/>
                    </a:lnTo>
                    <a:lnTo>
                      <a:pt x="85" y="112"/>
                    </a:lnTo>
                    <a:lnTo>
                      <a:pt x="89" y="108"/>
                    </a:lnTo>
                    <a:lnTo>
                      <a:pt x="87" y="104"/>
                    </a:lnTo>
                    <a:lnTo>
                      <a:pt x="90" y="104"/>
                    </a:lnTo>
                    <a:lnTo>
                      <a:pt x="93" y="99"/>
                    </a:lnTo>
                    <a:lnTo>
                      <a:pt x="94" y="97"/>
                    </a:lnTo>
                    <a:lnTo>
                      <a:pt x="95" y="93"/>
                    </a:lnTo>
                    <a:lnTo>
                      <a:pt x="98" y="92"/>
                    </a:lnTo>
                    <a:lnTo>
                      <a:pt x="101" y="92"/>
                    </a:lnTo>
                    <a:lnTo>
                      <a:pt x="104" y="90"/>
                    </a:lnTo>
                    <a:lnTo>
                      <a:pt x="105" y="84"/>
                    </a:lnTo>
                    <a:lnTo>
                      <a:pt x="105" y="78"/>
                    </a:lnTo>
                    <a:lnTo>
                      <a:pt x="106" y="76"/>
                    </a:lnTo>
                    <a:lnTo>
                      <a:pt x="112" y="76"/>
                    </a:lnTo>
                    <a:lnTo>
                      <a:pt x="114" y="74"/>
                    </a:lnTo>
                    <a:lnTo>
                      <a:pt x="112" y="72"/>
                    </a:lnTo>
                    <a:lnTo>
                      <a:pt x="113" y="69"/>
                    </a:lnTo>
                    <a:lnTo>
                      <a:pt x="114" y="66"/>
                    </a:lnTo>
                    <a:lnTo>
                      <a:pt x="113" y="64"/>
                    </a:lnTo>
                    <a:lnTo>
                      <a:pt x="119" y="63"/>
                    </a:lnTo>
                    <a:lnTo>
                      <a:pt x="121" y="60"/>
                    </a:lnTo>
                    <a:lnTo>
                      <a:pt x="124" y="59"/>
                    </a:lnTo>
                    <a:lnTo>
                      <a:pt x="128" y="59"/>
                    </a:lnTo>
                    <a:lnTo>
                      <a:pt x="132" y="58"/>
                    </a:lnTo>
                    <a:lnTo>
                      <a:pt x="135" y="58"/>
                    </a:lnTo>
                    <a:close/>
                    <a:moveTo>
                      <a:pt x="226" y="14"/>
                    </a:moveTo>
                    <a:lnTo>
                      <a:pt x="224" y="13"/>
                    </a:lnTo>
                    <a:lnTo>
                      <a:pt x="221" y="10"/>
                    </a:lnTo>
                    <a:lnTo>
                      <a:pt x="218" y="10"/>
                    </a:lnTo>
                    <a:lnTo>
                      <a:pt x="209" y="10"/>
                    </a:lnTo>
                    <a:lnTo>
                      <a:pt x="206" y="10"/>
                    </a:lnTo>
                    <a:lnTo>
                      <a:pt x="204" y="9"/>
                    </a:lnTo>
                    <a:lnTo>
                      <a:pt x="200" y="9"/>
                    </a:lnTo>
                    <a:lnTo>
                      <a:pt x="198" y="8"/>
                    </a:lnTo>
                    <a:lnTo>
                      <a:pt x="195" y="8"/>
                    </a:lnTo>
                    <a:lnTo>
                      <a:pt x="193" y="6"/>
                    </a:lnTo>
                    <a:lnTo>
                      <a:pt x="191" y="7"/>
                    </a:lnTo>
                    <a:lnTo>
                      <a:pt x="188" y="5"/>
                    </a:lnTo>
                    <a:lnTo>
                      <a:pt x="185" y="5"/>
                    </a:lnTo>
                    <a:lnTo>
                      <a:pt x="185" y="7"/>
                    </a:lnTo>
                    <a:lnTo>
                      <a:pt x="182" y="7"/>
                    </a:lnTo>
                    <a:lnTo>
                      <a:pt x="180" y="7"/>
                    </a:lnTo>
                    <a:lnTo>
                      <a:pt x="179" y="9"/>
                    </a:lnTo>
                    <a:lnTo>
                      <a:pt x="176" y="13"/>
                    </a:lnTo>
                    <a:lnTo>
                      <a:pt x="171" y="10"/>
                    </a:lnTo>
                    <a:lnTo>
                      <a:pt x="170" y="8"/>
                    </a:lnTo>
                    <a:lnTo>
                      <a:pt x="173" y="7"/>
                    </a:lnTo>
                    <a:lnTo>
                      <a:pt x="172" y="5"/>
                    </a:lnTo>
                    <a:lnTo>
                      <a:pt x="172" y="3"/>
                    </a:lnTo>
                    <a:lnTo>
                      <a:pt x="166" y="0"/>
                    </a:lnTo>
                    <a:lnTo>
                      <a:pt x="165" y="6"/>
                    </a:lnTo>
                    <a:lnTo>
                      <a:pt x="164" y="3"/>
                    </a:lnTo>
                    <a:lnTo>
                      <a:pt x="162" y="3"/>
                    </a:lnTo>
                    <a:lnTo>
                      <a:pt x="159" y="6"/>
                    </a:lnTo>
                    <a:lnTo>
                      <a:pt x="163" y="7"/>
                    </a:lnTo>
                    <a:lnTo>
                      <a:pt x="161" y="13"/>
                    </a:lnTo>
                    <a:lnTo>
                      <a:pt x="161" y="15"/>
                    </a:lnTo>
                    <a:lnTo>
                      <a:pt x="159" y="16"/>
                    </a:lnTo>
                    <a:lnTo>
                      <a:pt x="157" y="16"/>
                    </a:lnTo>
                    <a:lnTo>
                      <a:pt x="156" y="14"/>
                    </a:lnTo>
                    <a:lnTo>
                      <a:pt x="154" y="13"/>
                    </a:lnTo>
                    <a:lnTo>
                      <a:pt x="150" y="13"/>
                    </a:lnTo>
                    <a:lnTo>
                      <a:pt x="153" y="9"/>
                    </a:lnTo>
                    <a:lnTo>
                      <a:pt x="150" y="7"/>
                    </a:lnTo>
                    <a:lnTo>
                      <a:pt x="139" y="9"/>
                    </a:lnTo>
                    <a:lnTo>
                      <a:pt x="138" y="7"/>
                    </a:lnTo>
                    <a:lnTo>
                      <a:pt x="136" y="7"/>
                    </a:lnTo>
                    <a:lnTo>
                      <a:pt x="133" y="5"/>
                    </a:lnTo>
                    <a:lnTo>
                      <a:pt x="130" y="3"/>
                    </a:lnTo>
                    <a:lnTo>
                      <a:pt x="122" y="0"/>
                    </a:lnTo>
                    <a:lnTo>
                      <a:pt x="120" y="4"/>
                    </a:lnTo>
                    <a:lnTo>
                      <a:pt x="125" y="5"/>
                    </a:lnTo>
                    <a:lnTo>
                      <a:pt x="124" y="7"/>
                    </a:lnTo>
                    <a:lnTo>
                      <a:pt x="122" y="9"/>
                    </a:lnTo>
                    <a:lnTo>
                      <a:pt x="119" y="7"/>
                    </a:lnTo>
                    <a:lnTo>
                      <a:pt x="116" y="6"/>
                    </a:lnTo>
                    <a:lnTo>
                      <a:pt x="113" y="6"/>
                    </a:lnTo>
                    <a:lnTo>
                      <a:pt x="114" y="8"/>
                    </a:lnTo>
                    <a:lnTo>
                      <a:pt x="118" y="10"/>
                    </a:lnTo>
                    <a:lnTo>
                      <a:pt x="120" y="10"/>
                    </a:lnTo>
                    <a:lnTo>
                      <a:pt x="118" y="14"/>
                    </a:lnTo>
                    <a:lnTo>
                      <a:pt x="112" y="10"/>
                    </a:lnTo>
                    <a:lnTo>
                      <a:pt x="110" y="10"/>
                    </a:lnTo>
                    <a:lnTo>
                      <a:pt x="101" y="10"/>
                    </a:lnTo>
                    <a:lnTo>
                      <a:pt x="97" y="12"/>
                    </a:lnTo>
                    <a:lnTo>
                      <a:pt x="103" y="14"/>
                    </a:lnTo>
                    <a:lnTo>
                      <a:pt x="106" y="15"/>
                    </a:lnTo>
                    <a:lnTo>
                      <a:pt x="108" y="15"/>
                    </a:lnTo>
                    <a:lnTo>
                      <a:pt x="112" y="15"/>
                    </a:lnTo>
                    <a:lnTo>
                      <a:pt x="111" y="16"/>
                    </a:lnTo>
                    <a:lnTo>
                      <a:pt x="108" y="16"/>
                    </a:lnTo>
                    <a:lnTo>
                      <a:pt x="105" y="18"/>
                    </a:lnTo>
                    <a:lnTo>
                      <a:pt x="103" y="18"/>
                    </a:lnTo>
                    <a:lnTo>
                      <a:pt x="104" y="22"/>
                    </a:lnTo>
                    <a:lnTo>
                      <a:pt x="106" y="23"/>
                    </a:lnTo>
                    <a:lnTo>
                      <a:pt x="110" y="24"/>
                    </a:lnTo>
                    <a:lnTo>
                      <a:pt x="112" y="24"/>
                    </a:lnTo>
                    <a:lnTo>
                      <a:pt x="119" y="24"/>
                    </a:lnTo>
                    <a:lnTo>
                      <a:pt x="121" y="25"/>
                    </a:lnTo>
                    <a:lnTo>
                      <a:pt x="128" y="24"/>
                    </a:lnTo>
                    <a:lnTo>
                      <a:pt x="133" y="23"/>
                    </a:lnTo>
                    <a:lnTo>
                      <a:pt x="141" y="22"/>
                    </a:lnTo>
                    <a:lnTo>
                      <a:pt x="150" y="22"/>
                    </a:lnTo>
                    <a:lnTo>
                      <a:pt x="154" y="24"/>
                    </a:lnTo>
                    <a:lnTo>
                      <a:pt x="156" y="23"/>
                    </a:lnTo>
                    <a:lnTo>
                      <a:pt x="159" y="23"/>
                    </a:lnTo>
                    <a:lnTo>
                      <a:pt x="156" y="24"/>
                    </a:lnTo>
                    <a:lnTo>
                      <a:pt x="154" y="24"/>
                    </a:lnTo>
                    <a:lnTo>
                      <a:pt x="150" y="25"/>
                    </a:lnTo>
                    <a:lnTo>
                      <a:pt x="141" y="25"/>
                    </a:lnTo>
                    <a:lnTo>
                      <a:pt x="136" y="26"/>
                    </a:lnTo>
                    <a:lnTo>
                      <a:pt x="139" y="29"/>
                    </a:lnTo>
                    <a:lnTo>
                      <a:pt x="141" y="29"/>
                    </a:lnTo>
                    <a:lnTo>
                      <a:pt x="133" y="29"/>
                    </a:lnTo>
                    <a:lnTo>
                      <a:pt x="130" y="27"/>
                    </a:lnTo>
                    <a:lnTo>
                      <a:pt x="128" y="27"/>
                    </a:lnTo>
                    <a:lnTo>
                      <a:pt x="124" y="27"/>
                    </a:lnTo>
                    <a:lnTo>
                      <a:pt x="123" y="31"/>
                    </a:lnTo>
                    <a:lnTo>
                      <a:pt x="128" y="32"/>
                    </a:lnTo>
                    <a:lnTo>
                      <a:pt x="130" y="33"/>
                    </a:lnTo>
                    <a:lnTo>
                      <a:pt x="136" y="33"/>
                    </a:lnTo>
                    <a:lnTo>
                      <a:pt x="141" y="35"/>
                    </a:lnTo>
                    <a:lnTo>
                      <a:pt x="147" y="35"/>
                    </a:lnTo>
                    <a:lnTo>
                      <a:pt x="149" y="35"/>
                    </a:lnTo>
                    <a:lnTo>
                      <a:pt x="153" y="35"/>
                    </a:lnTo>
                    <a:lnTo>
                      <a:pt x="158" y="34"/>
                    </a:lnTo>
                    <a:lnTo>
                      <a:pt x="164" y="35"/>
                    </a:lnTo>
                    <a:lnTo>
                      <a:pt x="164" y="38"/>
                    </a:lnTo>
                    <a:lnTo>
                      <a:pt x="166" y="40"/>
                    </a:lnTo>
                    <a:lnTo>
                      <a:pt x="170" y="41"/>
                    </a:lnTo>
                    <a:lnTo>
                      <a:pt x="175" y="41"/>
                    </a:lnTo>
                    <a:lnTo>
                      <a:pt x="181" y="41"/>
                    </a:lnTo>
                    <a:lnTo>
                      <a:pt x="183" y="41"/>
                    </a:lnTo>
                    <a:lnTo>
                      <a:pt x="185" y="38"/>
                    </a:lnTo>
                    <a:lnTo>
                      <a:pt x="195" y="35"/>
                    </a:lnTo>
                    <a:lnTo>
                      <a:pt x="197" y="38"/>
                    </a:lnTo>
                    <a:lnTo>
                      <a:pt x="206" y="34"/>
                    </a:lnTo>
                    <a:lnTo>
                      <a:pt x="208" y="32"/>
                    </a:lnTo>
                    <a:lnTo>
                      <a:pt x="208" y="30"/>
                    </a:lnTo>
                    <a:lnTo>
                      <a:pt x="210" y="27"/>
                    </a:lnTo>
                    <a:lnTo>
                      <a:pt x="216" y="25"/>
                    </a:lnTo>
                    <a:lnTo>
                      <a:pt x="222" y="22"/>
                    </a:lnTo>
                    <a:lnTo>
                      <a:pt x="225" y="21"/>
                    </a:lnTo>
                    <a:lnTo>
                      <a:pt x="226" y="18"/>
                    </a:lnTo>
                    <a:lnTo>
                      <a:pt x="225" y="16"/>
                    </a:lnTo>
                    <a:lnTo>
                      <a:pt x="226" y="14"/>
                    </a:lnTo>
                    <a:close/>
                    <a:moveTo>
                      <a:pt x="139" y="70"/>
                    </a:moveTo>
                    <a:lnTo>
                      <a:pt x="142" y="72"/>
                    </a:lnTo>
                    <a:lnTo>
                      <a:pt x="145" y="70"/>
                    </a:lnTo>
                    <a:lnTo>
                      <a:pt x="150" y="69"/>
                    </a:lnTo>
                    <a:lnTo>
                      <a:pt x="156" y="69"/>
                    </a:lnTo>
                    <a:lnTo>
                      <a:pt x="157" y="67"/>
                    </a:lnTo>
                    <a:lnTo>
                      <a:pt x="157" y="64"/>
                    </a:lnTo>
                    <a:lnTo>
                      <a:pt x="157" y="61"/>
                    </a:lnTo>
                    <a:lnTo>
                      <a:pt x="150" y="59"/>
                    </a:lnTo>
                    <a:lnTo>
                      <a:pt x="148" y="60"/>
                    </a:lnTo>
                    <a:lnTo>
                      <a:pt x="145" y="59"/>
                    </a:lnTo>
                    <a:lnTo>
                      <a:pt x="139" y="60"/>
                    </a:lnTo>
                    <a:lnTo>
                      <a:pt x="131" y="63"/>
                    </a:lnTo>
                    <a:lnTo>
                      <a:pt x="129" y="63"/>
                    </a:lnTo>
                    <a:lnTo>
                      <a:pt x="135" y="65"/>
                    </a:lnTo>
                    <a:lnTo>
                      <a:pt x="135" y="67"/>
                    </a:lnTo>
                    <a:lnTo>
                      <a:pt x="137" y="68"/>
                    </a:lnTo>
                    <a:lnTo>
                      <a:pt x="137" y="70"/>
                    </a:lnTo>
                    <a:lnTo>
                      <a:pt x="139" y="70"/>
                    </a:lnTo>
                    <a:close/>
                    <a:moveTo>
                      <a:pt x="188" y="81"/>
                    </a:moveTo>
                    <a:lnTo>
                      <a:pt x="184" y="81"/>
                    </a:lnTo>
                    <a:lnTo>
                      <a:pt x="182" y="81"/>
                    </a:lnTo>
                    <a:lnTo>
                      <a:pt x="180" y="81"/>
                    </a:lnTo>
                    <a:lnTo>
                      <a:pt x="176" y="81"/>
                    </a:lnTo>
                    <a:lnTo>
                      <a:pt x="174" y="78"/>
                    </a:lnTo>
                    <a:lnTo>
                      <a:pt x="171" y="77"/>
                    </a:lnTo>
                    <a:lnTo>
                      <a:pt x="170" y="75"/>
                    </a:lnTo>
                    <a:lnTo>
                      <a:pt x="172" y="74"/>
                    </a:lnTo>
                    <a:lnTo>
                      <a:pt x="173" y="72"/>
                    </a:lnTo>
                    <a:lnTo>
                      <a:pt x="171" y="70"/>
                    </a:lnTo>
                    <a:lnTo>
                      <a:pt x="167" y="69"/>
                    </a:lnTo>
                    <a:lnTo>
                      <a:pt x="162" y="70"/>
                    </a:lnTo>
                    <a:lnTo>
                      <a:pt x="159" y="72"/>
                    </a:lnTo>
                    <a:lnTo>
                      <a:pt x="154" y="70"/>
                    </a:lnTo>
                    <a:lnTo>
                      <a:pt x="148" y="72"/>
                    </a:lnTo>
                    <a:lnTo>
                      <a:pt x="139" y="74"/>
                    </a:lnTo>
                    <a:lnTo>
                      <a:pt x="142" y="76"/>
                    </a:lnTo>
                    <a:lnTo>
                      <a:pt x="148" y="78"/>
                    </a:lnTo>
                    <a:lnTo>
                      <a:pt x="149" y="81"/>
                    </a:lnTo>
                    <a:lnTo>
                      <a:pt x="146" y="84"/>
                    </a:lnTo>
                    <a:lnTo>
                      <a:pt x="145" y="86"/>
                    </a:lnTo>
                    <a:lnTo>
                      <a:pt x="141" y="90"/>
                    </a:lnTo>
                    <a:lnTo>
                      <a:pt x="139" y="91"/>
                    </a:lnTo>
                    <a:lnTo>
                      <a:pt x="139" y="93"/>
                    </a:lnTo>
                    <a:lnTo>
                      <a:pt x="141" y="93"/>
                    </a:lnTo>
                    <a:lnTo>
                      <a:pt x="145" y="93"/>
                    </a:lnTo>
                    <a:lnTo>
                      <a:pt x="148" y="92"/>
                    </a:lnTo>
                    <a:lnTo>
                      <a:pt x="156" y="92"/>
                    </a:lnTo>
                    <a:lnTo>
                      <a:pt x="158" y="90"/>
                    </a:lnTo>
                    <a:lnTo>
                      <a:pt x="162" y="90"/>
                    </a:lnTo>
                    <a:lnTo>
                      <a:pt x="164" y="90"/>
                    </a:lnTo>
                    <a:lnTo>
                      <a:pt x="162" y="93"/>
                    </a:lnTo>
                    <a:lnTo>
                      <a:pt x="161" y="99"/>
                    </a:lnTo>
                    <a:lnTo>
                      <a:pt x="163" y="99"/>
                    </a:lnTo>
                    <a:lnTo>
                      <a:pt x="166" y="98"/>
                    </a:lnTo>
                    <a:lnTo>
                      <a:pt x="168" y="95"/>
                    </a:lnTo>
                    <a:lnTo>
                      <a:pt x="172" y="94"/>
                    </a:lnTo>
                    <a:lnTo>
                      <a:pt x="174" y="95"/>
                    </a:lnTo>
                    <a:lnTo>
                      <a:pt x="178" y="94"/>
                    </a:lnTo>
                    <a:lnTo>
                      <a:pt x="180" y="92"/>
                    </a:lnTo>
                    <a:lnTo>
                      <a:pt x="184" y="86"/>
                    </a:lnTo>
                    <a:lnTo>
                      <a:pt x="190" y="85"/>
                    </a:lnTo>
                    <a:lnTo>
                      <a:pt x="193" y="85"/>
                    </a:lnTo>
                    <a:lnTo>
                      <a:pt x="190" y="82"/>
                    </a:lnTo>
                    <a:lnTo>
                      <a:pt x="188" y="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1" name="Freeform 97">
                <a:extLst>
                  <a:ext uri="{FF2B5EF4-FFF2-40B4-BE49-F238E27FC236}">
                    <a16:creationId xmlns:a16="http://schemas.microsoft.com/office/drawing/2014/main" id="{8B390230-6883-44AE-8AB5-BF57980BDD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8" y="1912"/>
                <a:ext cx="32" cy="21"/>
              </a:xfrm>
              <a:custGeom>
                <a:avLst/>
                <a:gdLst>
                  <a:gd name="T0" fmla="*/ 2 w 32"/>
                  <a:gd name="T1" fmla="*/ 21 h 21"/>
                  <a:gd name="T2" fmla="*/ 0 w 32"/>
                  <a:gd name="T3" fmla="*/ 19 h 21"/>
                  <a:gd name="T4" fmla="*/ 1 w 32"/>
                  <a:gd name="T5" fmla="*/ 16 h 21"/>
                  <a:gd name="T6" fmla="*/ 4 w 32"/>
                  <a:gd name="T7" fmla="*/ 13 h 21"/>
                  <a:gd name="T8" fmla="*/ 6 w 32"/>
                  <a:gd name="T9" fmla="*/ 12 h 21"/>
                  <a:gd name="T10" fmla="*/ 8 w 32"/>
                  <a:gd name="T11" fmla="*/ 12 h 21"/>
                  <a:gd name="T12" fmla="*/ 10 w 32"/>
                  <a:gd name="T13" fmla="*/ 12 h 21"/>
                  <a:gd name="T14" fmla="*/ 13 w 32"/>
                  <a:gd name="T15" fmla="*/ 12 h 21"/>
                  <a:gd name="T16" fmla="*/ 16 w 32"/>
                  <a:gd name="T17" fmla="*/ 12 h 21"/>
                  <a:gd name="T18" fmla="*/ 19 w 32"/>
                  <a:gd name="T19" fmla="*/ 9 h 21"/>
                  <a:gd name="T20" fmla="*/ 20 w 32"/>
                  <a:gd name="T21" fmla="*/ 6 h 21"/>
                  <a:gd name="T22" fmla="*/ 24 w 32"/>
                  <a:gd name="T23" fmla="*/ 3 h 21"/>
                  <a:gd name="T24" fmla="*/ 26 w 32"/>
                  <a:gd name="T25" fmla="*/ 3 h 21"/>
                  <a:gd name="T26" fmla="*/ 32 w 32"/>
                  <a:gd name="T27" fmla="*/ 0 h 21"/>
                  <a:gd name="T28" fmla="*/ 29 w 32"/>
                  <a:gd name="T29" fmla="*/ 3 h 21"/>
                  <a:gd name="T30" fmla="*/ 30 w 32"/>
                  <a:gd name="T31" fmla="*/ 5 h 21"/>
                  <a:gd name="T32" fmla="*/ 30 w 32"/>
                  <a:gd name="T33" fmla="*/ 10 h 21"/>
                  <a:gd name="T34" fmla="*/ 29 w 32"/>
                  <a:gd name="T35" fmla="*/ 13 h 21"/>
                  <a:gd name="T36" fmla="*/ 26 w 32"/>
                  <a:gd name="T37" fmla="*/ 14 h 21"/>
                  <a:gd name="T38" fmla="*/ 24 w 32"/>
                  <a:gd name="T39" fmla="*/ 13 h 21"/>
                  <a:gd name="T40" fmla="*/ 24 w 32"/>
                  <a:gd name="T41" fmla="*/ 13 h 21"/>
                  <a:gd name="T42" fmla="*/ 23 w 32"/>
                  <a:gd name="T43" fmla="*/ 13 h 21"/>
                  <a:gd name="T44" fmla="*/ 20 w 32"/>
                  <a:gd name="T45" fmla="*/ 13 h 21"/>
                  <a:gd name="T46" fmla="*/ 13 w 32"/>
                  <a:gd name="T47" fmla="*/ 14 h 21"/>
                  <a:gd name="T48" fmla="*/ 11 w 32"/>
                  <a:gd name="T49" fmla="*/ 13 h 21"/>
                  <a:gd name="T50" fmla="*/ 11 w 32"/>
                  <a:gd name="T51" fmla="*/ 14 h 21"/>
                  <a:gd name="T52" fmla="*/ 6 w 32"/>
                  <a:gd name="T53" fmla="*/ 16 h 21"/>
                  <a:gd name="T54" fmla="*/ 2 w 32"/>
                  <a:gd name="T55" fmla="*/ 21 h 21"/>
                  <a:gd name="T56" fmla="*/ 2 w 32"/>
                  <a:gd name="T57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2" h="21">
                    <a:moveTo>
                      <a:pt x="2" y="21"/>
                    </a:moveTo>
                    <a:lnTo>
                      <a:pt x="0" y="19"/>
                    </a:lnTo>
                    <a:lnTo>
                      <a:pt x="1" y="16"/>
                    </a:lnTo>
                    <a:lnTo>
                      <a:pt x="4" y="13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3" y="12"/>
                    </a:lnTo>
                    <a:lnTo>
                      <a:pt x="16" y="12"/>
                    </a:lnTo>
                    <a:lnTo>
                      <a:pt x="19" y="9"/>
                    </a:lnTo>
                    <a:lnTo>
                      <a:pt x="20" y="6"/>
                    </a:lnTo>
                    <a:lnTo>
                      <a:pt x="24" y="3"/>
                    </a:lnTo>
                    <a:lnTo>
                      <a:pt x="26" y="3"/>
                    </a:lnTo>
                    <a:lnTo>
                      <a:pt x="32" y="0"/>
                    </a:lnTo>
                    <a:lnTo>
                      <a:pt x="29" y="3"/>
                    </a:lnTo>
                    <a:lnTo>
                      <a:pt x="30" y="5"/>
                    </a:lnTo>
                    <a:lnTo>
                      <a:pt x="30" y="10"/>
                    </a:lnTo>
                    <a:lnTo>
                      <a:pt x="29" y="13"/>
                    </a:lnTo>
                    <a:lnTo>
                      <a:pt x="26" y="14"/>
                    </a:lnTo>
                    <a:lnTo>
                      <a:pt x="24" y="13"/>
                    </a:lnTo>
                    <a:lnTo>
                      <a:pt x="24" y="13"/>
                    </a:lnTo>
                    <a:lnTo>
                      <a:pt x="23" y="13"/>
                    </a:lnTo>
                    <a:lnTo>
                      <a:pt x="20" y="13"/>
                    </a:lnTo>
                    <a:lnTo>
                      <a:pt x="13" y="14"/>
                    </a:lnTo>
                    <a:lnTo>
                      <a:pt x="11" y="13"/>
                    </a:lnTo>
                    <a:lnTo>
                      <a:pt x="11" y="14"/>
                    </a:lnTo>
                    <a:lnTo>
                      <a:pt x="6" y="16"/>
                    </a:lnTo>
                    <a:lnTo>
                      <a:pt x="2" y="21"/>
                    </a:lnTo>
                    <a:lnTo>
                      <a:pt x="2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2" name="Freeform 98">
                <a:extLst>
                  <a:ext uri="{FF2B5EF4-FFF2-40B4-BE49-F238E27FC236}">
                    <a16:creationId xmlns:a16="http://schemas.microsoft.com/office/drawing/2014/main" id="{EAB55EFF-F9DE-40A2-AEFB-CE3BA4B8A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5" y="1966"/>
                <a:ext cx="12" cy="7"/>
              </a:xfrm>
              <a:custGeom>
                <a:avLst/>
                <a:gdLst>
                  <a:gd name="T0" fmla="*/ 12 w 12"/>
                  <a:gd name="T1" fmla="*/ 3 h 7"/>
                  <a:gd name="T2" fmla="*/ 9 w 12"/>
                  <a:gd name="T3" fmla="*/ 6 h 7"/>
                  <a:gd name="T4" fmla="*/ 7 w 12"/>
                  <a:gd name="T5" fmla="*/ 7 h 7"/>
                  <a:gd name="T6" fmla="*/ 0 w 12"/>
                  <a:gd name="T7" fmla="*/ 3 h 7"/>
                  <a:gd name="T8" fmla="*/ 1 w 12"/>
                  <a:gd name="T9" fmla="*/ 1 h 7"/>
                  <a:gd name="T10" fmla="*/ 4 w 12"/>
                  <a:gd name="T11" fmla="*/ 0 h 7"/>
                  <a:gd name="T12" fmla="*/ 6 w 12"/>
                  <a:gd name="T13" fmla="*/ 2 h 7"/>
                  <a:gd name="T14" fmla="*/ 10 w 12"/>
                  <a:gd name="T15" fmla="*/ 2 h 7"/>
                  <a:gd name="T16" fmla="*/ 12 w 12"/>
                  <a:gd name="T17" fmla="*/ 3 h 7"/>
                  <a:gd name="T18" fmla="*/ 12 w 12"/>
                  <a:gd name="T1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7">
                    <a:moveTo>
                      <a:pt x="12" y="3"/>
                    </a:moveTo>
                    <a:lnTo>
                      <a:pt x="9" y="6"/>
                    </a:lnTo>
                    <a:lnTo>
                      <a:pt x="7" y="7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10" y="2"/>
                    </a:lnTo>
                    <a:lnTo>
                      <a:pt x="12" y="3"/>
                    </a:lnTo>
                    <a:lnTo>
                      <a:pt x="1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3" name="Freeform 99">
                <a:extLst>
                  <a:ext uri="{FF2B5EF4-FFF2-40B4-BE49-F238E27FC236}">
                    <a16:creationId xmlns:a16="http://schemas.microsoft.com/office/drawing/2014/main" id="{9FE0C78A-1BB4-4481-AB6B-3BF19C488B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7" y="2297"/>
                <a:ext cx="38" cy="10"/>
              </a:xfrm>
              <a:custGeom>
                <a:avLst/>
                <a:gdLst>
                  <a:gd name="T0" fmla="*/ 36 w 38"/>
                  <a:gd name="T1" fmla="*/ 9 h 10"/>
                  <a:gd name="T2" fmla="*/ 36 w 38"/>
                  <a:gd name="T3" fmla="*/ 9 h 10"/>
                  <a:gd name="T4" fmla="*/ 38 w 38"/>
                  <a:gd name="T5" fmla="*/ 8 h 10"/>
                  <a:gd name="T6" fmla="*/ 38 w 38"/>
                  <a:gd name="T7" fmla="*/ 4 h 10"/>
                  <a:gd name="T8" fmla="*/ 36 w 38"/>
                  <a:gd name="T9" fmla="*/ 5 h 10"/>
                  <a:gd name="T10" fmla="*/ 30 w 38"/>
                  <a:gd name="T11" fmla="*/ 6 h 10"/>
                  <a:gd name="T12" fmla="*/ 30 w 38"/>
                  <a:gd name="T13" fmla="*/ 4 h 10"/>
                  <a:gd name="T14" fmla="*/ 26 w 38"/>
                  <a:gd name="T15" fmla="*/ 4 h 10"/>
                  <a:gd name="T16" fmla="*/ 23 w 38"/>
                  <a:gd name="T17" fmla="*/ 4 h 10"/>
                  <a:gd name="T18" fmla="*/ 20 w 38"/>
                  <a:gd name="T19" fmla="*/ 3 h 10"/>
                  <a:gd name="T20" fmla="*/ 16 w 38"/>
                  <a:gd name="T21" fmla="*/ 2 h 10"/>
                  <a:gd name="T22" fmla="*/ 11 w 38"/>
                  <a:gd name="T23" fmla="*/ 4 h 10"/>
                  <a:gd name="T24" fmla="*/ 9 w 38"/>
                  <a:gd name="T25" fmla="*/ 3 h 10"/>
                  <a:gd name="T26" fmla="*/ 8 w 38"/>
                  <a:gd name="T27" fmla="*/ 1 h 10"/>
                  <a:gd name="T28" fmla="*/ 6 w 38"/>
                  <a:gd name="T29" fmla="*/ 1 h 10"/>
                  <a:gd name="T30" fmla="*/ 0 w 38"/>
                  <a:gd name="T31" fmla="*/ 0 h 10"/>
                  <a:gd name="T32" fmla="*/ 0 w 38"/>
                  <a:gd name="T33" fmla="*/ 5 h 10"/>
                  <a:gd name="T34" fmla="*/ 11 w 38"/>
                  <a:gd name="T35" fmla="*/ 6 h 10"/>
                  <a:gd name="T36" fmla="*/ 16 w 38"/>
                  <a:gd name="T37" fmla="*/ 8 h 10"/>
                  <a:gd name="T38" fmla="*/ 16 w 38"/>
                  <a:gd name="T39" fmla="*/ 9 h 10"/>
                  <a:gd name="T40" fmla="*/ 17 w 38"/>
                  <a:gd name="T41" fmla="*/ 10 h 10"/>
                  <a:gd name="T42" fmla="*/ 22 w 38"/>
                  <a:gd name="T43" fmla="*/ 10 h 10"/>
                  <a:gd name="T44" fmla="*/ 25 w 38"/>
                  <a:gd name="T45" fmla="*/ 9 h 10"/>
                  <a:gd name="T46" fmla="*/ 36 w 38"/>
                  <a:gd name="T47" fmla="*/ 9 h 10"/>
                  <a:gd name="T48" fmla="*/ 36 w 38"/>
                  <a:gd name="T49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8" h="10">
                    <a:moveTo>
                      <a:pt x="36" y="9"/>
                    </a:moveTo>
                    <a:lnTo>
                      <a:pt x="36" y="9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36" y="5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3" y="4"/>
                    </a:lnTo>
                    <a:lnTo>
                      <a:pt x="20" y="3"/>
                    </a:lnTo>
                    <a:lnTo>
                      <a:pt x="16" y="2"/>
                    </a:lnTo>
                    <a:lnTo>
                      <a:pt x="11" y="4"/>
                    </a:lnTo>
                    <a:lnTo>
                      <a:pt x="9" y="3"/>
                    </a:lnTo>
                    <a:lnTo>
                      <a:pt x="8" y="1"/>
                    </a:lnTo>
                    <a:lnTo>
                      <a:pt x="6" y="1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11" y="6"/>
                    </a:lnTo>
                    <a:lnTo>
                      <a:pt x="16" y="8"/>
                    </a:lnTo>
                    <a:lnTo>
                      <a:pt x="16" y="9"/>
                    </a:lnTo>
                    <a:lnTo>
                      <a:pt x="17" y="10"/>
                    </a:lnTo>
                    <a:lnTo>
                      <a:pt x="22" y="10"/>
                    </a:lnTo>
                    <a:lnTo>
                      <a:pt x="25" y="9"/>
                    </a:lnTo>
                    <a:lnTo>
                      <a:pt x="36" y="9"/>
                    </a:lnTo>
                    <a:lnTo>
                      <a:pt x="3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4" name="Freeform 100">
                <a:extLst>
                  <a:ext uri="{FF2B5EF4-FFF2-40B4-BE49-F238E27FC236}">
                    <a16:creationId xmlns:a16="http://schemas.microsoft.com/office/drawing/2014/main" id="{5CC346E7-6F69-4751-BB71-3A91696734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4" y="2284"/>
                <a:ext cx="7" cy="8"/>
              </a:xfrm>
              <a:custGeom>
                <a:avLst/>
                <a:gdLst>
                  <a:gd name="T0" fmla="*/ 2 w 7"/>
                  <a:gd name="T1" fmla="*/ 7 h 8"/>
                  <a:gd name="T2" fmla="*/ 6 w 7"/>
                  <a:gd name="T3" fmla="*/ 5 h 8"/>
                  <a:gd name="T4" fmla="*/ 7 w 7"/>
                  <a:gd name="T5" fmla="*/ 0 h 8"/>
                  <a:gd name="T6" fmla="*/ 5 w 7"/>
                  <a:gd name="T7" fmla="*/ 0 h 8"/>
                  <a:gd name="T8" fmla="*/ 1 w 7"/>
                  <a:gd name="T9" fmla="*/ 2 h 8"/>
                  <a:gd name="T10" fmla="*/ 0 w 7"/>
                  <a:gd name="T11" fmla="*/ 5 h 8"/>
                  <a:gd name="T12" fmla="*/ 0 w 7"/>
                  <a:gd name="T13" fmla="*/ 8 h 8"/>
                  <a:gd name="T14" fmla="*/ 2 w 7"/>
                  <a:gd name="T15" fmla="*/ 7 h 8"/>
                  <a:gd name="T16" fmla="*/ 2 w 7"/>
                  <a:gd name="T17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8">
                    <a:moveTo>
                      <a:pt x="2" y="7"/>
                    </a:moveTo>
                    <a:lnTo>
                      <a:pt x="6" y="5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2" y="7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5" name="Freeform 101">
                <a:extLst>
                  <a:ext uri="{FF2B5EF4-FFF2-40B4-BE49-F238E27FC236}">
                    <a16:creationId xmlns:a16="http://schemas.microsoft.com/office/drawing/2014/main" id="{259AB2AE-FC32-446E-AE0F-BDE7EBEC9F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7" y="2296"/>
                <a:ext cx="31" cy="17"/>
              </a:xfrm>
              <a:custGeom>
                <a:avLst/>
                <a:gdLst>
                  <a:gd name="T0" fmla="*/ 3 w 31"/>
                  <a:gd name="T1" fmla="*/ 14 h 17"/>
                  <a:gd name="T2" fmla="*/ 5 w 31"/>
                  <a:gd name="T3" fmla="*/ 15 h 17"/>
                  <a:gd name="T4" fmla="*/ 8 w 31"/>
                  <a:gd name="T5" fmla="*/ 15 h 17"/>
                  <a:gd name="T6" fmla="*/ 10 w 31"/>
                  <a:gd name="T7" fmla="*/ 17 h 17"/>
                  <a:gd name="T8" fmla="*/ 10 w 31"/>
                  <a:gd name="T9" fmla="*/ 15 h 17"/>
                  <a:gd name="T10" fmla="*/ 11 w 31"/>
                  <a:gd name="T11" fmla="*/ 15 h 17"/>
                  <a:gd name="T12" fmla="*/ 13 w 31"/>
                  <a:gd name="T13" fmla="*/ 14 h 17"/>
                  <a:gd name="T14" fmla="*/ 17 w 31"/>
                  <a:gd name="T15" fmla="*/ 13 h 17"/>
                  <a:gd name="T16" fmla="*/ 19 w 31"/>
                  <a:gd name="T17" fmla="*/ 11 h 17"/>
                  <a:gd name="T18" fmla="*/ 22 w 31"/>
                  <a:gd name="T19" fmla="*/ 11 h 17"/>
                  <a:gd name="T20" fmla="*/ 24 w 31"/>
                  <a:gd name="T21" fmla="*/ 10 h 17"/>
                  <a:gd name="T22" fmla="*/ 22 w 31"/>
                  <a:gd name="T23" fmla="*/ 7 h 17"/>
                  <a:gd name="T24" fmla="*/ 23 w 31"/>
                  <a:gd name="T25" fmla="*/ 5 h 17"/>
                  <a:gd name="T26" fmla="*/ 25 w 31"/>
                  <a:gd name="T27" fmla="*/ 3 h 17"/>
                  <a:gd name="T28" fmla="*/ 29 w 31"/>
                  <a:gd name="T29" fmla="*/ 2 h 17"/>
                  <a:gd name="T30" fmla="*/ 31 w 31"/>
                  <a:gd name="T31" fmla="*/ 0 h 17"/>
                  <a:gd name="T32" fmla="*/ 29 w 31"/>
                  <a:gd name="T33" fmla="*/ 1 h 17"/>
                  <a:gd name="T34" fmla="*/ 24 w 31"/>
                  <a:gd name="T35" fmla="*/ 3 h 17"/>
                  <a:gd name="T36" fmla="*/ 19 w 31"/>
                  <a:gd name="T37" fmla="*/ 4 h 17"/>
                  <a:gd name="T38" fmla="*/ 14 w 31"/>
                  <a:gd name="T39" fmla="*/ 5 h 17"/>
                  <a:gd name="T40" fmla="*/ 12 w 31"/>
                  <a:gd name="T41" fmla="*/ 4 h 17"/>
                  <a:gd name="T42" fmla="*/ 8 w 31"/>
                  <a:gd name="T43" fmla="*/ 6 h 17"/>
                  <a:gd name="T44" fmla="*/ 8 w 31"/>
                  <a:gd name="T45" fmla="*/ 7 h 17"/>
                  <a:gd name="T46" fmla="*/ 4 w 31"/>
                  <a:gd name="T47" fmla="*/ 7 h 17"/>
                  <a:gd name="T48" fmla="*/ 0 w 31"/>
                  <a:gd name="T49" fmla="*/ 10 h 17"/>
                  <a:gd name="T50" fmla="*/ 0 w 31"/>
                  <a:gd name="T51" fmla="*/ 12 h 17"/>
                  <a:gd name="T52" fmla="*/ 3 w 31"/>
                  <a:gd name="T53" fmla="*/ 14 h 17"/>
                  <a:gd name="T54" fmla="*/ 3 w 31"/>
                  <a:gd name="T55" fmla="*/ 1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1" h="17">
                    <a:moveTo>
                      <a:pt x="3" y="14"/>
                    </a:moveTo>
                    <a:lnTo>
                      <a:pt x="5" y="15"/>
                    </a:lnTo>
                    <a:lnTo>
                      <a:pt x="8" y="15"/>
                    </a:lnTo>
                    <a:lnTo>
                      <a:pt x="10" y="17"/>
                    </a:lnTo>
                    <a:lnTo>
                      <a:pt x="10" y="15"/>
                    </a:lnTo>
                    <a:lnTo>
                      <a:pt x="11" y="15"/>
                    </a:lnTo>
                    <a:lnTo>
                      <a:pt x="13" y="14"/>
                    </a:lnTo>
                    <a:lnTo>
                      <a:pt x="17" y="13"/>
                    </a:lnTo>
                    <a:lnTo>
                      <a:pt x="19" y="11"/>
                    </a:lnTo>
                    <a:lnTo>
                      <a:pt x="22" y="11"/>
                    </a:lnTo>
                    <a:lnTo>
                      <a:pt x="24" y="10"/>
                    </a:lnTo>
                    <a:lnTo>
                      <a:pt x="22" y="7"/>
                    </a:lnTo>
                    <a:lnTo>
                      <a:pt x="23" y="5"/>
                    </a:lnTo>
                    <a:lnTo>
                      <a:pt x="25" y="3"/>
                    </a:lnTo>
                    <a:lnTo>
                      <a:pt x="29" y="2"/>
                    </a:lnTo>
                    <a:lnTo>
                      <a:pt x="31" y="0"/>
                    </a:lnTo>
                    <a:lnTo>
                      <a:pt x="29" y="1"/>
                    </a:lnTo>
                    <a:lnTo>
                      <a:pt x="24" y="3"/>
                    </a:lnTo>
                    <a:lnTo>
                      <a:pt x="19" y="4"/>
                    </a:lnTo>
                    <a:lnTo>
                      <a:pt x="14" y="5"/>
                    </a:lnTo>
                    <a:lnTo>
                      <a:pt x="12" y="4"/>
                    </a:lnTo>
                    <a:lnTo>
                      <a:pt x="8" y="6"/>
                    </a:lnTo>
                    <a:lnTo>
                      <a:pt x="8" y="7"/>
                    </a:lnTo>
                    <a:lnTo>
                      <a:pt x="4" y="7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3" y="14"/>
                    </a:lnTo>
                    <a:lnTo>
                      <a:pt x="3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6" name="Freeform 102">
                <a:extLst>
                  <a:ext uri="{FF2B5EF4-FFF2-40B4-BE49-F238E27FC236}">
                    <a16:creationId xmlns:a16="http://schemas.microsoft.com/office/drawing/2014/main" id="{0EB07D70-0670-4C5E-A35D-A2C60B55EA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5" y="1656"/>
                <a:ext cx="29" cy="18"/>
              </a:xfrm>
              <a:custGeom>
                <a:avLst/>
                <a:gdLst>
                  <a:gd name="T0" fmla="*/ 25 w 29"/>
                  <a:gd name="T1" fmla="*/ 10 h 18"/>
                  <a:gd name="T2" fmla="*/ 27 w 29"/>
                  <a:gd name="T3" fmla="*/ 9 h 18"/>
                  <a:gd name="T4" fmla="*/ 26 w 29"/>
                  <a:gd name="T5" fmla="*/ 11 h 18"/>
                  <a:gd name="T6" fmla="*/ 29 w 29"/>
                  <a:gd name="T7" fmla="*/ 9 h 18"/>
                  <a:gd name="T8" fmla="*/ 27 w 29"/>
                  <a:gd name="T9" fmla="*/ 7 h 18"/>
                  <a:gd name="T10" fmla="*/ 25 w 29"/>
                  <a:gd name="T11" fmla="*/ 4 h 18"/>
                  <a:gd name="T12" fmla="*/ 16 w 29"/>
                  <a:gd name="T13" fmla="*/ 1 h 18"/>
                  <a:gd name="T14" fmla="*/ 14 w 29"/>
                  <a:gd name="T15" fmla="*/ 0 h 18"/>
                  <a:gd name="T16" fmla="*/ 10 w 29"/>
                  <a:gd name="T17" fmla="*/ 0 h 18"/>
                  <a:gd name="T18" fmla="*/ 6 w 29"/>
                  <a:gd name="T19" fmla="*/ 1 h 18"/>
                  <a:gd name="T20" fmla="*/ 2 w 29"/>
                  <a:gd name="T21" fmla="*/ 3 h 18"/>
                  <a:gd name="T22" fmla="*/ 1 w 29"/>
                  <a:gd name="T23" fmla="*/ 7 h 18"/>
                  <a:gd name="T24" fmla="*/ 0 w 29"/>
                  <a:gd name="T25" fmla="*/ 12 h 18"/>
                  <a:gd name="T26" fmla="*/ 0 w 29"/>
                  <a:gd name="T27" fmla="*/ 14 h 18"/>
                  <a:gd name="T28" fmla="*/ 6 w 29"/>
                  <a:gd name="T29" fmla="*/ 18 h 18"/>
                  <a:gd name="T30" fmla="*/ 11 w 29"/>
                  <a:gd name="T31" fmla="*/ 18 h 18"/>
                  <a:gd name="T32" fmla="*/ 17 w 29"/>
                  <a:gd name="T33" fmla="*/ 17 h 18"/>
                  <a:gd name="T34" fmla="*/ 19 w 29"/>
                  <a:gd name="T35" fmla="*/ 16 h 18"/>
                  <a:gd name="T36" fmla="*/ 25 w 29"/>
                  <a:gd name="T37" fmla="*/ 10 h 18"/>
                  <a:gd name="T38" fmla="*/ 25 w 29"/>
                  <a:gd name="T39" fmla="*/ 1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9" h="18">
                    <a:moveTo>
                      <a:pt x="25" y="10"/>
                    </a:moveTo>
                    <a:lnTo>
                      <a:pt x="27" y="9"/>
                    </a:lnTo>
                    <a:lnTo>
                      <a:pt x="26" y="11"/>
                    </a:lnTo>
                    <a:lnTo>
                      <a:pt x="29" y="9"/>
                    </a:lnTo>
                    <a:lnTo>
                      <a:pt x="27" y="7"/>
                    </a:lnTo>
                    <a:lnTo>
                      <a:pt x="25" y="4"/>
                    </a:lnTo>
                    <a:lnTo>
                      <a:pt x="16" y="1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1"/>
                    </a:lnTo>
                    <a:lnTo>
                      <a:pt x="2" y="3"/>
                    </a:lnTo>
                    <a:lnTo>
                      <a:pt x="1" y="7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6" y="18"/>
                    </a:lnTo>
                    <a:lnTo>
                      <a:pt x="11" y="18"/>
                    </a:lnTo>
                    <a:lnTo>
                      <a:pt x="17" y="17"/>
                    </a:lnTo>
                    <a:lnTo>
                      <a:pt x="19" y="16"/>
                    </a:lnTo>
                    <a:lnTo>
                      <a:pt x="25" y="10"/>
                    </a:lnTo>
                    <a:lnTo>
                      <a:pt x="25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7" name="Freeform 103">
                <a:extLst>
                  <a:ext uri="{FF2B5EF4-FFF2-40B4-BE49-F238E27FC236}">
                    <a16:creationId xmlns:a16="http://schemas.microsoft.com/office/drawing/2014/main" id="{A4105272-A0F1-4815-AB68-50EEF73A62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7" y="1632"/>
                <a:ext cx="27" cy="19"/>
              </a:xfrm>
              <a:custGeom>
                <a:avLst/>
                <a:gdLst>
                  <a:gd name="T0" fmla="*/ 22 w 27"/>
                  <a:gd name="T1" fmla="*/ 11 h 19"/>
                  <a:gd name="T2" fmla="*/ 19 w 27"/>
                  <a:gd name="T3" fmla="*/ 9 h 19"/>
                  <a:gd name="T4" fmla="*/ 17 w 27"/>
                  <a:gd name="T5" fmla="*/ 9 h 19"/>
                  <a:gd name="T6" fmla="*/ 13 w 27"/>
                  <a:gd name="T7" fmla="*/ 7 h 19"/>
                  <a:gd name="T8" fmla="*/ 11 w 27"/>
                  <a:gd name="T9" fmla="*/ 4 h 19"/>
                  <a:gd name="T10" fmla="*/ 5 w 27"/>
                  <a:gd name="T11" fmla="*/ 0 h 19"/>
                  <a:gd name="T12" fmla="*/ 3 w 27"/>
                  <a:gd name="T13" fmla="*/ 1 h 19"/>
                  <a:gd name="T14" fmla="*/ 0 w 27"/>
                  <a:gd name="T15" fmla="*/ 3 h 19"/>
                  <a:gd name="T16" fmla="*/ 3 w 27"/>
                  <a:gd name="T17" fmla="*/ 6 h 19"/>
                  <a:gd name="T18" fmla="*/ 0 w 27"/>
                  <a:gd name="T19" fmla="*/ 6 h 19"/>
                  <a:gd name="T20" fmla="*/ 1 w 27"/>
                  <a:gd name="T21" fmla="*/ 10 h 19"/>
                  <a:gd name="T22" fmla="*/ 2 w 27"/>
                  <a:gd name="T23" fmla="*/ 11 h 19"/>
                  <a:gd name="T24" fmla="*/ 6 w 27"/>
                  <a:gd name="T25" fmla="*/ 15 h 19"/>
                  <a:gd name="T26" fmla="*/ 10 w 27"/>
                  <a:gd name="T27" fmla="*/ 15 h 19"/>
                  <a:gd name="T28" fmla="*/ 12 w 27"/>
                  <a:gd name="T29" fmla="*/ 15 h 19"/>
                  <a:gd name="T30" fmla="*/ 13 w 27"/>
                  <a:gd name="T31" fmla="*/ 18 h 19"/>
                  <a:gd name="T32" fmla="*/ 17 w 27"/>
                  <a:gd name="T33" fmla="*/ 19 h 19"/>
                  <a:gd name="T34" fmla="*/ 19 w 27"/>
                  <a:gd name="T35" fmla="*/ 18 h 19"/>
                  <a:gd name="T36" fmla="*/ 22 w 27"/>
                  <a:gd name="T37" fmla="*/ 19 h 19"/>
                  <a:gd name="T38" fmla="*/ 24 w 27"/>
                  <a:gd name="T39" fmla="*/ 18 h 19"/>
                  <a:gd name="T40" fmla="*/ 27 w 27"/>
                  <a:gd name="T41" fmla="*/ 16 h 19"/>
                  <a:gd name="T42" fmla="*/ 26 w 27"/>
                  <a:gd name="T43" fmla="*/ 12 h 19"/>
                  <a:gd name="T44" fmla="*/ 22 w 27"/>
                  <a:gd name="T45" fmla="*/ 11 h 19"/>
                  <a:gd name="T46" fmla="*/ 22 w 27"/>
                  <a:gd name="T47" fmla="*/ 1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7" h="19">
                    <a:moveTo>
                      <a:pt x="22" y="11"/>
                    </a:moveTo>
                    <a:lnTo>
                      <a:pt x="19" y="9"/>
                    </a:lnTo>
                    <a:lnTo>
                      <a:pt x="17" y="9"/>
                    </a:lnTo>
                    <a:lnTo>
                      <a:pt x="13" y="7"/>
                    </a:lnTo>
                    <a:lnTo>
                      <a:pt x="11" y="4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0" y="3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1" y="10"/>
                    </a:lnTo>
                    <a:lnTo>
                      <a:pt x="2" y="11"/>
                    </a:lnTo>
                    <a:lnTo>
                      <a:pt x="6" y="15"/>
                    </a:lnTo>
                    <a:lnTo>
                      <a:pt x="10" y="15"/>
                    </a:lnTo>
                    <a:lnTo>
                      <a:pt x="12" y="15"/>
                    </a:lnTo>
                    <a:lnTo>
                      <a:pt x="13" y="18"/>
                    </a:lnTo>
                    <a:lnTo>
                      <a:pt x="17" y="19"/>
                    </a:lnTo>
                    <a:lnTo>
                      <a:pt x="19" y="18"/>
                    </a:lnTo>
                    <a:lnTo>
                      <a:pt x="22" y="19"/>
                    </a:lnTo>
                    <a:lnTo>
                      <a:pt x="24" y="18"/>
                    </a:lnTo>
                    <a:lnTo>
                      <a:pt x="27" y="16"/>
                    </a:lnTo>
                    <a:lnTo>
                      <a:pt x="26" y="12"/>
                    </a:lnTo>
                    <a:lnTo>
                      <a:pt x="22" y="11"/>
                    </a:lnTo>
                    <a:lnTo>
                      <a:pt x="2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8" name="Freeform 104">
                <a:extLst>
                  <a:ext uri="{FF2B5EF4-FFF2-40B4-BE49-F238E27FC236}">
                    <a16:creationId xmlns:a16="http://schemas.microsoft.com/office/drawing/2014/main" id="{092F285C-63E9-4844-AD24-FAFBEF735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8" y="2242"/>
                <a:ext cx="23" cy="17"/>
              </a:xfrm>
              <a:custGeom>
                <a:avLst/>
                <a:gdLst>
                  <a:gd name="T0" fmla="*/ 9 w 23"/>
                  <a:gd name="T1" fmla="*/ 9 h 17"/>
                  <a:gd name="T2" fmla="*/ 8 w 23"/>
                  <a:gd name="T3" fmla="*/ 7 h 17"/>
                  <a:gd name="T4" fmla="*/ 6 w 23"/>
                  <a:gd name="T5" fmla="*/ 5 h 17"/>
                  <a:gd name="T6" fmla="*/ 3 w 23"/>
                  <a:gd name="T7" fmla="*/ 4 h 17"/>
                  <a:gd name="T8" fmla="*/ 0 w 23"/>
                  <a:gd name="T9" fmla="*/ 4 h 17"/>
                  <a:gd name="T10" fmla="*/ 3 w 23"/>
                  <a:gd name="T11" fmla="*/ 1 h 17"/>
                  <a:gd name="T12" fmla="*/ 6 w 23"/>
                  <a:gd name="T13" fmla="*/ 0 h 17"/>
                  <a:gd name="T14" fmla="*/ 8 w 23"/>
                  <a:gd name="T15" fmla="*/ 4 h 17"/>
                  <a:gd name="T16" fmla="*/ 11 w 23"/>
                  <a:gd name="T17" fmla="*/ 5 h 17"/>
                  <a:gd name="T18" fmla="*/ 13 w 23"/>
                  <a:gd name="T19" fmla="*/ 6 h 17"/>
                  <a:gd name="T20" fmla="*/ 16 w 23"/>
                  <a:gd name="T21" fmla="*/ 6 h 17"/>
                  <a:gd name="T22" fmla="*/ 18 w 23"/>
                  <a:gd name="T23" fmla="*/ 9 h 17"/>
                  <a:gd name="T24" fmla="*/ 18 w 23"/>
                  <a:gd name="T25" fmla="*/ 12 h 17"/>
                  <a:gd name="T26" fmla="*/ 20 w 23"/>
                  <a:gd name="T27" fmla="*/ 14 h 17"/>
                  <a:gd name="T28" fmla="*/ 22 w 23"/>
                  <a:gd name="T29" fmla="*/ 15 h 17"/>
                  <a:gd name="T30" fmla="*/ 23 w 23"/>
                  <a:gd name="T31" fmla="*/ 17 h 17"/>
                  <a:gd name="T32" fmla="*/ 22 w 23"/>
                  <a:gd name="T33" fmla="*/ 17 h 17"/>
                  <a:gd name="T34" fmla="*/ 20 w 23"/>
                  <a:gd name="T35" fmla="*/ 16 h 17"/>
                  <a:gd name="T36" fmla="*/ 16 w 23"/>
                  <a:gd name="T37" fmla="*/ 12 h 17"/>
                  <a:gd name="T38" fmla="*/ 11 w 23"/>
                  <a:gd name="T39" fmla="*/ 11 h 17"/>
                  <a:gd name="T40" fmla="*/ 9 w 23"/>
                  <a:gd name="T41" fmla="*/ 9 h 17"/>
                  <a:gd name="T42" fmla="*/ 9 w 23"/>
                  <a:gd name="T43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3" h="17">
                    <a:moveTo>
                      <a:pt x="9" y="9"/>
                    </a:moveTo>
                    <a:lnTo>
                      <a:pt x="8" y="7"/>
                    </a:lnTo>
                    <a:lnTo>
                      <a:pt x="6" y="5"/>
                    </a:lnTo>
                    <a:lnTo>
                      <a:pt x="3" y="4"/>
                    </a:lnTo>
                    <a:lnTo>
                      <a:pt x="0" y="4"/>
                    </a:lnTo>
                    <a:lnTo>
                      <a:pt x="3" y="1"/>
                    </a:lnTo>
                    <a:lnTo>
                      <a:pt x="6" y="0"/>
                    </a:lnTo>
                    <a:lnTo>
                      <a:pt x="8" y="4"/>
                    </a:lnTo>
                    <a:lnTo>
                      <a:pt x="11" y="5"/>
                    </a:lnTo>
                    <a:lnTo>
                      <a:pt x="13" y="6"/>
                    </a:lnTo>
                    <a:lnTo>
                      <a:pt x="16" y="6"/>
                    </a:lnTo>
                    <a:lnTo>
                      <a:pt x="18" y="9"/>
                    </a:lnTo>
                    <a:lnTo>
                      <a:pt x="18" y="12"/>
                    </a:lnTo>
                    <a:lnTo>
                      <a:pt x="20" y="14"/>
                    </a:lnTo>
                    <a:lnTo>
                      <a:pt x="22" y="15"/>
                    </a:lnTo>
                    <a:lnTo>
                      <a:pt x="23" y="17"/>
                    </a:lnTo>
                    <a:lnTo>
                      <a:pt x="22" y="17"/>
                    </a:lnTo>
                    <a:lnTo>
                      <a:pt x="20" y="16"/>
                    </a:lnTo>
                    <a:lnTo>
                      <a:pt x="16" y="12"/>
                    </a:lnTo>
                    <a:lnTo>
                      <a:pt x="11" y="11"/>
                    </a:lnTo>
                    <a:lnTo>
                      <a:pt x="9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9" name="Freeform 105">
                <a:extLst>
                  <a:ext uri="{FF2B5EF4-FFF2-40B4-BE49-F238E27FC236}">
                    <a16:creationId xmlns:a16="http://schemas.microsoft.com/office/drawing/2014/main" id="{D3749DB2-B6CB-4840-BCB6-C0BBFB0E45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1" y="2123"/>
                <a:ext cx="55" cy="31"/>
              </a:xfrm>
              <a:custGeom>
                <a:avLst/>
                <a:gdLst>
                  <a:gd name="T0" fmla="*/ 15 w 55"/>
                  <a:gd name="T1" fmla="*/ 3 h 31"/>
                  <a:gd name="T2" fmla="*/ 15 w 55"/>
                  <a:gd name="T3" fmla="*/ 2 h 31"/>
                  <a:gd name="T4" fmla="*/ 15 w 55"/>
                  <a:gd name="T5" fmla="*/ 2 h 31"/>
                  <a:gd name="T6" fmla="*/ 15 w 55"/>
                  <a:gd name="T7" fmla="*/ 0 h 31"/>
                  <a:gd name="T8" fmla="*/ 15 w 55"/>
                  <a:gd name="T9" fmla="*/ 0 h 31"/>
                  <a:gd name="T10" fmla="*/ 18 w 55"/>
                  <a:gd name="T11" fmla="*/ 3 h 31"/>
                  <a:gd name="T12" fmla="*/ 19 w 55"/>
                  <a:gd name="T13" fmla="*/ 3 h 31"/>
                  <a:gd name="T14" fmla="*/ 21 w 55"/>
                  <a:gd name="T15" fmla="*/ 6 h 31"/>
                  <a:gd name="T16" fmla="*/ 25 w 55"/>
                  <a:gd name="T17" fmla="*/ 5 h 31"/>
                  <a:gd name="T18" fmla="*/ 26 w 55"/>
                  <a:gd name="T19" fmla="*/ 6 h 31"/>
                  <a:gd name="T20" fmla="*/ 27 w 55"/>
                  <a:gd name="T21" fmla="*/ 5 h 31"/>
                  <a:gd name="T22" fmla="*/ 26 w 55"/>
                  <a:gd name="T23" fmla="*/ 8 h 31"/>
                  <a:gd name="T24" fmla="*/ 26 w 55"/>
                  <a:gd name="T25" fmla="*/ 8 h 31"/>
                  <a:gd name="T26" fmla="*/ 28 w 55"/>
                  <a:gd name="T27" fmla="*/ 7 h 31"/>
                  <a:gd name="T28" fmla="*/ 33 w 55"/>
                  <a:gd name="T29" fmla="*/ 11 h 31"/>
                  <a:gd name="T30" fmla="*/ 34 w 55"/>
                  <a:gd name="T31" fmla="*/ 14 h 31"/>
                  <a:gd name="T32" fmla="*/ 36 w 55"/>
                  <a:gd name="T33" fmla="*/ 16 h 31"/>
                  <a:gd name="T34" fmla="*/ 36 w 55"/>
                  <a:gd name="T35" fmla="*/ 14 h 31"/>
                  <a:gd name="T36" fmla="*/ 33 w 55"/>
                  <a:gd name="T37" fmla="*/ 11 h 31"/>
                  <a:gd name="T38" fmla="*/ 32 w 55"/>
                  <a:gd name="T39" fmla="*/ 9 h 31"/>
                  <a:gd name="T40" fmla="*/ 33 w 55"/>
                  <a:gd name="T41" fmla="*/ 9 h 31"/>
                  <a:gd name="T42" fmla="*/ 33 w 55"/>
                  <a:gd name="T43" fmla="*/ 8 h 31"/>
                  <a:gd name="T44" fmla="*/ 33 w 55"/>
                  <a:gd name="T45" fmla="*/ 9 h 31"/>
                  <a:gd name="T46" fmla="*/ 37 w 55"/>
                  <a:gd name="T47" fmla="*/ 15 h 31"/>
                  <a:gd name="T48" fmla="*/ 41 w 55"/>
                  <a:gd name="T49" fmla="*/ 16 h 31"/>
                  <a:gd name="T50" fmla="*/ 45 w 55"/>
                  <a:gd name="T51" fmla="*/ 15 h 31"/>
                  <a:gd name="T52" fmla="*/ 47 w 55"/>
                  <a:gd name="T53" fmla="*/ 15 h 31"/>
                  <a:gd name="T54" fmla="*/ 50 w 55"/>
                  <a:gd name="T55" fmla="*/ 14 h 31"/>
                  <a:gd name="T56" fmla="*/ 53 w 55"/>
                  <a:gd name="T57" fmla="*/ 14 h 31"/>
                  <a:gd name="T58" fmla="*/ 55 w 55"/>
                  <a:gd name="T59" fmla="*/ 15 h 31"/>
                  <a:gd name="T60" fmla="*/ 52 w 55"/>
                  <a:gd name="T61" fmla="*/ 19 h 31"/>
                  <a:gd name="T62" fmla="*/ 52 w 55"/>
                  <a:gd name="T63" fmla="*/ 21 h 31"/>
                  <a:gd name="T64" fmla="*/ 44 w 55"/>
                  <a:gd name="T65" fmla="*/ 22 h 31"/>
                  <a:gd name="T66" fmla="*/ 42 w 55"/>
                  <a:gd name="T67" fmla="*/ 20 h 31"/>
                  <a:gd name="T68" fmla="*/ 38 w 55"/>
                  <a:gd name="T69" fmla="*/ 20 h 31"/>
                  <a:gd name="T70" fmla="*/ 38 w 55"/>
                  <a:gd name="T71" fmla="*/ 22 h 31"/>
                  <a:gd name="T72" fmla="*/ 36 w 55"/>
                  <a:gd name="T73" fmla="*/ 23 h 31"/>
                  <a:gd name="T74" fmla="*/ 34 w 55"/>
                  <a:gd name="T75" fmla="*/ 25 h 31"/>
                  <a:gd name="T76" fmla="*/ 33 w 55"/>
                  <a:gd name="T77" fmla="*/ 24 h 31"/>
                  <a:gd name="T78" fmla="*/ 27 w 55"/>
                  <a:gd name="T79" fmla="*/ 25 h 31"/>
                  <a:gd name="T80" fmla="*/ 25 w 55"/>
                  <a:gd name="T81" fmla="*/ 28 h 31"/>
                  <a:gd name="T82" fmla="*/ 23 w 55"/>
                  <a:gd name="T83" fmla="*/ 30 h 31"/>
                  <a:gd name="T84" fmla="*/ 20 w 55"/>
                  <a:gd name="T85" fmla="*/ 31 h 31"/>
                  <a:gd name="T86" fmla="*/ 15 w 55"/>
                  <a:gd name="T87" fmla="*/ 31 h 31"/>
                  <a:gd name="T88" fmla="*/ 13 w 55"/>
                  <a:gd name="T89" fmla="*/ 30 h 31"/>
                  <a:gd name="T90" fmla="*/ 13 w 55"/>
                  <a:gd name="T91" fmla="*/ 30 h 31"/>
                  <a:gd name="T92" fmla="*/ 10 w 55"/>
                  <a:gd name="T93" fmla="*/ 29 h 31"/>
                  <a:gd name="T94" fmla="*/ 12 w 55"/>
                  <a:gd name="T95" fmla="*/ 28 h 31"/>
                  <a:gd name="T96" fmla="*/ 12 w 55"/>
                  <a:gd name="T97" fmla="*/ 25 h 31"/>
                  <a:gd name="T98" fmla="*/ 15 w 55"/>
                  <a:gd name="T99" fmla="*/ 22 h 31"/>
                  <a:gd name="T100" fmla="*/ 11 w 55"/>
                  <a:gd name="T101" fmla="*/ 19 h 31"/>
                  <a:gd name="T102" fmla="*/ 10 w 55"/>
                  <a:gd name="T103" fmla="*/ 19 h 31"/>
                  <a:gd name="T104" fmla="*/ 7 w 55"/>
                  <a:gd name="T105" fmla="*/ 17 h 31"/>
                  <a:gd name="T106" fmla="*/ 4 w 55"/>
                  <a:gd name="T107" fmla="*/ 15 h 31"/>
                  <a:gd name="T108" fmla="*/ 2 w 55"/>
                  <a:gd name="T109" fmla="*/ 15 h 31"/>
                  <a:gd name="T110" fmla="*/ 0 w 55"/>
                  <a:gd name="T111" fmla="*/ 16 h 31"/>
                  <a:gd name="T112" fmla="*/ 0 w 55"/>
                  <a:gd name="T113" fmla="*/ 13 h 31"/>
                  <a:gd name="T114" fmla="*/ 6 w 55"/>
                  <a:gd name="T115" fmla="*/ 11 h 31"/>
                  <a:gd name="T116" fmla="*/ 13 w 55"/>
                  <a:gd name="T117" fmla="*/ 7 h 31"/>
                  <a:gd name="T118" fmla="*/ 16 w 55"/>
                  <a:gd name="T119" fmla="*/ 6 h 31"/>
                  <a:gd name="T120" fmla="*/ 15 w 55"/>
                  <a:gd name="T121" fmla="*/ 3 h 31"/>
                  <a:gd name="T122" fmla="*/ 15 w 55"/>
                  <a:gd name="T123" fmla="*/ 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5" h="31">
                    <a:moveTo>
                      <a:pt x="15" y="3"/>
                    </a:moveTo>
                    <a:lnTo>
                      <a:pt x="15" y="2"/>
                    </a:lnTo>
                    <a:lnTo>
                      <a:pt x="15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8" y="3"/>
                    </a:lnTo>
                    <a:lnTo>
                      <a:pt x="19" y="3"/>
                    </a:lnTo>
                    <a:lnTo>
                      <a:pt x="21" y="6"/>
                    </a:lnTo>
                    <a:lnTo>
                      <a:pt x="25" y="5"/>
                    </a:lnTo>
                    <a:lnTo>
                      <a:pt x="26" y="6"/>
                    </a:lnTo>
                    <a:lnTo>
                      <a:pt x="27" y="5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8" y="7"/>
                    </a:lnTo>
                    <a:lnTo>
                      <a:pt x="33" y="11"/>
                    </a:lnTo>
                    <a:lnTo>
                      <a:pt x="34" y="14"/>
                    </a:lnTo>
                    <a:lnTo>
                      <a:pt x="36" y="16"/>
                    </a:lnTo>
                    <a:lnTo>
                      <a:pt x="36" y="14"/>
                    </a:lnTo>
                    <a:lnTo>
                      <a:pt x="33" y="11"/>
                    </a:lnTo>
                    <a:lnTo>
                      <a:pt x="32" y="9"/>
                    </a:lnTo>
                    <a:lnTo>
                      <a:pt x="33" y="9"/>
                    </a:lnTo>
                    <a:lnTo>
                      <a:pt x="33" y="8"/>
                    </a:lnTo>
                    <a:lnTo>
                      <a:pt x="33" y="9"/>
                    </a:lnTo>
                    <a:lnTo>
                      <a:pt x="37" y="15"/>
                    </a:lnTo>
                    <a:lnTo>
                      <a:pt x="41" y="16"/>
                    </a:lnTo>
                    <a:lnTo>
                      <a:pt x="45" y="15"/>
                    </a:lnTo>
                    <a:lnTo>
                      <a:pt x="47" y="15"/>
                    </a:lnTo>
                    <a:lnTo>
                      <a:pt x="50" y="14"/>
                    </a:lnTo>
                    <a:lnTo>
                      <a:pt x="53" y="14"/>
                    </a:lnTo>
                    <a:lnTo>
                      <a:pt x="55" y="15"/>
                    </a:lnTo>
                    <a:lnTo>
                      <a:pt x="52" y="19"/>
                    </a:lnTo>
                    <a:lnTo>
                      <a:pt x="52" y="21"/>
                    </a:lnTo>
                    <a:lnTo>
                      <a:pt x="44" y="22"/>
                    </a:lnTo>
                    <a:lnTo>
                      <a:pt x="42" y="20"/>
                    </a:lnTo>
                    <a:lnTo>
                      <a:pt x="38" y="20"/>
                    </a:lnTo>
                    <a:lnTo>
                      <a:pt x="38" y="22"/>
                    </a:lnTo>
                    <a:lnTo>
                      <a:pt x="36" y="23"/>
                    </a:lnTo>
                    <a:lnTo>
                      <a:pt x="34" y="25"/>
                    </a:lnTo>
                    <a:lnTo>
                      <a:pt x="33" y="24"/>
                    </a:lnTo>
                    <a:lnTo>
                      <a:pt x="27" y="25"/>
                    </a:lnTo>
                    <a:lnTo>
                      <a:pt x="25" y="28"/>
                    </a:lnTo>
                    <a:lnTo>
                      <a:pt x="23" y="30"/>
                    </a:lnTo>
                    <a:lnTo>
                      <a:pt x="20" y="31"/>
                    </a:lnTo>
                    <a:lnTo>
                      <a:pt x="15" y="31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0" y="29"/>
                    </a:lnTo>
                    <a:lnTo>
                      <a:pt x="12" y="28"/>
                    </a:lnTo>
                    <a:lnTo>
                      <a:pt x="12" y="25"/>
                    </a:lnTo>
                    <a:lnTo>
                      <a:pt x="15" y="22"/>
                    </a:lnTo>
                    <a:lnTo>
                      <a:pt x="11" y="19"/>
                    </a:lnTo>
                    <a:lnTo>
                      <a:pt x="10" y="19"/>
                    </a:lnTo>
                    <a:lnTo>
                      <a:pt x="7" y="17"/>
                    </a:lnTo>
                    <a:lnTo>
                      <a:pt x="4" y="15"/>
                    </a:lnTo>
                    <a:lnTo>
                      <a:pt x="2" y="15"/>
                    </a:lnTo>
                    <a:lnTo>
                      <a:pt x="0" y="16"/>
                    </a:lnTo>
                    <a:lnTo>
                      <a:pt x="0" y="13"/>
                    </a:lnTo>
                    <a:lnTo>
                      <a:pt x="6" y="11"/>
                    </a:lnTo>
                    <a:lnTo>
                      <a:pt x="13" y="7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5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0" name="Freeform 106">
                <a:extLst>
                  <a:ext uri="{FF2B5EF4-FFF2-40B4-BE49-F238E27FC236}">
                    <a16:creationId xmlns:a16="http://schemas.microsoft.com/office/drawing/2014/main" id="{48B48F5D-8AB8-4FCF-AC26-49936CB165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7" y="2972"/>
                <a:ext cx="99" cy="192"/>
              </a:xfrm>
              <a:custGeom>
                <a:avLst/>
                <a:gdLst>
                  <a:gd name="T0" fmla="*/ 0 w 99"/>
                  <a:gd name="T1" fmla="*/ 146 h 192"/>
                  <a:gd name="T2" fmla="*/ 5 w 99"/>
                  <a:gd name="T3" fmla="*/ 156 h 192"/>
                  <a:gd name="T4" fmla="*/ 6 w 99"/>
                  <a:gd name="T5" fmla="*/ 164 h 192"/>
                  <a:gd name="T6" fmla="*/ 10 w 99"/>
                  <a:gd name="T7" fmla="*/ 181 h 192"/>
                  <a:gd name="T8" fmla="*/ 17 w 99"/>
                  <a:gd name="T9" fmla="*/ 188 h 192"/>
                  <a:gd name="T10" fmla="*/ 32 w 99"/>
                  <a:gd name="T11" fmla="*/ 191 h 192"/>
                  <a:gd name="T12" fmla="*/ 48 w 99"/>
                  <a:gd name="T13" fmla="*/ 185 h 192"/>
                  <a:gd name="T14" fmla="*/ 56 w 99"/>
                  <a:gd name="T15" fmla="*/ 176 h 192"/>
                  <a:gd name="T16" fmla="*/ 60 w 99"/>
                  <a:gd name="T17" fmla="*/ 163 h 192"/>
                  <a:gd name="T18" fmla="*/ 68 w 99"/>
                  <a:gd name="T19" fmla="*/ 134 h 192"/>
                  <a:gd name="T20" fmla="*/ 75 w 99"/>
                  <a:gd name="T21" fmla="*/ 111 h 192"/>
                  <a:gd name="T22" fmla="*/ 84 w 99"/>
                  <a:gd name="T23" fmla="*/ 89 h 192"/>
                  <a:gd name="T24" fmla="*/ 85 w 99"/>
                  <a:gd name="T25" fmla="*/ 82 h 192"/>
                  <a:gd name="T26" fmla="*/ 87 w 99"/>
                  <a:gd name="T27" fmla="*/ 68 h 192"/>
                  <a:gd name="T28" fmla="*/ 88 w 99"/>
                  <a:gd name="T29" fmla="*/ 55 h 192"/>
                  <a:gd name="T30" fmla="*/ 89 w 99"/>
                  <a:gd name="T31" fmla="*/ 46 h 192"/>
                  <a:gd name="T32" fmla="*/ 94 w 99"/>
                  <a:gd name="T33" fmla="*/ 54 h 192"/>
                  <a:gd name="T34" fmla="*/ 99 w 99"/>
                  <a:gd name="T35" fmla="*/ 47 h 192"/>
                  <a:gd name="T36" fmla="*/ 95 w 99"/>
                  <a:gd name="T37" fmla="*/ 37 h 192"/>
                  <a:gd name="T38" fmla="*/ 94 w 99"/>
                  <a:gd name="T39" fmla="*/ 28 h 192"/>
                  <a:gd name="T40" fmla="*/ 91 w 99"/>
                  <a:gd name="T41" fmla="*/ 12 h 192"/>
                  <a:gd name="T42" fmla="*/ 86 w 99"/>
                  <a:gd name="T43" fmla="*/ 5 h 192"/>
                  <a:gd name="T44" fmla="*/ 84 w 99"/>
                  <a:gd name="T45" fmla="*/ 0 h 192"/>
                  <a:gd name="T46" fmla="*/ 78 w 99"/>
                  <a:gd name="T47" fmla="*/ 5 h 192"/>
                  <a:gd name="T48" fmla="*/ 78 w 99"/>
                  <a:gd name="T49" fmla="*/ 10 h 192"/>
                  <a:gd name="T50" fmla="*/ 77 w 99"/>
                  <a:gd name="T51" fmla="*/ 17 h 192"/>
                  <a:gd name="T52" fmla="*/ 69 w 99"/>
                  <a:gd name="T53" fmla="*/ 22 h 192"/>
                  <a:gd name="T54" fmla="*/ 63 w 99"/>
                  <a:gd name="T55" fmla="*/ 23 h 192"/>
                  <a:gd name="T56" fmla="*/ 63 w 99"/>
                  <a:gd name="T57" fmla="*/ 30 h 192"/>
                  <a:gd name="T58" fmla="*/ 65 w 99"/>
                  <a:gd name="T59" fmla="*/ 35 h 192"/>
                  <a:gd name="T60" fmla="*/ 61 w 99"/>
                  <a:gd name="T61" fmla="*/ 37 h 192"/>
                  <a:gd name="T62" fmla="*/ 56 w 99"/>
                  <a:gd name="T63" fmla="*/ 38 h 192"/>
                  <a:gd name="T64" fmla="*/ 54 w 99"/>
                  <a:gd name="T65" fmla="*/ 46 h 192"/>
                  <a:gd name="T66" fmla="*/ 52 w 99"/>
                  <a:gd name="T67" fmla="*/ 47 h 192"/>
                  <a:gd name="T68" fmla="*/ 45 w 99"/>
                  <a:gd name="T69" fmla="*/ 47 h 192"/>
                  <a:gd name="T70" fmla="*/ 44 w 99"/>
                  <a:gd name="T71" fmla="*/ 54 h 192"/>
                  <a:gd name="T72" fmla="*/ 42 w 99"/>
                  <a:gd name="T73" fmla="*/ 53 h 192"/>
                  <a:gd name="T74" fmla="*/ 34 w 99"/>
                  <a:gd name="T75" fmla="*/ 52 h 192"/>
                  <a:gd name="T76" fmla="*/ 24 w 99"/>
                  <a:gd name="T77" fmla="*/ 57 h 192"/>
                  <a:gd name="T78" fmla="*/ 16 w 99"/>
                  <a:gd name="T79" fmla="*/ 57 h 192"/>
                  <a:gd name="T80" fmla="*/ 16 w 99"/>
                  <a:gd name="T81" fmla="*/ 65 h 192"/>
                  <a:gd name="T82" fmla="*/ 10 w 99"/>
                  <a:gd name="T83" fmla="*/ 80 h 192"/>
                  <a:gd name="T84" fmla="*/ 14 w 99"/>
                  <a:gd name="T85" fmla="*/ 94 h 192"/>
                  <a:gd name="T86" fmla="*/ 16 w 99"/>
                  <a:gd name="T87" fmla="*/ 102 h 192"/>
                  <a:gd name="T88" fmla="*/ 16 w 99"/>
                  <a:gd name="T89" fmla="*/ 106 h 192"/>
                  <a:gd name="T90" fmla="*/ 17 w 99"/>
                  <a:gd name="T91" fmla="*/ 111 h 192"/>
                  <a:gd name="T92" fmla="*/ 11 w 99"/>
                  <a:gd name="T93" fmla="*/ 121 h 192"/>
                  <a:gd name="T94" fmla="*/ 7 w 99"/>
                  <a:gd name="T95" fmla="*/ 130 h 192"/>
                  <a:gd name="T96" fmla="*/ 3 w 99"/>
                  <a:gd name="T97" fmla="*/ 133 h 192"/>
                  <a:gd name="T98" fmla="*/ 0 w 99"/>
                  <a:gd name="T99" fmla="*/ 141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99" h="192">
                    <a:moveTo>
                      <a:pt x="0" y="141"/>
                    </a:moveTo>
                    <a:lnTo>
                      <a:pt x="0" y="142"/>
                    </a:lnTo>
                    <a:lnTo>
                      <a:pt x="0" y="146"/>
                    </a:lnTo>
                    <a:lnTo>
                      <a:pt x="1" y="150"/>
                    </a:lnTo>
                    <a:lnTo>
                      <a:pt x="2" y="154"/>
                    </a:lnTo>
                    <a:lnTo>
                      <a:pt x="5" y="156"/>
                    </a:lnTo>
                    <a:lnTo>
                      <a:pt x="5" y="158"/>
                    </a:lnTo>
                    <a:lnTo>
                      <a:pt x="7" y="163"/>
                    </a:lnTo>
                    <a:lnTo>
                      <a:pt x="6" y="164"/>
                    </a:lnTo>
                    <a:lnTo>
                      <a:pt x="6" y="173"/>
                    </a:lnTo>
                    <a:lnTo>
                      <a:pt x="9" y="177"/>
                    </a:lnTo>
                    <a:lnTo>
                      <a:pt x="10" y="181"/>
                    </a:lnTo>
                    <a:lnTo>
                      <a:pt x="11" y="184"/>
                    </a:lnTo>
                    <a:lnTo>
                      <a:pt x="14" y="185"/>
                    </a:lnTo>
                    <a:lnTo>
                      <a:pt x="17" y="188"/>
                    </a:lnTo>
                    <a:lnTo>
                      <a:pt x="20" y="188"/>
                    </a:lnTo>
                    <a:lnTo>
                      <a:pt x="26" y="192"/>
                    </a:lnTo>
                    <a:lnTo>
                      <a:pt x="32" y="191"/>
                    </a:lnTo>
                    <a:lnTo>
                      <a:pt x="35" y="189"/>
                    </a:lnTo>
                    <a:lnTo>
                      <a:pt x="41" y="186"/>
                    </a:lnTo>
                    <a:lnTo>
                      <a:pt x="48" y="185"/>
                    </a:lnTo>
                    <a:lnTo>
                      <a:pt x="51" y="184"/>
                    </a:lnTo>
                    <a:lnTo>
                      <a:pt x="53" y="181"/>
                    </a:lnTo>
                    <a:lnTo>
                      <a:pt x="56" y="176"/>
                    </a:lnTo>
                    <a:lnTo>
                      <a:pt x="56" y="173"/>
                    </a:lnTo>
                    <a:lnTo>
                      <a:pt x="59" y="166"/>
                    </a:lnTo>
                    <a:lnTo>
                      <a:pt x="60" y="163"/>
                    </a:lnTo>
                    <a:lnTo>
                      <a:pt x="61" y="157"/>
                    </a:lnTo>
                    <a:lnTo>
                      <a:pt x="65" y="145"/>
                    </a:lnTo>
                    <a:lnTo>
                      <a:pt x="68" y="134"/>
                    </a:lnTo>
                    <a:lnTo>
                      <a:pt x="74" y="116"/>
                    </a:lnTo>
                    <a:lnTo>
                      <a:pt x="76" y="111"/>
                    </a:lnTo>
                    <a:lnTo>
                      <a:pt x="75" y="111"/>
                    </a:lnTo>
                    <a:lnTo>
                      <a:pt x="76" y="111"/>
                    </a:lnTo>
                    <a:lnTo>
                      <a:pt x="79" y="99"/>
                    </a:lnTo>
                    <a:lnTo>
                      <a:pt x="84" y="89"/>
                    </a:lnTo>
                    <a:lnTo>
                      <a:pt x="84" y="86"/>
                    </a:lnTo>
                    <a:lnTo>
                      <a:pt x="85" y="85"/>
                    </a:lnTo>
                    <a:lnTo>
                      <a:pt x="85" y="82"/>
                    </a:lnTo>
                    <a:lnTo>
                      <a:pt x="86" y="80"/>
                    </a:lnTo>
                    <a:lnTo>
                      <a:pt x="85" y="72"/>
                    </a:lnTo>
                    <a:lnTo>
                      <a:pt x="87" y="68"/>
                    </a:lnTo>
                    <a:lnTo>
                      <a:pt x="91" y="62"/>
                    </a:lnTo>
                    <a:lnTo>
                      <a:pt x="91" y="60"/>
                    </a:lnTo>
                    <a:lnTo>
                      <a:pt x="88" y="55"/>
                    </a:lnTo>
                    <a:lnTo>
                      <a:pt x="88" y="52"/>
                    </a:lnTo>
                    <a:lnTo>
                      <a:pt x="87" y="49"/>
                    </a:lnTo>
                    <a:lnTo>
                      <a:pt x="89" y="46"/>
                    </a:lnTo>
                    <a:lnTo>
                      <a:pt x="91" y="48"/>
                    </a:lnTo>
                    <a:lnTo>
                      <a:pt x="93" y="51"/>
                    </a:lnTo>
                    <a:lnTo>
                      <a:pt x="94" y="54"/>
                    </a:lnTo>
                    <a:lnTo>
                      <a:pt x="96" y="53"/>
                    </a:lnTo>
                    <a:lnTo>
                      <a:pt x="97" y="49"/>
                    </a:lnTo>
                    <a:lnTo>
                      <a:pt x="99" y="47"/>
                    </a:lnTo>
                    <a:lnTo>
                      <a:pt x="99" y="44"/>
                    </a:lnTo>
                    <a:lnTo>
                      <a:pt x="96" y="39"/>
                    </a:lnTo>
                    <a:lnTo>
                      <a:pt x="95" y="37"/>
                    </a:lnTo>
                    <a:lnTo>
                      <a:pt x="95" y="34"/>
                    </a:lnTo>
                    <a:lnTo>
                      <a:pt x="95" y="31"/>
                    </a:lnTo>
                    <a:lnTo>
                      <a:pt x="94" y="28"/>
                    </a:lnTo>
                    <a:lnTo>
                      <a:pt x="94" y="23"/>
                    </a:lnTo>
                    <a:lnTo>
                      <a:pt x="92" y="15"/>
                    </a:lnTo>
                    <a:lnTo>
                      <a:pt x="91" y="12"/>
                    </a:lnTo>
                    <a:lnTo>
                      <a:pt x="89" y="10"/>
                    </a:lnTo>
                    <a:lnTo>
                      <a:pt x="87" y="8"/>
                    </a:lnTo>
                    <a:lnTo>
                      <a:pt x="86" y="5"/>
                    </a:lnTo>
                    <a:lnTo>
                      <a:pt x="84" y="2"/>
                    </a:lnTo>
                    <a:lnTo>
                      <a:pt x="82" y="3"/>
                    </a:lnTo>
                    <a:lnTo>
                      <a:pt x="84" y="0"/>
                    </a:lnTo>
                    <a:lnTo>
                      <a:pt x="80" y="0"/>
                    </a:lnTo>
                    <a:lnTo>
                      <a:pt x="80" y="2"/>
                    </a:lnTo>
                    <a:lnTo>
                      <a:pt x="78" y="5"/>
                    </a:lnTo>
                    <a:lnTo>
                      <a:pt x="76" y="4"/>
                    </a:lnTo>
                    <a:lnTo>
                      <a:pt x="77" y="6"/>
                    </a:lnTo>
                    <a:lnTo>
                      <a:pt x="78" y="10"/>
                    </a:lnTo>
                    <a:lnTo>
                      <a:pt x="77" y="12"/>
                    </a:lnTo>
                    <a:lnTo>
                      <a:pt x="77" y="13"/>
                    </a:lnTo>
                    <a:lnTo>
                      <a:pt x="77" y="17"/>
                    </a:lnTo>
                    <a:lnTo>
                      <a:pt x="74" y="19"/>
                    </a:lnTo>
                    <a:lnTo>
                      <a:pt x="71" y="20"/>
                    </a:lnTo>
                    <a:lnTo>
                      <a:pt x="69" y="22"/>
                    </a:lnTo>
                    <a:lnTo>
                      <a:pt x="67" y="21"/>
                    </a:lnTo>
                    <a:lnTo>
                      <a:pt x="63" y="21"/>
                    </a:lnTo>
                    <a:lnTo>
                      <a:pt x="63" y="23"/>
                    </a:lnTo>
                    <a:lnTo>
                      <a:pt x="65" y="26"/>
                    </a:lnTo>
                    <a:lnTo>
                      <a:pt x="66" y="28"/>
                    </a:lnTo>
                    <a:lnTo>
                      <a:pt x="63" y="30"/>
                    </a:lnTo>
                    <a:lnTo>
                      <a:pt x="61" y="31"/>
                    </a:lnTo>
                    <a:lnTo>
                      <a:pt x="62" y="35"/>
                    </a:lnTo>
                    <a:lnTo>
                      <a:pt x="65" y="35"/>
                    </a:lnTo>
                    <a:lnTo>
                      <a:pt x="65" y="37"/>
                    </a:lnTo>
                    <a:lnTo>
                      <a:pt x="63" y="36"/>
                    </a:lnTo>
                    <a:lnTo>
                      <a:pt x="61" y="37"/>
                    </a:lnTo>
                    <a:lnTo>
                      <a:pt x="57" y="42"/>
                    </a:lnTo>
                    <a:lnTo>
                      <a:pt x="58" y="37"/>
                    </a:lnTo>
                    <a:lnTo>
                      <a:pt x="56" y="38"/>
                    </a:lnTo>
                    <a:lnTo>
                      <a:pt x="54" y="42"/>
                    </a:lnTo>
                    <a:lnTo>
                      <a:pt x="52" y="44"/>
                    </a:lnTo>
                    <a:lnTo>
                      <a:pt x="54" y="46"/>
                    </a:lnTo>
                    <a:lnTo>
                      <a:pt x="54" y="47"/>
                    </a:lnTo>
                    <a:lnTo>
                      <a:pt x="53" y="47"/>
                    </a:lnTo>
                    <a:lnTo>
                      <a:pt x="52" y="47"/>
                    </a:lnTo>
                    <a:lnTo>
                      <a:pt x="51" y="46"/>
                    </a:lnTo>
                    <a:lnTo>
                      <a:pt x="51" y="44"/>
                    </a:lnTo>
                    <a:lnTo>
                      <a:pt x="45" y="47"/>
                    </a:lnTo>
                    <a:lnTo>
                      <a:pt x="42" y="49"/>
                    </a:lnTo>
                    <a:lnTo>
                      <a:pt x="42" y="52"/>
                    </a:lnTo>
                    <a:lnTo>
                      <a:pt x="44" y="54"/>
                    </a:lnTo>
                    <a:lnTo>
                      <a:pt x="43" y="54"/>
                    </a:lnTo>
                    <a:lnTo>
                      <a:pt x="42" y="54"/>
                    </a:lnTo>
                    <a:lnTo>
                      <a:pt x="42" y="53"/>
                    </a:lnTo>
                    <a:lnTo>
                      <a:pt x="41" y="51"/>
                    </a:lnTo>
                    <a:lnTo>
                      <a:pt x="37" y="53"/>
                    </a:lnTo>
                    <a:lnTo>
                      <a:pt x="34" y="52"/>
                    </a:lnTo>
                    <a:lnTo>
                      <a:pt x="28" y="56"/>
                    </a:lnTo>
                    <a:lnTo>
                      <a:pt x="26" y="54"/>
                    </a:lnTo>
                    <a:lnTo>
                      <a:pt x="24" y="57"/>
                    </a:lnTo>
                    <a:lnTo>
                      <a:pt x="22" y="57"/>
                    </a:lnTo>
                    <a:lnTo>
                      <a:pt x="19" y="57"/>
                    </a:lnTo>
                    <a:lnTo>
                      <a:pt x="16" y="57"/>
                    </a:lnTo>
                    <a:lnTo>
                      <a:pt x="16" y="60"/>
                    </a:lnTo>
                    <a:lnTo>
                      <a:pt x="16" y="63"/>
                    </a:lnTo>
                    <a:lnTo>
                      <a:pt x="16" y="65"/>
                    </a:lnTo>
                    <a:lnTo>
                      <a:pt x="12" y="70"/>
                    </a:lnTo>
                    <a:lnTo>
                      <a:pt x="9" y="75"/>
                    </a:lnTo>
                    <a:lnTo>
                      <a:pt x="10" y="80"/>
                    </a:lnTo>
                    <a:lnTo>
                      <a:pt x="10" y="82"/>
                    </a:lnTo>
                    <a:lnTo>
                      <a:pt x="11" y="88"/>
                    </a:lnTo>
                    <a:lnTo>
                      <a:pt x="14" y="94"/>
                    </a:lnTo>
                    <a:lnTo>
                      <a:pt x="14" y="96"/>
                    </a:lnTo>
                    <a:lnTo>
                      <a:pt x="14" y="99"/>
                    </a:lnTo>
                    <a:lnTo>
                      <a:pt x="16" y="102"/>
                    </a:lnTo>
                    <a:lnTo>
                      <a:pt x="16" y="102"/>
                    </a:lnTo>
                    <a:lnTo>
                      <a:pt x="17" y="105"/>
                    </a:lnTo>
                    <a:lnTo>
                      <a:pt x="16" y="106"/>
                    </a:lnTo>
                    <a:lnTo>
                      <a:pt x="16" y="108"/>
                    </a:lnTo>
                    <a:lnTo>
                      <a:pt x="16" y="109"/>
                    </a:lnTo>
                    <a:lnTo>
                      <a:pt x="17" y="111"/>
                    </a:lnTo>
                    <a:lnTo>
                      <a:pt x="16" y="112"/>
                    </a:lnTo>
                    <a:lnTo>
                      <a:pt x="14" y="115"/>
                    </a:lnTo>
                    <a:lnTo>
                      <a:pt x="11" y="121"/>
                    </a:lnTo>
                    <a:lnTo>
                      <a:pt x="9" y="124"/>
                    </a:lnTo>
                    <a:lnTo>
                      <a:pt x="8" y="126"/>
                    </a:lnTo>
                    <a:lnTo>
                      <a:pt x="7" y="130"/>
                    </a:lnTo>
                    <a:lnTo>
                      <a:pt x="5" y="129"/>
                    </a:lnTo>
                    <a:lnTo>
                      <a:pt x="3" y="131"/>
                    </a:lnTo>
                    <a:lnTo>
                      <a:pt x="3" y="133"/>
                    </a:lnTo>
                    <a:lnTo>
                      <a:pt x="1" y="137"/>
                    </a:lnTo>
                    <a:lnTo>
                      <a:pt x="0" y="141"/>
                    </a:lnTo>
                    <a:lnTo>
                      <a:pt x="0" y="1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1" name="Freeform 107">
                <a:extLst>
                  <a:ext uri="{FF2B5EF4-FFF2-40B4-BE49-F238E27FC236}">
                    <a16:creationId xmlns:a16="http://schemas.microsoft.com/office/drawing/2014/main" id="{88F03789-D113-423D-9396-C173EA35EF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1" y="1341"/>
                <a:ext cx="51" cy="14"/>
              </a:xfrm>
              <a:custGeom>
                <a:avLst/>
                <a:gdLst>
                  <a:gd name="T0" fmla="*/ 0 w 51"/>
                  <a:gd name="T1" fmla="*/ 8 h 14"/>
                  <a:gd name="T2" fmla="*/ 0 w 51"/>
                  <a:gd name="T3" fmla="*/ 9 h 14"/>
                  <a:gd name="T4" fmla="*/ 3 w 51"/>
                  <a:gd name="T5" fmla="*/ 9 h 14"/>
                  <a:gd name="T6" fmla="*/ 9 w 51"/>
                  <a:gd name="T7" fmla="*/ 10 h 14"/>
                  <a:gd name="T8" fmla="*/ 11 w 51"/>
                  <a:gd name="T9" fmla="*/ 10 h 14"/>
                  <a:gd name="T10" fmla="*/ 15 w 51"/>
                  <a:gd name="T11" fmla="*/ 11 h 14"/>
                  <a:gd name="T12" fmla="*/ 15 w 51"/>
                  <a:gd name="T13" fmla="*/ 14 h 14"/>
                  <a:gd name="T14" fmla="*/ 18 w 51"/>
                  <a:gd name="T15" fmla="*/ 14 h 14"/>
                  <a:gd name="T16" fmla="*/ 22 w 51"/>
                  <a:gd name="T17" fmla="*/ 10 h 14"/>
                  <a:gd name="T18" fmla="*/ 26 w 51"/>
                  <a:gd name="T19" fmla="*/ 10 h 14"/>
                  <a:gd name="T20" fmla="*/ 32 w 51"/>
                  <a:gd name="T21" fmla="*/ 7 h 14"/>
                  <a:gd name="T22" fmla="*/ 34 w 51"/>
                  <a:gd name="T23" fmla="*/ 4 h 14"/>
                  <a:gd name="T24" fmla="*/ 37 w 51"/>
                  <a:gd name="T25" fmla="*/ 3 h 14"/>
                  <a:gd name="T26" fmla="*/ 43 w 51"/>
                  <a:gd name="T27" fmla="*/ 7 h 14"/>
                  <a:gd name="T28" fmla="*/ 51 w 51"/>
                  <a:gd name="T29" fmla="*/ 8 h 14"/>
                  <a:gd name="T30" fmla="*/ 50 w 51"/>
                  <a:gd name="T31" fmla="*/ 6 h 14"/>
                  <a:gd name="T32" fmla="*/ 48 w 51"/>
                  <a:gd name="T33" fmla="*/ 2 h 14"/>
                  <a:gd name="T34" fmla="*/ 46 w 51"/>
                  <a:gd name="T35" fmla="*/ 1 h 14"/>
                  <a:gd name="T36" fmla="*/ 39 w 51"/>
                  <a:gd name="T37" fmla="*/ 2 h 14"/>
                  <a:gd name="T38" fmla="*/ 34 w 51"/>
                  <a:gd name="T39" fmla="*/ 0 h 14"/>
                  <a:gd name="T40" fmla="*/ 32 w 51"/>
                  <a:gd name="T41" fmla="*/ 1 h 14"/>
                  <a:gd name="T42" fmla="*/ 28 w 51"/>
                  <a:gd name="T43" fmla="*/ 3 h 14"/>
                  <a:gd name="T44" fmla="*/ 26 w 51"/>
                  <a:gd name="T45" fmla="*/ 3 h 14"/>
                  <a:gd name="T46" fmla="*/ 22 w 51"/>
                  <a:gd name="T47" fmla="*/ 3 h 14"/>
                  <a:gd name="T48" fmla="*/ 17 w 51"/>
                  <a:gd name="T49" fmla="*/ 6 h 14"/>
                  <a:gd name="T50" fmla="*/ 0 w 51"/>
                  <a:gd name="T51" fmla="*/ 8 h 14"/>
                  <a:gd name="T52" fmla="*/ 0 w 51"/>
                  <a:gd name="T53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1" h="14">
                    <a:moveTo>
                      <a:pt x="0" y="8"/>
                    </a:moveTo>
                    <a:lnTo>
                      <a:pt x="0" y="9"/>
                    </a:lnTo>
                    <a:lnTo>
                      <a:pt x="3" y="9"/>
                    </a:lnTo>
                    <a:lnTo>
                      <a:pt x="9" y="10"/>
                    </a:lnTo>
                    <a:lnTo>
                      <a:pt x="11" y="10"/>
                    </a:lnTo>
                    <a:lnTo>
                      <a:pt x="15" y="11"/>
                    </a:lnTo>
                    <a:lnTo>
                      <a:pt x="15" y="14"/>
                    </a:lnTo>
                    <a:lnTo>
                      <a:pt x="18" y="14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32" y="7"/>
                    </a:lnTo>
                    <a:lnTo>
                      <a:pt x="34" y="4"/>
                    </a:lnTo>
                    <a:lnTo>
                      <a:pt x="37" y="3"/>
                    </a:lnTo>
                    <a:lnTo>
                      <a:pt x="43" y="7"/>
                    </a:lnTo>
                    <a:lnTo>
                      <a:pt x="51" y="8"/>
                    </a:lnTo>
                    <a:lnTo>
                      <a:pt x="50" y="6"/>
                    </a:lnTo>
                    <a:lnTo>
                      <a:pt x="48" y="2"/>
                    </a:lnTo>
                    <a:lnTo>
                      <a:pt x="46" y="1"/>
                    </a:lnTo>
                    <a:lnTo>
                      <a:pt x="39" y="2"/>
                    </a:lnTo>
                    <a:lnTo>
                      <a:pt x="34" y="0"/>
                    </a:lnTo>
                    <a:lnTo>
                      <a:pt x="32" y="1"/>
                    </a:lnTo>
                    <a:lnTo>
                      <a:pt x="28" y="3"/>
                    </a:lnTo>
                    <a:lnTo>
                      <a:pt x="26" y="3"/>
                    </a:lnTo>
                    <a:lnTo>
                      <a:pt x="22" y="3"/>
                    </a:lnTo>
                    <a:lnTo>
                      <a:pt x="17" y="6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2" name="Freeform 108">
                <a:extLst>
                  <a:ext uri="{FF2B5EF4-FFF2-40B4-BE49-F238E27FC236}">
                    <a16:creationId xmlns:a16="http://schemas.microsoft.com/office/drawing/2014/main" id="{1A92046C-A7DD-4066-8B97-E8BD4A2404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5" y="1340"/>
                <a:ext cx="68" cy="26"/>
              </a:xfrm>
              <a:custGeom>
                <a:avLst/>
                <a:gdLst>
                  <a:gd name="T0" fmla="*/ 14 w 68"/>
                  <a:gd name="T1" fmla="*/ 26 h 26"/>
                  <a:gd name="T2" fmla="*/ 23 w 68"/>
                  <a:gd name="T3" fmla="*/ 25 h 26"/>
                  <a:gd name="T4" fmla="*/ 29 w 68"/>
                  <a:gd name="T5" fmla="*/ 24 h 26"/>
                  <a:gd name="T6" fmla="*/ 28 w 68"/>
                  <a:gd name="T7" fmla="*/ 19 h 26"/>
                  <a:gd name="T8" fmla="*/ 39 w 68"/>
                  <a:gd name="T9" fmla="*/ 17 h 26"/>
                  <a:gd name="T10" fmla="*/ 41 w 68"/>
                  <a:gd name="T11" fmla="*/ 13 h 26"/>
                  <a:gd name="T12" fmla="*/ 55 w 68"/>
                  <a:gd name="T13" fmla="*/ 11 h 26"/>
                  <a:gd name="T14" fmla="*/ 62 w 68"/>
                  <a:gd name="T15" fmla="*/ 9 h 26"/>
                  <a:gd name="T16" fmla="*/ 68 w 68"/>
                  <a:gd name="T17" fmla="*/ 8 h 26"/>
                  <a:gd name="T18" fmla="*/ 61 w 68"/>
                  <a:gd name="T19" fmla="*/ 3 h 26"/>
                  <a:gd name="T20" fmla="*/ 53 w 68"/>
                  <a:gd name="T21" fmla="*/ 4 h 26"/>
                  <a:gd name="T22" fmla="*/ 51 w 68"/>
                  <a:gd name="T23" fmla="*/ 3 h 26"/>
                  <a:gd name="T24" fmla="*/ 56 w 68"/>
                  <a:gd name="T25" fmla="*/ 0 h 26"/>
                  <a:gd name="T26" fmla="*/ 45 w 68"/>
                  <a:gd name="T27" fmla="*/ 1 h 26"/>
                  <a:gd name="T28" fmla="*/ 45 w 68"/>
                  <a:gd name="T29" fmla="*/ 0 h 26"/>
                  <a:gd name="T30" fmla="*/ 39 w 68"/>
                  <a:gd name="T31" fmla="*/ 1 h 26"/>
                  <a:gd name="T32" fmla="*/ 34 w 68"/>
                  <a:gd name="T33" fmla="*/ 5 h 26"/>
                  <a:gd name="T34" fmla="*/ 39 w 68"/>
                  <a:gd name="T35" fmla="*/ 5 h 26"/>
                  <a:gd name="T36" fmla="*/ 36 w 68"/>
                  <a:gd name="T37" fmla="*/ 8 h 26"/>
                  <a:gd name="T38" fmla="*/ 31 w 68"/>
                  <a:gd name="T39" fmla="*/ 12 h 26"/>
                  <a:gd name="T40" fmla="*/ 26 w 68"/>
                  <a:gd name="T41" fmla="*/ 12 h 26"/>
                  <a:gd name="T42" fmla="*/ 20 w 68"/>
                  <a:gd name="T43" fmla="*/ 11 h 26"/>
                  <a:gd name="T44" fmla="*/ 9 w 68"/>
                  <a:gd name="T45" fmla="*/ 15 h 26"/>
                  <a:gd name="T46" fmla="*/ 18 w 68"/>
                  <a:gd name="T47" fmla="*/ 13 h 26"/>
                  <a:gd name="T48" fmla="*/ 14 w 68"/>
                  <a:gd name="T49" fmla="*/ 16 h 26"/>
                  <a:gd name="T50" fmla="*/ 14 w 68"/>
                  <a:gd name="T51" fmla="*/ 19 h 26"/>
                  <a:gd name="T52" fmla="*/ 3 w 68"/>
                  <a:gd name="T53" fmla="*/ 17 h 26"/>
                  <a:gd name="T54" fmla="*/ 1 w 68"/>
                  <a:gd name="T55" fmla="*/ 20 h 26"/>
                  <a:gd name="T56" fmla="*/ 10 w 68"/>
                  <a:gd name="T57" fmla="*/ 21 h 26"/>
                  <a:gd name="T58" fmla="*/ 15 w 68"/>
                  <a:gd name="T59" fmla="*/ 20 h 26"/>
                  <a:gd name="T60" fmla="*/ 15 w 68"/>
                  <a:gd name="T61" fmla="*/ 22 h 26"/>
                  <a:gd name="T62" fmla="*/ 12 w 68"/>
                  <a:gd name="T63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8" h="26">
                    <a:moveTo>
                      <a:pt x="12" y="25"/>
                    </a:moveTo>
                    <a:lnTo>
                      <a:pt x="14" y="26"/>
                    </a:lnTo>
                    <a:lnTo>
                      <a:pt x="20" y="25"/>
                    </a:lnTo>
                    <a:lnTo>
                      <a:pt x="23" y="25"/>
                    </a:lnTo>
                    <a:lnTo>
                      <a:pt x="23" y="22"/>
                    </a:lnTo>
                    <a:lnTo>
                      <a:pt x="29" y="24"/>
                    </a:lnTo>
                    <a:lnTo>
                      <a:pt x="31" y="21"/>
                    </a:lnTo>
                    <a:lnTo>
                      <a:pt x="28" y="19"/>
                    </a:lnTo>
                    <a:lnTo>
                      <a:pt x="28" y="17"/>
                    </a:lnTo>
                    <a:lnTo>
                      <a:pt x="39" y="17"/>
                    </a:lnTo>
                    <a:lnTo>
                      <a:pt x="43" y="16"/>
                    </a:lnTo>
                    <a:lnTo>
                      <a:pt x="41" y="13"/>
                    </a:lnTo>
                    <a:lnTo>
                      <a:pt x="46" y="12"/>
                    </a:lnTo>
                    <a:lnTo>
                      <a:pt x="55" y="11"/>
                    </a:lnTo>
                    <a:lnTo>
                      <a:pt x="58" y="11"/>
                    </a:lnTo>
                    <a:lnTo>
                      <a:pt x="62" y="9"/>
                    </a:lnTo>
                    <a:lnTo>
                      <a:pt x="64" y="9"/>
                    </a:lnTo>
                    <a:lnTo>
                      <a:pt x="68" y="8"/>
                    </a:lnTo>
                    <a:lnTo>
                      <a:pt x="64" y="5"/>
                    </a:lnTo>
                    <a:lnTo>
                      <a:pt x="61" y="3"/>
                    </a:lnTo>
                    <a:lnTo>
                      <a:pt x="55" y="4"/>
                    </a:lnTo>
                    <a:lnTo>
                      <a:pt x="53" y="4"/>
                    </a:lnTo>
                    <a:lnTo>
                      <a:pt x="49" y="5"/>
                    </a:lnTo>
                    <a:lnTo>
                      <a:pt x="51" y="3"/>
                    </a:lnTo>
                    <a:lnTo>
                      <a:pt x="57" y="2"/>
                    </a:lnTo>
                    <a:lnTo>
                      <a:pt x="56" y="0"/>
                    </a:lnTo>
                    <a:lnTo>
                      <a:pt x="47" y="1"/>
                    </a:lnTo>
                    <a:lnTo>
                      <a:pt x="45" y="1"/>
                    </a:lnTo>
                    <a:lnTo>
                      <a:pt x="48" y="0"/>
                    </a:lnTo>
                    <a:lnTo>
                      <a:pt x="45" y="0"/>
                    </a:lnTo>
                    <a:lnTo>
                      <a:pt x="43" y="0"/>
                    </a:lnTo>
                    <a:lnTo>
                      <a:pt x="39" y="1"/>
                    </a:lnTo>
                    <a:lnTo>
                      <a:pt x="31" y="3"/>
                    </a:lnTo>
                    <a:lnTo>
                      <a:pt x="34" y="5"/>
                    </a:lnTo>
                    <a:lnTo>
                      <a:pt x="37" y="5"/>
                    </a:lnTo>
                    <a:lnTo>
                      <a:pt x="39" y="5"/>
                    </a:lnTo>
                    <a:lnTo>
                      <a:pt x="39" y="8"/>
                    </a:lnTo>
                    <a:lnTo>
                      <a:pt x="36" y="8"/>
                    </a:lnTo>
                    <a:lnTo>
                      <a:pt x="34" y="10"/>
                    </a:lnTo>
                    <a:lnTo>
                      <a:pt x="31" y="12"/>
                    </a:lnTo>
                    <a:lnTo>
                      <a:pt x="28" y="12"/>
                    </a:lnTo>
                    <a:lnTo>
                      <a:pt x="26" y="12"/>
                    </a:lnTo>
                    <a:lnTo>
                      <a:pt x="22" y="10"/>
                    </a:lnTo>
                    <a:lnTo>
                      <a:pt x="20" y="11"/>
                    </a:lnTo>
                    <a:lnTo>
                      <a:pt x="17" y="11"/>
                    </a:lnTo>
                    <a:lnTo>
                      <a:pt x="9" y="15"/>
                    </a:lnTo>
                    <a:lnTo>
                      <a:pt x="14" y="13"/>
                    </a:lnTo>
                    <a:lnTo>
                      <a:pt x="18" y="13"/>
                    </a:lnTo>
                    <a:lnTo>
                      <a:pt x="20" y="15"/>
                    </a:lnTo>
                    <a:lnTo>
                      <a:pt x="14" y="16"/>
                    </a:lnTo>
                    <a:lnTo>
                      <a:pt x="17" y="17"/>
                    </a:lnTo>
                    <a:lnTo>
                      <a:pt x="14" y="19"/>
                    </a:lnTo>
                    <a:lnTo>
                      <a:pt x="6" y="19"/>
                    </a:lnTo>
                    <a:lnTo>
                      <a:pt x="3" y="17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4" y="22"/>
                    </a:lnTo>
                    <a:lnTo>
                      <a:pt x="10" y="21"/>
                    </a:lnTo>
                    <a:lnTo>
                      <a:pt x="12" y="20"/>
                    </a:lnTo>
                    <a:lnTo>
                      <a:pt x="15" y="20"/>
                    </a:lnTo>
                    <a:lnTo>
                      <a:pt x="18" y="22"/>
                    </a:lnTo>
                    <a:lnTo>
                      <a:pt x="15" y="22"/>
                    </a:lnTo>
                    <a:lnTo>
                      <a:pt x="12" y="25"/>
                    </a:lnTo>
                    <a:lnTo>
                      <a:pt x="12" y="25"/>
                    </a:lnTo>
                    <a:lnTo>
                      <a:pt x="12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3" name="Freeform 109">
                <a:extLst>
                  <a:ext uri="{FF2B5EF4-FFF2-40B4-BE49-F238E27FC236}">
                    <a16:creationId xmlns:a16="http://schemas.microsoft.com/office/drawing/2014/main" id="{B979AC05-9150-4342-BBF3-93C8120C5B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5" y="1361"/>
                <a:ext cx="7" cy="6"/>
              </a:xfrm>
              <a:custGeom>
                <a:avLst/>
                <a:gdLst>
                  <a:gd name="T0" fmla="*/ 3 w 7"/>
                  <a:gd name="T1" fmla="*/ 5 h 6"/>
                  <a:gd name="T2" fmla="*/ 3 w 7"/>
                  <a:gd name="T3" fmla="*/ 6 h 6"/>
                  <a:gd name="T4" fmla="*/ 6 w 7"/>
                  <a:gd name="T5" fmla="*/ 4 h 6"/>
                  <a:gd name="T6" fmla="*/ 7 w 7"/>
                  <a:gd name="T7" fmla="*/ 0 h 6"/>
                  <a:gd name="T8" fmla="*/ 5 w 7"/>
                  <a:gd name="T9" fmla="*/ 0 h 6"/>
                  <a:gd name="T10" fmla="*/ 1 w 7"/>
                  <a:gd name="T11" fmla="*/ 0 h 6"/>
                  <a:gd name="T12" fmla="*/ 0 w 7"/>
                  <a:gd name="T13" fmla="*/ 4 h 6"/>
                  <a:gd name="T14" fmla="*/ 3 w 7"/>
                  <a:gd name="T15" fmla="*/ 5 h 6"/>
                  <a:gd name="T16" fmla="*/ 3 w 7"/>
                  <a:gd name="T17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6">
                    <a:moveTo>
                      <a:pt x="3" y="5"/>
                    </a:moveTo>
                    <a:lnTo>
                      <a:pt x="3" y="6"/>
                    </a:lnTo>
                    <a:lnTo>
                      <a:pt x="6" y="4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1" y="0"/>
                    </a:lnTo>
                    <a:lnTo>
                      <a:pt x="0" y="4"/>
                    </a:lnTo>
                    <a:lnTo>
                      <a:pt x="3" y="5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4" name="Freeform 110">
                <a:extLst>
                  <a:ext uri="{FF2B5EF4-FFF2-40B4-BE49-F238E27FC236}">
                    <a16:creationId xmlns:a16="http://schemas.microsoft.com/office/drawing/2014/main" id="{99600106-7BC6-49C7-B50E-5975D0B604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1" y="1365"/>
                <a:ext cx="18" cy="5"/>
              </a:xfrm>
              <a:custGeom>
                <a:avLst/>
                <a:gdLst>
                  <a:gd name="T0" fmla="*/ 7 w 18"/>
                  <a:gd name="T1" fmla="*/ 3 h 5"/>
                  <a:gd name="T2" fmla="*/ 6 w 18"/>
                  <a:gd name="T3" fmla="*/ 4 h 5"/>
                  <a:gd name="T4" fmla="*/ 2 w 18"/>
                  <a:gd name="T5" fmla="*/ 3 h 5"/>
                  <a:gd name="T6" fmla="*/ 0 w 18"/>
                  <a:gd name="T7" fmla="*/ 4 h 5"/>
                  <a:gd name="T8" fmla="*/ 3 w 18"/>
                  <a:gd name="T9" fmla="*/ 5 h 5"/>
                  <a:gd name="T10" fmla="*/ 15 w 18"/>
                  <a:gd name="T11" fmla="*/ 5 h 5"/>
                  <a:gd name="T12" fmla="*/ 18 w 18"/>
                  <a:gd name="T13" fmla="*/ 5 h 5"/>
                  <a:gd name="T14" fmla="*/ 15 w 18"/>
                  <a:gd name="T15" fmla="*/ 3 h 5"/>
                  <a:gd name="T16" fmla="*/ 15 w 18"/>
                  <a:gd name="T17" fmla="*/ 2 h 5"/>
                  <a:gd name="T18" fmla="*/ 12 w 18"/>
                  <a:gd name="T19" fmla="*/ 0 h 5"/>
                  <a:gd name="T20" fmla="*/ 9 w 18"/>
                  <a:gd name="T21" fmla="*/ 2 h 5"/>
                  <a:gd name="T22" fmla="*/ 7 w 18"/>
                  <a:gd name="T23" fmla="*/ 3 h 5"/>
                  <a:gd name="T24" fmla="*/ 7 w 18"/>
                  <a:gd name="T2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" h="5">
                    <a:moveTo>
                      <a:pt x="7" y="3"/>
                    </a:moveTo>
                    <a:lnTo>
                      <a:pt x="6" y="4"/>
                    </a:lnTo>
                    <a:lnTo>
                      <a:pt x="2" y="3"/>
                    </a:lnTo>
                    <a:lnTo>
                      <a:pt x="0" y="4"/>
                    </a:lnTo>
                    <a:lnTo>
                      <a:pt x="3" y="5"/>
                    </a:lnTo>
                    <a:lnTo>
                      <a:pt x="15" y="5"/>
                    </a:lnTo>
                    <a:lnTo>
                      <a:pt x="18" y="5"/>
                    </a:lnTo>
                    <a:lnTo>
                      <a:pt x="15" y="3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2"/>
                    </a:lnTo>
                    <a:lnTo>
                      <a:pt x="7" y="3"/>
                    </a:lnTo>
                    <a:lnTo>
                      <a:pt x="7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5" name="Freeform 111">
                <a:extLst>
                  <a:ext uri="{FF2B5EF4-FFF2-40B4-BE49-F238E27FC236}">
                    <a16:creationId xmlns:a16="http://schemas.microsoft.com/office/drawing/2014/main" id="{ABEA6274-FBB3-4F3E-A4B9-534662087E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4" y="1332"/>
                <a:ext cx="8" cy="4"/>
              </a:xfrm>
              <a:custGeom>
                <a:avLst/>
                <a:gdLst>
                  <a:gd name="T0" fmla="*/ 2 w 8"/>
                  <a:gd name="T1" fmla="*/ 3 h 4"/>
                  <a:gd name="T2" fmla="*/ 0 w 8"/>
                  <a:gd name="T3" fmla="*/ 4 h 4"/>
                  <a:gd name="T4" fmla="*/ 6 w 8"/>
                  <a:gd name="T5" fmla="*/ 2 h 4"/>
                  <a:gd name="T6" fmla="*/ 8 w 8"/>
                  <a:gd name="T7" fmla="*/ 1 h 4"/>
                  <a:gd name="T8" fmla="*/ 6 w 8"/>
                  <a:gd name="T9" fmla="*/ 0 h 4"/>
                  <a:gd name="T10" fmla="*/ 4 w 8"/>
                  <a:gd name="T11" fmla="*/ 0 h 4"/>
                  <a:gd name="T12" fmla="*/ 0 w 8"/>
                  <a:gd name="T13" fmla="*/ 1 h 4"/>
                  <a:gd name="T14" fmla="*/ 2 w 8"/>
                  <a:gd name="T15" fmla="*/ 3 h 4"/>
                  <a:gd name="T16" fmla="*/ 2 w 8"/>
                  <a:gd name="T1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4">
                    <a:moveTo>
                      <a:pt x="2" y="3"/>
                    </a:moveTo>
                    <a:lnTo>
                      <a:pt x="0" y="4"/>
                    </a:lnTo>
                    <a:lnTo>
                      <a:pt x="6" y="2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1"/>
                    </a:lnTo>
                    <a:lnTo>
                      <a:pt x="2" y="3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6" name="Freeform 112">
                <a:extLst>
                  <a:ext uri="{FF2B5EF4-FFF2-40B4-BE49-F238E27FC236}">
                    <a16:creationId xmlns:a16="http://schemas.microsoft.com/office/drawing/2014/main" id="{C7E71EBB-725C-4D5A-A786-F3F55B274B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9" y="1458"/>
                <a:ext cx="239" cy="172"/>
              </a:xfrm>
              <a:custGeom>
                <a:avLst/>
                <a:gdLst>
                  <a:gd name="T0" fmla="*/ 24 w 239"/>
                  <a:gd name="T1" fmla="*/ 111 h 172"/>
                  <a:gd name="T2" fmla="*/ 14 w 239"/>
                  <a:gd name="T3" fmla="*/ 117 h 172"/>
                  <a:gd name="T4" fmla="*/ 23 w 239"/>
                  <a:gd name="T5" fmla="*/ 121 h 172"/>
                  <a:gd name="T6" fmla="*/ 14 w 239"/>
                  <a:gd name="T7" fmla="*/ 131 h 172"/>
                  <a:gd name="T8" fmla="*/ 2 w 239"/>
                  <a:gd name="T9" fmla="*/ 134 h 172"/>
                  <a:gd name="T10" fmla="*/ 5 w 239"/>
                  <a:gd name="T11" fmla="*/ 149 h 172"/>
                  <a:gd name="T12" fmla="*/ 21 w 239"/>
                  <a:gd name="T13" fmla="*/ 150 h 172"/>
                  <a:gd name="T14" fmla="*/ 33 w 239"/>
                  <a:gd name="T15" fmla="*/ 150 h 172"/>
                  <a:gd name="T16" fmla="*/ 38 w 239"/>
                  <a:gd name="T17" fmla="*/ 158 h 172"/>
                  <a:gd name="T18" fmla="*/ 26 w 239"/>
                  <a:gd name="T19" fmla="*/ 165 h 172"/>
                  <a:gd name="T20" fmla="*/ 40 w 239"/>
                  <a:gd name="T21" fmla="*/ 167 h 172"/>
                  <a:gd name="T22" fmla="*/ 52 w 239"/>
                  <a:gd name="T23" fmla="*/ 172 h 172"/>
                  <a:gd name="T24" fmla="*/ 60 w 239"/>
                  <a:gd name="T25" fmla="*/ 168 h 172"/>
                  <a:gd name="T26" fmla="*/ 69 w 239"/>
                  <a:gd name="T27" fmla="*/ 167 h 172"/>
                  <a:gd name="T28" fmla="*/ 77 w 239"/>
                  <a:gd name="T29" fmla="*/ 169 h 172"/>
                  <a:gd name="T30" fmla="*/ 65 w 239"/>
                  <a:gd name="T31" fmla="*/ 155 h 172"/>
                  <a:gd name="T32" fmla="*/ 55 w 239"/>
                  <a:gd name="T33" fmla="*/ 135 h 172"/>
                  <a:gd name="T34" fmla="*/ 51 w 239"/>
                  <a:gd name="T35" fmla="*/ 124 h 172"/>
                  <a:gd name="T36" fmla="*/ 60 w 239"/>
                  <a:gd name="T37" fmla="*/ 116 h 172"/>
                  <a:gd name="T38" fmla="*/ 65 w 239"/>
                  <a:gd name="T39" fmla="*/ 111 h 172"/>
                  <a:gd name="T40" fmla="*/ 61 w 239"/>
                  <a:gd name="T41" fmla="*/ 108 h 172"/>
                  <a:gd name="T42" fmla="*/ 59 w 239"/>
                  <a:gd name="T43" fmla="*/ 101 h 172"/>
                  <a:gd name="T44" fmla="*/ 47 w 239"/>
                  <a:gd name="T45" fmla="*/ 98 h 172"/>
                  <a:gd name="T46" fmla="*/ 64 w 239"/>
                  <a:gd name="T47" fmla="*/ 99 h 172"/>
                  <a:gd name="T48" fmla="*/ 78 w 239"/>
                  <a:gd name="T49" fmla="*/ 99 h 172"/>
                  <a:gd name="T50" fmla="*/ 79 w 239"/>
                  <a:gd name="T51" fmla="*/ 95 h 172"/>
                  <a:gd name="T52" fmla="*/ 70 w 239"/>
                  <a:gd name="T53" fmla="*/ 87 h 172"/>
                  <a:gd name="T54" fmla="*/ 87 w 239"/>
                  <a:gd name="T55" fmla="*/ 84 h 172"/>
                  <a:gd name="T56" fmla="*/ 88 w 239"/>
                  <a:gd name="T57" fmla="*/ 83 h 172"/>
                  <a:gd name="T58" fmla="*/ 100 w 239"/>
                  <a:gd name="T59" fmla="*/ 77 h 172"/>
                  <a:gd name="T60" fmla="*/ 105 w 239"/>
                  <a:gd name="T61" fmla="*/ 70 h 172"/>
                  <a:gd name="T62" fmla="*/ 115 w 239"/>
                  <a:gd name="T63" fmla="*/ 64 h 172"/>
                  <a:gd name="T64" fmla="*/ 122 w 239"/>
                  <a:gd name="T65" fmla="*/ 61 h 172"/>
                  <a:gd name="T66" fmla="*/ 117 w 239"/>
                  <a:gd name="T67" fmla="*/ 56 h 172"/>
                  <a:gd name="T68" fmla="*/ 136 w 239"/>
                  <a:gd name="T69" fmla="*/ 49 h 172"/>
                  <a:gd name="T70" fmla="*/ 155 w 239"/>
                  <a:gd name="T71" fmla="*/ 41 h 172"/>
                  <a:gd name="T72" fmla="*/ 170 w 239"/>
                  <a:gd name="T73" fmla="*/ 38 h 172"/>
                  <a:gd name="T74" fmla="*/ 201 w 239"/>
                  <a:gd name="T75" fmla="*/ 30 h 172"/>
                  <a:gd name="T76" fmla="*/ 220 w 239"/>
                  <a:gd name="T77" fmla="*/ 23 h 172"/>
                  <a:gd name="T78" fmla="*/ 237 w 239"/>
                  <a:gd name="T79" fmla="*/ 14 h 172"/>
                  <a:gd name="T80" fmla="*/ 232 w 239"/>
                  <a:gd name="T81" fmla="*/ 2 h 172"/>
                  <a:gd name="T82" fmla="*/ 209 w 239"/>
                  <a:gd name="T83" fmla="*/ 3 h 172"/>
                  <a:gd name="T84" fmla="*/ 190 w 239"/>
                  <a:gd name="T85" fmla="*/ 14 h 172"/>
                  <a:gd name="T86" fmla="*/ 168 w 239"/>
                  <a:gd name="T87" fmla="*/ 19 h 172"/>
                  <a:gd name="T88" fmla="*/ 149 w 239"/>
                  <a:gd name="T89" fmla="*/ 21 h 172"/>
                  <a:gd name="T90" fmla="*/ 132 w 239"/>
                  <a:gd name="T91" fmla="*/ 27 h 172"/>
                  <a:gd name="T92" fmla="*/ 120 w 239"/>
                  <a:gd name="T93" fmla="*/ 29 h 172"/>
                  <a:gd name="T94" fmla="*/ 103 w 239"/>
                  <a:gd name="T95" fmla="*/ 32 h 172"/>
                  <a:gd name="T96" fmla="*/ 85 w 239"/>
                  <a:gd name="T97" fmla="*/ 41 h 172"/>
                  <a:gd name="T98" fmla="*/ 74 w 239"/>
                  <a:gd name="T99" fmla="*/ 47 h 172"/>
                  <a:gd name="T100" fmla="*/ 61 w 239"/>
                  <a:gd name="T101" fmla="*/ 52 h 172"/>
                  <a:gd name="T102" fmla="*/ 72 w 239"/>
                  <a:gd name="T103" fmla="*/ 57 h 172"/>
                  <a:gd name="T104" fmla="*/ 72 w 239"/>
                  <a:gd name="T105" fmla="*/ 65 h 172"/>
                  <a:gd name="T106" fmla="*/ 56 w 239"/>
                  <a:gd name="T107" fmla="*/ 69 h 172"/>
                  <a:gd name="T108" fmla="*/ 52 w 239"/>
                  <a:gd name="T109" fmla="*/ 74 h 172"/>
                  <a:gd name="T110" fmla="*/ 56 w 239"/>
                  <a:gd name="T111" fmla="*/ 78 h 172"/>
                  <a:gd name="T112" fmla="*/ 42 w 239"/>
                  <a:gd name="T113" fmla="*/ 84 h 172"/>
                  <a:gd name="T114" fmla="*/ 33 w 239"/>
                  <a:gd name="T115" fmla="*/ 92 h 172"/>
                  <a:gd name="T116" fmla="*/ 48 w 239"/>
                  <a:gd name="T117" fmla="*/ 91 h 172"/>
                  <a:gd name="T118" fmla="*/ 39 w 239"/>
                  <a:gd name="T119" fmla="*/ 101 h 172"/>
                  <a:gd name="T120" fmla="*/ 28 w 239"/>
                  <a:gd name="T121" fmla="*/ 10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39" h="172">
                    <a:moveTo>
                      <a:pt x="26" y="104"/>
                    </a:moveTo>
                    <a:lnTo>
                      <a:pt x="25" y="105"/>
                    </a:lnTo>
                    <a:lnTo>
                      <a:pt x="24" y="108"/>
                    </a:lnTo>
                    <a:lnTo>
                      <a:pt x="26" y="109"/>
                    </a:lnTo>
                    <a:lnTo>
                      <a:pt x="24" y="111"/>
                    </a:lnTo>
                    <a:lnTo>
                      <a:pt x="26" y="113"/>
                    </a:lnTo>
                    <a:lnTo>
                      <a:pt x="21" y="112"/>
                    </a:lnTo>
                    <a:lnTo>
                      <a:pt x="17" y="113"/>
                    </a:lnTo>
                    <a:lnTo>
                      <a:pt x="15" y="115"/>
                    </a:lnTo>
                    <a:lnTo>
                      <a:pt x="14" y="117"/>
                    </a:lnTo>
                    <a:lnTo>
                      <a:pt x="17" y="118"/>
                    </a:lnTo>
                    <a:lnTo>
                      <a:pt x="19" y="118"/>
                    </a:lnTo>
                    <a:lnTo>
                      <a:pt x="23" y="118"/>
                    </a:lnTo>
                    <a:lnTo>
                      <a:pt x="19" y="121"/>
                    </a:lnTo>
                    <a:lnTo>
                      <a:pt x="23" y="121"/>
                    </a:lnTo>
                    <a:lnTo>
                      <a:pt x="17" y="124"/>
                    </a:lnTo>
                    <a:lnTo>
                      <a:pt x="19" y="126"/>
                    </a:lnTo>
                    <a:lnTo>
                      <a:pt x="16" y="128"/>
                    </a:lnTo>
                    <a:lnTo>
                      <a:pt x="14" y="129"/>
                    </a:lnTo>
                    <a:lnTo>
                      <a:pt x="14" y="131"/>
                    </a:lnTo>
                    <a:lnTo>
                      <a:pt x="13" y="134"/>
                    </a:lnTo>
                    <a:lnTo>
                      <a:pt x="10" y="132"/>
                    </a:lnTo>
                    <a:lnTo>
                      <a:pt x="7" y="133"/>
                    </a:lnTo>
                    <a:lnTo>
                      <a:pt x="5" y="132"/>
                    </a:lnTo>
                    <a:lnTo>
                      <a:pt x="2" y="134"/>
                    </a:lnTo>
                    <a:lnTo>
                      <a:pt x="0" y="137"/>
                    </a:lnTo>
                    <a:lnTo>
                      <a:pt x="0" y="139"/>
                    </a:lnTo>
                    <a:lnTo>
                      <a:pt x="0" y="142"/>
                    </a:lnTo>
                    <a:lnTo>
                      <a:pt x="2" y="148"/>
                    </a:lnTo>
                    <a:lnTo>
                      <a:pt x="5" y="149"/>
                    </a:lnTo>
                    <a:lnTo>
                      <a:pt x="8" y="149"/>
                    </a:lnTo>
                    <a:lnTo>
                      <a:pt x="10" y="147"/>
                    </a:lnTo>
                    <a:lnTo>
                      <a:pt x="17" y="147"/>
                    </a:lnTo>
                    <a:lnTo>
                      <a:pt x="18" y="150"/>
                    </a:lnTo>
                    <a:lnTo>
                      <a:pt x="21" y="150"/>
                    </a:lnTo>
                    <a:lnTo>
                      <a:pt x="26" y="148"/>
                    </a:lnTo>
                    <a:lnTo>
                      <a:pt x="26" y="151"/>
                    </a:lnTo>
                    <a:lnTo>
                      <a:pt x="28" y="154"/>
                    </a:lnTo>
                    <a:lnTo>
                      <a:pt x="31" y="151"/>
                    </a:lnTo>
                    <a:lnTo>
                      <a:pt x="33" y="150"/>
                    </a:lnTo>
                    <a:lnTo>
                      <a:pt x="31" y="152"/>
                    </a:lnTo>
                    <a:lnTo>
                      <a:pt x="27" y="155"/>
                    </a:lnTo>
                    <a:lnTo>
                      <a:pt x="31" y="156"/>
                    </a:lnTo>
                    <a:lnTo>
                      <a:pt x="36" y="156"/>
                    </a:lnTo>
                    <a:lnTo>
                      <a:pt x="38" y="158"/>
                    </a:lnTo>
                    <a:lnTo>
                      <a:pt x="34" y="157"/>
                    </a:lnTo>
                    <a:lnTo>
                      <a:pt x="28" y="160"/>
                    </a:lnTo>
                    <a:lnTo>
                      <a:pt x="32" y="163"/>
                    </a:lnTo>
                    <a:lnTo>
                      <a:pt x="28" y="164"/>
                    </a:lnTo>
                    <a:lnTo>
                      <a:pt x="26" y="165"/>
                    </a:lnTo>
                    <a:lnTo>
                      <a:pt x="28" y="165"/>
                    </a:lnTo>
                    <a:lnTo>
                      <a:pt x="32" y="166"/>
                    </a:lnTo>
                    <a:lnTo>
                      <a:pt x="34" y="166"/>
                    </a:lnTo>
                    <a:lnTo>
                      <a:pt x="38" y="167"/>
                    </a:lnTo>
                    <a:lnTo>
                      <a:pt x="40" y="167"/>
                    </a:lnTo>
                    <a:lnTo>
                      <a:pt x="43" y="169"/>
                    </a:lnTo>
                    <a:lnTo>
                      <a:pt x="45" y="169"/>
                    </a:lnTo>
                    <a:lnTo>
                      <a:pt x="43" y="166"/>
                    </a:lnTo>
                    <a:lnTo>
                      <a:pt x="47" y="169"/>
                    </a:lnTo>
                    <a:lnTo>
                      <a:pt x="52" y="172"/>
                    </a:lnTo>
                    <a:lnTo>
                      <a:pt x="52" y="169"/>
                    </a:lnTo>
                    <a:lnTo>
                      <a:pt x="56" y="167"/>
                    </a:lnTo>
                    <a:lnTo>
                      <a:pt x="58" y="171"/>
                    </a:lnTo>
                    <a:lnTo>
                      <a:pt x="64" y="172"/>
                    </a:lnTo>
                    <a:lnTo>
                      <a:pt x="60" y="168"/>
                    </a:lnTo>
                    <a:lnTo>
                      <a:pt x="66" y="171"/>
                    </a:lnTo>
                    <a:lnTo>
                      <a:pt x="69" y="172"/>
                    </a:lnTo>
                    <a:lnTo>
                      <a:pt x="72" y="171"/>
                    </a:lnTo>
                    <a:lnTo>
                      <a:pt x="66" y="167"/>
                    </a:lnTo>
                    <a:lnTo>
                      <a:pt x="69" y="167"/>
                    </a:lnTo>
                    <a:lnTo>
                      <a:pt x="72" y="169"/>
                    </a:lnTo>
                    <a:lnTo>
                      <a:pt x="74" y="171"/>
                    </a:lnTo>
                    <a:lnTo>
                      <a:pt x="79" y="172"/>
                    </a:lnTo>
                    <a:lnTo>
                      <a:pt x="74" y="169"/>
                    </a:lnTo>
                    <a:lnTo>
                      <a:pt x="77" y="169"/>
                    </a:lnTo>
                    <a:lnTo>
                      <a:pt x="81" y="171"/>
                    </a:lnTo>
                    <a:lnTo>
                      <a:pt x="83" y="169"/>
                    </a:lnTo>
                    <a:lnTo>
                      <a:pt x="84" y="167"/>
                    </a:lnTo>
                    <a:lnTo>
                      <a:pt x="75" y="164"/>
                    </a:lnTo>
                    <a:lnTo>
                      <a:pt x="65" y="155"/>
                    </a:lnTo>
                    <a:lnTo>
                      <a:pt x="62" y="152"/>
                    </a:lnTo>
                    <a:lnTo>
                      <a:pt x="59" y="147"/>
                    </a:lnTo>
                    <a:lnTo>
                      <a:pt x="56" y="141"/>
                    </a:lnTo>
                    <a:lnTo>
                      <a:pt x="56" y="138"/>
                    </a:lnTo>
                    <a:lnTo>
                      <a:pt x="55" y="135"/>
                    </a:lnTo>
                    <a:lnTo>
                      <a:pt x="55" y="133"/>
                    </a:lnTo>
                    <a:lnTo>
                      <a:pt x="57" y="130"/>
                    </a:lnTo>
                    <a:lnTo>
                      <a:pt x="55" y="128"/>
                    </a:lnTo>
                    <a:lnTo>
                      <a:pt x="53" y="124"/>
                    </a:lnTo>
                    <a:lnTo>
                      <a:pt x="51" y="124"/>
                    </a:lnTo>
                    <a:lnTo>
                      <a:pt x="57" y="123"/>
                    </a:lnTo>
                    <a:lnTo>
                      <a:pt x="55" y="121"/>
                    </a:lnTo>
                    <a:lnTo>
                      <a:pt x="58" y="121"/>
                    </a:lnTo>
                    <a:lnTo>
                      <a:pt x="58" y="117"/>
                    </a:lnTo>
                    <a:lnTo>
                      <a:pt x="60" y="116"/>
                    </a:lnTo>
                    <a:lnTo>
                      <a:pt x="55" y="115"/>
                    </a:lnTo>
                    <a:lnTo>
                      <a:pt x="60" y="115"/>
                    </a:lnTo>
                    <a:lnTo>
                      <a:pt x="62" y="116"/>
                    </a:lnTo>
                    <a:lnTo>
                      <a:pt x="66" y="114"/>
                    </a:lnTo>
                    <a:lnTo>
                      <a:pt x="65" y="111"/>
                    </a:lnTo>
                    <a:lnTo>
                      <a:pt x="62" y="112"/>
                    </a:lnTo>
                    <a:lnTo>
                      <a:pt x="59" y="111"/>
                    </a:lnTo>
                    <a:lnTo>
                      <a:pt x="65" y="109"/>
                    </a:lnTo>
                    <a:lnTo>
                      <a:pt x="67" y="108"/>
                    </a:lnTo>
                    <a:lnTo>
                      <a:pt x="61" y="108"/>
                    </a:lnTo>
                    <a:lnTo>
                      <a:pt x="67" y="107"/>
                    </a:lnTo>
                    <a:lnTo>
                      <a:pt x="70" y="106"/>
                    </a:lnTo>
                    <a:lnTo>
                      <a:pt x="67" y="104"/>
                    </a:lnTo>
                    <a:lnTo>
                      <a:pt x="62" y="103"/>
                    </a:lnTo>
                    <a:lnTo>
                      <a:pt x="59" y="101"/>
                    </a:lnTo>
                    <a:lnTo>
                      <a:pt x="53" y="101"/>
                    </a:lnTo>
                    <a:lnTo>
                      <a:pt x="51" y="99"/>
                    </a:lnTo>
                    <a:lnTo>
                      <a:pt x="48" y="99"/>
                    </a:lnTo>
                    <a:lnTo>
                      <a:pt x="43" y="100"/>
                    </a:lnTo>
                    <a:lnTo>
                      <a:pt x="47" y="98"/>
                    </a:lnTo>
                    <a:lnTo>
                      <a:pt x="49" y="98"/>
                    </a:lnTo>
                    <a:lnTo>
                      <a:pt x="55" y="100"/>
                    </a:lnTo>
                    <a:lnTo>
                      <a:pt x="58" y="100"/>
                    </a:lnTo>
                    <a:lnTo>
                      <a:pt x="60" y="101"/>
                    </a:lnTo>
                    <a:lnTo>
                      <a:pt x="64" y="99"/>
                    </a:lnTo>
                    <a:lnTo>
                      <a:pt x="65" y="103"/>
                    </a:lnTo>
                    <a:lnTo>
                      <a:pt x="73" y="103"/>
                    </a:lnTo>
                    <a:lnTo>
                      <a:pt x="73" y="100"/>
                    </a:lnTo>
                    <a:lnTo>
                      <a:pt x="76" y="100"/>
                    </a:lnTo>
                    <a:lnTo>
                      <a:pt x="78" y="99"/>
                    </a:lnTo>
                    <a:lnTo>
                      <a:pt x="78" y="96"/>
                    </a:lnTo>
                    <a:lnTo>
                      <a:pt x="76" y="95"/>
                    </a:lnTo>
                    <a:lnTo>
                      <a:pt x="74" y="92"/>
                    </a:lnTo>
                    <a:lnTo>
                      <a:pt x="76" y="95"/>
                    </a:lnTo>
                    <a:lnTo>
                      <a:pt x="79" y="95"/>
                    </a:lnTo>
                    <a:lnTo>
                      <a:pt x="82" y="95"/>
                    </a:lnTo>
                    <a:lnTo>
                      <a:pt x="85" y="92"/>
                    </a:lnTo>
                    <a:lnTo>
                      <a:pt x="83" y="89"/>
                    </a:lnTo>
                    <a:lnTo>
                      <a:pt x="79" y="88"/>
                    </a:lnTo>
                    <a:lnTo>
                      <a:pt x="70" y="87"/>
                    </a:lnTo>
                    <a:lnTo>
                      <a:pt x="82" y="88"/>
                    </a:lnTo>
                    <a:lnTo>
                      <a:pt x="85" y="90"/>
                    </a:lnTo>
                    <a:lnTo>
                      <a:pt x="87" y="90"/>
                    </a:lnTo>
                    <a:lnTo>
                      <a:pt x="88" y="87"/>
                    </a:lnTo>
                    <a:lnTo>
                      <a:pt x="87" y="84"/>
                    </a:lnTo>
                    <a:lnTo>
                      <a:pt x="84" y="82"/>
                    </a:lnTo>
                    <a:lnTo>
                      <a:pt x="82" y="81"/>
                    </a:lnTo>
                    <a:lnTo>
                      <a:pt x="84" y="79"/>
                    </a:lnTo>
                    <a:lnTo>
                      <a:pt x="86" y="82"/>
                    </a:lnTo>
                    <a:lnTo>
                      <a:pt x="88" y="83"/>
                    </a:lnTo>
                    <a:lnTo>
                      <a:pt x="92" y="81"/>
                    </a:lnTo>
                    <a:lnTo>
                      <a:pt x="94" y="81"/>
                    </a:lnTo>
                    <a:lnTo>
                      <a:pt x="96" y="80"/>
                    </a:lnTo>
                    <a:lnTo>
                      <a:pt x="94" y="79"/>
                    </a:lnTo>
                    <a:lnTo>
                      <a:pt x="100" y="77"/>
                    </a:lnTo>
                    <a:lnTo>
                      <a:pt x="96" y="71"/>
                    </a:lnTo>
                    <a:lnTo>
                      <a:pt x="94" y="69"/>
                    </a:lnTo>
                    <a:lnTo>
                      <a:pt x="100" y="70"/>
                    </a:lnTo>
                    <a:lnTo>
                      <a:pt x="103" y="71"/>
                    </a:lnTo>
                    <a:lnTo>
                      <a:pt x="105" y="70"/>
                    </a:lnTo>
                    <a:lnTo>
                      <a:pt x="107" y="66"/>
                    </a:lnTo>
                    <a:lnTo>
                      <a:pt x="107" y="64"/>
                    </a:lnTo>
                    <a:lnTo>
                      <a:pt x="112" y="68"/>
                    </a:lnTo>
                    <a:lnTo>
                      <a:pt x="115" y="66"/>
                    </a:lnTo>
                    <a:lnTo>
                      <a:pt x="115" y="64"/>
                    </a:lnTo>
                    <a:lnTo>
                      <a:pt x="111" y="62"/>
                    </a:lnTo>
                    <a:lnTo>
                      <a:pt x="115" y="63"/>
                    </a:lnTo>
                    <a:lnTo>
                      <a:pt x="117" y="64"/>
                    </a:lnTo>
                    <a:lnTo>
                      <a:pt x="121" y="63"/>
                    </a:lnTo>
                    <a:lnTo>
                      <a:pt x="122" y="61"/>
                    </a:lnTo>
                    <a:lnTo>
                      <a:pt x="125" y="60"/>
                    </a:lnTo>
                    <a:lnTo>
                      <a:pt x="126" y="57"/>
                    </a:lnTo>
                    <a:lnTo>
                      <a:pt x="120" y="57"/>
                    </a:lnTo>
                    <a:lnTo>
                      <a:pt x="117" y="57"/>
                    </a:lnTo>
                    <a:lnTo>
                      <a:pt x="117" y="56"/>
                    </a:lnTo>
                    <a:lnTo>
                      <a:pt x="122" y="56"/>
                    </a:lnTo>
                    <a:lnTo>
                      <a:pt x="126" y="55"/>
                    </a:lnTo>
                    <a:lnTo>
                      <a:pt x="134" y="51"/>
                    </a:lnTo>
                    <a:lnTo>
                      <a:pt x="136" y="47"/>
                    </a:lnTo>
                    <a:lnTo>
                      <a:pt x="136" y="49"/>
                    </a:lnTo>
                    <a:lnTo>
                      <a:pt x="139" y="48"/>
                    </a:lnTo>
                    <a:lnTo>
                      <a:pt x="145" y="45"/>
                    </a:lnTo>
                    <a:lnTo>
                      <a:pt x="147" y="44"/>
                    </a:lnTo>
                    <a:lnTo>
                      <a:pt x="153" y="43"/>
                    </a:lnTo>
                    <a:lnTo>
                      <a:pt x="155" y="41"/>
                    </a:lnTo>
                    <a:lnTo>
                      <a:pt x="159" y="40"/>
                    </a:lnTo>
                    <a:lnTo>
                      <a:pt x="161" y="40"/>
                    </a:lnTo>
                    <a:lnTo>
                      <a:pt x="164" y="39"/>
                    </a:lnTo>
                    <a:lnTo>
                      <a:pt x="167" y="37"/>
                    </a:lnTo>
                    <a:lnTo>
                      <a:pt x="170" y="38"/>
                    </a:lnTo>
                    <a:lnTo>
                      <a:pt x="175" y="36"/>
                    </a:lnTo>
                    <a:lnTo>
                      <a:pt x="186" y="35"/>
                    </a:lnTo>
                    <a:lnTo>
                      <a:pt x="192" y="31"/>
                    </a:lnTo>
                    <a:lnTo>
                      <a:pt x="197" y="30"/>
                    </a:lnTo>
                    <a:lnTo>
                      <a:pt x="201" y="30"/>
                    </a:lnTo>
                    <a:lnTo>
                      <a:pt x="203" y="29"/>
                    </a:lnTo>
                    <a:lnTo>
                      <a:pt x="205" y="29"/>
                    </a:lnTo>
                    <a:lnTo>
                      <a:pt x="209" y="27"/>
                    </a:lnTo>
                    <a:lnTo>
                      <a:pt x="214" y="26"/>
                    </a:lnTo>
                    <a:lnTo>
                      <a:pt x="220" y="23"/>
                    </a:lnTo>
                    <a:lnTo>
                      <a:pt x="226" y="21"/>
                    </a:lnTo>
                    <a:lnTo>
                      <a:pt x="229" y="21"/>
                    </a:lnTo>
                    <a:lnTo>
                      <a:pt x="231" y="19"/>
                    </a:lnTo>
                    <a:lnTo>
                      <a:pt x="233" y="17"/>
                    </a:lnTo>
                    <a:lnTo>
                      <a:pt x="237" y="14"/>
                    </a:lnTo>
                    <a:lnTo>
                      <a:pt x="238" y="12"/>
                    </a:lnTo>
                    <a:lnTo>
                      <a:pt x="239" y="10"/>
                    </a:lnTo>
                    <a:lnTo>
                      <a:pt x="239" y="6"/>
                    </a:lnTo>
                    <a:lnTo>
                      <a:pt x="238" y="4"/>
                    </a:lnTo>
                    <a:lnTo>
                      <a:pt x="232" y="2"/>
                    </a:lnTo>
                    <a:lnTo>
                      <a:pt x="229" y="1"/>
                    </a:lnTo>
                    <a:lnTo>
                      <a:pt x="227" y="0"/>
                    </a:lnTo>
                    <a:lnTo>
                      <a:pt x="220" y="0"/>
                    </a:lnTo>
                    <a:lnTo>
                      <a:pt x="214" y="2"/>
                    </a:lnTo>
                    <a:lnTo>
                      <a:pt x="209" y="3"/>
                    </a:lnTo>
                    <a:lnTo>
                      <a:pt x="201" y="7"/>
                    </a:lnTo>
                    <a:lnTo>
                      <a:pt x="197" y="9"/>
                    </a:lnTo>
                    <a:lnTo>
                      <a:pt x="198" y="14"/>
                    </a:lnTo>
                    <a:lnTo>
                      <a:pt x="194" y="12"/>
                    </a:lnTo>
                    <a:lnTo>
                      <a:pt x="190" y="14"/>
                    </a:lnTo>
                    <a:lnTo>
                      <a:pt x="187" y="15"/>
                    </a:lnTo>
                    <a:lnTo>
                      <a:pt x="185" y="14"/>
                    </a:lnTo>
                    <a:lnTo>
                      <a:pt x="173" y="20"/>
                    </a:lnTo>
                    <a:lnTo>
                      <a:pt x="171" y="19"/>
                    </a:lnTo>
                    <a:lnTo>
                      <a:pt x="168" y="19"/>
                    </a:lnTo>
                    <a:lnTo>
                      <a:pt x="166" y="20"/>
                    </a:lnTo>
                    <a:lnTo>
                      <a:pt x="160" y="22"/>
                    </a:lnTo>
                    <a:lnTo>
                      <a:pt x="154" y="22"/>
                    </a:lnTo>
                    <a:lnTo>
                      <a:pt x="151" y="23"/>
                    </a:lnTo>
                    <a:lnTo>
                      <a:pt x="149" y="21"/>
                    </a:lnTo>
                    <a:lnTo>
                      <a:pt x="145" y="21"/>
                    </a:lnTo>
                    <a:lnTo>
                      <a:pt x="139" y="20"/>
                    </a:lnTo>
                    <a:lnTo>
                      <a:pt x="132" y="21"/>
                    </a:lnTo>
                    <a:lnTo>
                      <a:pt x="130" y="23"/>
                    </a:lnTo>
                    <a:lnTo>
                      <a:pt x="132" y="27"/>
                    </a:lnTo>
                    <a:lnTo>
                      <a:pt x="126" y="27"/>
                    </a:lnTo>
                    <a:lnTo>
                      <a:pt x="128" y="26"/>
                    </a:lnTo>
                    <a:lnTo>
                      <a:pt x="122" y="26"/>
                    </a:lnTo>
                    <a:lnTo>
                      <a:pt x="120" y="26"/>
                    </a:lnTo>
                    <a:lnTo>
                      <a:pt x="120" y="29"/>
                    </a:lnTo>
                    <a:lnTo>
                      <a:pt x="117" y="29"/>
                    </a:lnTo>
                    <a:lnTo>
                      <a:pt x="115" y="30"/>
                    </a:lnTo>
                    <a:lnTo>
                      <a:pt x="111" y="30"/>
                    </a:lnTo>
                    <a:lnTo>
                      <a:pt x="105" y="32"/>
                    </a:lnTo>
                    <a:lnTo>
                      <a:pt x="103" y="32"/>
                    </a:lnTo>
                    <a:lnTo>
                      <a:pt x="100" y="34"/>
                    </a:lnTo>
                    <a:lnTo>
                      <a:pt x="98" y="36"/>
                    </a:lnTo>
                    <a:lnTo>
                      <a:pt x="90" y="38"/>
                    </a:lnTo>
                    <a:lnTo>
                      <a:pt x="91" y="40"/>
                    </a:lnTo>
                    <a:lnTo>
                      <a:pt x="85" y="41"/>
                    </a:lnTo>
                    <a:lnTo>
                      <a:pt x="85" y="45"/>
                    </a:lnTo>
                    <a:lnTo>
                      <a:pt x="84" y="47"/>
                    </a:lnTo>
                    <a:lnTo>
                      <a:pt x="82" y="46"/>
                    </a:lnTo>
                    <a:lnTo>
                      <a:pt x="76" y="46"/>
                    </a:lnTo>
                    <a:lnTo>
                      <a:pt x="74" y="47"/>
                    </a:lnTo>
                    <a:lnTo>
                      <a:pt x="75" y="51"/>
                    </a:lnTo>
                    <a:lnTo>
                      <a:pt x="69" y="54"/>
                    </a:lnTo>
                    <a:lnTo>
                      <a:pt x="67" y="52"/>
                    </a:lnTo>
                    <a:lnTo>
                      <a:pt x="64" y="51"/>
                    </a:lnTo>
                    <a:lnTo>
                      <a:pt x="61" y="52"/>
                    </a:lnTo>
                    <a:lnTo>
                      <a:pt x="60" y="54"/>
                    </a:lnTo>
                    <a:lnTo>
                      <a:pt x="62" y="56"/>
                    </a:lnTo>
                    <a:lnTo>
                      <a:pt x="66" y="56"/>
                    </a:lnTo>
                    <a:lnTo>
                      <a:pt x="68" y="57"/>
                    </a:lnTo>
                    <a:lnTo>
                      <a:pt x="72" y="57"/>
                    </a:lnTo>
                    <a:lnTo>
                      <a:pt x="62" y="61"/>
                    </a:lnTo>
                    <a:lnTo>
                      <a:pt x="60" y="62"/>
                    </a:lnTo>
                    <a:lnTo>
                      <a:pt x="64" y="62"/>
                    </a:lnTo>
                    <a:lnTo>
                      <a:pt x="66" y="62"/>
                    </a:lnTo>
                    <a:lnTo>
                      <a:pt x="72" y="65"/>
                    </a:lnTo>
                    <a:lnTo>
                      <a:pt x="74" y="65"/>
                    </a:lnTo>
                    <a:lnTo>
                      <a:pt x="72" y="65"/>
                    </a:lnTo>
                    <a:lnTo>
                      <a:pt x="66" y="64"/>
                    </a:lnTo>
                    <a:lnTo>
                      <a:pt x="57" y="65"/>
                    </a:lnTo>
                    <a:lnTo>
                      <a:pt x="56" y="69"/>
                    </a:lnTo>
                    <a:lnTo>
                      <a:pt x="58" y="70"/>
                    </a:lnTo>
                    <a:lnTo>
                      <a:pt x="61" y="69"/>
                    </a:lnTo>
                    <a:lnTo>
                      <a:pt x="65" y="71"/>
                    </a:lnTo>
                    <a:lnTo>
                      <a:pt x="56" y="72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8" y="77"/>
                    </a:lnTo>
                    <a:lnTo>
                      <a:pt x="56" y="75"/>
                    </a:lnTo>
                    <a:lnTo>
                      <a:pt x="50" y="77"/>
                    </a:lnTo>
                    <a:lnTo>
                      <a:pt x="56" y="78"/>
                    </a:lnTo>
                    <a:lnTo>
                      <a:pt x="58" y="80"/>
                    </a:lnTo>
                    <a:lnTo>
                      <a:pt x="50" y="79"/>
                    </a:lnTo>
                    <a:lnTo>
                      <a:pt x="44" y="82"/>
                    </a:lnTo>
                    <a:lnTo>
                      <a:pt x="44" y="84"/>
                    </a:lnTo>
                    <a:lnTo>
                      <a:pt x="42" y="84"/>
                    </a:lnTo>
                    <a:lnTo>
                      <a:pt x="39" y="86"/>
                    </a:lnTo>
                    <a:lnTo>
                      <a:pt x="36" y="88"/>
                    </a:lnTo>
                    <a:lnTo>
                      <a:pt x="33" y="89"/>
                    </a:lnTo>
                    <a:lnTo>
                      <a:pt x="31" y="90"/>
                    </a:lnTo>
                    <a:lnTo>
                      <a:pt x="33" y="92"/>
                    </a:lnTo>
                    <a:lnTo>
                      <a:pt x="36" y="94"/>
                    </a:lnTo>
                    <a:lnTo>
                      <a:pt x="39" y="94"/>
                    </a:lnTo>
                    <a:lnTo>
                      <a:pt x="42" y="91"/>
                    </a:lnTo>
                    <a:lnTo>
                      <a:pt x="44" y="91"/>
                    </a:lnTo>
                    <a:lnTo>
                      <a:pt x="48" y="91"/>
                    </a:lnTo>
                    <a:lnTo>
                      <a:pt x="50" y="91"/>
                    </a:lnTo>
                    <a:lnTo>
                      <a:pt x="42" y="94"/>
                    </a:lnTo>
                    <a:lnTo>
                      <a:pt x="40" y="96"/>
                    </a:lnTo>
                    <a:lnTo>
                      <a:pt x="39" y="98"/>
                    </a:lnTo>
                    <a:lnTo>
                      <a:pt x="39" y="101"/>
                    </a:lnTo>
                    <a:lnTo>
                      <a:pt x="43" y="100"/>
                    </a:lnTo>
                    <a:lnTo>
                      <a:pt x="40" y="101"/>
                    </a:lnTo>
                    <a:lnTo>
                      <a:pt x="38" y="103"/>
                    </a:lnTo>
                    <a:lnTo>
                      <a:pt x="32" y="101"/>
                    </a:lnTo>
                    <a:lnTo>
                      <a:pt x="28" y="104"/>
                    </a:lnTo>
                    <a:lnTo>
                      <a:pt x="26" y="104"/>
                    </a:lnTo>
                    <a:lnTo>
                      <a:pt x="26" y="10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7" name="Freeform 113">
                <a:extLst>
                  <a:ext uri="{FF2B5EF4-FFF2-40B4-BE49-F238E27FC236}">
                    <a16:creationId xmlns:a16="http://schemas.microsoft.com/office/drawing/2014/main" id="{85528C43-0005-431A-AB4E-0F28F26A43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2" y="1356"/>
                <a:ext cx="18" cy="6"/>
              </a:xfrm>
              <a:custGeom>
                <a:avLst/>
                <a:gdLst>
                  <a:gd name="T0" fmla="*/ 0 w 18"/>
                  <a:gd name="T1" fmla="*/ 5 h 6"/>
                  <a:gd name="T2" fmla="*/ 4 w 18"/>
                  <a:gd name="T3" fmla="*/ 6 h 6"/>
                  <a:gd name="T4" fmla="*/ 13 w 18"/>
                  <a:gd name="T5" fmla="*/ 6 h 6"/>
                  <a:gd name="T6" fmla="*/ 15 w 18"/>
                  <a:gd name="T7" fmla="*/ 6 h 6"/>
                  <a:gd name="T8" fmla="*/ 18 w 18"/>
                  <a:gd name="T9" fmla="*/ 3 h 6"/>
                  <a:gd name="T10" fmla="*/ 15 w 18"/>
                  <a:gd name="T11" fmla="*/ 2 h 6"/>
                  <a:gd name="T12" fmla="*/ 12 w 18"/>
                  <a:gd name="T13" fmla="*/ 0 h 6"/>
                  <a:gd name="T14" fmla="*/ 6 w 18"/>
                  <a:gd name="T15" fmla="*/ 0 h 6"/>
                  <a:gd name="T16" fmla="*/ 4 w 18"/>
                  <a:gd name="T17" fmla="*/ 2 h 6"/>
                  <a:gd name="T18" fmla="*/ 2 w 18"/>
                  <a:gd name="T19" fmla="*/ 3 h 6"/>
                  <a:gd name="T20" fmla="*/ 0 w 18"/>
                  <a:gd name="T21" fmla="*/ 5 h 6"/>
                  <a:gd name="T22" fmla="*/ 0 w 18"/>
                  <a:gd name="T2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" h="6">
                    <a:moveTo>
                      <a:pt x="0" y="5"/>
                    </a:moveTo>
                    <a:lnTo>
                      <a:pt x="4" y="6"/>
                    </a:lnTo>
                    <a:lnTo>
                      <a:pt x="13" y="6"/>
                    </a:lnTo>
                    <a:lnTo>
                      <a:pt x="15" y="6"/>
                    </a:lnTo>
                    <a:lnTo>
                      <a:pt x="18" y="3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8" name="Freeform 114">
                <a:extLst>
                  <a:ext uri="{FF2B5EF4-FFF2-40B4-BE49-F238E27FC236}">
                    <a16:creationId xmlns:a16="http://schemas.microsoft.com/office/drawing/2014/main" id="{EFF2A363-285C-497E-898A-64E3E6C78C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2" y="1350"/>
                <a:ext cx="8" cy="5"/>
              </a:xfrm>
              <a:custGeom>
                <a:avLst/>
                <a:gdLst>
                  <a:gd name="T0" fmla="*/ 0 w 8"/>
                  <a:gd name="T1" fmla="*/ 2 h 5"/>
                  <a:gd name="T2" fmla="*/ 1 w 8"/>
                  <a:gd name="T3" fmla="*/ 3 h 5"/>
                  <a:gd name="T4" fmla="*/ 6 w 8"/>
                  <a:gd name="T5" fmla="*/ 5 h 5"/>
                  <a:gd name="T6" fmla="*/ 8 w 8"/>
                  <a:gd name="T7" fmla="*/ 2 h 5"/>
                  <a:gd name="T8" fmla="*/ 6 w 8"/>
                  <a:gd name="T9" fmla="*/ 0 h 5"/>
                  <a:gd name="T10" fmla="*/ 2 w 8"/>
                  <a:gd name="T11" fmla="*/ 0 h 5"/>
                  <a:gd name="T12" fmla="*/ 0 w 8"/>
                  <a:gd name="T13" fmla="*/ 0 h 5"/>
                  <a:gd name="T14" fmla="*/ 0 w 8"/>
                  <a:gd name="T15" fmla="*/ 2 h 5"/>
                  <a:gd name="T16" fmla="*/ 0 w 8"/>
                  <a:gd name="T17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5">
                    <a:moveTo>
                      <a:pt x="0" y="2"/>
                    </a:moveTo>
                    <a:lnTo>
                      <a:pt x="1" y="3"/>
                    </a:lnTo>
                    <a:lnTo>
                      <a:pt x="6" y="5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9" name="Freeform 115">
                <a:extLst>
                  <a:ext uri="{FF2B5EF4-FFF2-40B4-BE49-F238E27FC236}">
                    <a16:creationId xmlns:a16="http://schemas.microsoft.com/office/drawing/2014/main" id="{5DCAC0DB-BCB9-4495-BE5E-2C8A836FD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4" y="1340"/>
                <a:ext cx="27" cy="5"/>
              </a:xfrm>
              <a:custGeom>
                <a:avLst/>
                <a:gdLst>
                  <a:gd name="T0" fmla="*/ 0 w 27"/>
                  <a:gd name="T1" fmla="*/ 2 h 5"/>
                  <a:gd name="T2" fmla="*/ 1 w 27"/>
                  <a:gd name="T3" fmla="*/ 3 h 5"/>
                  <a:gd name="T4" fmla="*/ 7 w 27"/>
                  <a:gd name="T5" fmla="*/ 3 h 5"/>
                  <a:gd name="T6" fmla="*/ 10 w 27"/>
                  <a:gd name="T7" fmla="*/ 5 h 5"/>
                  <a:gd name="T8" fmla="*/ 13 w 27"/>
                  <a:gd name="T9" fmla="*/ 5 h 5"/>
                  <a:gd name="T10" fmla="*/ 18 w 27"/>
                  <a:gd name="T11" fmla="*/ 4 h 5"/>
                  <a:gd name="T12" fmla="*/ 24 w 27"/>
                  <a:gd name="T13" fmla="*/ 3 h 5"/>
                  <a:gd name="T14" fmla="*/ 27 w 27"/>
                  <a:gd name="T15" fmla="*/ 3 h 5"/>
                  <a:gd name="T16" fmla="*/ 15 w 27"/>
                  <a:gd name="T17" fmla="*/ 0 h 5"/>
                  <a:gd name="T18" fmla="*/ 13 w 27"/>
                  <a:gd name="T19" fmla="*/ 2 h 5"/>
                  <a:gd name="T20" fmla="*/ 9 w 27"/>
                  <a:gd name="T21" fmla="*/ 1 h 5"/>
                  <a:gd name="T22" fmla="*/ 7 w 27"/>
                  <a:gd name="T23" fmla="*/ 1 h 5"/>
                  <a:gd name="T24" fmla="*/ 4 w 27"/>
                  <a:gd name="T25" fmla="*/ 1 h 5"/>
                  <a:gd name="T26" fmla="*/ 0 w 27"/>
                  <a:gd name="T27" fmla="*/ 2 h 5"/>
                  <a:gd name="T28" fmla="*/ 0 w 27"/>
                  <a:gd name="T29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7" h="5">
                    <a:moveTo>
                      <a:pt x="0" y="2"/>
                    </a:moveTo>
                    <a:lnTo>
                      <a:pt x="1" y="3"/>
                    </a:lnTo>
                    <a:lnTo>
                      <a:pt x="7" y="3"/>
                    </a:lnTo>
                    <a:lnTo>
                      <a:pt x="10" y="5"/>
                    </a:lnTo>
                    <a:lnTo>
                      <a:pt x="13" y="5"/>
                    </a:lnTo>
                    <a:lnTo>
                      <a:pt x="18" y="4"/>
                    </a:lnTo>
                    <a:lnTo>
                      <a:pt x="24" y="3"/>
                    </a:lnTo>
                    <a:lnTo>
                      <a:pt x="27" y="3"/>
                    </a:lnTo>
                    <a:lnTo>
                      <a:pt x="15" y="0"/>
                    </a:lnTo>
                    <a:lnTo>
                      <a:pt x="13" y="2"/>
                    </a:lnTo>
                    <a:lnTo>
                      <a:pt x="9" y="1"/>
                    </a:lnTo>
                    <a:lnTo>
                      <a:pt x="7" y="1"/>
                    </a:lnTo>
                    <a:lnTo>
                      <a:pt x="4" y="1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0" name="Freeform 116">
                <a:extLst>
                  <a:ext uri="{FF2B5EF4-FFF2-40B4-BE49-F238E27FC236}">
                    <a16:creationId xmlns:a16="http://schemas.microsoft.com/office/drawing/2014/main" id="{D7C91335-D64E-4F2D-8FEE-AC057332EE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0" y="1333"/>
                <a:ext cx="43" cy="14"/>
              </a:xfrm>
              <a:custGeom>
                <a:avLst/>
                <a:gdLst>
                  <a:gd name="T0" fmla="*/ 0 w 43"/>
                  <a:gd name="T1" fmla="*/ 3 h 14"/>
                  <a:gd name="T2" fmla="*/ 0 w 43"/>
                  <a:gd name="T3" fmla="*/ 3 h 14"/>
                  <a:gd name="T4" fmla="*/ 9 w 43"/>
                  <a:gd name="T5" fmla="*/ 5 h 14"/>
                  <a:gd name="T6" fmla="*/ 11 w 43"/>
                  <a:gd name="T7" fmla="*/ 5 h 14"/>
                  <a:gd name="T8" fmla="*/ 15 w 43"/>
                  <a:gd name="T9" fmla="*/ 7 h 14"/>
                  <a:gd name="T10" fmla="*/ 17 w 43"/>
                  <a:gd name="T11" fmla="*/ 7 h 14"/>
                  <a:gd name="T12" fmla="*/ 20 w 43"/>
                  <a:gd name="T13" fmla="*/ 8 h 14"/>
                  <a:gd name="T14" fmla="*/ 28 w 43"/>
                  <a:gd name="T15" fmla="*/ 9 h 14"/>
                  <a:gd name="T16" fmla="*/ 37 w 43"/>
                  <a:gd name="T17" fmla="*/ 14 h 14"/>
                  <a:gd name="T18" fmla="*/ 43 w 43"/>
                  <a:gd name="T19" fmla="*/ 12 h 14"/>
                  <a:gd name="T20" fmla="*/ 43 w 43"/>
                  <a:gd name="T21" fmla="*/ 9 h 14"/>
                  <a:gd name="T22" fmla="*/ 33 w 43"/>
                  <a:gd name="T23" fmla="*/ 7 h 14"/>
                  <a:gd name="T24" fmla="*/ 29 w 43"/>
                  <a:gd name="T25" fmla="*/ 5 h 14"/>
                  <a:gd name="T26" fmla="*/ 24 w 43"/>
                  <a:gd name="T27" fmla="*/ 2 h 14"/>
                  <a:gd name="T28" fmla="*/ 17 w 43"/>
                  <a:gd name="T29" fmla="*/ 3 h 14"/>
                  <a:gd name="T30" fmla="*/ 15 w 43"/>
                  <a:gd name="T31" fmla="*/ 3 h 14"/>
                  <a:gd name="T32" fmla="*/ 11 w 43"/>
                  <a:gd name="T33" fmla="*/ 2 h 14"/>
                  <a:gd name="T34" fmla="*/ 2 w 43"/>
                  <a:gd name="T35" fmla="*/ 0 h 14"/>
                  <a:gd name="T36" fmla="*/ 0 w 43"/>
                  <a:gd name="T37" fmla="*/ 3 h 14"/>
                  <a:gd name="T38" fmla="*/ 0 w 43"/>
                  <a:gd name="T39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3" h="14">
                    <a:moveTo>
                      <a:pt x="0" y="3"/>
                    </a:moveTo>
                    <a:lnTo>
                      <a:pt x="0" y="3"/>
                    </a:lnTo>
                    <a:lnTo>
                      <a:pt x="9" y="5"/>
                    </a:lnTo>
                    <a:lnTo>
                      <a:pt x="11" y="5"/>
                    </a:lnTo>
                    <a:lnTo>
                      <a:pt x="15" y="7"/>
                    </a:lnTo>
                    <a:lnTo>
                      <a:pt x="17" y="7"/>
                    </a:lnTo>
                    <a:lnTo>
                      <a:pt x="20" y="8"/>
                    </a:lnTo>
                    <a:lnTo>
                      <a:pt x="28" y="9"/>
                    </a:lnTo>
                    <a:lnTo>
                      <a:pt x="37" y="14"/>
                    </a:lnTo>
                    <a:lnTo>
                      <a:pt x="43" y="12"/>
                    </a:lnTo>
                    <a:lnTo>
                      <a:pt x="43" y="9"/>
                    </a:lnTo>
                    <a:lnTo>
                      <a:pt x="33" y="7"/>
                    </a:lnTo>
                    <a:lnTo>
                      <a:pt x="29" y="5"/>
                    </a:lnTo>
                    <a:lnTo>
                      <a:pt x="24" y="2"/>
                    </a:lnTo>
                    <a:lnTo>
                      <a:pt x="17" y="3"/>
                    </a:lnTo>
                    <a:lnTo>
                      <a:pt x="15" y="3"/>
                    </a:lnTo>
                    <a:lnTo>
                      <a:pt x="11" y="2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1" name="Freeform 117">
                <a:extLst>
                  <a:ext uri="{FF2B5EF4-FFF2-40B4-BE49-F238E27FC236}">
                    <a16:creationId xmlns:a16="http://schemas.microsoft.com/office/drawing/2014/main" id="{972FDF78-1932-4974-8D3E-3CFF12E77B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5" y="1343"/>
                <a:ext cx="19" cy="6"/>
              </a:xfrm>
              <a:custGeom>
                <a:avLst/>
                <a:gdLst>
                  <a:gd name="T0" fmla="*/ 0 w 19"/>
                  <a:gd name="T1" fmla="*/ 2 h 6"/>
                  <a:gd name="T2" fmla="*/ 1 w 19"/>
                  <a:gd name="T3" fmla="*/ 5 h 6"/>
                  <a:gd name="T4" fmla="*/ 4 w 19"/>
                  <a:gd name="T5" fmla="*/ 6 h 6"/>
                  <a:gd name="T6" fmla="*/ 8 w 19"/>
                  <a:gd name="T7" fmla="*/ 6 h 6"/>
                  <a:gd name="T8" fmla="*/ 10 w 19"/>
                  <a:gd name="T9" fmla="*/ 5 h 6"/>
                  <a:gd name="T10" fmla="*/ 17 w 19"/>
                  <a:gd name="T11" fmla="*/ 6 h 6"/>
                  <a:gd name="T12" fmla="*/ 19 w 19"/>
                  <a:gd name="T13" fmla="*/ 5 h 6"/>
                  <a:gd name="T14" fmla="*/ 17 w 19"/>
                  <a:gd name="T15" fmla="*/ 2 h 6"/>
                  <a:gd name="T16" fmla="*/ 14 w 19"/>
                  <a:gd name="T17" fmla="*/ 0 h 6"/>
                  <a:gd name="T18" fmla="*/ 5 w 19"/>
                  <a:gd name="T19" fmla="*/ 1 h 6"/>
                  <a:gd name="T20" fmla="*/ 2 w 19"/>
                  <a:gd name="T21" fmla="*/ 2 h 6"/>
                  <a:gd name="T22" fmla="*/ 0 w 19"/>
                  <a:gd name="T23" fmla="*/ 2 h 6"/>
                  <a:gd name="T24" fmla="*/ 0 w 19"/>
                  <a:gd name="T2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6">
                    <a:moveTo>
                      <a:pt x="0" y="2"/>
                    </a:moveTo>
                    <a:lnTo>
                      <a:pt x="1" y="5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10" y="5"/>
                    </a:lnTo>
                    <a:lnTo>
                      <a:pt x="17" y="6"/>
                    </a:lnTo>
                    <a:lnTo>
                      <a:pt x="19" y="5"/>
                    </a:lnTo>
                    <a:lnTo>
                      <a:pt x="17" y="2"/>
                    </a:lnTo>
                    <a:lnTo>
                      <a:pt x="14" y="0"/>
                    </a:lnTo>
                    <a:lnTo>
                      <a:pt x="5" y="1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2" name="Freeform 118">
                <a:extLst>
                  <a:ext uri="{FF2B5EF4-FFF2-40B4-BE49-F238E27FC236}">
                    <a16:creationId xmlns:a16="http://schemas.microsoft.com/office/drawing/2014/main" id="{AD3FF816-A54E-4701-BB7F-E7ACAEA058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5" y="1324"/>
                <a:ext cx="32" cy="7"/>
              </a:xfrm>
              <a:custGeom>
                <a:avLst/>
                <a:gdLst>
                  <a:gd name="T0" fmla="*/ 1 w 32"/>
                  <a:gd name="T1" fmla="*/ 6 h 7"/>
                  <a:gd name="T2" fmla="*/ 1 w 32"/>
                  <a:gd name="T3" fmla="*/ 6 h 7"/>
                  <a:gd name="T4" fmla="*/ 6 w 32"/>
                  <a:gd name="T5" fmla="*/ 7 h 7"/>
                  <a:gd name="T6" fmla="*/ 9 w 32"/>
                  <a:gd name="T7" fmla="*/ 6 h 7"/>
                  <a:gd name="T8" fmla="*/ 12 w 32"/>
                  <a:gd name="T9" fmla="*/ 7 h 7"/>
                  <a:gd name="T10" fmla="*/ 27 w 32"/>
                  <a:gd name="T11" fmla="*/ 3 h 7"/>
                  <a:gd name="T12" fmla="*/ 29 w 32"/>
                  <a:gd name="T13" fmla="*/ 3 h 7"/>
                  <a:gd name="T14" fmla="*/ 32 w 32"/>
                  <a:gd name="T15" fmla="*/ 3 h 7"/>
                  <a:gd name="T16" fmla="*/ 30 w 32"/>
                  <a:gd name="T17" fmla="*/ 2 h 7"/>
                  <a:gd name="T18" fmla="*/ 27 w 32"/>
                  <a:gd name="T19" fmla="*/ 2 h 7"/>
                  <a:gd name="T20" fmla="*/ 21 w 32"/>
                  <a:gd name="T21" fmla="*/ 0 h 7"/>
                  <a:gd name="T22" fmla="*/ 18 w 32"/>
                  <a:gd name="T23" fmla="*/ 0 h 7"/>
                  <a:gd name="T24" fmla="*/ 16 w 32"/>
                  <a:gd name="T25" fmla="*/ 0 h 7"/>
                  <a:gd name="T26" fmla="*/ 12 w 32"/>
                  <a:gd name="T27" fmla="*/ 1 h 7"/>
                  <a:gd name="T28" fmla="*/ 13 w 32"/>
                  <a:gd name="T29" fmla="*/ 4 h 7"/>
                  <a:gd name="T30" fmla="*/ 5 w 32"/>
                  <a:gd name="T31" fmla="*/ 2 h 7"/>
                  <a:gd name="T32" fmla="*/ 3 w 32"/>
                  <a:gd name="T33" fmla="*/ 2 h 7"/>
                  <a:gd name="T34" fmla="*/ 0 w 32"/>
                  <a:gd name="T35" fmla="*/ 2 h 7"/>
                  <a:gd name="T36" fmla="*/ 1 w 32"/>
                  <a:gd name="T37" fmla="*/ 6 h 7"/>
                  <a:gd name="T38" fmla="*/ 1 w 32"/>
                  <a:gd name="T3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2" h="7">
                    <a:moveTo>
                      <a:pt x="1" y="6"/>
                    </a:moveTo>
                    <a:lnTo>
                      <a:pt x="1" y="6"/>
                    </a:lnTo>
                    <a:lnTo>
                      <a:pt x="6" y="7"/>
                    </a:lnTo>
                    <a:lnTo>
                      <a:pt x="9" y="6"/>
                    </a:lnTo>
                    <a:lnTo>
                      <a:pt x="12" y="7"/>
                    </a:lnTo>
                    <a:lnTo>
                      <a:pt x="27" y="3"/>
                    </a:lnTo>
                    <a:lnTo>
                      <a:pt x="29" y="3"/>
                    </a:lnTo>
                    <a:lnTo>
                      <a:pt x="32" y="3"/>
                    </a:lnTo>
                    <a:lnTo>
                      <a:pt x="30" y="2"/>
                    </a:lnTo>
                    <a:lnTo>
                      <a:pt x="27" y="2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2" y="1"/>
                    </a:lnTo>
                    <a:lnTo>
                      <a:pt x="13" y="4"/>
                    </a:lnTo>
                    <a:lnTo>
                      <a:pt x="5" y="2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1" y="6"/>
                    </a:lnTo>
                    <a:lnTo>
                      <a:pt x="1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3" name="Freeform 119">
                <a:extLst>
                  <a:ext uri="{FF2B5EF4-FFF2-40B4-BE49-F238E27FC236}">
                    <a16:creationId xmlns:a16="http://schemas.microsoft.com/office/drawing/2014/main" id="{963387CE-EE25-4F0A-AD82-D6987E1ABF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9" y="1357"/>
                <a:ext cx="18" cy="9"/>
              </a:xfrm>
              <a:custGeom>
                <a:avLst/>
                <a:gdLst>
                  <a:gd name="T0" fmla="*/ 0 w 18"/>
                  <a:gd name="T1" fmla="*/ 8 h 9"/>
                  <a:gd name="T2" fmla="*/ 0 w 18"/>
                  <a:gd name="T3" fmla="*/ 9 h 9"/>
                  <a:gd name="T4" fmla="*/ 4 w 18"/>
                  <a:gd name="T5" fmla="*/ 9 h 9"/>
                  <a:gd name="T6" fmla="*/ 15 w 18"/>
                  <a:gd name="T7" fmla="*/ 9 h 9"/>
                  <a:gd name="T8" fmla="*/ 17 w 18"/>
                  <a:gd name="T9" fmla="*/ 9 h 9"/>
                  <a:gd name="T10" fmla="*/ 18 w 18"/>
                  <a:gd name="T11" fmla="*/ 5 h 9"/>
                  <a:gd name="T12" fmla="*/ 17 w 18"/>
                  <a:gd name="T13" fmla="*/ 0 h 9"/>
                  <a:gd name="T14" fmla="*/ 14 w 18"/>
                  <a:gd name="T15" fmla="*/ 0 h 9"/>
                  <a:gd name="T16" fmla="*/ 10 w 18"/>
                  <a:gd name="T17" fmla="*/ 1 h 9"/>
                  <a:gd name="T18" fmla="*/ 5 w 18"/>
                  <a:gd name="T19" fmla="*/ 1 h 9"/>
                  <a:gd name="T20" fmla="*/ 2 w 18"/>
                  <a:gd name="T21" fmla="*/ 3 h 9"/>
                  <a:gd name="T22" fmla="*/ 2 w 18"/>
                  <a:gd name="T23" fmla="*/ 5 h 9"/>
                  <a:gd name="T24" fmla="*/ 0 w 18"/>
                  <a:gd name="T25" fmla="*/ 8 h 9"/>
                  <a:gd name="T26" fmla="*/ 0 w 18"/>
                  <a:gd name="T27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" h="9">
                    <a:moveTo>
                      <a:pt x="0" y="8"/>
                    </a:moveTo>
                    <a:lnTo>
                      <a:pt x="0" y="9"/>
                    </a:lnTo>
                    <a:lnTo>
                      <a:pt x="4" y="9"/>
                    </a:lnTo>
                    <a:lnTo>
                      <a:pt x="15" y="9"/>
                    </a:lnTo>
                    <a:lnTo>
                      <a:pt x="17" y="9"/>
                    </a:lnTo>
                    <a:lnTo>
                      <a:pt x="18" y="5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0" y="1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4" name="Freeform 120">
                <a:extLst>
                  <a:ext uri="{FF2B5EF4-FFF2-40B4-BE49-F238E27FC236}">
                    <a16:creationId xmlns:a16="http://schemas.microsoft.com/office/drawing/2014/main" id="{53DE4096-8B28-4BAF-8322-52100EF773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3" y="1333"/>
                <a:ext cx="29" cy="8"/>
              </a:xfrm>
              <a:custGeom>
                <a:avLst/>
                <a:gdLst>
                  <a:gd name="T0" fmla="*/ 0 w 29"/>
                  <a:gd name="T1" fmla="*/ 0 h 8"/>
                  <a:gd name="T2" fmla="*/ 2 w 29"/>
                  <a:gd name="T3" fmla="*/ 1 h 8"/>
                  <a:gd name="T4" fmla="*/ 9 w 29"/>
                  <a:gd name="T5" fmla="*/ 2 h 8"/>
                  <a:gd name="T6" fmla="*/ 11 w 29"/>
                  <a:gd name="T7" fmla="*/ 5 h 8"/>
                  <a:gd name="T8" fmla="*/ 14 w 29"/>
                  <a:gd name="T9" fmla="*/ 5 h 8"/>
                  <a:gd name="T10" fmla="*/ 18 w 29"/>
                  <a:gd name="T11" fmla="*/ 8 h 8"/>
                  <a:gd name="T12" fmla="*/ 23 w 29"/>
                  <a:gd name="T13" fmla="*/ 8 h 8"/>
                  <a:gd name="T14" fmla="*/ 29 w 29"/>
                  <a:gd name="T15" fmla="*/ 6 h 8"/>
                  <a:gd name="T16" fmla="*/ 23 w 29"/>
                  <a:gd name="T17" fmla="*/ 5 h 8"/>
                  <a:gd name="T18" fmla="*/ 20 w 29"/>
                  <a:gd name="T19" fmla="*/ 2 h 8"/>
                  <a:gd name="T20" fmla="*/ 14 w 29"/>
                  <a:gd name="T21" fmla="*/ 2 h 8"/>
                  <a:gd name="T22" fmla="*/ 9 w 29"/>
                  <a:gd name="T23" fmla="*/ 0 h 8"/>
                  <a:gd name="T24" fmla="*/ 0 w 29"/>
                  <a:gd name="T25" fmla="*/ 0 h 8"/>
                  <a:gd name="T26" fmla="*/ 0 w 29"/>
                  <a:gd name="T2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8">
                    <a:moveTo>
                      <a:pt x="0" y="0"/>
                    </a:moveTo>
                    <a:lnTo>
                      <a:pt x="2" y="1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14" y="5"/>
                    </a:lnTo>
                    <a:lnTo>
                      <a:pt x="18" y="8"/>
                    </a:lnTo>
                    <a:lnTo>
                      <a:pt x="23" y="8"/>
                    </a:lnTo>
                    <a:lnTo>
                      <a:pt x="29" y="6"/>
                    </a:lnTo>
                    <a:lnTo>
                      <a:pt x="23" y="5"/>
                    </a:lnTo>
                    <a:lnTo>
                      <a:pt x="20" y="2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5" name="Freeform 121">
                <a:extLst>
                  <a:ext uri="{FF2B5EF4-FFF2-40B4-BE49-F238E27FC236}">
                    <a16:creationId xmlns:a16="http://schemas.microsoft.com/office/drawing/2014/main" id="{121147A3-DB3A-4B8F-9C92-37AD4EA86D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3" y="1318"/>
                <a:ext cx="22" cy="7"/>
              </a:xfrm>
              <a:custGeom>
                <a:avLst/>
                <a:gdLst>
                  <a:gd name="T0" fmla="*/ 17 w 22"/>
                  <a:gd name="T1" fmla="*/ 7 h 7"/>
                  <a:gd name="T2" fmla="*/ 19 w 22"/>
                  <a:gd name="T3" fmla="*/ 6 h 7"/>
                  <a:gd name="T4" fmla="*/ 22 w 22"/>
                  <a:gd name="T5" fmla="*/ 5 h 7"/>
                  <a:gd name="T6" fmla="*/ 20 w 22"/>
                  <a:gd name="T7" fmla="*/ 4 h 7"/>
                  <a:gd name="T8" fmla="*/ 17 w 22"/>
                  <a:gd name="T9" fmla="*/ 3 h 7"/>
                  <a:gd name="T10" fmla="*/ 13 w 22"/>
                  <a:gd name="T11" fmla="*/ 1 h 7"/>
                  <a:gd name="T12" fmla="*/ 11 w 22"/>
                  <a:gd name="T13" fmla="*/ 0 h 7"/>
                  <a:gd name="T14" fmla="*/ 8 w 22"/>
                  <a:gd name="T15" fmla="*/ 1 h 7"/>
                  <a:gd name="T16" fmla="*/ 5 w 22"/>
                  <a:gd name="T17" fmla="*/ 1 h 7"/>
                  <a:gd name="T18" fmla="*/ 2 w 22"/>
                  <a:gd name="T19" fmla="*/ 3 h 7"/>
                  <a:gd name="T20" fmla="*/ 0 w 22"/>
                  <a:gd name="T21" fmla="*/ 5 h 7"/>
                  <a:gd name="T22" fmla="*/ 5 w 22"/>
                  <a:gd name="T23" fmla="*/ 5 h 7"/>
                  <a:gd name="T24" fmla="*/ 9 w 22"/>
                  <a:gd name="T25" fmla="*/ 5 h 7"/>
                  <a:gd name="T26" fmla="*/ 11 w 22"/>
                  <a:gd name="T27" fmla="*/ 6 h 7"/>
                  <a:gd name="T28" fmla="*/ 17 w 22"/>
                  <a:gd name="T29" fmla="*/ 7 h 7"/>
                  <a:gd name="T30" fmla="*/ 17 w 22"/>
                  <a:gd name="T3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" h="7">
                    <a:moveTo>
                      <a:pt x="17" y="7"/>
                    </a:moveTo>
                    <a:lnTo>
                      <a:pt x="19" y="6"/>
                    </a:lnTo>
                    <a:lnTo>
                      <a:pt x="22" y="5"/>
                    </a:lnTo>
                    <a:lnTo>
                      <a:pt x="20" y="4"/>
                    </a:lnTo>
                    <a:lnTo>
                      <a:pt x="17" y="3"/>
                    </a:lnTo>
                    <a:lnTo>
                      <a:pt x="13" y="1"/>
                    </a:lnTo>
                    <a:lnTo>
                      <a:pt x="11" y="0"/>
                    </a:lnTo>
                    <a:lnTo>
                      <a:pt x="8" y="1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5" y="5"/>
                    </a:lnTo>
                    <a:lnTo>
                      <a:pt x="9" y="5"/>
                    </a:lnTo>
                    <a:lnTo>
                      <a:pt x="11" y="6"/>
                    </a:lnTo>
                    <a:lnTo>
                      <a:pt x="17" y="7"/>
                    </a:lnTo>
                    <a:lnTo>
                      <a:pt x="17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6" name="Freeform 122">
                <a:extLst>
                  <a:ext uri="{FF2B5EF4-FFF2-40B4-BE49-F238E27FC236}">
                    <a16:creationId xmlns:a16="http://schemas.microsoft.com/office/drawing/2014/main" id="{B826EF85-EB83-42AE-90A9-E7E59614D4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6" y="1353"/>
                <a:ext cx="28" cy="12"/>
              </a:xfrm>
              <a:custGeom>
                <a:avLst/>
                <a:gdLst>
                  <a:gd name="T0" fmla="*/ 8 w 28"/>
                  <a:gd name="T1" fmla="*/ 12 h 12"/>
                  <a:gd name="T2" fmla="*/ 13 w 28"/>
                  <a:gd name="T3" fmla="*/ 12 h 12"/>
                  <a:gd name="T4" fmla="*/ 13 w 28"/>
                  <a:gd name="T5" fmla="*/ 9 h 12"/>
                  <a:gd name="T6" fmla="*/ 15 w 28"/>
                  <a:gd name="T7" fmla="*/ 9 h 12"/>
                  <a:gd name="T8" fmla="*/ 17 w 28"/>
                  <a:gd name="T9" fmla="*/ 8 h 12"/>
                  <a:gd name="T10" fmla="*/ 15 w 28"/>
                  <a:gd name="T11" fmla="*/ 6 h 12"/>
                  <a:gd name="T12" fmla="*/ 18 w 28"/>
                  <a:gd name="T13" fmla="*/ 6 h 12"/>
                  <a:gd name="T14" fmla="*/ 21 w 28"/>
                  <a:gd name="T15" fmla="*/ 6 h 12"/>
                  <a:gd name="T16" fmla="*/ 23 w 28"/>
                  <a:gd name="T17" fmla="*/ 5 h 12"/>
                  <a:gd name="T18" fmla="*/ 26 w 28"/>
                  <a:gd name="T19" fmla="*/ 5 h 12"/>
                  <a:gd name="T20" fmla="*/ 28 w 28"/>
                  <a:gd name="T21" fmla="*/ 4 h 12"/>
                  <a:gd name="T22" fmla="*/ 18 w 28"/>
                  <a:gd name="T23" fmla="*/ 0 h 12"/>
                  <a:gd name="T24" fmla="*/ 11 w 28"/>
                  <a:gd name="T25" fmla="*/ 0 h 12"/>
                  <a:gd name="T26" fmla="*/ 4 w 28"/>
                  <a:gd name="T27" fmla="*/ 0 h 12"/>
                  <a:gd name="T28" fmla="*/ 0 w 28"/>
                  <a:gd name="T29" fmla="*/ 2 h 12"/>
                  <a:gd name="T30" fmla="*/ 2 w 28"/>
                  <a:gd name="T31" fmla="*/ 3 h 12"/>
                  <a:gd name="T32" fmla="*/ 2 w 28"/>
                  <a:gd name="T33" fmla="*/ 6 h 12"/>
                  <a:gd name="T34" fmla="*/ 4 w 28"/>
                  <a:gd name="T35" fmla="*/ 8 h 12"/>
                  <a:gd name="T36" fmla="*/ 6 w 28"/>
                  <a:gd name="T37" fmla="*/ 12 h 12"/>
                  <a:gd name="T38" fmla="*/ 8 w 28"/>
                  <a:gd name="T39" fmla="*/ 12 h 12"/>
                  <a:gd name="T40" fmla="*/ 8 w 28"/>
                  <a:gd name="T4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8" h="12">
                    <a:moveTo>
                      <a:pt x="8" y="12"/>
                    </a:moveTo>
                    <a:lnTo>
                      <a:pt x="13" y="12"/>
                    </a:lnTo>
                    <a:lnTo>
                      <a:pt x="13" y="9"/>
                    </a:lnTo>
                    <a:lnTo>
                      <a:pt x="15" y="9"/>
                    </a:lnTo>
                    <a:lnTo>
                      <a:pt x="17" y="8"/>
                    </a:lnTo>
                    <a:lnTo>
                      <a:pt x="15" y="6"/>
                    </a:lnTo>
                    <a:lnTo>
                      <a:pt x="18" y="6"/>
                    </a:lnTo>
                    <a:lnTo>
                      <a:pt x="21" y="6"/>
                    </a:lnTo>
                    <a:lnTo>
                      <a:pt x="23" y="5"/>
                    </a:lnTo>
                    <a:lnTo>
                      <a:pt x="26" y="5"/>
                    </a:lnTo>
                    <a:lnTo>
                      <a:pt x="28" y="4"/>
                    </a:lnTo>
                    <a:lnTo>
                      <a:pt x="18" y="0"/>
                    </a:lnTo>
                    <a:lnTo>
                      <a:pt x="11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7" name="Freeform 123">
                <a:extLst>
                  <a:ext uri="{FF2B5EF4-FFF2-40B4-BE49-F238E27FC236}">
                    <a16:creationId xmlns:a16="http://schemas.microsoft.com/office/drawing/2014/main" id="{BC242B0D-6421-4A53-ACCB-365C079AE7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6" y="1328"/>
                <a:ext cx="11" cy="4"/>
              </a:xfrm>
              <a:custGeom>
                <a:avLst/>
                <a:gdLst>
                  <a:gd name="T0" fmla="*/ 0 w 11"/>
                  <a:gd name="T1" fmla="*/ 3 h 4"/>
                  <a:gd name="T2" fmla="*/ 1 w 11"/>
                  <a:gd name="T3" fmla="*/ 4 h 4"/>
                  <a:gd name="T4" fmla="*/ 7 w 11"/>
                  <a:gd name="T5" fmla="*/ 4 h 4"/>
                  <a:gd name="T6" fmla="*/ 10 w 11"/>
                  <a:gd name="T7" fmla="*/ 4 h 4"/>
                  <a:gd name="T8" fmla="*/ 11 w 11"/>
                  <a:gd name="T9" fmla="*/ 0 h 4"/>
                  <a:gd name="T10" fmla="*/ 6 w 11"/>
                  <a:gd name="T11" fmla="*/ 2 h 4"/>
                  <a:gd name="T12" fmla="*/ 0 w 11"/>
                  <a:gd name="T13" fmla="*/ 3 h 4"/>
                  <a:gd name="T14" fmla="*/ 0 w 11"/>
                  <a:gd name="T15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4">
                    <a:moveTo>
                      <a:pt x="0" y="3"/>
                    </a:moveTo>
                    <a:lnTo>
                      <a:pt x="1" y="4"/>
                    </a:lnTo>
                    <a:lnTo>
                      <a:pt x="7" y="4"/>
                    </a:lnTo>
                    <a:lnTo>
                      <a:pt x="10" y="4"/>
                    </a:lnTo>
                    <a:lnTo>
                      <a:pt x="11" y="0"/>
                    </a:lnTo>
                    <a:lnTo>
                      <a:pt x="6" y="2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8" name="Freeform 124">
                <a:extLst>
                  <a:ext uri="{FF2B5EF4-FFF2-40B4-BE49-F238E27FC236}">
                    <a16:creationId xmlns:a16="http://schemas.microsoft.com/office/drawing/2014/main" id="{BCF302FE-6C23-45A7-841C-1760AD1C33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6" y="1333"/>
                <a:ext cx="12" cy="6"/>
              </a:xfrm>
              <a:custGeom>
                <a:avLst/>
                <a:gdLst>
                  <a:gd name="T0" fmla="*/ 0 w 12"/>
                  <a:gd name="T1" fmla="*/ 2 h 6"/>
                  <a:gd name="T2" fmla="*/ 8 w 12"/>
                  <a:gd name="T3" fmla="*/ 6 h 6"/>
                  <a:gd name="T4" fmla="*/ 11 w 12"/>
                  <a:gd name="T5" fmla="*/ 5 h 6"/>
                  <a:gd name="T6" fmla="*/ 12 w 12"/>
                  <a:gd name="T7" fmla="*/ 2 h 6"/>
                  <a:gd name="T8" fmla="*/ 6 w 12"/>
                  <a:gd name="T9" fmla="*/ 0 h 6"/>
                  <a:gd name="T10" fmla="*/ 4 w 12"/>
                  <a:gd name="T11" fmla="*/ 0 h 6"/>
                  <a:gd name="T12" fmla="*/ 0 w 12"/>
                  <a:gd name="T13" fmla="*/ 2 h 6"/>
                  <a:gd name="T14" fmla="*/ 0 w 12"/>
                  <a:gd name="T1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6">
                    <a:moveTo>
                      <a:pt x="0" y="2"/>
                    </a:moveTo>
                    <a:lnTo>
                      <a:pt x="8" y="6"/>
                    </a:lnTo>
                    <a:lnTo>
                      <a:pt x="11" y="5"/>
                    </a:lnTo>
                    <a:lnTo>
                      <a:pt x="12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9" name="Freeform 125">
                <a:extLst>
                  <a:ext uri="{FF2B5EF4-FFF2-40B4-BE49-F238E27FC236}">
                    <a16:creationId xmlns:a16="http://schemas.microsoft.com/office/drawing/2014/main" id="{6D93FB4C-6453-4CA9-85AE-6BBEE1C32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7" y="1340"/>
                <a:ext cx="15" cy="4"/>
              </a:xfrm>
              <a:custGeom>
                <a:avLst/>
                <a:gdLst>
                  <a:gd name="T0" fmla="*/ 2 w 15"/>
                  <a:gd name="T1" fmla="*/ 2 h 4"/>
                  <a:gd name="T2" fmla="*/ 0 w 15"/>
                  <a:gd name="T3" fmla="*/ 3 h 4"/>
                  <a:gd name="T4" fmla="*/ 10 w 15"/>
                  <a:gd name="T5" fmla="*/ 4 h 4"/>
                  <a:gd name="T6" fmla="*/ 12 w 15"/>
                  <a:gd name="T7" fmla="*/ 3 h 4"/>
                  <a:gd name="T8" fmla="*/ 15 w 15"/>
                  <a:gd name="T9" fmla="*/ 3 h 4"/>
                  <a:gd name="T10" fmla="*/ 15 w 15"/>
                  <a:gd name="T11" fmla="*/ 1 h 4"/>
                  <a:gd name="T12" fmla="*/ 12 w 15"/>
                  <a:gd name="T13" fmla="*/ 0 h 4"/>
                  <a:gd name="T14" fmla="*/ 7 w 15"/>
                  <a:gd name="T15" fmla="*/ 1 h 4"/>
                  <a:gd name="T16" fmla="*/ 2 w 15"/>
                  <a:gd name="T17" fmla="*/ 2 h 4"/>
                  <a:gd name="T18" fmla="*/ 2 w 15"/>
                  <a:gd name="T1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" h="4">
                    <a:moveTo>
                      <a:pt x="2" y="2"/>
                    </a:moveTo>
                    <a:lnTo>
                      <a:pt x="0" y="3"/>
                    </a:lnTo>
                    <a:lnTo>
                      <a:pt x="10" y="4"/>
                    </a:lnTo>
                    <a:lnTo>
                      <a:pt x="12" y="3"/>
                    </a:lnTo>
                    <a:lnTo>
                      <a:pt x="15" y="3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7" y="1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0" name="Freeform 126">
                <a:extLst>
                  <a:ext uri="{FF2B5EF4-FFF2-40B4-BE49-F238E27FC236}">
                    <a16:creationId xmlns:a16="http://schemas.microsoft.com/office/drawing/2014/main" id="{D4216DD6-1999-466D-AC78-71874BBD18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9" y="1309"/>
                <a:ext cx="19" cy="5"/>
              </a:xfrm>
              <a:custGeom>
                <a:avLst/>
                <a:gdLst>
                  <a:gd name="T0" fmla="*/ 1 w 19"/>
                  <a:gd name="T1" fmla="*/ 5 h 5"/>
                  <a:gd name="T2" fmla="*/ 9 w 19"/>
                  <a:gd name="T3" fmla="*/ 4 h 5"/>
                  <a:gd name="T4" fmla="*/ 18 w 19"/>
                  <a:gd name="T5" fmla="*/ 4 h 5"/>
                  <a:gd name="T6" fmla="*/ 19 w 19"/>
                  <a:gd name="T7" fmla="*/ 0 h 5"/>
                  <a:gd name="T8" fmla="*/ 17 w 19"/>
                  <a:gd name="T9" fmla="*/ 0 h 5"/>
                  <a:gd name="T10" fmla="*/ 2 w 19"/>
                  <a:gd name="T11" fmla="*/ 1 h 5"/>
                  <a:gd name="T12" fmla="*/ 0 w 19"/>
                  <a:gd name="T13" fmla="*/ 1 h 5"/>
                  <a:gd name="T14" fmla="*/ 2 w 19"/>
                  <a:gd name="T15" fmla="*/ 2 h 5"/>
                  <a:gd name="T16" fmla="*/ 1 w 19"/>
                  <a:gd name="T17" fmla="*/ 5 h 5"/>
                  <a:gd name="T18" fmla="*/ 1 w 19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5">
                    <a:moveTo>
                      <a:pt x="1" y="5"/>
                    </a:moveTo>
                    <a:lnTo>
                      <a:pt x="9" y="4"/>
                    </a:lnTo>
                    <a:lnTo>
                      <a:pt x="18" y="4"/>
                    </a:lnTo>
                    <a:lnTo>
                      <a:pt x="19" y="0"/>
                    </a:lnTo>
                    <a:lnTo>
                      <a:pt x="17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2" y="2"/>
                    </a:lnTo>
                    <a:lnTo>
                      <a:pt x="1" y="5"/>
                    </a:lnTo>
                    <a:lnTo>
                      <a:pt x="1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1" name="Freeform 127">
                <a:extLst>
                  <a:ext uri="{FF2B5EF4-FFF2-40B4-BE49-F238E27FC236}">
                    <a16:creationId xmlns:a16="http://schemas.microsoft.com/office/drawing/2014/main" id="{FBDD778E-B921-48FA-9A21-718A23992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5" y="1324"/>
                <a:ext cx="12" cy="3"/>
              </a:xfrm>
              <a:custGeom>
                <a:avLst/>
                <a:gdLst>
                  <a:gd name="T0" fmla="*/ 0 w 12"/>
                  <a:gd name="T1" fmla="*/ 1 h 3"/>
                  <a:gd name="T2" fmla="*/ 0 w 12"/>
                  <a:gd name="T3" fmla="*/ 2 h 3"/>
                  <a:gd name="T4" fmla="*/ 4 w 12"/>
                  <a:gd name="T5" fmla="*/ 3 h 3"/>
                  <a:gd name="T6" fmla="*/ 8 w 12"/>
                  <a:gd name="T7" fmla="*/ 3 h 3"/>
                  <a:gd name="T8" fmla="*/ 12 w 12"/>
                  <a:gd name="T9" fmla="*/ 1 h 3"/>
                  <a:gd name="T10" fmla="*/ 8 w 12"/>
                  <a:gd name="T11" fmla="*/ 0 h 3"/>
                  <a:gd name="T12" fmla="*/ 6 w 12"/>
                  <a:gd name="T13" fmla="*/ 0 h 3"/>
                  <a:gd name="T14" fmla="*/ 0 w 12"/>
                  <a:gd name="T15" fmla="*/ 1 h 3"/>
                  <a:gd name="T16" fmla="*/ 0 w 12"/>
                  <a:gd name="T17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3">
                    <a:moveTo>
                      <a:pt x="0" y="1"/>
                    </a:moveTo>
                    <a:lnTo>
                      <a:pt x="0" y="2"/>
                    </a:lnTo>
                    <a:lnTo>
                      <a:pt x="4" y="3"/>
                    </a:lnTo>
                    <a:lnTo>
                      <a:pt x="8" y="3"/>
                    </a:lnTo>
                    <a:lnTo>
                      <a:pt x="12" y="1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2" name="Freeform 128">
                <a:extLst>
                  <a:ext uri="{FF2B5EF4-FFF2-40B4-BE49-F238E27FC236}">
                    <a16:creationId xmlns:a16="http://schemas.microsoft.com/office/drawing/2014/main" id="{45C72761-2C4E-42C5-A2F2-16F849EFE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0" y="1487"/>
                <a:ext cx="6" cy="2"/>
              </a:xfrm>
              <a:custGeom>
                <a:avLst/>
                <a:gdLst>
                  <a:gd name="T0" fmla="*/ 0 w 6"/>
                  <a:gd name="T1" fmla="*/ 2 h 2"/>
                  <a:gd name="T2" fmla="*/ 0 w 6"/>
                  <a:gd name="T3" fmla="*/ 2 h 2"/>
                  <a:gd name="T4" fmla="*/ 2 w 6"/>
                  <a:gd name="T5" fmla="*/ 2 h 2"/>
                  <a:gd name="T6" fmla="*/ 6 w 6"/>
                  <a:gd name="T7" fmla="*/ 0 h 2"/>
                  <a:gd name="T8" fmla="*/ 0 w 6"/>
                  <a:gd name="T9" fmla="*/ 2 h 2"/>
                  <a:gd name="T10" fmla="*/ 0 w 6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3" name="Freeform 129">
                <a:extLst>
                  <a:ext uri="{FF2B5EF4-FFF2-40B4-BE49-F238E27FC236}">
                    <a16:creationId xmlns:a16="http://schemas.microsoft.com/office/drawing/2014/main" id="{EF73262A-4275-4498-BA8F-1411BC100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0" y="1365"/>
                <a:ext cx="15" cy="5"/>
              </a:xfrm>
              <a:custGeom>
                <a:avLst/>
                <a:gdLst>
                  <a:gd name="T0" fmla="*/ 0 w 15"/>
                  <a:gd name="T1" fmla="*/ 3 h 5"/>
                  <a:gd name="T2" fmla="*/ 3 w 15"/>
                  <a:gd name="T3" fmla="*/ 4 h 5"/>
                  <a:gd name="T4" fmla="*/ 6 w 15"/>
                  <a:gd name="T5" fmla="*/ 5 h 5"/>
                  <a:gd name="T6" fmla="*/ 12 w 15"/>
                  <a:gd name="T7" fmla="*/ 5 h 5"/>
                  <a:gd name="T8" fmla="*/ 15 w 15"/>
                  <a:gd name="T9" fmla="*/ 3 h 5"/>
                  <a:gd name="T10" fmla="*/ 14 w 15"/>
                  <a:gd name="T11" fmla="*/ 3 h 5"/>
                  <a:gd name="T12" fmla="*/ 12 w 15"/>
                  <a:gd name="T13" fmla="*/ 0 h 5"/>
                  <a:gd name="T14" fmla="*/ 9 w 15"/>
                  <a:gd name="T15" fmla="*/ 0 h 5"/>
                  <a:gd name="T16" fmla="*/ 3 w 15"/>
                  <a:gd name="T17" fmla="*/ 1 h 5"/>
                  <a:gd name="T18" fmla="*/ 0 w 15"/>
                  <a:gd name="T19" fmla="*/ 3 h 5"/>
                  <a:gd name="T20" fmla="*/ 0 w 15"/>
                  <a:gd name="T2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" h="5">
                    <a:moveTo>
                      <a:pt x="0" y="3"/>
                    </a:moveTo>
                    <a:lnTo>
                      <a:pt x="3" y="4"/>
                    </a:lnTo>
                    <a:lnTo>
                      <a:pt x="6" y="5"/>
                    </a:lnTo>
                    <a:lnTo>
                      <a:pt x="12" y="5"/>
                    </a:lnTo>
                    <a:lnTo>
                      <a:pt x="15" y="3"/>
                    </a:lnTo>
                    <a:lnTo>
                      <a:pt x="14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3" y="1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4" name="Freeform 130">
                <a:extLst>
                  <a:ext uri="{FF2B5EF4-FFF2-40B4-BE49-F238E27FC236}">
                    <a16:creationId xmlns:a16="http://schemas.microsoft.com/office/drawing/2014/main" id="{C0F86A52-8FD0-41A6-B500-9820C5C2FA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7" y="1340"/>
                <a:ext cx="41" cy="16"/>
              </a:xfrm>
              <a:custGeom>
                <a:avLst/>
                <a:gdLst>
                  <a:gd name="T0" fmla="*/ 0 w 41"/>
                  <a:gd name="T1" fmla="*/ 11 h 16"/>
                  <a:gd name="T2" fmla="*/ 0 w 41"/>
                  <a:gd name="T3" fmla="*/ 12 h 16"/>
                  <a:gd name="T4" fmla="*/ 5 w 41"/>
                  <a:gd name="T5" fmla="*/ 15 h 16"/>
                  <a:gd name="T6" fmla="*/ 8 w 41"/>
                  <a:gd name="T7" fmla="*/ 15 h 16"/>
                  <a:gd name="T8" fmla="*/ 13 w 41"/>
                  <a:gd name="T9" fmla="*/ 13 h 16"/>
                  <a:gd name="T10" fmla="*/ 22 w 41"/>
                  <a:gd name="T11" fmla="*/ 16 h 16"/>
                  <a:gd name="T12" fmla="*/ 25 w 41"/>
                  <a:gd name="T13" fmla="*/ 15 h 16"/>
                  <a:gd name="T14" fmla="*/ 27 w 41"/>
                  <a:gd name="T15" fmla="*/ 12 h 16"/>
                  <a:gd name="T16" fmla="*/ 30 w 41"/>
                  <a:gd name="T17" fmla="*/ 12 h 16"/>
                  <a:gd name="T18" fmla="*/ 34 w 41"/>
                  <a:gd name="T19" fmla="*/ 10 h 16"/>
                  <a:gd name="T20" fmla="*/ 36 w 41"/>
                  <a:gd name="T21" fmla="*/ 9 h 16"/>
                  <a:gd name="T22" fmla="*/ 41 w 41"/>
                  <a:gd name="T23" fmla="*/ 4 h 16"/>
                  <a:gd name="T24" fmla="*/ 38 w 41"/>
                  <a:gd name="T25" fmla="*/ 1 h 16"/>
                  <a:gd name="T26" fmla="*/ 36 w 41"/>
                  <a:gd name="T27" fmla="*/ 1 h 16"/>
                  <a:gd name="T28" fmla="*/ 33 w 41"/>
                  <a:gd name="T29" fmla="*/ 0 h 16"/>
                  <a:gd name="T30" fmla="*/ 24 w 41"/>
                  <a:gd name="T31" fmla="*/ 2 h 16"/>
                  <a:gd name="T32" fmla="*/ 14 w 41"/>
                  <a:gd name="T33" fmla="*/ 3 h 16"/>
                  <a:gd name="T34" fmla="*/ 9 w 41"/>
                  <a:gd name="T35" fmla="*/ 2 h 16"/>
                  <a:gd name="T36" fmla="*/ 12 w 41"/>
                  <a:gd name="T37" fmla="*/ 1 h 16"/>
                  <a:gd name="T38" fmla="*/ 9 w 41"/>
                  <a:gd name="T39" fmla="*/ 1 h 16"/>
                  <a:gd name="T40" fmla="*/ 7 w 41"/>
                  <a:gd name="T41" fmla="*/ 2 h 16"/>
                  <a:gd name="T42" fmla="*/ 1 w 41"/>
                  <a:gd name="T43" fmla="*/ 5 h 16"/>
                  <a:gd name="T44" fmla="*/ 0 w 41"/>
                  <a:gd name="T45" fmla="*/ 9 h 16"/>
                  <a:gd name="T46" fmla="*/ 0 w 41"/>
                  <a:gd name="T47" fmla="*/ 11 h 16"/>
                  <a:gd name="T48" fmla="*/ 0 w 41"/>
                  <a:gd name="T49" fmla="*/ 1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1" h="16">
                    <a:moveTo>
                      <a:pt x="0" y="11"/>
                    </a:moveTo>
                    <a:lnTo>
                      <a:pt x="0" y="12"/>
                    </a:lnTo>
                    <a:lnTo>
                      <a:pt x="5" y="15"/>
                    </a:lnTo>
                    <a:lnTo>
                      <a:pt x="8" y="15"/>
                    </a:lnTo>
                    <a:lnTo>
                      <a:pt x="13" y="13"/>
                    </a:lnTo>
                    <a:lnTo>
                      <a:pt x="22" y="16"/>
                    </a:lnTo>
                    <a:lnTo>
                      <a:pt x="25" y="15"/>
                    </a:lnTo>
                    <a:lnTo>
                      <a:pt x="27" y="12"/>
                    </a:lnTo>
                    <a:lnTo>
                      <a:pt x="30" y="12"/>
                    </a:lnTo>
                    <a:lnTo>
                      <a:pt x="34" y="10"/>
                    </a:lnTo>
                    <a:lnTo>
                      <a:pt x="36" y="9"/>
                    </a:lnTo>
                    <a:lnTo>
                      <a:pt x="41" y="4"/>
                    </a:lnTo>
                    <a:lnTo>
                      <a:pt x="38" y="1"/>
                    </a:lnTo>
                    <a:lnTo>
                      <a:pt x="36" y="1"/>
                    </a:lnTo>
                    <a:lnTo>
                      <a:pt x="33" y="0"/>
                    </a:lnTo>
                    <a:lnTo>
                      <a:pt x="24" y="2"/>
                    </a:lnTo>
                    <a:lnTo>
                      <a:pt x="14" y="3"/>
                    </a:lnTo>
                    <a:lnTo>
                      <a:pt x="9" y="2"/>
                    </a:lnTo>
                    <a:lnTo>
                      <a:pt x="12" y="1"/>
                    </a:lnTo>
                    <a:lnTo>
                      <a:pt x="9" y="1"/>
                    </a:lnTo>
                    <a:lnTo>
                      <a:pt x="7" y="2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5" name="Freeform 131">
                <a:extLst>
                  <a:ext uri="{FF2B5EF4-FFF2-40B4-BE49-F238E27FC236}">
                    <a16:creationId xmlns:a16="http://schemas.microsoft.com/office/drawing/2014/main" id="{7C440F68-1C94-4A8F-A0F5-9B1081EE80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8" y="1333"/>
                <a:ext cx="20" cy="7"/>
              </a:xfrm>
              <a:custGeom>
                <a:avLst/>
                <a:gdLst>
                  <a:gd name="T0" fmla="*/ 0 w 20"/>
                  <a:gd name="T1" fmla="*/ 3 h 7"/>
                  <a:gd name="T2" fmla="*/ 0 w 20"/>
                  <a:gd name="T3" fmla="*/ 5 h 7"/>
                  <a:gd name="T4" fmla="*/ 3 w 20"/>
                  <a:gd name="T5" fmla="*/ 6 h 7"/>
                  <a:gd name="T6" fmla="*/ 11 w 20"/>
                  <a:gd name="T7" fmla="*/ 7 h 7"/>
                  <a:gd name="T8" fmla="*/ 15 w 20"/>
                  <a:gd name="T9" fmla="*/ 6 h 7"/>
                  <a:gd name="T10" fmla="*/ 20 w 20"/>
                  <a:gd name="T11" fmla="*/ 2 h 7"/>
                  <a:gd name="T12" fmla="*/ 20 w 20"/>
                  <a:gd name="T13" fmla="*/ 0 h 7"/>
                  <a:gd name="T14" fmla="*/ 14 w 20"/>
                  <a:gd name="T15" fmla="*/ 0 h 7"/>
                  <a:gd name="T16" fmla="*/ 8 w 20"/>
                  <a:gd name="T17" fmla="*/ 0 h 7"/>
                  <a:gd name="T18" fmla="*/ 2 w 20"/>
                  <a:gd name="T19" fmla="*/ 2 h 7"/>
                  <a:gd name="T20" fmla="*/ 0 w 20"/>
                  <a:gd name="T21" fmla="*/ 3 h 7"/>
                  <a:gd name="T22" fmla="*/ 0 w 20"/>
                  <a:gd name="T2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" h="7">
                    <a:moveTo>
                      <a:pt x="0" y="3"/>
                    </a:moveTo>
                    <a:lnTo>
                      <a:pt x="0" y="5"/>
                    </a:lnTo>
                    <a:lnTo>
                      <a:pt x="3" y="6"/>
                    </a:lnTo>
                    <a:lnTo>
                      <a:pt x="11" y="7"/>
                    </a:lnTo>
                    <a:lnTo>
                      <a:pt x="15" y="6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8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6" name="Freeform 132">
                <a:extLst>
                  <a:ext uri="{FF2B5EF4-FFF2-40B4-BE49-F238E27FC236}">
                    <a16:creationId xmlns:a16="http://schemas.microsoft.com/office/drawing/2014/main" id="{7193F032-EC90-46B2-BE6F-008DC2AA78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1" y="1317"/>
                <a:ext cx="5" cy="2"/>
              </a:xfrm>
              <a:custGeom>
                <a:avLst/>
                <a:gdLst>
                  <a:gd name="T0" fmla="*/ 0 w 5"/>
                  <a:gd name="T1" fmla="*/ 0 h 2"/>
                  <a:gd name="T2" fmla="*/ 0 w 5"/>
                  <a:gd name="T3" fmla="*/ 1 h 2"/>
                  <a:gd name="T4" fmla="*/ 2 w 5"/>
                  <a:gd name="T5" fmla="*/ 2 h 2"/>
                  <a:gd name="T6" fmla="*/ 5 w 5"/>
                  <a:gd name="T7" fmla="*/ 1 h 2"/>
                  <a:gd name="T8" fmla="*/ 0 w 5"/>
                  <a:gd name="T9" fmla="*/ 0 h 2"/>
                  <a:gd name="T10" fmla="*/ 0 w 5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2">
                    <a:moveTo>
                      <a:pt x="0" y="0"/>
                    </a:moveTo>
                    <a:lnTo>
                      <a:pt x="0" y="1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7" name="Freeform 133">
                <a:extLst>
                  <a:ext uri="{FF2B5EF4-FFF2-40B4-BE49-F238E27FC236}">
                    <a16:creationId xmlns:a16="http://schemas.microsoft.com/office/drawing/2014/main" id="{72030EA3-AA67-4786-BE26-BA5E33D443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6" y="1313"/>
                <a:ext cx="21" cy="4"/>
              </a:xfrm>
              <a:custGeom>
                <a:avLst/>
                <a:gdLst>
                  <a:gd name="T0" fmla="*/ 0 w 21"/>
                  <a:gd name="T1" fmla="*/ 2 h 4"/>
                  <a:gd name="T2" fmla="*/ 0 w 21"/>
                  <a:gd name="T3" fmla="*/ 2 h 4"/>
                  <a:gd name="T4" fmla="*/ 4 w 21"/>
                  <a:gd name="T5" fmla="*/ 2 h 4"/>
                  <a:gd name="T6" fmla="*/ 6 w 21"/>
                  <a:gd name="T7" fmla="*/ 3 h 4"/>
                  <a:gd name="T8" fmla="*/ 12 w 21"/>
                  <a:gd name="T9" fmla="*/ 4 h 4"/>
                  <a:gd name="T10" fmla="*/ 19 w 21"/>
                  <a:gd name="T11" fmla="*/ 4 h 4"/>
                  <a:gd name="T12" fmla="*/ 21 w 21"/>
                  <a:gd name="T13" fmla="*/ 4 h 4"/>
                  <a:gd name="T14" fmla="*/ 21 w 21"/>
                  <a:gd name="T15" fmla="*/ 1 h 4"/>
                  <a:gd name="T16" fmla="*/ 17 w 21"/>
                  <a:gd name="T17" fmla="*/ 1 h 4"/>
                  <a:gd name="T18" fmla="*/ 15 w 21"/>
                  <a:gd name="T19" fmla="*/ 0 h 4"/>
                  <a:gd name="T20" fmla="*/ 9 w 21"/>
                  <a:gd name="T21" fmla="*/ 1 h 4"/>
                  <a:gd name="T22" fmla="*/ 6 w 21"/>
                  <a:gd name="T23" fmla="*/ 1 h 4"/>
                  <a:gd name="T24" fmla="*/ 0 w 21"/>
                  <a:gd name="T25" fmla="*/ 2 h 4"/>
                  <a:gd name="T26" fmla="*/ 0 w 21"/>
                  <a:gd name="T2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4">
                    <a:moveTo>
                      <a:pt x="0" y="2"/>
                    </a:moveTo>
                    <a:lnTo>
                      <a:pt x="0" y="2"/>
                    </a:lnTo>
                    <a:lnTo>
                      <a:pt x="4" y="2"/>
                    </a:lnTo>
                    <a:lnTo>
                      <a:pt x="6" y="3"/>
                    </a:lnTo>
                    <a:lnTo>
                      <a:pt x="12" y="4"/>
                    </a:lnTo>
                    <a:lnTo>
                      <a:pt x="19" y="4"/>
                    </a:lnTo>
                    <a:lnTo>
                      <a:pt x="21" y="4"/>
                    </a:lnTo>
                    <a:lnTo>
                      <a:pt x="21" y="1"/>
                    </a:lnTo>
                    <a:lnTo>
                      <a:pt x="17" y="1"/>
                    </a:lnTo>
                    <a:lnTo>
                      <a:pt x="15" y="0"/>
                    </a:lnTo>
                    <a:lnTo>
                      <a:pt x="9" y="1"/>
                    </a:lnTo>
                    <a:lnTo>
                      <a:pt x="6" y="1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8" name="Freeform 134">
                <a:extLst>
                  <a:ext uri="{FF2B5EF4-FFF2-40B4-BE49-F238E27FC236}">
                    <a16:creationId xmlns:a16="http://schemas.microsoft.com/office/drawing/2014/main" id="{93D084AE-4A45-4D89-8689-E9BD68925B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1" y="1331"/>
                <a:ext cx="40" cy="16"/>
              </a:xfrm>
              <a:custGeom>
                <a:avLst/>
                <a:gdLst>
                  <a:gd name="T0" fmla="*/ 0 w 40"/>
                  <a:gd name="T1" fmla="*/ 10 h 16"/>
                  <a:gd name="T2" fmla="*/ 0 w 40"/>
                  <a:gd name="T3" fmla="*/ 12 h 16"/>
                  <a:gd name="T4" fmla="*/ 9 w 40"/>
                  <a:gd name="T5" fmla="*/ 16 h 16"/>
                  <a:gd name="T6" fmla="*/ 14 w 40"/>
                  <a:gd name="T7" fmla="*/ 14 h 16"/>
                  <a:gd name="T8" fmla="*/ 26 w 40"/>
                  <a:gd name="T9" fmla="*/ 14 h 16"/>
                  <a:gd name="T10" fmla="*/ 28 w 40"/>
                  <a:gd name="T11" fmla="*/ 13 h 16"/>
                  <a:gd name="T12" fmla="*/ 34 w 40"/>
                  <a:gd name="T13" fmla="*/ 11 h 16"/>
                  <a:gd name="T14" fmla="*/ 37 w 40"/>
                  <a:gd name="T15" fmla="*/ 10 h 16"/>
                  <a:gd name="T16" fmla="*/ 40 w 40"/>
                  <a:gd name="T17" fmla="*/ 7 h 16"/>
                  <a:gd name="T18" fmla="*/ 40 w 40"/>
                  <a:gd name="T19" fmla="*/ 4 h 16"/>
                  <a:gd name="T20" fmla="*/ 37 w 40"/>
                  <a:gd name="T21" fmla="*/ 2 h 16"/>
                  <a:gd name="T22" fmla="*/ 35 w 40"/>
                  <a:gd name="T23" fmla="*/ 1 h 16"/>
                  <a:gd name="T24" fmla="*/ 32 w 40"/>
                  <a:gd name="T25" fmla="*/ 0 h 16"/>
                  <a:gd name="T26" fmla="*/ 26 w 40"/>
                  <a:gd name="T27" fmla="*/ 0 h 16"/>
                  <a:gd name="T28" fmla="*/ 24 w 40"/>
                  <a:gd name="T29" fmla="*/ 1 h 16"/>
                  <a:gd name="T30" fmla="*/ 23 w 40"/>
                  <a:gd name="T31" fmla="*/ 3 h 16"/>
                  <a:gd name="T32" fmla="*/ 21 w 40"/>
                  <a:gd name="T33" fmla="*/ 5 h 16"/>
                  <a:gd name="T34" fmla="*/ 9 w 40"/>
                  <a:gd name="T35" fmla="*/ 7 h 16"/>
                  <a:gd name="T36" fmla="*/ 6 w 40"/>
                  <a:gd name="T37" fmla="*/ 9 h 16"/>
                  <a:gd name="T38" fmla="*/ 0 w 40"/>
                  <a:gd name="T39" fmla="*/ 10 h 16"/>
                  <a:gd name="T40" fmla="*/ 0 w 40"/>
                  <a:gd name="T41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" h="16">
                    <a:moveTo>
                      <a:pt x="0" y="10"/>
                    </a:moveTo>
                    <a:lnTo>
                      <a:pt x="0" y="12"/>
                    </a:lnTo>
                    <a:lnTo>
                      <a:pt x="9" y="16"/>
                    </a:lnTo>
                    <a:lnTo>
                      <a:pt x="14" y="14"/>
                    </a:lnTo>
                    <a:lnTo>
                      <a:pt x="26" y="14"/>
                    </a:lnTo>
                    <a:lnTo>
                      <a:pt x="28" y="13"/>
                    </a:lnTo>
                    <a:lnTo>
                      <a:pt x="34" y="11"/>
                    </a:lnTo>
                    <a:lnTo>
                      <a:pt x="37" y="10"/>
                    </a:lnTo>
                    <a:lnTo>
                      <a:pt x="40" y="7"/>
                    </a:lnTo>
                    <a:lnTo>
                      <a:pt x="40" y="4"/>
                    </a:lnTo>
                    <a:lnTo>
                      <a:pt x="37" y="2"/>
                    </a:lnTo>
                    <a:lnTo>
                      <a:pt x="35" y="1"/>
                    </a:lnTo>
                    <a:lnTo>
                      <a:pt x="32" y="0"/>
                    </a:lnTo>
                    <a:lnTo>
                      <a:pt x="26" y="0"/>
                    </a:lnTo>
                    <a:lnTo>
                      <a:pt x="24" y="1"/>
                    </a:lnTo>
                    <a:lnTo>
                      <a:pt x="23" y="3"/>
                    </a:lnTo>
                    <a:lnTo>
                      <a:pt x="21" y="5"/>
                    </a:lnTo>
                    <a:lnTo>
                      <a:pt x="9" y="7"/>
                    </a:lnTo>
                    <a:lnTo>
                      <a:pt x="6" y="9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9" name="Freeform 135">
                <a:extLst>
                  <a:ext uri="{FF2B5EF4-FFF2-40B4-BE49-F238E27FC236}">
                    <a16:creationId xmlns:a16="http://schemas.microsoft.com/office/drawing/2014/main" id="{8C42EBB8-D488-47A6-9F08-1A82567F91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9" y="1557"/>
                <a:ext cx="84" cy="73"/>
              </a:xfrm>
              <a:custGeom>
                <a:avLst/>
                <a:gdLst>
                  <a:gd name="T0" fmla="*/ 28 w 84"/>
                  <a:gd name="T1" fmla="*/ 5 h 73"/>
                  <a:gd name="T2" fmla="*/ 38 w 84"/>
                  <a:gd name="T3" fmla="*/ 4 h 73"/>
                  <a:gd name="T4" fmla="*/ 43 w 84"/>
                  <a:gd name="T5" fmla="*/ 1 h 73"/>
                  <a:gd name="T6" fmla="*/ 51 w 84"/>
                  <a:gd name="T7" fmla="*/ 0 h 73"/>
                  <a:gd name="T8" fmla="*/ 59 w 84"/>
                  <a:gd name="T9" fmla="*/ 2 h 73"/>
                  <a:gd name="T10" fmla="*/ 67 w 84"/>
                  <a:gd name="T11" fmla="*/ 5 h 73"/>
                  <a:gd name="T12" fmla="*/ 67 w 84"/>
                  <a:gd name="T13" fmla="*/ 8 h 73"/>
                  <a:gd name="T14" fmla="*/ 67 w 84"/>
                  <a:gd name="T15" fmla="*/ 9 h 73"/>
                  <a:gd name="T16" fmla="*/ 59 w 84"/>
                  <a:gd name="T17" fmla="*/ 12 h 73"/>
                  <a:gd name="T18" fmla="*/ 65 w 84"/>
                  <a:gd name="T19" fmla="*/ 12 h 73"/>
                  <a:gd name="T20" fmla="*/ 62 w 84"/>
                  <a:gd name="T21" fmla="*/ 17 h 73"/>
                  <a:gd name="T22" fmla="*/ 55 w 84"/>
                  <a:gd name="T23" fmla="*/ 16 h 73"/>
                  <a:gd name="T24" fmla="*/ 58 w 84"/>
                  <a:gd name="T25" fmla="*/ 18 h 73"/>
                  <a:gd name="T26" fmla="*/ 55 w 84"/>
                  <a:gd name="T27" fmla="*/ 22 h 73"/>
                  <a:gd name="T28" fmla="*/ 51 w 84"/>
                  <a:gd name="T29" fmla="*/ 25 h 73"/>
                  <a:gd name="T30" fmla="*/ 55 w 84"/>
                  <a:gd name="T31" fmla="*/ 29 h 73"/>
                  <a:gd name="T32" fmla="*/ 55 w 84"/>
                  <a:gd name="T33" fmla="*/ 34 h 73"/>
                  <a:gd name="T34" fmla="*/ 56 w 84"/>
                  <a:gd name="T35" fmla="*/ 39 h 73"/>
                  <a:gd name="T36" fmla="*/ 59 w 84"/>
                  <a:gd name="T37" fmla="*/ 48 h 73"/>
                  <a:gd name="T38" fmla="*/ 65 w 84"/>
                  <a:gd name="T39" fmla="*/ 56 h 73"/>
                  <a:gd name="T40" fmla="*/ 84 w 84"/>
                  <a:gd name="T41" fmla="*/ 68 h 73"/>
                  <a:gd name="T42" fmla="*/ 81 w 84"/>
                  <a:gd name="T43" fmla="*/ 72 h 73"/>
                  <a:gd name="T44" fmla="*/ 74 w 84"/>
                  <a:gd name="T45" fmla="*/ 70 h 73"/>
                  <a:gd name="T46" fmla="*/ 74 w 84"/>
                  <a:gd name="T47" fmla="*/ 72 h 73"/>
                  <a:gd name="T48" fmla="*/ 69 w 84"/>
                  <a:gd name="T49" fmla="*/ 68 h 73"/>
                  <a:gd name="T50" fmla="*/ 72 w 84"/>
                  <a:gd name="T51" fmla="*/ 72 h 73"/>
                  <a:gd name="T52" fmla="*/ 66 w 84"/>
                  <a:gd name="T53" fmla="*/ 72 h 73"/>
                  <a:gd name="T54" fmla="*/ 64 w 84"/>
                  <a:gd name="T55" fmla="*/ 73 h 73"/>
                  <a:gd name="T56" fmla="*/ 56 w 84"/>
                  <a:gd name="T57" fmla="*/ 68 h 73"/>
                  <a:gd name="T58" fmla="*/ 52 w 84"/>
                  <a:gd name="T59" fmla="*/ 73 h 73"/>
                  <a:gd name="T60" fmla="*/ 43 w 84"/>
                  <a:gd name="T61" fmla="*/ 67 h 73"/>
                  <a:gd name="T62" fmla="*/ 43 w 84"/>
                  <a:gd name="T63" fmla="*/ 70 h 73"/>
                  <a:gd name="T64" fmla="*/ 38 w 84"/>
                  <a:gd name="T65" fmla="*/ 68 h 73"/>
                  <a:gd name="T66" fmla="*/ 32 w 84"/>
                  <a:gd name="T67" fmla="*/ 67 h 73"/>
                  <a:gd name="T68" fmla="*/ 26 w 84"/>
                  <a:gd name="T69" fmla="*/ 66 h 73"/>
                  <a:gd name="T70" fmla="*/ 32 w 84"/>
                  <a:gd name="T71" fmla="*/ 64 h 73"/>
                  <a:gd name="T72" fmla="*/ 34 w 84"/>
                  <a:gd name="T73" fmla="*/ 58 h 73"/>
                  <a:gd name="T74" fmla="*/ 36 w 84"/>
                  <a:gd name="T75" fmla="*/ 57 h 73"/>
                  <a:gd name="T76" fmla="*/ 27 w 84"/>
                  <a:gd name="T77" fmla="*/ 56 h 73"/>
                  <a:gd name="T78" fmla="*/ 33 w 84"/>
                  <a:gd name="T79" fmla="*/ 51 h 73"/>
                  <a:gd name="T80" fmla="*/ 28 w 84"/>
                  <a:gd name="T81" fmla="*/ 55 h 73"/>
                  <a:gd name="T82" fmla="*/ 26 w 84"/>
                  <a:gd name="T83" fmla="*/ 49 h 73"/>
                  <a:gd name="T84" fmla="*/ 18 w 84"/>
                  <a:gd name="T85" fmla="*/ 51 h 73"/>
                  <a:gd name="T86" fmla="*/ 10 w 84"/>
                  <a:gd name="T87" fmla="*/ 48 h 73"/>
                  <a:gd name="T88" fmla="*/ 5 w 84"/>
                  <a:gd name="T89" fmla="*/ 50 h 73"/>
                  <a:gd name="T90" fmla="*/ 0 w 84"/>
                  <a:gd name="T91" fmla="*/ 43 h 73"/>
                  <a:gd name="T92" fmla="*/ 0 w 84"/>
                  <a:gd name="T93" fmla="*/ 38 h 73"/>
                  <a:gd name="T94" fmla="*/ 5 w 84"/>
                  <a:gd name="T95" fmla="*/ 33 h 73"/>
                  <a:gd name="T96" fmla="*/ 10 w 84"/>
                  <a:gd name="T97" fmla="*/ 33 h 73"/>
                  <a:gd name="T98" fmla="*/ 14 w 84"/>
                  <a:gd name="T99" fmla="*/ 32 h 73"/>
                  <a:gd name="T100" fmla="*/ 16 w 84"/>
                  <a:gd name="T101" fmla="*/ 29 h 73"/>
                  <a:gd name="T102" fmla="*/ 17 w 84"/>
                  <a:gd name="T103" fmla="*/ 25 h 73"/>
                  <a:gd name="T104" fmla="*/ 19 w 84"/>
                  <a:gd name="T105" fmla="*/ 22 h 73"/>
                  <a:gd name="T106" fmla="*/ 19 w 84"/>
                  <a:gd name="T107" fmla="*/ 19 h 73"/>
                  <a:gd name="T108" fmla="*/ 14 w 84"/>
                  <a:gd name="T109" fmla="*/ 18 h 73"/>
                  <a:gd name="T110" fmla="*/ 17 w 84"/>
                  <a:gd name="T111" fmla="*/ 14 h 73"/>
                  <a:gd name="T112" fmla="*/ 26 w 84"/>
                  <a:gd name="T113" fmla="*/ 14 h 73"/>
                  <a:gd name="T114" fmla="*/ 26 w 84"/>
                  <a:gd name="T115" fmla="*/ 10 h 73"/>
                  <a:gd name="T116" fmla="*/ 25 w 84"/>
                  <a:gd name="T117" fmla="*/ 6 h 73"/>
                  <a:gd name="T118" fmla="*/ 26 w 84"/>
                  <a:gd name="T119" fmla="*/ 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4" h="73">
                    <a:moveTo>
                      <a:pt x="26" y="5"/>
                    </a:moveTo>
                    <a:lnTo>
                      <a:pt x="28" y="5"/>
                    </a:lnTo>
                    <a:lnTo>
                      <a:pt x="32" y="2"/>
                    </a:lnTo>
                    <a:lnTo>
                      <a:pt x="38" y="4"/>
                    </a:lnTo>
                    <a:lnTo>
                      <a:pt x="40" y="2"/>
                    </a:lnTo>
                    <a:lnTo>
                      <a:pt x="43" y="1"/>
                    </a:lnTo>
                    <a:lnTo>
                      <a:pt x="48" y="0"/>
                    </a:lnTo>
                    <a:lnTo>
                      <a:pt x="51" y="0"/>
                    </a:lnTo>
                    <a:lnTo>
                      <a:pt x="53" y="2"/>
                    </a:lnTo>
                    <a:lnTo>
                      <a:pt x="59" y="2"/>
                    </a:lnTo>
                    <a:lnTo>
                      <a:pt x="62" y="4"/>
                    </a:lnTo>
                    <a:lnTo>
                      <a:pt x="67" y="5"/>
                    </a:lnTo>
                    <a:lnTo>
                      <a:pt x="70" y="7"/>
                    </a:lnTo>
                    <a:lnTo>
                      <a:pt x="67" y="8"/>
                    </a:lnTo>
                    <a:lnTo>
                      <a:pt x="61" y="9"/>
                    </a:lnTo>
                    <a:lnTo>
                      <a:pt x="67" y="9"/>
                    </a:lnTo>
                    <a:lnTo>
                      <a:pt x="65" y="10"/>
                    </a:lnTo>
                    <a:lnTo>
                      <a:pt x="59" y="12"/>
                    </a:lnTo>
                    <a:lnTo>
                      <a:pt x="62" y="13"/>
                    </a:lnTo>
                    <a:lnTo>
                      <a:pt x="65" y="12"/>
                    </a:lnTo>
                    <a:lnTo>
                      <a:pt x="66" y="15"/>
                    </a:lnTo>
                    <a:lnTo>
                      <a:pt x="62" y="17"/>
                    </a:lnTo>
                    <a:lnTo>
                      <a:pt x="60" y="16"/>
                    </a:lnTo>
                    <a:lnTo>
                      <a:pt x="55" y="16"/>
                    </a:lnTo>
                    <a:lnTo>
                      <a:pt x="60" y="17"/>
                    </a:lnTo>
                    <a:lnTo>
                      <a:pt x="58" y="18"/>
                    </a:lnTo>
                    <a:lnTo>
                      <a:pt x="58" y="22"/>
                    </a:lnTo>
                    <a:lnTo>
                      <a:pt x="55" y="22"/>
                    </a:lnTo>
                    <a:lnTo>
                      <a:pt x="57" y="24"/>
                    </a:lnTo>
                    <a:lnTo>
                      <a:pt x="51" y="25"/>
                    </a:lnTo>
                    <a:lnTo>
                      <a:pt x="53" y="25"/>
                    </a:lnTo>
                    <a:lnTo>
                      <a:pt x="55" y="29"/>
                    </a:lnTo>
                    <a:lnTo>
                      <a:pt x="57" y="31"/>
                    </a:lnTo>
                    <a:lnTo>
                      <a:pt x="55" y="34"/>
                    </a:lnTo>
                    <a:lnTo>
                      <a:pt x="55" y="36"/>
                    </a:lnTo>
                    <a:lnTo>
                      <a:pt x="56" y="39"/>
                    </a:lnTo>
                    <a:lnTo>
                      <a:pt x="56" y="42"/>
                    </a:lnTo>
                    <a:lnTo>
                      <a:pt x="59" y="48"/>
                    </a:lnTo>
                    <a:lnTo>
                      <a:pt x="62" y="53"/>
                    </a:lnTo>
                    <a:lnTo>
                      <a:pt x="65" y="56"/>
                    </a:lnTo>
                    <a:lnTo>
                      <a:pt x="75" y="65"/>
                    </a:lnTo>
                    <a:lnTo>
                      <a:pt x="84" y="68"/>
                    </a:lnTo>
                    <a:lnTo>
                      <a:pt x="83" y="70"/>
                    </a:lnTo>
                    <a:lnTo>
                      <a:pt x="81" y="72"/>
                    </a:lnTo>
                    <a:lnTo>
                      <a:pt x="77" y="70"/>
                    </a:lnTo>
                    <a:lnTo>
                      <a:pt x="74" y="70"/>
                    </a:lnTo>
                    <a:lnTo>
                      <a:pt x="79" y="73"/>
                    </a:lnTo>
                    <a:lnTo>
                      <a:pt x="74" y="72"/>
                    </a:lnTo>
                    <a:lnTo>
                      <a:pt x="72" y="70"/>
                    </a:lnTo>
                    <a:lnTo>
                      <a:pt x="69" y="68"/>
                    </a:lnTo>
                    <a:lnTo>
                      <a:pt x="66" y="68"/>
                    </a:lnTo>
                    <a:lnTo>
                      <a:pt x="72" y="72"/>
                    </a:lnTo>
                    <a:lnTo>
                      <a:pt x="69" y="73"/>
                    </a:lnTo>
                    <a:lnTo>
                      <a:pt x="66" y="72"/>
                    </a:lnTo>
                    <a:lnTo>
                      <a:pt x="60" y="69"/>
                    </a:lnTo>
                    <a:lnTo>
                      <a:pt x="64" y="73"/>
                    </a:lnTo>
                    <a:lnTo>
                      <a:pt x="58" y="72"/>
                    </a:lnTo>
                    <a:lnTo>
                      <a:pt x="56" y="68"/>
                    </a:lnTo>
                    <a:lnTo>
                      <a:pt x="52" y="70"/>
                    </a:lnTo>
                    <a:lnTo>
                      <a:pt x="52" y="73"/>
                    </a:lnTo>
                    <a:lnTo>
                      <a:pt x="47" y="70"/>
                    </a:lnTo>
                    <a:lnTo>
                      <a:pt x="43" y="67"/>
                    </a:lnTo>
                    <a:lnTo>
                      <a:pt x="45" y="70"/>
                    </a:lnTo>
                    <a:lnTo>
                      <a:pt x="43" y="70"/>
                    </a:lnTo>
                    <a:lnTo>
                      <a:pt x="40" y="68"/>
                    </a:lnTo>
                    <a:lnTo>
                      <a:pt x="38" y="68"/>
                    </a:lnTo>
                    <a:lnTo>
                      <a:pt x="34" y="67"/>
                    </a:lnTo>
                    <a:lnTo>
                      <a:pt x="32" y="67"/>
                    </a:lnTo>
                    <a:lnTo>
                      <a:pt x="28" y="66"/>
                    </a:lnTo>
                    <a:lnTo>
                      <a:pt x="26" y="66"/>
                    </a:lnTo>
                    <a:lnTo>
                      <a:pt x="28" y="65"/>
                    </a:lnTo>
                    <a:lnTo>
                      <a:pt x="32" y="64"/>
                    </a:lnTo>
                    <a:lnTo>
                      <a:pt x="28" y="61"/>
                    </a:lnTo>
                    <a:lnTo>
                      <a:pt x="34" y="58"/>
                    </a:lnTo>
                    <a:lnTo>
                      <a:pt x="38" y="59"/>
                    </a:lnTo>
                    <a:lnTo>
                      <a:pt x="36" y="57"/>
                    </a:lnTo>
                    <a:lnTo>
                      <a:pt x="31" y="57"/>
                    </a:lnTo>
                    <a:lnTo>
                      <a:pt x="27" y="56"/>
                    </a:lnTo>
                    <a:lnTo>
                      <a:pt x="31" y="53"/>
                    </a:lnTo>
                    <a:lnTo>
                      <a:pt x="33" y="51"/>
                    </a:lnTo>
                    <a:lnTo>
                      <a:pt x="31" y="52"/>
                    </a:lnTo>
                    <a:lnTo>
                      <a:pt x="28" y="55"/>
                    </a:lnTo>
                    <a:lnTo>
                      <a:pt x="26" y="52"/>
                    </a:lnTo>
                    <a:lnTo>
                      <a:pt x="26" y="49"/>
                    </a:lnTo>
                    <a:lnTo>
                      <a:pt x="21" y="51"/>
                    </a:lnTo>
                    <a:lnTo>
                      <a:pt x="18" y="51"/>
                    </a:lnTo>
                    <a:lnTo>
                      <a:pt x="17" y="48"/>
                    </a:lnTo>
                    <a:lnTo>
                      <a:pt x="10" y="48"/>
                    </a:lnTo>
                    <a:lnTo>
                      <a:pt x="8" y="50"/>
                    </a:lnTo>
                    <a:lnTo>
                      <a:pt x="5" y="50"/>
                    </a:lnTo>
                    <a:lnTo>
                      <a:pt x="2" y="49"/>
                    </a:lnTo>
                    <a:lnTo>
                      <a:pt x="0" y="43"/>
                    </a:lnTo>
                    <a:lnTo>
                      <a:pt x="0" y="40"/>
                    </a:lnTo>
                    <a:lnTo>
                      <a:pt x="0" y="38"/>
                    </a:lnTo>
                    <a:lnTo>
                      <a:pt x="2" y="35"/>
                    </a:lnTo>
                    <a:lnTo>
                      <a:pt x="5" y="33"/>
                    </a:lnTo>
                    <a:lnTo>
                      <a:pt x="7" y="34"/>
                    </a:lnTo>
                    <a:lnTo>
                      <a:pt x="10" y="33"/>
                    </a:lnTo>
                    <a:lnTo>
                      <a:pt x="13" y="35"/>
                    </a:lnTo>
                    <a:lnTo>
                      <a:pt x="14" y="32"/>
                    </a:lnTo>
                    <a:lnTo>
                      <a:pt x="14" y="30"/>
                    </a:lnTo>
                    <a:lnTo>
                      <a:pt x="16" y="29"/>
                    </a:lnTo>
                    <a:lnTo>
                      <a:pt x="19" y="27"/>
                    </a:lnTo>
                    <a:lnTo>
                      <a:pt x="17" y="25"/>
                    </a:lnTo>
                    <a:lnTo>
                      <a:pt x="23" y="22"/>
                    </a:lnTo>
                    <a:lnTo>
                      <a:pt x="19" y="22"/>
                    </a:lnTo>
                    <a:lnTo>
                      <a:pt x="23" y="19"/>
                    </a:lnTo>
                    <a:lnTo>
                      <a:pt x="19" y="19"/>
                    </a:lnTo>
                    <a:lnTo>
                      <a:pt x="17" y="19"/>
                    </a:lnTo>
                    <a:lnTo>
                      <a:pt x="14" y="18"/>
                    </a:lnTo>
                    <a:lnTo>
                      <a:pt x="15" y="16"/>
                    </a:lnTo>
                    <a:lnTo>
                      <a:pt x="17" y="14"/>
                    </a:lnTo>
                    <a:lnTo>
                      <a:pt x="21" y="13"/>
                    </a:lnTo>
                    <a:lnTo>
                      <a:pt x="26" y="14"/>
                    </a:lnTo>
                    <a:lnTo>
                      <a:pt x="24" y="12"/>
                    </a:lnTo>
                    <a:lnTo>
                      <a:pt x="26" y="10"/>
                    </a:lnTo>
                    <a:lnTo>
                      <a:pt x="24" y="9"/>
                    </a:lnTo>
                    <a:lnTo>
                      <a:pt x="25" y="6"/>
                    </a:lnTo>
                    <a:lnTo>
                      <a:pt x="26" y="5"/>
                    </a:lnTo>
                    <a:lnTo>
                      <a:pt x="26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0" name="Freeform 136">
                <a:extLst>
                  <a:ext uri="{FF2B5EF4-FFF2-40B4-BE49-F238E27FC236}">
                    <a16:creationId xmlns:a16="http://schemas.microsoft.com/office/drawing/2014/main" id="{230F2860-F0D4-4E9E-AE0E-EAFA78566C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0" y="1458"/>
                <a:ext cx="208" cy="103"/>
              </a:xfrm>
              <a:custGeom>
                <a:avLst/>
                <a:gdLst>
                  <a:gd name="T0" fmla="*/ 8 w 208"/>
                  <a:gd name="T1" fmla="*/ 98 h 103"/>
                  <a:gd name="T2" fmla="*/ 19 w 208"/>
                  <a:gd name="T3" fmla="*/ 91 h 103"/>
                  <a:gd name="T4" fmla="*/ 11 w 208"/>
                  <a:gd name="T5" fmla="*/ 91 h 103"/>
                  <a:gd name="T6" fmla="*/ 2 w 208"/>
                  <a:gd name="T7" fmla="*/ 92 h 103"/>
                  <a:gd name="T8" fmla="*/ 5 w 208"/>
                  <a:gd name="T9" fmla="*/ 88 h 103"/>
                  <a:gd name="T10" fmla="*/ 13 w 208"/>
                  <a:gd name="T11" fmla="*/ 84 h 103"/>
                  <a:gd name="T12" fmla="*/ 27 w 208"/>
                  <a:gd name="T13" fmla="*/ 80 h 103"/>
                  <a:gd name="T14" fmla="*/ 25 w 208"/>
                  <a:gd name="T15" fmla="*/ 75 h 103"/>
                  <a:gd name="T16" fmla="*/ 21 w 208"/>
                  <a:gd name="T17" fmla="*/ 74 h 103"/>
                  <a:gd name="T18" fmla="*/ 30 w 208"/>
                  <a:gd name="T19" fmla="*/ 69 h 103"/>
                  <a:gd name="T20" fmla="*/ 26 w 208"/>
                  <a:gd name="T21" fmla="*/ 65 h 103"/>
                  <a:gd name="T22" fmla="*/ 43 w 208"/>
                  <a:gd name="T23" fmla="*/ 65 h 103"/>
                  <a:gd name="T24" fmla="*/ 33 w 208"/>
                  <a:gd name="T25" fmla="*/ 62 h 103"/>
                  <a:gd name="T26" fmla="*/ 41 w 208"/>
                  <a:gd name="T27" fmla="*/ 57 h 103"/>
                  <a:gd name="T28" fmla="*/ 31 w 208"/>
                  <a:gd name="T29" fmla="*/ 56 h 103"/>
                  <a:gd name="T30" fmla="*/ 33 w 208"/>
                  <a:gd name="T31" fmla="*/ 51 h 103"/>
                  <a:gd name="T32" fmla="*/ 44 w 208"/>
                  <a:gd name="T33" fmla="*/ 51 h 103"/>
                  <a:gd name="T34" fmla="*/ 51 w 208"/>
                  <a:gd name="T35" fmla="*/ 46 h 103"/>
                  <a:gd name="T36" fmla="*/ 54 w 208"/>
                  <a:gd name="T37" fmla="*/ 41 h 103"/>
                  <a:gd name="T38" fmla="*/ 67 w 208"/>
                  <a:gd name="T39" fmla="*/ 36 h 103"/>
                  <a:gd name="T40" fmla="*/ 74 w 208"/>
                  <a:gd name="T41" fmla="*/ 32 h 103"/>
                  <a:gd name="T42" fmla="*/ 86 w 208"/>
                  <a:gd name="T43" fmla="*/ 29 h 103"/>
                  <a:gd name="T44" fmla="*/ 91 w 208"/>
                  <a:gd name="T45" fmla="*/ 26 h 103"/>
                  <a:gd name="T46" fmla="*/ 101 w 208"/>
                  <a:gd name="T47" fmla="*/ 27 h 103"/>
                  <a:gd name="T48" fmla="*/ 108 w 208"/>
                  <a:gd name="T49" fmla="*/ 20 h 103"/>
                  <a:gd name="T50" fmla="*/ 120 w 208"/>
                  <a:gd name="T51" fmla="*/ 23 h 103"/>
                  <a:gd name="T52" fmla="*/ 135 w 208"/>
                  <a:gd name="T53" fmla="*/ 20 h 103"/>
                  <a:gd name="T54" fmla="*/ 142 w 208"/>
                  <a:gd name="T55" fmla="*/ 20 h 103"/>
                  <a:gd name="T56" fmla="*/ 159 w 208"/>
                  <a:gd name="T57" fmla="*/ 14 h 103"/>
                  <a:gd name="T58" fmla="*/ 166 w 208"/>
                  <a:gd name="T59" fmla="*/ 9 h 103"/>
                  <a:gd name="T60" fmla="*/ 183 w 208"/>
                  <a:gd name="T61" fmla="*/ 2 h 103"/>
                  <a:gd name="T62" fmla="*/ 198 w 208"/>
                  <a:gd name="T63" fmla="*/ 1 h 103"/>
                  <a:gd name="T64" fmla="*/ 208 w 208"/>
                  <a:gd name="T65" fmla="*/ 6 h 103"/>
                  <a:gd name="T66" fmla="*/ 206 w 208"/>
                  <a:gd name="T67" fmla="*/ 14 h 103"/>
                  <a:gd name="T68" fmla="*/ 198 w 208"/>
                  <a:gd name="T69" fmla="*/ 21 h 103"/>
                  <a:gd name="T70" fmla="*/ 183 w 208"/>
                  <a:gd name="T71" fmla="*/ 26 h 103"/>
                  <a:gd name="T72" fmla="*/ 172 w 208"/>
                  <a:gd name="T73" fmla="*/ 29 h 103"/>
                  <a:gd name="T74" fmla="*/ 161 w 208"/>
                  <a:gd name="T75" fmla="*/ 31 h 103"/>
                  <a:gd name="T76" fmla="*/ 139 w 208"/>
                  <a:gd name="T77" fmla="*/ 38 h 103"/>
                  <a:gd name="T78" fmla="*/ 130 w 208"/>
                  <a:gd name="T79" fmla="*/ 40 h 103"/>
                  <a:gd name="T80" fmla="*/ 122 w 208"/>
                  <a:gd name="T81" fmla="*/ 43 h 103"/>
                  <a:gd name="T82" fmla="*/ 108 w 208"/>
                  <a:gd name="T83" fmla="*/ 48 h 103"/>
                  <a:gd name="T84" fmla="*/ 103 w 208"/>
                  <a:gd name="T85" fmla="*/ 51 h 103"/>
                  <a:gd name="T86" fmla="*/ 86 w 208"/>
                  <a:gd name="T87" fmla="*/ 56 h 103"/>
                  <a:gd name="T88" fmla="*/ 95 w 208"/>
                  <a:gd name="T89" fmla="*/ 57 h 103"/>
                  <a:gd name="T90" fmla="*/ 90 w 208"/>
                  <a:gd name="T91" fmla="*/ 63 h 103"/>
                  <a:gd name="T92" fmla="*/ 80 w 208"/>
                  <a:gd name="T93" fmla="*/ 62 h 103"/>
                  <a:gd name="T94" fmla="*/ 81 w 208"/>
                  <a:gd name="T95" fmla="*/ 68 h 103"/>
                  <a:gd name="T96" fmla="*/ 74 w 208"/>
                  <a:gd name="T97" fmla="*/ 70 h 103"/>
                  <a:gd name="T98" fmla="*/ 63 w 208"/>
                  <a:gd name="T99" fmla="*/ 69 h 103"/>
                  <a:gd name="T100" fmla="*/ 63 w 208"/>
                  <a:gd name="T101" fmla="*/ 79 h 103"/>
                  <a:gd name="T102" fmla="*/ 61 w 208"/>
                  <a:gd name="T103" fmla="*/ 81 h 103"/>
                  <a:gd name="T104" fmla="*/ 53 w 208"/>
                  <a:gd name="T105" fmla="*/ 79 h 103"/>
                  <a:gd name="T106" fmla="*/ 56 w 208"/>
                  <a:gd name="T107" fmla="*/ 84 h 103"/>
                  <a:gd name="T108" fmla="*/ 54 w 208"/>
                  <a:gd name="T109" fmla="*/ 90 h 103"/>
                  <a:gd name="T110" fmla="*/ 48 w 208"/>
                  <a:gd name="T111" fmla="*/ 88 h 103"/>
                  <a:gd name="T112" fmla="*/ 51 w 208"/>
                  <a:gd name="T113" fmla="*/ 95 h 103"/>
                  <a:gd name="T114" fmla="*/ 43 w 208"/>
                  <a:gd name="T115" fmla="*/ 92 h 103"/>
                  <a:gd name="T116" fmla="*/ 47 w 208"/>
                  <a:gd name="T117" fmla="*/ 99 h 103"/>
                  <a:gd name="T118" fmla="*/ 42 w 208"/>
                  <a:gd name="T119" fmla="*/ 103 h 103"/>
                  <a:gd name="T120" fmla="*/ 29 w 208"/>
                  <a:gd name="T121" fmla="*/ 101 h 103"/>
                  <a:gd name="T122" fmla="*/ 18 w 208"/>
                  <a:gd name="T123" fmla="*/ 98 h 103"/>
                  <a:gd name="T124" fmla="*/ 12 w 208"/>
                  <a:gd name="T125" fmla="*/ 10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8" h="103">
                    <a:moveTo>
                      <a:pt x="12" y="100"/>
                    </a:moveTo>
                    <a:lnTo>
                      <a:pt x="8" y="101"/>
                    </a:lnTo>
                    <a:lnTo>
                      <a:pt x="8" y="98"/>
                    </a:lnTo>
                    <a:lnTo>
                      <a:pt x="9" y="96"/>
                    </a:lnTo>
                    <a:lnTo>
                      <a:pt x="11" y="94"/>
                    </a:lnTo>
                    <a:lnTo>
                      <a:pt x="19" y="91"/>
                    </a:lnTo>
                    <a:lnTo>
                      <a:pt x="17" y="91"/>
                    </a:lnTo>
                    <a:lnTo>
                      <a:pt x="13" y="91"/>
                    </a:lnTo>
                    <a:lnTo>
                      <a:pt x="11" y="91"/>
                    </a:lnTo>
                    <a:lnTo>
                      <a:pt x="8" y="94"/>
                    </a:lnTo>
                    <a:lnTo>
                      <a:pt x="5" y="94"/>
                    </a:lnTo>
                    <a:lnTo>
                      <a:pt x="2" y="92"/>
                    </a:lnTo>
                    <a:lnTo>
                      <a:pt x="0" y="90"/>
                    </a:lnTo>
                    <a:lnTo>
                      <a:pt x="2" y="89"/>
                    </a:lnTo>
                    <a:lnTo>
                      <a:pt x="5" y="88"/>
                    </a:lnTo>
                    <a:lnTo>
                      <a:pt x="8" y="86"/>
                    </a:lnTo>
                    <a:lnTo>
                      <a:pt x="11" y="84"/>
                    </a:lnTo>
                    <a:lnTo>
                      <a:pt x="13" y="84"/>
                    </a:lnTo>
                    <a:lnTo>
                      <a:pt x="13" y="82"/>
                    </a:lnTo>
                    <a:lnTo>
                      <a:pt x="19" y="79"/>
                    </a:lnTo>
                    <a:lnTo>
                      <a:pt x="27" y="80"/>
                    </a:lnTo>
                    <a:lnTo>
                      <a:pt x="25" y="78"/>
                    </a:lnTo>
                    <a:lnTo>
                      <a:pt x="19" y="77"/>
                    </a:lnTo>
                    <a:lnTo>
                      <a:pt x="25" y="75"/>
                    </a:lnTo>
                    <a:lnTo>
                      <a:pt x="27" y="77"/>
                    </a:lnTo>
                    <a:lnTo>
                      <a:pt x="25" y="74"/>
                    </a:lnTo>
                    <a:lnTo>
                      <a:pt x="21" y="74"/>
                    </a:lnTo>
                    <a:lnTo>
                      <a:pt x="25" y="72"/>
                    </a:lnTo>
                    <a:lnTo>
                      <a:pt x="34" y="71"/>
                    </a:lnTo>
                    <a:lnTo>
                      <a:pt x="30" y="69"/>
                    </a:lnTo>
                    <a:lnTo>
                      <a:pt x="27" y="70"/>
                    </a:lnTo>
                    <a:lnTo>
                      <a:pt x="25" y="69"/>
                    </a:lnTo>
                    <a:lnTo>
                      <a:pt x="26" y="65"/>
                    </a:lnTo>
                    <a:lnTo>
                      <a:pt x="35" y="64"/>
                    </a:lnTo>
                    <a:lnTo>
                      <a:pt x="41" y="65"/>
                    </a:lnTo>
                    <a:lnTo>
                      <a:pt x="43" y="65"/>
                    </a:lnTo>
                    <a:lnTo>
                      <a:pt x="41" y="65"/>
                    </a:lnTo>
                    <a:lnTo>
                      <a:pt x="35" y="62"/>
                    </a:lnTo>
                    <a:lnTo>
                      <a:pt x="33" y="62"/>
                    </a:lnTo>
                    <a:lnTo>
                      <a:pt x="29" y="62"/>
                    </a:lnTo>
                    <a:lnTo>
                      <a:pt x="31" y="61"/>
                    </a:lnTo>
                    <a:lnTo>
                      <a:pt x="41" y="57"/>
                    </a:lnTo>
                    <a:lnTo>
                      <a:pt x="37" y="57"/>
                    </a:lnTo>
                    <a:lnTo>
                      <a:pt x="35" y="56"/>
                    </a:lnTo>
                    <a:lnTo>
                      <a:pt x="31" y="56"/>
                    </a:lnTo>
                    <a:lnTo>
                      <a:pt x="29" y="54"/>
                    </a:lnTo>
                    <a:lnTo>
                      <a:pt x="30" y="52"/>
                    </a:lnTo>
                    <a:lnTo>
                      <a:pt x="33" y="51"/>
                    </a:lnTo>
                    <a:lnTo>
                      <a:pt x="36" y="52"/>
                    </a:lnTo>
                    <a:lnTo>
                      <a:pt x="38" y="54"/>
                    </a:lnTo>
                    <a:lnTo>
                      <a:pt x="44" y="51"/>
                    </a:lnTo>
                    <a:lnTo>
                      <a:pt x="43" y="47"/>
                    </a:lnTo>
                    <a:lnTo>
                      <a:pt x="45" y="46"/>
                    </a:lnTo>
                    <a:lnTo>
                      <a:pt x="51" y="46"/>
                    </a:lnTo>
                    <a:lnTo>
                      <a:pt x="53" y="47"/>
                    </a:lnTo>
                    <a:lnTo>
                      <a:pt x="54" y="45"/>
                    </a:lnTo>
                    <a:lnTo>
                      <a:pt x="54" y="41"/>
                    </a:lnTo>
                    <a:lnTo>
                      <a:pt x="60" y="40"/>
                    </a:lnTo>
                    <a:lnTo>
                      <a:pt x="59" y="38"/>
                    </a:lnTo>
                    <a:lnTo>
                      <a:pt x="67" y="36"/>
                    </a:lnTo>
                    <a:lnTo>
                      <a:pt x="69" y="34"/>
                    </a:lnTo>
                    <a:lnTo>
                      <a:pt x="72" y="32"/>
                    </a:lnTo>
                    <a:lnTo>
                      <a:pt x="74" y="32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6" y="29"/>
                    </a:lnTo>
                    <a:lnTo>
                      <a:pt x="89" y="29"/>
                    </a:lnTo>
                    <a:lnTo>
                      <a:pt x="89" y="26"/>
                    </a:lnTo>
                    <a:lnTo>
                      <a:pt x="91" y="26"/>
                    </a:lnTo>
                    <a:lnTo>
                      <a:pt x="97" y="26"/>
                    </a:lnTo>
                    <a:lnTo>
                      <a:pt x="95" y="27"/>
                    </a:lnTo>
                    <a:lnTo>
                      <a:pt x="101" y="27"/>
                    </a:lnTo>
                    <a:lnTo>
                      <a:pt x="99" y="23"/>
                    </a:lnTo>
                    <a:lnTo>
                      <a:pt x="101" y="21"/>
                    </a:lnTo>
                    <a:lnTo>
                      <a:pt x="108" y="20"/>
                    </a:lnTo>
                    <a:lnTo>
                      <a:pt x="114" y="21"/>
                    </a:lnTo>
                    <a:lnTo>
                      <a:pt x="118" y="21"/>
                    </a:lnTo>
                    <a:lnTo>
                      <a:pt x="120" y="23"/>
                    </a:lnTo>
                    <a:lnTo>
                      <a:pt x="123" y="22"/>
                    </a:lnTo>
                    <a:lnTo>
                      <a:pt x="129" y="22"/>
                    </a:lnTo>
                    <a:lnTo>
                      <a:pt x="135" y="20"/>
                    </a:lnTo>
                    <a:lnTo>
                      <a:pt x="137" y="19"/>
                    </a:lnTo>
                    <a:lnTo>
                      <a:pt x="140" y="19"/>
                    </a:lnTo>
                    <a:lnTo>
                      <a:pt x="142" y="20"/>
                    </a:lnTo>
                    <a:lnTo>
                      <a:pt x="154" y="14"/>
                    </a:lnTo>
                    <a:lnTo>
                      <a:pt x="156" y="15"/>
                    </a:lnTo>
                    <a:lnTo>
                      <a:pt x="159" y="14"/>
                    </a:lnTo>
                    <a:lnTo>
                      <a:pt x="163" y="12"/>
                    </a:lnTo>
                    <a:lnTo>
                      <a:pt x="167" y="14"/>
                    </a:lnTo>
                    <a:lnTo>
                      <a:pt x="166" y="9"/>
                    </a:lnTo>
                    <a:lnTo>
                      <a:pt x="170" y="7"/>
                    </a:lnTo>
                    <a:lnTo>
                      <a:pt x="178" y="3"/>
                    </a:lnTo>
                    <a:lnTo>
                      <a:pt x="183" y="2"/>
                    </a:lnTo>
                    <a:lnTo>
                      <a:pt x="189" y="0"/>
                    </a:lnTo>
                    <a:lnTo>
                      <a:pt x="196" y="0"/>
                    </a:lnTo>
                    <a:lnTo>
                      <a:pt x="198" y="1"/>
                    </a:lnTo>
                    <a:lnTo>
                      <a:pt x="201" y="2"/>
                    </a:lnTo>
                    <a:lnTo>
                      <a:pt x="207" y="4"/>
                    </a:lnTo>
                    <a:lnTo>
                      <a:pt x="208" y="6"/>
                    </a:lnTo>
                    <a:lnTo>
                      <a:pt x="208" y="10"/>
                    </a:lnTo>
                    <a:lnTo>
                      <a:pt x="207" y="12"/>
                    </a:lnTo>
                    <a:lnTo>
                      <a:pt x="206" y="14"/>
                    </a:lnTo>
                    <a:lnTo>
                      <a:pt x="202" y="17"/>
                    </a:lnTo>
                    <a:lnTo>
                      <a:pt x="200" y="19"/>
                    </a:lnTo>
                    <a:lnTo>
                      <a:pt x="198" y="21"/>
                    </a:lnTo>
                    <a:lnTo>
                      <a:pt x="195" y="21"/>
                    </a:lnTo>
                    <a:lnTo>
                      <a:pt x="189" y="23"/>
                    </a:lnTo>
                    <a:lnTo>
                      <a:pt x="183" y="26"/>
                    </a:lnTo>
                    <a:lnTo>
                      <a:pt x="178" y="27"/>
                    </a:lnTo>
                    <a:lnTo>
                      <a:pt x="174" y="29"/>
                    </a:lnTo>
                    <a:lnTo>
                      <a:pt x="172" y="29"/>
                    </a:lnTo>
                    <a:lnTo>
                      <a:pt x="170" y="30"/>
                    </a:lnTo>
                    <a:lnTo>
                      <a:pt x="166" y="30"/>
                    </a:lnTo>
                    <a:lnTo>
                      <a:pt x="161" y="31"/>
                    </a:lnTo>
                    <a:lnTo>
                      <a:pt x="155" y="35"/>
                    </a:lnTo>
                    <a:lnTo>
                      <a:pt x="144" y="36"/>
                    </a:lnTo>
                    <a:lnTo>
                      <a:pt x="139" y="38"/>
                    </a:lnTo>
                    <a:lnTo>
                      <a:pt x="136" y="37"/>
                    </a:lnTo>
                    <a:lnTo>
                      <a:pt x="133" y="39"/>
                    </a:lnTo>
                    <a:lnTo>
                      <a:pt x="130" y="40"/>
                    </a:lnTo>
                    <a:lnTo>
                      <a:pt x="128" y="40"/>
                    </a:lnTo>
                    <a:lnTo>
                      <a:pt x="124" y="41"/>
                    </a:lnTo>
                    <a:lnTo>
                      <a:pt x="122" y="43"/>
                    </a:lnTo>
                    <a:lnTo>
                      <a:pt x="116" y="44"/>
                    </a:lnTo>
                    <a:lnTo>
                      <a:pt x="114" y="45"/>
                    </a:lnTo>
                    <a:lnTo>
                      <a:pt x="108" y="48"/>
                    </a:lnTo>
                    <a:lnTo>
                      <a:pt x="105" y="49"/>
                    </a:lnTo>
                    <a:lnTo>
                      <a:pt x="105" y="47"/>
                    </a:lnTo>
                    <a:lnTo>
                      <a:pt x="103" y="51"/>
                    </a:lnTo>
                    <a:lnTo>
                      <a:pt x="95" y="55"/>
                    </a:lnTo>
                    <a:lnTo>
                      <a:pt x="91" y="56"/>
                    </a:lnTo>
                    <a:lnTo>
                      <a:pt x="86" y="56"/>
                    </a:lnTo>
                    <a:lnTo>
                      <a:pt x="86" y="57"/>
                    </a:lnTo>
                    <a:lnTo>
                      <a:pt x="89" y="57"/>
                    </a:lnTo>
                    <a:lnTo>
                      <a:pt x="95" y="57"/>
                    </a:lnTo>
                    <a:lnTo>
                      <a:pt x="94" y="60"/>
                    </a:lnTo>
                    <a:lnTo>
                      <a:pt x="91" y="61"/>
                    </a:lnTo>
                    <a:lnTo>
                      <a:pt x="90" y="63"/>
                    </a:lnTo>
                    <a:lnTo>
                      <a:pt x="86" y="64"/>
                    </a:lnTo>
                    <a:lnTo>
                      <a:pt x="84" y="63"/>
                    </a:lnTo>
                    <a:lnTo>
                      <a:pt x="80" y="62"/>
                    </a:lnTo>
                    <a:lnTo>
                      <a:pt x="84" y="64"/>
                    </a:lnTo>
                    <a:lnTo>
                      <a:pt x="84" y="66"/>
                    </a:lnTo>
                    <a:lnTo>
                      <a:pt x="81" y="68"/>
                    </a:lnTo>
                    <a:lnTo>
                      <a:pt x="76" y="64"/>
                    </a:lnTo>
                    <a:lnTo>
                      <a:pt x="76" y="66"/>
                    </a:lnTo>
                    <a:lnTo>
                      <a:pt x="74" y="70"/>
                    </a:lnTo>
                    <a:lnTo>
                      <a:pt x="72" y="71"/>
                    </a:lnTo>
                    <a:lnTo>
                      <a:pt x="69" y="70"/>
                    </a:lnTo>
                    <a:lnTo>
                      <a:pt x="63" y="69"/>
                    </a:lnTo>
                    <a:lnTo>
                      <a:pt x="65" y="71"/>
                    </a:lnTo>
                    <a:lnTo>
                      <a:pt x="69" y="77"/>
                    </a:lnTo>
                    <a:lnTo>
                      <a:pt x="63" y="79"/>
                    </a:lnTo>
                    <a:lnTo>
                      <a:pt x="65" y="80"/>
                    </a:lnTo>
                    <a:lnTo>
                      <a:pt x="63" y="81"/>
                    </a:lnTo>
                    <a:lnTo>
                      <a:pt x="61" y="81"/>
                    </a:lnTo>
                    <a:lnTo>
                      <a:pt x="57" y="83"/>
                    </a:lnTo>
                    <a:lnTo>
                      <a:pt x="55" y="82"/>
                    </a:lnTo>
                    <a:lnTo>
                      <a:pt x="53" y="79"/>
                    </a:lnTo>
                    <a:lnTo>
                      <a:pt x="51" y="81"/>
                    </a:lnTo>
                    <a:lnTo>
                      <a:pt x="53" y="82"/>
                    </a:lnTo>
                    <a:lnTo>
                      <a:pt x="56" y="84"/>
                    </a:lnTo>
                    <a:lnTo>
                      <a:pt x="57" y="87"/>
                    </a:lnTo>
                    <a:lnTo>
                      <a:pt x="56" y="90"/>
                    </a:lnTo>
                    <a:lnTo>
                      <a:pt x="54" y="90"/>
                    </a:lnTo>
                    <a:lnTo>
                      <a:pt x="51" y="88"/>
                    </a:lnTo>
                    <a:lnTo>
                      <a:pt x="39" y="87"/>
                    </a:lnTo>
                    <a:lnTo>
                      <a:pt x="48" y="88"/>
                    </a:lnTo>
                    <a:lnTo>
                      <a:pt x="52" y="89"/>
                    </a:lnTo>
                    <a:lnTo>
                      <a:pt x="54" y="92"/>
                    </a:lnTo>
                    <a:lnTo>
                      <a:pt x="51" y="95"/>
                    </a:lnTo>
                    <a:lnTo>
                      <a:pt x="48" y="95"/>
                    </a:lnTo>
                    <a:lnTo>
                      <a:pt x="45" y="95"/>
                    </a:lnTo>
                    <a:lnTo>
                      <a:pt x="43" y="92"/>
                    </a:lnTo>
                    <a:lnTo>
                      <a:pt x="45" y="95"/>
                    </a:lnTo>
                    <a:lnTo>
                      <a:pt x="47" y="96"/>
                    </a:lnTo>
                    <a:lnTo>
                      <a:pt x="47" y="99"/>
                    </a:lnTo>
                    <a:lnTo>
                      <a:pt x="45" y="100"/>
                    </a:lnTo>
                    <a:lnTo>
                      <a:pt x="42" y="100"/>
                    </a:lnTo>
                    <a:lnTo>
                      <a:pt x="42" y="103"/>
                    </a:lnTo>
                    <a:lnTo>
                      <a:pt x="34" y="103"/>
                    </a:lnTo>
                    <a:lnTo>
                      <a:pt x="33" y="99"/>
                    </a:lnTo>
                    <a:lnTo>
                      <a:pt x="29" y="101"/>
                    </a:lnTo>
                    <a:lnTo>
                      <a:pt x="27" y="100"/>
                    </a:lnTo>
                    <a:lnTo>
                      <a:pt x="24" y="100"/>
                    </a:lnTo>
                    <a:lnTo>
                      <a:pt x="18" y="98"/>
                    </a:lnTo>
                    <a:lnTo>
                      <a:pt x="16" y="98"/>
                    </a:lnTo>
                    <a:lnTo>
                      <a:pt x="12" y="100"/>
                    </a:lnTo>
                    <a:lnTo>
                      <a:pt x="12" y="1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1" name="Freeform 137">
                <a:extLst>
                  <a:ext uri="{FF2B5EF4-FFF2-40B4-BE49-F238E27FC236}">
                    <a16:creationId xmlns:a16="http://schemas.microsoft.com/office/drawing/2014/main" id="{FB049A10-1E0B-4850-BB28-8F19DB298C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40" y="1327"/>
                <a:ext cx="114" cy="78"/>
              </a:xfrm>
              <a:custGeom>
                <a:avLst/>
                <a:gdLst>
                  <a:gd name="T0" fmla="*/ 29 w 114"/>
                  <a:gd name="T1" fmla="*/ 41 h 78"/>
                  <a:gd name="T2" fmla="*/ 38 w 114"/>
                  <a:gd name="T3" fmla="*/ 38 h 78"/>
                  <a:gd name="T4" fmla="*/ 55 w 114"/>
                  <a:gd name="T5" fmla="*/ 35 h 78"/>
                  <a:gd name="T6" fmla="*/ 76 w 114"/>
                  <a:gd name="T7" fmla="*/ 33 h 78"/>
                  <a:gd name="T8" fmla="*/ 73 w 114"/>
                  <a:gd name="T9" fmla="*/ 23 h 78"/>
                  <a:gd name="T10" fmla="*/ 80 w 114"/>
                  <a:gd name="T11" fmla="*/ 20 h 78"/>
                  <a:gd name="T12" fmla="*/ 85 w 114"/>
                  <a:gd name="T13" fmla="*/ 16 h 78"/>
                  <a:gd name="T14" fmla="*/ 70 w 114"/>
                  <a:gd name="T15" fmla="*/ 12 h 78"/>
                  <a:gd name="T16" fmla="*/ 59 w 114"/>
                  <a:gd name="T17" fmla="*/ 1 h 78"/>
                  <a:gd name="T18" fmla="*/ 46 w 114"/>
                  <a:gd name="T19" fmla="*/ 1 h 78"/>
                  <a:gd name="T20" fmla="*/ 43 w 114"/>
                  <a:gd name="T21" fmla="*/ 6 h 78"/>
                  <a:gd name="T22" fmla="*/ 20 w 114"/>
                  <a:gd name="T23" fmla="*/ 9 h 78"/>
                  <a:gd name="T24" fmla="*/ 14 w 114"/>
                  <a:gd name="T25" fmla="*/ 15 h 78"/>
                  <a:gd name="T26" fmla="*/ 22 w 114"/>
                  <a:gd name="T27" fmla="*/ 16 h 78"/>
                  <a:gd name="T28" fmla="*/ 16 w 114"/>
                  <a:gd name="T29" fmla="*/ 23 h 78"/>
                  <a:gd name="T30" fmla="*/ 3 w 114"/>
                  <a:gd name="T31" fmla="*/ 28 h 78"/>
                  <a:gd name="T32" fmla="*/ 1 w 114"/>
                  <a:gd name="T33" fmla="*/ 30 h 78"/>
                  <a:gd name="T34" fmla="*/ 10 w 114"/>
                  <a:gd name="T35" fmla="*/ 32 h 78"/>
                  <a:gd name="T36" fmla="*/ 22 w 114"/>
                  <a:gd name="T37" fmla="*/ 33 h 78"/>
                  <a:gd name="T38" fmla="*/ 10 w 114"/>
                  <a:gd name="T39" fmla="*/ 34 h 78"/>
                  <a:gd name="T40" fmla="*/ 12 w 114"/>
                  <a:gd name="T41" fmla="*/ 35 h 78"/>
                  <a:gd name="T42" fmla="*/ 12 w 114"/>
                  <a:gd name="T43" fmla="*/ 37 h 78"/>
                  <a:gd name="T44" fmla="*/ 110 w 114"/>
                  <a:gd name="T45" fmla="*/ 63 h 78"/>
                  <a:gd name="T46" fmla="*/ 114 w 114"/>
                  <a:gd name="T47" fmla="*/ 49 h 78"/>
                  <a:gd name="T48" fmla="*/ 108 w 114"/>
                  <a:gd name="T49" fmla="*/ 43 h 78"/>
                  <a:gd name="T50" fmla="*/ 96 w 114"/>
                  <a:gd name="T51" fmla="*/ 40 h 78"/>
                  <a:gd name="T52" fmla="*/ 91 w 114"/>
                  <a:gd name="T53" fmla="*/ 46 h 78"/>
                  <a:gd name="T54" fmla="*/ 80 w 114"/>
                  <a:gd name="T55" fmla="*/ 49 h 78"/>
                  <a:gd name="T56" fmla="*/ 81 w 114"/>
                  <a:gd name="T57" fmla="*/ 46 h 78"/>
                  <a:gd name="T58" fmla="*/ 86 w 114"/>
                  <a:gd name="T59" fmla="*/ 39 h 78"/>
                  <a:gd name="T60" fmla="*/ 76 w 114"/>
                  <a:gd name="T61" fmla="*/ 35 h 78"/>
                  <a:gd name="T62" fmla="*/ 53 w 114"/>
                  <a:gd name="T63" fmla="*/ 38 h 78"/>
                  <a:gd name="T64" fmla="*/ 44 w 114"/>
                  <a:gd name="T65" fmla="*/ 40 h 78"/>
                  <a:gd name="T66" fmla="*/ 36 w 114"/>
                  <a:gd name="T67" fmla="*/ 44 h 78"/>
                  <a:gd name="T68" fmla="*/ 30 w 114"/>
                  <a:gd name="T69" fmla="*/ 50 h 78"/>
                  <a:gd name="T70" fmla="*/ 17 w 114"/>
                  <a:gd name="T71" fmla="*/ 55 h 78"/>
                  <a:gd name="T72" fmla="*/ 25 w 114"/>
                  <a:gd name="T73" fmla="*/ 56 h 78"/>
                  <a:gd name="T74" fmla="*/ 28 w 114"/>
                  <a:gd name="T75" fmla="*/ 58 h 78"/>
                  <a:gd name="T76" fmla="*/ 36 w 114"/>
                  <a:gd name="T77" fmla="*/ 59 h 78"/>
                  <a:gd name="T78" fmla="*/ 40 w 114"/>
                  <a:gd name="T79" fmla="*/ 66 h 78"/>
                  <a:gd name="T80" fmla="*/ 47 w 114"/>
                  <a:gd name="T81" fmla="*/ 71 h 78"/>
                  <a:gd name="T82" fmla="*/ 54 w 114"/>
                  <a:gd name="T83" fmla="*/ 72 h 78"/>
                  <a:gd name="T84" fmla="*/ 69 w 114"/>
                  <a:gd name="T85" fmla="*/ 72 h 78"/>
                  <a:gd name="T86" fmla="*/ 93 w 114"/>
                  <a:gd name="T87" fmla="*/ 78 h 78"/>
                  <a:gd name="T88" fmla="*/ 112 w 114"/>
                  <a:gd name="T89" fmla="*/ 74 h 78"/>
                  <a:gd name="T90" fmla="*/ 107 w 114"/>
                  <a:gd name="T91" fmla="*/ 66 h 78"/>
                  <a:gd name="T92" fmla="*/ 107 w 114"/>
                  <a:gd name="T93" fmla="*/ 6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14" h="78">
                    <a:moveTo>
                      <a:pt x="23" y="40"/>
                    </a:moveTo>
                    <a:lnTo>
                      <a:pt x="27" y="41"/>
                    </a:lnTo>
                    <a:lnTo>
                      <a:pt x="29" y="41"/>
                    </a:lnTo>
                    <a:lnTo>
                      <a:pt x="32" y="40"/>
                    </a:lnTo>
                    <a:lnTo>
                      <a:pt x="36" y="40"/>
                    </a:lnTo>
                    <a:lnTo>
                      <a:pt x="38" y="38"/>
                    </a:lnTo>
                    <a:lnTo>
                      <a:pt x="44" y="37"/>
                    </a:lnTo>
                    <a:lnTo>
                      <a:pt x="47" y="37"/>
                    </a:lnTo>
                    <a:lnTo>
                      <a:pt x="55" y="35"/>
                    </a:lnTo>
                    <a:lnTo>
                      <a:pt x="61" y="34"/>
                    </a:lnTo>
                    <a:lnTo>
                      <a:pt x="73" y="34"/>
                    </a:lnTo>
                    <a:lnTo>
                      <a:pt x="76" y="33"/>
                    </a:lnTo>
                    <a:lnTo>
                      <a:pt x="79" y="31"/>
                    </a:lnTo>
                    <a:lnTo>
                      <a:pt x="76" y="29"/>
                    </a:lnTo>
                    <a:lnTo>
                      <a:pt x="73" y="23"/>
                    </a:lnTo>
                    <a:lnTo>
                      <a:pt x="74" y="21"/>
                    </a:lnTo>
                    <a:lnTo>
                      <a:pt x="78" y="21"/>
                    </a:lnTo>
                    <a:lnTo>
                      <a:pt x="80" y="20"/>
                    </a:lnTo>
                    <a:lnTo>
                      <a:pt x="83" y="21"/>
                    </a:lnTo>
                    <a:lnTo>
                      <a:pt x="86" y="20"/>
                    </a:lnTo>
                    <a:lnTo>
                      <a:pt x="85" y="16"/>
                    </a:lnTo>
                    <a:lnTo>
                      <a:pt x="81" y="15"/>
                    </a:lnTo>
                    <a:lnTo>
                      <a:pt x="76" y="14"/>
                    </a:lnTo>
                    <a:lnTo>
                      <a:pt x="70" y="12"/>
                    </a:lnTo>
                    <a:lnTo>
                      <a:pt x="68" y="9"/>
                    </a:lnTo>
                    <a:lnTo>
                      <a:pt x="65" y="6"/>
                    </a:lnTo>
                    <a:lnTo>
                      <a:pt x="59" y="1"/>
                    </a:lnTo>
                    <a:lnTo>
                      <a:pt x="54" y="0"/>
                    </a:lnTo>
                    <a:lnTo>
                      <a:pt x="48" y="0"/>
                    </a:lnTo>
                    <a:lnTo>
                      <a:pt x="46" y="1"/>
                    </a:lnTo>
                    <a:lnTo>
                      <a:pt x="52" y="3"/>
                    </a:lnTo>
                    <a:lnTo>
                      <a:pt x="49" y="3"/>
                    </a:lnTo>
                    <a:lnTo>
                      <a:pt x="43" y="6"/>
                    </a:lnTo>
                    <a:lnTo>
                      <a:pt x="35" y="6"/>
                    </a:lnTo>
                    <a:lnTo>
                      <a:pt x="31" y="7"/>
                    </a:lnTo>
                    <a:lnTo>
                      <a:pt x="20" y="9"/>
                    </a:lnTo>
                    <a:lnTo>
                      <a:pt x="19" y="12"/>
                    </a:lnTo>
                    <a:lnTo>
                      <a:pt x="17" y="13"/>
                    </a:lnTo>
                    <a:lnTo>
                      <a:pt x="14" y="15"/>
                    </a:lnTo>
                    <a:lnTo>
                      <a:pt x="13" y="17"/>
                    </a:lnTo>
                    <a:lnTo>
                      <a:pt x="19" y="17"/>
                    </a:lnTo>
                    <a:lnTo>
                      <a:pt x="22" y="16"/>
                    </a:lnTo>
                    <a:lnTo>
                      <a:pt x="20" y="18"/>
                    </a:lnTo>
                    <a:lnTo>
                      <a:pt x="17" y="20"/>
                    </a:lnTo>
                    <a:lnTo>
                      <a:pt x="16" y="23"/>
                    </a:lnTo>
                    <a:lnTo>
                      <a:pt x="14" y="25"/>
                    </a:lnTo>
                    <a:lnTo>
                      <a:pt x="9" y="25"/>
                    </a:lnTo>
                    <a:lnTo>
                      <a:pt x="3" y="28"/>
                    </a:lnTo>
                    <a:lnTo>
                      <a:pt x="12" y="29"/>
                    </a:lnTo>
                    <a:lnTo>
                      <a:pt x="3" y="29"/>
                    </a:lnTo>
                    <a:lnTo>
                      <a:pt x="1" y="30"/>
                    </a:lnTo>
                    <a:lnTo>
                      <a:pt x="0" y="32"/>
                    </a:lnTo>
                    <a:lnTo>
                      <a:pt x="4" y="32"/>
                    </a:lnTo>
                    <a:lnTo>
                      <a:pt x="10" y="32"/>
                    </a:lnTo>
                    <a:lnTo>
                      <a:pt x="17" y="31"/>
                    </a:lnTo>
                    <a:lnTo>
                      <a:pt x="19" y="32"/>
                    </a:lnTo>
                    <a:lnTo>
                      <a:pt x="22" y="33"/>
                    </a:lnTo>
                    <a:lnTo>
                      <a:pt x="17" y="32"/>
                    </a:lnTo>
                    <a:lnTo>
                      <a:pt x="6" y="33"/>
                    </a:lnTo>
                    <a:lnTo>
                      <a:pt x="10" y="34"/>
                    </a:lnTo>
                    <a:lnTo>
                      <a:pt x="12" y="35"/>
                    </a:lnTo>
                    <a:lnTo>
                      <a:pt x="14" y="37"/>
                    </a:lnTo>
                    <a:lnTo>
                      <a:pt x="12" y="35"/>
                    </a:lnTo>
                    <a:lnTo>
                      <a:pt x="9" y="35"/>
                    </a:lnTo>
                    <a:lnTo>
                      <a:pt x="6" y="35"/>
                    </a:lnTo>
                    <a:lnTo>
                      <a:pt x="12" y="37"/>
                    </a:lnTo>
                    <a:lnTo>
                      <a:pt x="18" y="38"/>
                    </a:lnTo>
                    <a:lnTo>
                      <a:pt x="23" y="40"/>
                    </a:lnTo>
                    <a:close/>
                    <a:moveTo>
                      <a:pt x="110" y="63"/>
                    </a:moveTo>
                    <a:lnTo>
                      <a:pt x="111" y="55"/>
                    </a:lnTo>
                    <a:lnTo>
                      <a:pt x="112" y="51"/>
                    </a:lnTo>
                    <a:lnTo>
                      <a:pt x="114" y="49"/>
                    </a:lnTo>
                    <a:lnTo>
                      <a:pt x="114" y="47"/>
                    </a:lnTo>
                    <a:lnTo>
                      <a:pt x="112" y="44"/>
                    </a:lnTo>
                    <a:lnTo>
                      <a:pt x="108" y="43"/>
                    </a:lnTo>
                    <a:lnTo>
                      <a:pt x="106" y="41"/>
                    </a:lnTo>
                    <a:lnTo>
                      <a:pt x="102" y="40"/>
                    </a:lnTo>
                    <a:lnTo>
                      <a:pt x="96" y="40"/>
                    </a:lnTo>
                    <a:lnTo>
                      <a:pt x="93" y="41"/>
                    </a:lnTo>
                    <a:lnTo>
                      <a:pt x="94" y="42"/>
                    </a:lnTo>
                    <a:lnTo>
                      <a:pt x="91" y="46"/>
                    </a:lnTo>
                    <a:lnTo>
                      <a:pt x="86" y="44"/>
                    </a:lnTo>
                    <a:lnTo>
                      <a:pt x="83" y="47"/>
                    </a:lnTo>
                    <a:lnTo>
                      <a:pt x="80" y="49"/>
                    </a:lnTo>
                    <a:lnTo>
                      <a:pt x="78" y="49"/>
                    </a:lnTo>
                    <a:lnTo>
                      <a:pt x="81" y="49"/>
                    </a:lnTo>
                    <a:lnTo>
                      <a:pt x="81" y="46"/>
                    </a:lnTo>
                    <a:lnTo>
                      <a:pt x="85" y="44"/>
                    </a:lnTo>
                    <a:lnTo>
                      <a:pt x="86" y="41"/>
                    </a:lnTo>
                    <a:lnTo>
                      <a:pt x="86" y="39"/>
                    </a:lnTo>
                    <a:lnTo>
                      <a:pt x="83" y="37"/>
                    </a:lnTo>
                    <a:lnTo>
                      <a:pt x="80" y="35"/>
                    </a:lnTo>
                    <a:lnTo>
                      <a:pt x="76" y="35"/>
                    </a:lnTo>
                    <a:lnTo>
                      <a:pt x="72" y="37"/>
                    </a:lnTo>
                    <a:lnTo>
                      <a:pt x="66" y="38"/>
                    </a:lnTo>
                    <a:lnTo>
                      <a:pt x="53" y="38"/>
                    </a:lnTo>
                    <a:lnTo>
                      <a:pt x="49" y="40"/>
                    </a:lnTo>
                    <a:lnTo>
                      <a:pt x="47" y="39"/>
                    </a:lnTo>
                    <a:lnTo>
                      <a:pt x="44" y="40"/>
                    </a:lnTo>
                    <a:lnTo>
                      <a:pt x="42" y="41"/>
                    </a:lnTo>
                    <a:lnTo>
                      <a:pt x="38" y="42"/>
                    </a:lnTo>
                    <a:lnTo>
                      <a:pt x="36" y="44"/>
                    </a:lnTo>
                    <a:lnTo>
                      <a:pt x="42" y="47"/>
                    </a:lnTo>
                    <a:lnTo>
                      <a:pt x="32" y="49"/>
                    </a:lnTo>
                    <a:lnTo>
                      <a:pt x="30" y="50"/>
                    </a:lnTo>
                    <a:lnTo>
                      <a:pt x="28" y="52"/>
                    </a:lnTo>
                    <a:lnTo>
                      <a:pt x="22" y="56"/>
                    </a:lnTo>
                    <a:lnTo>
                      <a:pt x="17" y="55"/>
                    </a:lnTo>
                    <a:lnTo>
                      <a:pt x="19" y="56"/>
                    </a:lnTo>
                    <a:lnTo>
                      <a:pt x="22" y="58"/>
                    </a:lnTo>
                    <a:lnTo>
                      <a:pt x="25" y="56"/>
                    </a:lnTo>
                    <a:lnTo>
                      <a:pt x="28" y="56"/>
                    </a:lnTo>
                    <a:lnTo>
                      <a:pt x="30" y="58"/>
                    </a:lnTo>
                    <a:lnTo>
                      <a:pt x="28" y="58"/>
                    </a:lnTo>
                    <a:lnTo>
                      <a:pt x="31" y="59"/>
                    </a:lnTo>
                    <a:lnTo>
                      <a:pt x="34" y="58"/>
                    </a:lnTo>
                    <a:lnTo>
                      <a:pt x="36" y="59"/>
                    </a:lnTo>
                    <a:lnTo>
                      <a:pt x="37" y="63"/>
                    </a:lnTo>
                    <a:lnTo>
                      <a:pt x="38" y="65"/>
                    </a:lnTo>
                    <a:lnTo>
                      <a:pt x="40" y="66"/>
                    </a:lnTo>
                    <a:lnTo>
                      <a:pt x="42" y="69"/>
                    </a:lnTo>
                    <a:lnTo>
                      <a:pt x="45" y="71"/>
                    </a:lnTo>
                    <a:lnTo>
                      <a:pt x="47" y="71"/>
                    </a:lnTo>
                    <a:lnTo>
                      <a:pt x="51" y="69"/>
                    </a:lnTo>
                    <a:lnTo>
                      <a:pt x="54" y="69"/>
                    </a:lnTo>
                    <a:lnTo>
                      <a:pt x="54" y="72"/>
                    </a:lnTo>
                    <a:lnTo>
                      <a:pt x="61" y="72"/>
                    </a:lnTo>
                    <a:lnTo>
                      <a:pt x="66" y="73"/>
                    </a:lnTo>
                    <a:lnTo>
                      <a:pt x="69" y="72"/>
                    </a:lnTo>
                    <a:lnTo>
                      <a:pt x="76" y="76"/>
                    </a:lnTo>
                    <a:lnTo>
                      <a:pt x="80" y="77"/>
                    </a:lnTo>
                    <a:lnTo>
                      <a:pt x="93" y="78"/>
                    </a:lnTo>
                    <a:lnTo>
                      <a:pt x="95" y="77"/>
                    </a:lnTo>
                    <a:lnTo>
                      <a:pt x="107" y="77"/>
                    </a:lnTo>
                    <a:lnTo>
                      <a:pt x="112" y="74"/>
                    </a:lnTo>
                    <a:lnTo>
                      <a:pt x="112" y="72"/>
                    </a:lnTo>
                    <a:lnTo>
                      <a:pt x="111" y="68"/>
                    </a:lnTo>
                    <a:lnTo>
                      <a:pt x="107" y="66"/>
                    </a:lnTo>
                    <a:lnTo>
                      <a:pt x="104" y="65"/>
                    </a:lnTo>
                    <a:lnTo>
                      <a:pt x="102" y="63"/>
                    </a:lnTo>
                    <a:lnTo>
                      <a:pt x="107" y="64"/>
                    </a:lnTo>
                    <a:lnTo>
                      <a:pt x="110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2" name="Freeform 138">
                <a:extLst>
                  <a:ext uri="{FF2B5EF4-FFF2-40B4-BE49-F238E27FC236}">
                    <a16:creationId xmlns:a16="http://schemas.microsoft.com/office/drawing/2014/main" id="{1538E19E-14B2-4956-B748-8AFA5C2EFE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6" y="1386"/>
                <a:ext cx="84" cy="44"/>
              </a:xfrm>
              <a:custGeom>
                <a:avLst/>
                <a:gdLst>
                  <a:gd name="T0" fmla="*/ 35 w 84"/>
                  <a:gd name="T1" fmla="*/ 5 h 44"/>
                  <a:gd name="T2" fmla="*/ 35 w 84"/>
                  <a:gd name="T3" fmla="*/ 4 h 44"/>
                  <a:gd name="T4" fmla="*/ 32 w 84"/>
                  <a:gd name="T5" fmla="*/ 2 h 44"/>
                  <a:gd name="T6" fmla="*/ 30 w 84"/>
                  <a:gd name="T7" fmla="*/ 4 h 44"/>
                  <a:gd name="T8" fmla="*/ 28 w 84"/>
                  <a:gd name="T9" fmla="*/ 6 h 44"/>
                  <a:gd name="T10" fmla="*/ 25 w 84"/>
                  <a:gd name="T11" fmla="*/ 6 h 44"/>
                  <a:gd name="T12" fmla="*/ 23 w 84"/>
                  <a:gd name="T13" fmla="*/ 9 h 44"/>
                  <a:gd name="T14" fmla="*/ 23 w 84"/>
                  <a:gd name="T15" fmla="*/ 12 h 44"/>
                  <a:gd name="T16" fmla="*/ 28 w 84"/>
                  <a:gd name="T17" fmla="*/ 14 h 44"/>
                  <a:gd name="T18" fmla="*/ 23 w 84"/>
                  <a:gd name="T19" fmla="*/ 12 h 44"/>
                  <a:gd name="T20" fmla="*/ 21 w 84"/>
                  <a:gd name="T21" fmla="*/ 14 h 44"/>
                  <a:gd name="T22" fmla="*/ 18 w 84"/>
                  <a:gd name="T23" fmla="*/ 16 h 44"/>
                  <a:gd name="T24" fmla="*/ 22 w 84"/>
                  <a:gd name="T25" fmla="*/ 19 h 44"/>
                  <a:gd name="T26" fmla="*/ 24 w 84"/>
                  <a:gd name="T27" fmla="*/ 21 h 44"/>
                  <a:gd name="T28" fmla="*/ 16 w 84"/>
                  <a:gd name="T29" fmla="*/ 19 h 44"/>
                  <a:gd name="T30" fmla="*/ 13 w 84"/>
                  <a:gd name="T31" fmla="*/ 22 h 44"/>
                  <a:gd name="T32" fmla="*/ 10 w 84"/>
                  <a:gd name="T33" fmla="*/ 27 h 44"/>
                  <a:gd name="T34" fmla="*/ 8 w 84"/>
                  <a:gd name="T35" fmla="*/ 30 h 44"/>
                  <a:gd name="T36" fmla="*/ 8 w 84"/>
                  <a:gd name="T37" fmla="*/ 33 h 44"/>
                  <a:gd name="T38" fmla="*/ 2 w 84"/>
                  <a:gd name="T39" fmla="*/ 39 h 44"/>
                  <a:gd name="T40" fmla="*/ 0 w 84"/>
                  <a:gd name="T41" fmla="*/ 42 h 44"/>
                  <a:gd name="T42" fmla="*/ 2 w 84"/>
                  <a:gd name="T43" fmla="*/ 44 h 44"/>
                  <a:gd name="T44" fmla="*/ 5 w 84"/>
                  <a:gd name="T45" fmla="*/ 44 h 44"/>
                  <a:gd name="T46" fmla="*/ 8 w 84"/>
                  <a:gd name="T47" fmla="*/ 44 h 44"/>
                  <a:gd name="T48" fmla="*/ 22 w 84"/>
                  <a:gd name="T49" fmla="*/ 40 h 44"/>
                  <a:gd name="T50" fmla="*/ 24 w 84"/>
                  <a:gd name="T51" fmla="*/ 38 h 44"/>
                  <a:gd name="T52" fmla="*/ 41 w 84"/>
                  <a:gd name="T53" fmla="*/ 36 h 44"/>
                  <a:gd name="T54" fmla="*/ 44 w 84"/>
                  <a:gd name="T55" fmla="*/ 36 h 44"/>
                  <a:gd name="T56" fmla="*/ 47 w 84"/>
                  <a:gd name="T57" fmla="*/ 38 h 44"/>
                  <a:gd name="T58" fmla="*/ 49 w 84"/>
                  <a:gd name="T59" fmla="*/ 35 h 44"/>
                  <a:gd name="T60" fmla="*/ 52 w 84"/>
                  <a:gd name="T61" fmla="*/ 36 h 44"/>
                  <a:gd name="T62" fmla="*/ 61 w 84"/>
                  <a:gd name="T63" fmla="*/ 35 h 44"/>
                  <a:gd name="T64" fmla="*/ 69 w 84"/>
                  <a:gd name="T65" fmla="*/ 33 h 44"/>
                  <a:gd name="T66" fmla="*/ 73 w 84"/>
                  <a:gd name="T67" fmla="*/ 33 h 44"/>
                  <a:gd name="T68" fmla="*/ 75 w 84"/>
                  <a:gd name="T69" fmla="*/ 33 h 44"/>
                  <a:gd name="T70" fmla="*/ 83 w 84"/>
                  <a:gd name="T71" fmla="*/ 27 h 44"/>
                  <a:gd name="T72" fmla="*/ 84 w 84"/>
                  <a:gd name="T73" fmla="*/ 25 h 44"/>
                  <a:gd name="T74" fmla="*/ 82 w 84"/>
                  <a:gd name="T75" fmla="*/ 19 h 44"/>
                  <a:gd name="T76" fmla="*/ 78 w 84"/>
                  <a:gd name="T77" fmla="*/ 17 h 44"/>
                  <a:gd name="T78" fmla="*/ 76 w 84"/>
                  <a:gd name="T79" fmla="*/ 17 h 44"/>
                  <a:gd name="T80" fmla="*/ 74 w 84"/>
                  <a:gd name="T81" fmla="*/ 19 h 44"/>
                  <a:gd name="T82" fmla="*/ 70 w 84"/>
                  <a:gd name="T83" fmla="*/ 14 h 44"/>
                  <a:gd name="T84" fmla="*/ 65 w 84"/>
                  <a:gd name="T85" fmla="*/ 12 h 44"/>
                  <a:gd name="T86" fmla="*/ 62 w 84"/>
                  <a:gd name="T87" fmla="*/ 9 h 44"/>
                  <a:gd name="T88" fmla="*/ 60 w 84"/>
                  <a:gd name="T89" fmla="*/ 8 h 44"/>
                  <a:gd name="T90" fmla="*/ 54 w 84"/>
                  <a:gd name="T91" fmla="*/ 9 h 44"/>
                  <a:gd name="T92" fmla="*/ 52 w 84"/>
                  <a:gd name="T93" fmla="*/ 12 h 44"/>
                  <a:gd name="T94" fmla="*/ 49 w 84"/>
                  <a:gd name="T95" fmla="*/ 12 h 44"/>
                  <a:gd name="T96" fmla="*/ 44 w 84"/>
                  <a:gd name="T97" fmla="*/ 16 h 44"/>
                  <a:gd name="T98" fmla="*/ 42 w 84"/>
                  <a:gd name="T99" fmla="*/ 16 h 44"/>
                  <a:gd name="T100" fmla="*/ 44 w 84"/>
                  <a:gd name="T101" fmla="*/ 14 h 44"/>
                  <a:gd name="T102" fmla="*/ 48 w 84"/>
                  <a:gd name="T103" fmla="*/ 6 h 44"/>
                  <a:gd name="T104" fmla="*/ 50 w 84"/>
                  <a:gd name="T105" fmla="*/ 4 h 44"/>
                  <a:gd name="T106" fmla="*/ 48 w 84"/>
                  <a:gd name="T107" fmla="*/ 1 h 44"/>
                  <a:gd name="T108" fmla="*/ 42 w 84"/>
                  <a:gd name="T109" fmla="*/ 0 h 44"/>
                  <a:gd name="T110" fmla="*/ 39 w 84"/>
                  <a:gd name="T111" fmla="*/ 0 h 44"/>
                  <a:gd name="T112" fmla="*/ 38 w 84"/>
                  <a:gd name="T113" fmla="*/ 4 h 44"/>
                  <a:gd name="T114" fmla="*/ 39 w 84"/>
                  <a:gd name="T115" fmla="*/ 6 h 44"/>
                  <a:gd name="T116" fmla="*/ 35 w 84"/>
                  <a:gd name="T117" fmla="*/ 5 h 44"/>
                  <a:gd name="T118" fmla="*/ 35 w 84"/>
                  <a:gd name="T119" fmla="*/ 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4" h="44">
                    <a:moveTo>
                      <a:pt x="35" y="5"/>
                    </a:moveTo>
                    <a:lnTo>
                      <a:pt x="35" y="4"/>
                    </a:lnTo>
                    <a:lnTo>
                      <a:pt x="32" y="2"/>
                    </a:lnTo>
                    <a:lnTo>
                      <a:pt x="30" y="4"/>
                    </a:lnTo>
                    <a:lnTo>
                      <a:pt x="28" y="6"/>
                    </a:lnTo>
                    <a:lnTo>
                      <a:pt x="25" y="6"/>
                    </a:lnTo>
                    <a:lnTo>
                      <a:pt x="23" y="9"/>
                    </a:lnTo>
                    <a:lnTo>
                      <a:pt x="23" y="12"/>
                    </a:lnTo>
                    <a:lnTo>
                      <a:pt x="28" y="14"/>
                    </a:lnTo>
                    <a:lnTo>
                      <a:pt x="23" y="12"/>
                    </a:lnTo>
                    <a:lnTo>
                      <a:pt x="21" y="14"/>
                    </a:lnTo>
                    <a:lnTo>
                      <a:pt x="18" y="16"/>
                    </a:lnTo>
                    <a:lnTo>
                      <a:pt x="22" y="19"/>
                    </a:lnTo>
                    <a:lnTo>
                      <a:pt x="24" y="21"/>
                    </a:lnTo>
                    <a:lnTo>
                      <a:pt x="16" y="19"/>
                    </a:lnTo>
                    <a:lnTo>
                      <a:pt x="13" y="22"/>
                    </a:lnTo>
                    <a:lnTo>
                      <a:pt x="10" y="27"/>
                    </a:lnTo>
                    <a:lnTo>
                      <a:pt x="8" y="30"/>
                    </a:lnTo>
                    <a:lnTo>
                      <a:pt x="8" y="33"/>
                    </a:lnTo>
                    <a:lnTo>
                      <a:pt x="2" y="39"/>
                    </a:lnTo>
                    <a:lnTo>
                      <a:pt x="0" y="42"/>
                    </a:lnTo>
                    <a:lnTo>
                      <a:pt x="2" y="44"/>
                    </a:lnTo>
                    <a:lnTo>
                      <a:pt x="5" y="44"/>
                    </a:lnTo>
                    <a:lnTo>
                      <a:pt x="8" y="44"/>
                    </a:lnTo>
                    <a:lnTo>
                      <a:pt x="22" y="40"/>
                    </a:lnTo>
                    <a:lnTo>
                      <a:pt x="24" y="38"/>
                    </a:lnTo>
                    <a:lnTo>
                      <a:pt x="41" y="36"/>
                    </a:lnTo>
                    <a:lnTo>
                      <a:pt x="44" y="36"/>
                    </a:lnTo>
                    <a:lnTo>
                      <a:pt x="47" y="38"/>
                    </a:lnTo>
                    <a:lnTo>
                      <a:pt x="49" y="35"/>
                    </a:lnTo>
                    <a:lnTo>
                      <a:pt x="52" y="36"/>
                    </a:lnTo>
                    <a:lnTo>
                      <a:pt x="61" y="35"/>
                    </a:lnTo>
                    <a:lnTo>
                      <a:pt x="69" y="33"/>
                    </a:lnTo>
                    <a:lnTo>
                      <a:pt x="73" y="33"/>
                    </a:lnTo>
                    <a:lnTo>
                      <a:pt x="75" y="33"/>
                    </a:lnTo>
                    <a:lnTo>
                      <a:pt x="83" y="27"/>
                    </a:lnTo>
                    <a:lnTo>
                      <a:pt x="84" y="25"/>
                    </a:lnTo>
                    <a:lnTo>
                      <a:pt x="82" y="19"/>
                    </a:lnTo>
                    <a:lnTo>
                      <a:pt x="78" y="17"/>
                    </a:lnTo>
                    <a:lnTo>
                      <a:pt x="76" y="17"/>
                    </a:lnTo>
                    <a:lnTo>
                      <a:pt x="74" y="19"/>
                    </a:lnTo>
                    <a:lnTo>
                      <a:pt x="70" y="14"/>
                    </a:lnTo>
                    <a:lnTo>
                      <a:pt x="65" y="12"/>
                    </a:lnTo>
                    <a:lnTo>
                      <a:pt x="62" y="9"/>
                    </a:lnTo>
                    <a:lnTo>
                      <a:pt x="60" y="8"/>
                    </a:lnTo>
                    <a:lnTo>
                      <a:pt x="54" y="9"/>
                    </a:lnTo>
                    <a:lnTo>
                      <a:pt x="52" y="12"/>
                    </a:lnTo>
                    <a:lnTo>
                      <a:pt x="49" y="12"/>
                    </a:lnTo>
                    <a:lnTo>
                      <a:pt x="44" y="16"/>
                    </a:lnTo>
                    <a:lnTo>
                      <a:pt x="42" y="16"/>
                    </a:lnTo>
                    <a:lnTo>
                      <a:pt x="44" y="14"/>
                    </a:lnTo>
                    <a:lnTo>
                      <a:pt x="48" y="6"/>
                    </a:lnTo>
                    <a:lnTo>
                      <a:pt x="50" y="4"/>
                    </a:lnTo>
                    <a:lnTo>
                      <a:pt x="48" y="1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8" y="4"/>
                    </a:lnTo>
                    <a:lnTo>
                      <a:pt x="39" y="6"/>
                    </a:lnTo>
                    <a:lnTo>
                      <a:pt x="35" y="5"/>
                    </a:lnTo>
                    <a:lnTo>
                      <a:pt x="35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3" name="Freeform 139">
                <a:extLst>
                  <a:ext uri="{FF2B5EF4-FFF2-40B4-BE49-F238E27FC236}">
                    <a16:creationId xmlns:a16="http://schemas.microsoft.com/office/drawing/2014/main" id="{A6E02C0F-1C34-4001-AFF8-70EFE98A10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3" y="2811"/>
                <a:ext cx="3" cy="2"/>
              </a:xfrm>
              <a:custGeom>
                <a:avLst/>
                <a:gdLst>
                  <a:gd name="T0" fmla="*/ 2 w 3"/>
                  <a:gd name="T1" fmla="*/ 0 h 2"/>
                  <a:gd name="T2" fmla="*/ 0 w 3"/>
                  <a:gd name="T3" fmla="*/ 0 h 2"/>
                  <a:gd name="T4" fmla="*/ 0 w 3"/>
                  <a:gd name="T5" fmla="*/ 2 h 2"/>
                  <a:gd name="T6" fmla="*/ 3 w 3"/>
                  <a:gd name="T7" fmla="*/ 2 h 2"/>
                  <a:gd name="T8" fmla="*/ 2 w 3"/>
                  <a:gd name="T9" fmla="*/ 0 h 2"/>
                  <a:gd name="T10" fmla="*/ 2 w 3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4" name="Freeform 140">
                <a:extLst>
                  <a:ext uri="{FF2B5EF4-FFF2-40B4-BE49-F238E27FC236}">
                    <a16:creationId xmlns:a16="http://schemas.microsoft.com/office/drawing/2014/main" id="{1BEA7AFA-77BC-40AA-A4C4-9486CB5B1A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5" y="2805"/>
                <a:ext cx="8" cy="5"/>
              </a:xfrm>
              <a:custGeom>
                <a:avLst/>
                <a:gdLst>
                  <a:gd name="T0" fmla="*/ 2 w 8"/>
                  <a:gd name="T1" fmla="*/ 0 h 5"/>
                  <a:gd name="T2" fmla="*/ 1 w 8"/>
                  <a:gd name="T3" fmla="*/ 0 h 5"/>
                  <a:gd name="T4" fmla="*/ 0 w 8"/>
                  <a:gd name="T5" fmla="*/ 4 h 5"/>
                  <a:gd name="T6" fmla="*/ 5 w 8"/>
                  <a:gd name="T7" fmla="*/ 5 h 5"/>
                  <a:gd name="T8" fmla="*/ 8 w 8"/>
                  <a:gd name="T9" fmla="*/ 5 h 5"/>
                  <a:gd name="T10" fmla="*/ 5 w 8"/>
                  <a:gd name="T11" fmla="*/ 4 h 5"/>
                  <a:gd name="T12" fmla="*/ 2 w 8"/>
                  <a:gd name="T13" fmla="*/ 0 h 5"/>
                  <a:gd name="T14" fmla="*/ 2 w 8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5">
                    <a:moveTo>
                      <a:pt x="2" y="0"/>
                    </a:moveTo>
                    <a:lnTo>
                      <a:pt x="1" y="0"/>
                    </a:lnTo>
                    <a:lnTo>
                      <a:pt x="0" y="4"/>
                    </a:lnTo>
                    <a:lnTo>
                      <a:pt x="5" y="5"/>
                    </a:lnTo>
                    <a:lnTo>
                      <a:pt x="8" y="5"/>
                    </a:lnTo>
                    <a:lnTo>
                      <a:pt x="5" y="4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5" name="Freeform 141">
                <a:extLst>
                  <a:ext uri="{FF2B5EF4-FFF2-40B4-BE49-F238E27FC236}">
                    <a16:creationId xmlns:a16="http://schemas.microsoft.com/office/drawing/2014/main" id="{C528BFC6-02B1-4708-B289-A9DC700DA3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5" y="2827"/>
                <a:ext cx="21" cy="21"/>
              </a:xfrm>
              <a:custGeom>
                <a:avLst/>
                <a:gdLst>
                  <a:gd name="T0" fmla="*/ 3 w 21"/>
                  <a:gd name="T1" fmla="*/ 2 h 21"/>
                  <a:gd name="T2" fmla="*/ 0 w 21"/>
                  <a:gd name="T3" fmla="*/ 5 h 21"/>
                  <a:gd name="T4" fmla="*/ 2 w 21"/>
                  <a:gd name="T5" fmla="*/ 8 h 21"/>
                  <a:gd name="T6" fmla="*/ 7 w 21"/>
                  <a:gd name="T7" fmla="*/ 8 h 21"/>
                  <a:gd name="T8" fmla="*/ 11 w 21"/>
                  <a:gd name="T9" fmla="*/ 13 h 21"/>
                  <a:gd name="T10" fmla="*/ 11 w 21"/>
                  <a:gd name="T11" fmla="*/ 16 h 21"/>
                  <a:gd name="T12" fmla="*/ 13 w 21"/>
                  <a:gd name="T13" fmla="*/ 18 h 21"/>
                  <a:gd name="T14" fmla="*/ 19 w 21"/>
                  <a:gd name="T15" fmla="*/ 20 h 21"/>
                  <a:gd name="T16" fmla="*/ 21 w 21"/>
                  <a:gd name="T17" fmla="*/ 21 h 21"/>
                  <a:gd name="T18" fmla="*/ 20 w 21"/>
                  <a:gd name="T19" fmla="*/ 18 h 21"/>
                  <a:gd name="T20" fmla="*/ 21 w 21"/>
                  <a:gd name="T21" fmla="*/ 16 h 21"/>
                  <a:gd name="T22" fmla="*/ 19 w 21"/>
                  <a:gd name="T23" fmla="*/ 13 h 21"/>
                  <a:gd name="T24" fmla="*/ 15 w 21"/>
                  <a:gd name="T25" fmla="*/ 12 h 21"/>
                  <a:gd name="T26" fmla="*/ 14 w 21"/>
                  <a:gd name="T27" fmla="*/ 9 h 21"/>
                  <a:gd name="T28" fmla="*/ 13 w 21"/>
                  <a:gd name="T29" fmla="*/ 4 h 21"/>
                  <a:gd name="T30" fmla="*/ 12 w 21"/>
                  <a:gd name="T31" fmla="*/ 1 h 21"/>
                  <a:gd name="T32" fmla="*/ 8 w 21"/>
                  <a:gd name="T33" fmla="*/ 0 h 21"/>
                  <a:gd name="T34" fmla="*/ 8 w 21"/>
                  <a:gd name="T35" fmla="*/ 2 h 21"/>
                  <a:gd name="T36" fmla="*/ 5 w 21"/>
                  <a:gd name="T37" fmla="*/ 0 h 21"/>
                  <a:gd name="T38" fmla="*/ 3 w 21"/>
                  <a:gd name="T39" fmla="*/ 1 h 21"/>
                  <a:gd name="T40" fmla="*/ 3 w 21"/>
                  <a:gd name="T41" fmla="*/ 2 h 21"/>
                  <a:gd name="T42" fmla="*/ 3 w 21"/>
                  <a:gd name="T43" fmla="*/ 2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" h="21">
                    <a:moveTo>
                      <a:pt x="3" y="2"/>
                    </a:moveTo>
                    <a:lnTo>
                      <a:pt x="0" y="5"/>
                    </a:lnTo>
                    <a:lnTo>
                      <a:pt x="2" y="8"/>
                    </a:lnTo>
                    <a:lnTo>
                      <a:pt x="7" y="8"/>
                    </a:lnTo>
                    <a:lnTo>
                      <a:pt x="11" y="13"/>
                    </a:lnTo>
                    <a:lnTo>
                      <a:pt x="11" y="16"/>
                    </a:lnTo>
                    <a:lnTo>
                      <a:pt x="13" y="18"/>
                    </a:lnTo>
                    <a:lnTo>
                      <a:pt x="19" y="20"/>
                    </a:lnTo>
                    <a:lnTo>
                      <a:pt x="21" y="21"/>
                    </a:lnTo>
                    <a:lnTo>
                      <a:pt x="20" y="18"/>
                    </a:lnTo>
                    <a:lnTo>
                      <a:pt x="21" y="16"/>
                    </a:lnTo>
                    <a:lnTo>
                      <a:pt x="19" y="13"/>
                    </a:lnTo>
                    <a:lnTo>
                      <a:pt x="15" y="12"/>
                    </a:lnTo>
                    <a:lnTo>
                      <a:pt x="14" y="9"/>
                    </a:lnTo>
                    <a:lnTo>
                      <a:pt x="13" y="4"/>
                    </a:lnTo>
                    <a:lnTo>
                      <a:pt x="12" y="1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3" y="2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6" name="Freeform 142">
                <a:extLst>
                  <a:ext uri="{FF2B5EF4-FFF2-40B4-BE49-F238E27FC236}">
                    <a16:creationId xmlns:a16="http://schemas.microsoft.com/office/drawing/2014/main" id="{BB365291-F54E-447B-8C38-2FA1ABAA07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8" y="2887"/>
                <a:ext cx="125" cy="39"/>
              </a:xfrm>
              <a:custGeom>
                <a:avLst/>
                <a:gdLst>
                  <a:gd name="T0" fmla="*/ 47 w 125"/>
                  <a:gd name="T1" fmla="*/ 25 h 39"/>
                  <a:gd name="T2" fmla="*/ 47 w 125"/>
                  <a:gd name="T3" fmla="*/ 25 h 39"/>
                  <a:gd name="T4" fmla="*/ 52 w 125"/>
                  <a:gd name="T5" fmla="*/ 25 h 39"/>
                  <a:gd name="T6" fmla="*/ 69 w 125"/>
                  <a:gd name="T7" fmla="*/ 30 h 39"/>
                  <a:gd name="T8" fmla="*/ 81 w 125"/>
                  <a:gd name="T9" fmla="*/ 33 h 39"/>
                  <a:gd name="T10" fmla="*/ 87 w 125"/>
                  <a:gd name="T11" fmla="*/ 33 h 39"/>
                  <a:gd name="T12" fmla="*/ 100 w 125"/>
                  <a:gd name="T13" fmla="*/ 35 h 39"/>
                  <a:gd name="T14" fmla="*/ 105 w 125"/>
                  <a:gd name="T15" fmla="*/ 33 h 39"/>
                  <a:gd name="T16" fmla="*/ 111 w 125"/>
                  <a:gd name="T17" fmla="*/ 35 h 39"/>
                  <a:gd name="T18" fmla="*/ 119 w 125"/>
                  <a:gd name="T19" fmla="*/ 37 h 39"/>
                  <a:gd name="T20" fmla="*/ 123 w 125"/>
                  <a:gd name="T21" fmla="*/ 39 h 39"/>
                  <a:gd name="T22" fmla="*/ 123 w 125"/>
                  <a:gd name="T23" fmla="*/ 36 h 39"/>
                  <a:gd name="T24" fmla="*/ 124 w 125"/>
                  <a:gd name="T25" fmla="*/ 26 h 39"/>
                  <a:gd name="T26" fmla="*/ 113 w 125"/>
                  <a:gd name="T27" fmla="*/ 25 h 39"/>
                  <a:gd name="T28" fmla="*/ 108 w 125"/>
                  <a:gd name="T29" fmla="*/ 26 h 39"/>
                  <a:gd name="T30" fmla="*/ 102 w 125"/>
                  <a:gd name="T31" fmla="*/ 19 h 39"/>
                  <a:gd name="T32" fmla="*/ 99 w 125"/>
                  <a:gd name="T33" fmla="*/ 16 h 39"/>
                  <a:gd name="T34" fmla="*/ 94 w 125"/>
                  <a:gd name="T35" fmla="*/ 13 h 39"/>
                  <a:gd name="T36" fmla="*/ 84 w 125"/>
                  <a:gd name="T37" fmla="*/ 10 h 39"/>
                  <a:gd name="T38" fmla="*/ 79 w 125"/>
                  <a:gd name="T39" fmla="*/ 10 h 39"/>
                  <a:gd name="T40" fmla="*/ 74 w 125"/>
                  <a:gd name="T41" fmla="*/ 6 h 39"/>
                  <a:gd name="T42" fmla="*/ 71 w 125"/>
                  <a:gd name="T43" fmla="*/ 12 h 39"/>
                  <a:gd name="T44" fmla="*/ 65 w 125"/>
                  <a:gd name="T45" fmla="*/ 13 h 39"/>
                  <a:gd name="T46" fmla="*/ 57 w 125"/>
                  <a:gd name="T47" fmla="*/ 12 h 39"/>
                  <a:gd name="T48" fmla="*/ 50 w 125"/>
                  <a:gd name="T49" fmla="*/ 12 h 39"/>
                  <a:gd name="T50" fmla="*/ 45 w 125"/>
                  <a:gd name="T51" fmla="*/ 12 h 39"/>
                  <a:gd name="T52" fmla="*/ 39 w 125"/>
                  <a:gd name="T53" fmla="*/ 4 h 39"/>
                  <a:gd name="T54" fmla="*/ 34 w 125"/>
                  <a:gd name="T55" fmla="*/ 4 h 39"/>
                  <a:gd name="T56" fmla="*/ 28 w 125"/>
                  <a:gd name="T57" fmla="*/ 3 h 39"/>
                  <a:gd name="T58" fmla="*/ 22 w 125"/>
                  <a:gd name="T59" fmla="*/ 0 h 39"/>
                  <a:gd name="T60" fmla="*/ 19 w 125"/>
                  <a:gd name="T61" fmla="*/ 2 h 39"/>
                  <a:gd name="T62" fmla="*/ 8 w 125"/>
                  <a:gd name="T63" fmla="*/ 1 h 39"/>
                  <a:gd name="T64" fmla="*/ 5 w 125"/>
                  <a:gd name="T65" fmla="*/ 6 h 39"/>
                  <a:gd name="T66" fmla="*/ 2 w 125"/>
                  <a:gd name="T67" fmla="*/ 10 h 39"/>
                  <a:gd name="T68" fmla="*/ 2 w 125"/>
                  <a:gd name="T69" fmla="*/ 13 h 39"/>
                  <a:gd name="T70" fmla="*/ 10 w 125"/>
                  <a:gd name="T71" fmla="*/ 13 h 39"/>
                  <a:gd name="T72" fmla="*/ 16 w 125"/>
                  <a:gd name="T73" fmla="*/ 14 h 39"/>
                  <a:gd name="T74" fmla="*/ 27 w 125"/>
                  <a:gd name="T75" fmla="*/ 21 h 39"/>
                  <a:gd name="T76" fmla="*/ 34 w 125"/>
                  <a:gd name="T77" fmla="*/ 25 h 39"/>
                  <a:gd name="T78" fmla="*/ 43 w 125"/>
                  <a:gd name="T79" fmla="*/ 26 h 39"/>
                  <a:gd name="T80" fmla="*/ 47 w 125"/>
                  <a:gd name="T81" fmla="*/ 25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5" h="39">
                    <a:moveTo>
                      <a:pt x="47" y="25"/>
                    </a:moveTo>
                    <a:lnTo>
                      <a:pt x="47" y="25"/>
                    </a:lnTo>
                    <a:lnTo>
                      <a:pt x="50" y="26"/>
                    </a:lnTo>
                    <a:lnTo>
                      <a:pt x="47" y="25"/>
                    </a:lnTo>
                    <a:lnTo>
                      <a:pt x="50" y="25"/>
                    </a:lnTo>
                    <a:lnTo>
                      <a:pt x="52" y="25"/>
                    </a:lnTo>
                    <a:lnTo>
                      <a:pt x="63" y="27"/>
                    </a:lnTo>
                    <a:lnTo>
                      <a:pt x="69" y="30"/>
                    </a:lnTo>
                    <a:lnTo>
                      <a:pt x="74" y="31"/>
                    </a:lnTo>
                    <a:lnTo>
                      <a:pt x="81" y="33"/>
                    </a:lnTo>
                    <a:lnTo>
                      <a:pt x="84" y="33"/>
                    </a:lnTo>
                    <a:lnTo>
                      <a:pt x="87" y="33"/>
                    </a:lnTo>
                    <a:lnTo>
                      <a:pt x="93" y="33"/>
                    </a:lnTo>
                    <a:lnTo>
                      <a:pt x="100" y="35"/>
                    </a:lnTo>
                    <a:lnTo>
                      <a:pt x="103" y="34"/>
                    </a:lnTo>
                    <a:lnTo>
                      <a:pt x="105" y="33"/>
                    </a:lnTo>
                    <a:lnTo>
                      <a:pt x="108" y="33"/>
                    </a:lnTo>
                    <a:lnTo>
                      <a:pt x="111" y="35"/>
                    </a:lnTo>
                    <a:lnTo>
                      <a:pt x="116" y="36"/>
                    </a:lnTo>
                    <a:lnTo>
                      <a:pt x="119" y="37"/>
                    </a:lnTo>
                    <a:lnTo>
                      <a:pt x="122" y="37"/>
                    </a:lnTo>
                    <a:lnTo>
                      <a:pt x="123" y="39"/>
                    </a:lnTo>
                    <a:lnTo>
                      <a:pt x="125" y="39"/>
                    </a:lnTo>
                    <a:lnTo>
                      <a:pt x="123" y="36"/>
                    </a:lnTo>
                    <a:lnTo>
                      <a:pt x="123" y="34"/>
                    </a:lnTo>
                    <a:lnTo>
                      <a:pt x="124" y="26"/>
                    </a:lnTo>
                    <a:lnTo>
                      <a:pt x="119" y="23"/>
                    </a:lnTo>
                    <a:lnTo>
                      <a:pt x="113" y="25"/>
                    </a:lnTo>
                    <a:lnTo>
                      <a:pt x="111" y="25"/>
                    </a:lnTo>
                    <a:lnTo>
                      <a:pt x="108" y="26"/>
                    </a:lnTo>
                    <a:lnTo>
                      <a:pt x="100" y="22"/>
                    </a:lnTo>
                    <a:lnTo>
                      <a:pt x="102" y="19"/>
                    </a:lnTo>
                    <a:lnTo>
                      <a:pt x="99" y="18"/>
                    </a:lnTo>
                    <a:lnTo>
                      <a:pt x="99" y="16"/>
                    </a:lnTo>
                    <a:lnTo>
                      <a:pt x="96" y="13"/>
                    </a:lnTo>
                    <a:lnTo>
                      <a:pt x="94" y="13"/>
                    </a:lnTo>
                    <a:lnTo>
                      <a:pt x="88" y="12"/>
                    </a:lnTo>
                    <a:lnTo>
                      <a:pt x="84" y="10"/>
                    </a:lnTo>
                    <a:lnTo>
                      <a:pt x="80" y="11"/>
                    </a:lnTo>
                    <a:lnTo>
                      <a:pt x="79" y="10"/>
                    </a:lnTo>
                    <a:lnTo>
                      <a:pt x="78" y="8"/>
                    </a:lnTo>
                    <a:lnTo>
                      <a:pt x="74" y="6"/>
                    </a:lnTo>
                    <a:lnTo>
                      <a:pt x="72" y="8"/>
                    </a:lnTo>
                    <a:lnTo>
                      <a:pt x="71" y="12"/>
                    </a:lnTo>
                    <a:lnTo>
                      <a:pt x="69" y="14"/>
                    </a:lnTo>
                    <a:lnTo>
                      <a:pt x="65" y="13"/>
                    </a:lnTo>
                    <a:lnTo>
                      <a:pt x="63" y="13"/>
                    </a:lnTo>
                    <a:lnTo>
                      <a:pt x="57" y="12"/>
                    </a:lnTo>
                    <a:lnTo>
                      <a:pt x="52" y="13"/>
                    </a:lnTo>
                    <a:lnTo>
                      <a:pt x="50" y="12"/>
                    </a:lnTo>
                    <a:lnTo>
                      <a:pt x="48" y="12"/>
                    </a:lnTo>
                    <a:lnTo>
                      <a:pt x="45" y="12"/>
                    </a:lnTo>
                    <a:lnTo>
                      <a:pt x="42" y="6"/>
                    </a:lnTo>
                    <a:lnTo>
                      <a:pt x="39" y="4"/>
                    </a:lnTo>
                    <a:lnTo>
                      <a:pt x="36" y="5"/>
                    </a:lnTo>
                    <a:lnTo>
                      <a:pt x="34" y="4"/>
                    </a:lnTo>
                    <a:lnTo>
                      <a:pt x="31" y="4"/>
                    </a:lnTo>
                    <a:lnTo>
                      <a:pt x="28" y="3"/>
                    </a:lnTo>
                    <a:lnTo>
                      <a:pt x="26" y="0"/>
                    </a:lnTo>
                    <a:lnTo>
                      <a:pt x="22" y="0"/>
                    </a:lnTo>
                    <a:lnTo>
                      <a:pt x="22" y="2"/>
                    </a:lnTo>
                    <a:lnTo>
                      <a:pt x="19" y="2"/>
                    </a:lnTo>
                    <a:lnTo>
                      <a:pt x="13" y="1"/>
                    </a:lnTo>
                    <a:lnTo>
                      <a:pt x="8" y="1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3" y="8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2" y="13"/>
                    </a:lnTo>
                    <a:lnTo>
                      <a:pt x="8" y="12"/>
                    </a:lnTo>
                    <a:lnTo>
                      <a:pt x="10" y="13"/>
                    </a:lnTo>
                    <a:lnTo>
                      <a:pt x="13" y="14"/>
                    </a:lnTo>
                    <a:lnTo>
                      <a:pt x="16" y="14"/>
                    </a:lnTo>
                    <a:lnTo>
                      <a:pt x="14" y="20"/>
                    </a:lnTo>
                    <a:lnTo>
                      <a:pt x="27" y="21"/>
                    </a:lnTo>
                    <a:lnTo>
                      <a:pt x="30" y="22"/>
                    </a:lnTo>
                    <a:lnTo>
                      <a:pt x="34" y="25"/>
                    </a:lnTo>
                    <a:lnTo>
                      <a:pt x="37" y="26"/>
                    </a:lnTo>
                    <a:lnTo>
                      <a:pt x="43" y="26"/>
                    </a:lnTo>
                    <a:lnTo>
                      <a:pt x="45" y="23"/>
                    </a:lnTo>
                    <a:lnTo>
                      <a:pt x="47" y="25"/>
                    </a:lnTo>
                    <a:lnTo>
                      <a:pt x="47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7" name="Freeform 143">
                <a:extLst>
                  <a:ext uri="{FF2B5EF4-FFF2-40B4-BE49-F238E27FC236}">
                    <a16:creationId xmlns:a16="http://schemas.microsoft.com/office/drawing/2014/main" id="{A638923E-6B0A-40C1-9D35-A05BB33EB7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8" y="2840"/>
                <a:ext cx="9" cy="10"/>
              </a:xfrm>
              <a:custGeom>
                <a:avLst/>
                <a:gdLst>
                  <a:gd name="T0" fmla="*/ 1 w 9"/>
                  <a:gd name="T1" fmla="*/ 0 h 10"/>
                  <a:gd name="T2" fmla="*/ 0 w 9"/>
                  <a:gd name="T3" fmla="*/ 4 h 10"/>
                  <a:gd name="T4" fmla="*/ 0 w 9"/>
                  <a:gd name="T5" fmla="*/ 8 h 10"/>
                  <a:gd name="T6" fmla="*/ 4 w 9"/>
                  <a:gd name="T7" fmla="*/ 9 h 10"/>
                  <a:gd name="T8" fmla="*/ 6 w 9"/>
                  <a:gd name="T9" fmla="*/ 10 h 10"/>
                  <a:gd name="T10" fmla="*/ 8 w 9"/>
                  <a:gd name="T11" fmla="*/ 7 h 10"/>
                  <a:gd name="T12" fmla="*/ 9 w 9"/>
                  <a:gd name="T13" fmla="*/ 5 h 10"/>
                  <a:gd name="T14" fmla="*/ 7 w 9"/>
                  <a:gd name="T15" fmla="*/ 1 h 10"/>
                  <a:gd name="T16" fmla="*/ 3 w 9"/>
                  <a:gd name="T17" fmla="*/ 0 h 10"/>
                  <a:gd name="T18" fmla="*/ 1 w 9"/>
                  <a:gd name="T19" fmla="*/ 0 h 10"/>
                  <a:gd name="T20" fmla="*/ 1 w 9"/>
                  <a:gd name="T2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10">
                    <a:moveTo>
                      <a:pt x="1" y="0"/>
                    </a:moveTo>
                    <a:lnTo>
                      <a:pt x="0" y="4"/>
                    </a:lnTo>
                    <a:lnTo>
                      <a:pt x="0" y="8"/>
                    </a:lnTo>
                    <a:lnTo>
                      <a:pt x="4" y="9"/>
                    </a:lnTo>
                    <a:lnTo>
                      <a:pt x="6" y="10"/>
                    </a:lnTo>
                    <a:lnTo>
                      <a:pt x="8" y="7"/>
                    </a:lnTo>
                    <a:lnTo>
                      <a:pt x="9" y="5"/>
                    </a:lnTo>
                    <a:lnTo>
                      <a:pt x="7" y="1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8" name="Freeform 144">
                <a:extLst>
                  <a:ext uri="{FF2B5EF4-FFF2-40B4-BE49-F238E27FC236}">
                    <a16:creationId xmlns:a16="http://schemas.microsoft.com/office/drawing/2014/main" id="{090B5FD0-6E8B-4E3F-9C67-334CD9E3FD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528"/>
                <a:ext cx="33" cy="26"/>
              </a:xfrm>
              <a:custGeom>
                <a:avLst/>
                <a:gdLst>
                  <a:gd name="T0" fmla="*/ 21 w 33"/>
                  <a:gd name="T1" fmla="*/ 0 h 26"/>
                  <a:gd name="T2" fmla="*/ 21 w 33"/>
                  <a:gd name="T3" fmla="*/ 1 h 26"/>
                  <a:gd name="T4" fmla="*/ 19 w 33"/>
                  <a:gd name="T5" fmla="*/ 2 h 26"/>
                  <a:gd name="T6" fmla="*/ 18 w 33"/>
                  <a:gd name="T7" fmla="*/ 1 h 26"/>
                  <a:gd name="T8" fmla="*/ 15 w 33"/>
                  <a:gd name="T9" fmla="*/ 0 h 26"/>
                  <a:gd name="T10" fmla="*/ 12 w 33"/>
                  <a:gd name="T11" fmla="*/ 2 h 26"/>
                  <a:gd name="T12" fmla="*/ 9 w 33"/>
                  <a:gd name="T13" fmla="*/ 2 h 26"/>
                  <a:gd name="T14" fmla="*/ 9 w 33"/>
                  <a:gd name="T15" fmla="*/ 4 h 26"/>
                  <a:gd name="T16" fmla="*/ 6 w 33"/>
                  <a:gd name="T17" fmla="*/ 5 h 26"/>
                  <a:gd name="T18" fmla="*/ 0 w 33"/>
                  <a:gd name="T19" fmla="*/ 11 h 26"/>
                  <a:gd name="T20" fmla="*/ 0 w 33"/>
                  <a:gd name="T21" fmla="*/ 16 h 26"/>
                  <a:gd name="T22" fmla="*/ 1 w 33"/>
                  <a:gd name="T23" fmla="*/ 19 h 26"/>
                  <a:gd name="T24" fmla="*/ 1 w 33"/>
                  <a:gd name="T25" fmla="*/ 21 h 26"/>
                  <a:gd name="T26" fmla="*/ 2 w 33"/>
                  <a:gd name="T27" fmla="*/ 21 h 26"/>
                  <a:gd name="T28" fmla="*/ 6 w 33"/>
                  <a:gd name="T29" fmla="*/ 23 h 26"/>
                  <a:gd name="T30" fmla="*/ 7 w 33"/>
                  <a:gd name="T31" fmla="*/ 23 h 26"/>
                  <a:gd name="T32" fmla="*/ 12 w 33"/>
                  <a:gd name="T33" fmla="*/ 25 h 26"/>
                  <a:gd name="T34" fmla="*/ 12 w 33"/>
                  <a:gd name="T35" fmla="*/ 26 h 26"/>
                  <a:gd name="T36" fmla="*/ 15 w 33"/>
                  <a:gd name="T37" fmla="*/ 26 h 26"/>
                  <a:gd name="T38" fmla="*/ 16 w 33"/>
                  <a:gd name="T39" fmla="*/ 23 h 26"/>
                  <a:gd name="T40" fmla="*/ 19 w 33"/>
                  <a:gd name="T41" fmla="*/ 22 h 26"/>
                  <a:gd name="T42" fmla="*/ 19 w 33"/>
                  <a:gd name="T43" fmla="*/ 23 h 26"/>
                  <a:gd name="T44" fmla="*/ 21 w 33"/>
                  <a:gd name="T45" fmla="*/ 20 h 26"/>
                  <a:gd name="T46" fmla="*/ 26 w 33"/>
                  <a:gd name="T47" fmla="*/ 18 h 26"/>
                  <a:gd name="T48" fmla="*/ 26 w 33"/>
                  <a:gd name="T49" fmla="*/ 12 h 26"/>
                  <a:gd name="T50" fmla="*/ 27 w 33"/>
                  <a:gd name="T51" fmla="*/ 12 h 26"/>
                  <a:gd name="T52" fmla="*/ 28 w 33"/>
                  <a:gd name="T53" fmla="*/ 9 h 26"/>
                  <a:gd name="T54" fmla="*/ 30 w 33"/>
                  <a:gd name="T55" fmla="*/ 6 h 26"/>
                  <a:gd name="T56" fmla="*/ 33 w 33"/>
                  <a:gd name="T57" fmla="*/ 5 h 26"/>
                  <a:gd name="T58" fmla="*/ 33 w 33"/>
                  <a:gd name="T59" fmla="*/ 3 h 26"/>
                  <a:gd name="T60" fmla="*/ 32 w 33"/>
                  <a:gd name="T61" fmla="*/ 0 h 26"/>
                  <a:gd name="T62" fmla="*/ 25 w 33"/>
                  <a:gd name="T63" fmla="*/ 0 h 26"/>
                  <a:gd name="T64" fmla="*/ 25 w 33"/>
                  <a:gd name="T65" fmla="*/ 2 h 26"/>
                  <a:gd name="T66" fmla="*/ 24 w 33"/>
                  <a:gd name="T67" fmla="*/ 0 h 26"/>
                  <a:gd name="T68" fmla="*/ 23 w 33"/>
                  <a:gd name="T69" fmla="*/ 0 h 26"/>
                  <a:gd name="T70" fmla="*/ 21 w 33"/>
                  <a:gd name="T71" fmla="*/ 0 h 26"/>
                  <a:gd name="T72" fmla="*/ 21 w 33"/>
                  <a:gd name="T73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3" h="26">
                    <a:moveTo>
                      <a:pt x="21" y="0"/>
                    </a:moveTo>
                    <a:lnTo>
                      <a:pt x="21" y="1"/>
                    </a:lnTo>
                    <a:lnTo>
                      <a:pt x="19" y="2"/>
                    </a:lnTo>
                    <a:lnTo>
                      <a:pt x="18" y="1"/>
                    </a:lnTo>
                    <a:lnTo>
                      <a:pt x="15" y="0"/>
                    </a:lnTo>
                    <a:lnTo>
                      <a:pt x="12" y="2"/>
                    </a:lnTo>
                    <a:lnTo>
                      <a:pt x="9" y="2"/>
                    </a:lnTo>
                    <a:lnTo>
                      <a:pt x="9" y="4"/>
                    </a:lnTo>
                    <a:lnTo>
                      <a:pt x="6" y="5"/>
                    </a:lnTo>
                    <a:lnTo>
                      <a:pt x="0" y="11"/>
                    </a:lnTo>
                    <a:lnTo>
                      <a:pt x="0" y="16"/>
                    </a:lnTo>
                    <a:lnTo>
                      <a:pt x="1" y="19"/>
                    </a:lnTo>
                    <a:lnTo>
                      <a:pt x="1" y="21"/>
                    </a:lnTo>
                    <a:lnTo>
                      <a:pt x="2" y="21"/>
                    </a:lnTo>
                    <a:lnTo>
                      <a:pt x="6" y="23"/>
                    </a:lnTo>
                    <a:lnTo>
                      <a:pt x="7" y="23"/>
                    </a:lnTo>
                    <a:lnTo>
                      <a:pt x="12" y="25"/>
                    </a:lnTo>
                    <a:lnTo>
                      <a:pt x="12" y="26"/>
                    </a:lnTo>
                    <a:lnTo>
                      <a:pt x="15" y="26"/>
                    </a:lnTo>
                    <a:lnTo>
                      <a:pt x="16" y="23"/>
                    </a:lnTo>
                    <a:lnTo>
                      <a:pt x="19" y="22"/>
                    </a:lnTo>
                    <a:lnTo>
                      <a:pt x="19" y="23"/>
                    </a:lnTo>
                    <a:lnTo>
                      <a:pt x="21" y="20"/>
                    </a:lnTo>
                    <a:lnTo>
                      <a:pt x="26" y="18"/>
                    </a:lnTo>
                    <a:lnTo>
                      <a:pt x="26" y="12"/>
                    </a:lnTo>
                    <a:lnTo>
                      <a:pt x="27" y="12"/>
                    </a:lnTo>
                    <a:lnTo>
                      <a:pt x="28" y="9"/>
                    </a:lnTo>
                    <a:lnTo>
                      <a:pt x="30" y="6"/>
                    </a:lnTo>
                    <a:lnTo>
                      <a:pt x="33" y="5"/>
                    </a:lnTo>
                    <a:lnTo>
                      <a:pt x="33" y="3"/>
                    </a:lnTo>
                    <a:lnTo>
                      <a:pt x="32" y="0"/>
                    </a:lnTo>
                    <a:lnTo>
                      <a:pt x="25" y="0"/>
                    </a:lnTo>
                    <a:lnTo>
                      <a:pt x="25" y="2"/>
                    </a:lnTo>
                    <a:lnTo>
                      <a:pt x="24" y="0"/>
                    </a:lnTo>
                    <a:lnTo>
                      <a:pt x="23" y="0"/>
                    </a:lnTo>
                    <a:lnTo>
                      <a:pt x="21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9" name="Freeform 145">
                <a:extLst>
                  <a:ext uri="{FF2B5EF4-FFF2-40B4-BE49-F238E27FC236}">
                    <a16:creationId xmlns:a16="http://schemas.microsoft.com/office/drawing/2014/main" id="{DD8B2CA6-5104-430C-AB4C-BF5D80B81E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1" y="3164"/>
                <a:ext cx="4" cy="8"/>
              </a:xfrm>
              <a:custGeom>
                <a:avLst/>
                <a:gdLst>
                  <a:gd name="T0" fmla="*/ 4 w 4"/>
                  <a:gd name="T1" fmla="*/ 8 h 8"/>
                  <a:gd name="T2" fmla="*/ 2 w 4"/>
                  <a:gd name="T3" fmla="*/ 2 h 8"/>
                  <a:gd name="T4" fmla="*/ 0 w 4"/>
                  <a:gd name="T5" fmla="*/ 0 h 8"/>
                  <a:gd name="T6" fmla="*/ 1 w 4"/>
                  <a:gd name="T7" fmla="*/ 2 h 8"/>
                  <a:gd name="T8" fmla="*/ 4 w 4"/>
                  <a:gd name="T9" fmla="*/ 8 h 8"/>
                  <a:gd name="T10" fmla="*/ 4 w 4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8">
                    <a:moveTo>
                      <a:pt x="4" y="8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1" y="2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0" name="Freeform 146">
                <a:extLst>
                  <a:ext uri="{FF2B5EF4-FFF2-40B4-BE49-F238E27FC236}">
                    <a16:creationId xmlns:a16="http://schemas.microsoft.com/office/drawing/2014/main" id="{AF530607-F41F-43FE-AA33-0D68E0815B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2" y="2916"/>
                <a:ext cx="17" cy="11"/>
              </a:xfrm>
              <a:custGeom>
                <a:avLst/>
                <a:gdLst>
                  <a:gd name="T0" fmla="*/ 0 w 17"/>
                  <a:gd name="T1" fmla="*/ 1 h 11"/>
                  <a:gd name="T2" fmla="*/ 0 w 17"/>
                  <a:gd name="T3" fmla="*/ 4 h 11"/>
                  <a:gd name="T4" fmla="*/ 6 w 17"/>
                  <a:gd name="T5" fmla="*/ 6 h 11"/>
                  <a:gd name="T6" fmla="*/ 8 w 17"/>
                  <a:gd name="T7" fmla="*/ 8 h 11"/>
                  <a:gd name="T8" fmla="*/ 9 w 17"/>
                  <a:gd name="T9" fmla="*/ 11 h 11"/>
                  <a:gd name="T10" fmla="*/ 10 w 17"/>
                  <a:gd name="T11" fmla="*/ 11 h 11"/>
                  <a:gd name="T12" fmla="*/ 12 w 17"/>
                  <a:gd name="T13" fmla="*/ 8 h 11"/>
                  <a:gd name="T14" fmla="*/ 17 w 17"/>
                  <a:gd name="T15" fmla="*/ 6 h 11"/>
                  <a:gd name="T16" fmla="*/ 15 w 17"/>
                  <a:gd name="T17" fmla="*/ 2 h 11"/>
                  <a:gd name="T18" fmla="*/ 13 w 17"/>
                  <a:gd name="T19" fmla="*/ 1 h 11"/>
                  <a:gd name="T20" fmla="*/ 10 w 17"/>
                  <a:gd name="T21" fmla="*/ 0 h 11"/>
                  <a:gd name="T22" fmla="*/ 7 w 17"/>
                  <a:gd name="T23" fmla="*/ 2 h 11"/>
                  <a:gd name="T24" fmla="*/ 0 w 17"/>
                  <a:gd name="T25" fmla="*/ 1 h 11"/>
                  <a:gd name="T26" fmla="*/ 0 w 17"/>
                  <a:gd name="T27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" h="11">
                    <a:moveTo>
                      <a:pt x="0" y="1"/>
                    </a:moveTo>
                    <a:lnTo>
                      <a:pt x="0" y="4"/>
                    </a:lnTo>
                    <a:lnTo>
                      <a:pt x="6" y="6"/>
                    </a:lnTo>
                    <a:lnTo>
                      <a:pt x="8" y="8"/>
                    </a:lnTo>
                    <a:lnTo>
                      <a:pt x="9" y="11"/>
                    </a:lnTo>
                    <a:lnTo>
                      <a:pt x="10" y="11"/>
                    </a:lnTo>
                    <a:lnTo>
                      <a:pt x="12" y="8"/>
                    </a:lnTo>
                    <a:lnTo>
                      <a:pt x="17" y="6"/>
                    </a:lnTo>
                    <a:lnTo>
                      <a:pt x="15" y="2"/>
                    </a:lnTo>
                    <a:lnTo>
                      <a:pt x="13" y="1"/>
                    </a:lnTo>
                    <a:lnTo>
                      <a:pt x="10" y="0"/>
                    </a:lnTo>
                    <a:lnTo>
                      <a:pt x="7" y="2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1" name="Freeform 147">
                <a:extLst>
                  <a:ext uri="{FF2B5EF4-FFF2-40B4-BE49-F238E27FC236}">
                    <a16:creationId xmlns:a16="http://schemas.microsoft.com/office/drawing/2014/main" id="{568E6465-FE16-457D-A86A-2CC5FE74F6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2" y="2918"/>
                <a:ext cx="11" cy="9"/>
              </a:xfrm>
              <a:custGeom>
                <a:avLst/>
                <a:gdLst>
                  <a:gd name="T0" fmla="*/ 5 w 11"/>
                  <a:gd name="T1" fmla="*/ 0 h 9"/>
                  <a:gd name="T2" fmla="*/ 3 w 11"/>
                  <a:gd name="T3" fmla="*/ 3 h 9"/>
                  <a:gd name="T4" fmla="*/ 2 w 11"/>
                  <a:gd name="T5" fmla="*/ 5 h 9"/>
                  <a:gd name="T6" fmla="*/ 2 w 11"/>
                  <a:gd name="T7" fmla="*/ 8 h 9"/>
                  <a:gd name="T8" fmla="*/ 0 w 11"/>
                  <a:gd name="T9" fmla="*/ 7 h 9"/>
                  <a:gd name="T10" fmla="*/ 2 w 11"/>
                  <a:gd name="T11" fmla="*/ 9 h 9"/>
                  <a:gd name="T12" fmla="*/ 5 w 11"/>
                  <a:gd name="T13" fmla="*/ 9 h 9"/>
                  <a:gd name="T14" fmla="*/ 7 w 11"/>
                  <a:gd name="T15" fmla="*/ 8 h 9"/>
                  <a:gd name="T16" fmla="*/ 10 w 11"/>
                  <a:gd name="T17" fmla="*/ 6 h 9"/>
                  <a:gd name="T18" fmla="*/ 11 w 11"/>
                  <a:gd name="T19" fmla="*/ 4 h 9"/>
                  <a:gd name="T20" fmla="*/ 9 w 11"/>
                  <a:gd name="T21" fmla="*/ 0 h 9"/>
                  <a:gd name="T22" fmla="*/ 5 w 11"/>
                  <a:gd name="T23" fmla="*/ 0 h 9"/>
                  <a:gd name="T24" fmla="*/ 5 w 11"/>
                  <a:gd name="T2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" h="9">
                    <a:moveTo>
                      <a:pt x="5" y="0"/>
                    </a:moveTo>
                    <a:lnTo>
                      <a:pt x="3" y="3"/>
                    </a:lnTo>
                    <a:lnTo>
                      <a:pt x="2" y="5"/>
                    </a:lnTo>
                    <a:lnTo>
                      <a:pt x="2" y="8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5" y="9"/>
                    </a:lnTo>
                    <a:lnTo>
                      <a:pt x="7" y="8"/>
                    </a:lnTo>
                    <a:lnTo>
                      <a:pt x="10" y="6"/>
                    </a:lnTo>
                    <a:lnTo>
                      <a:pt x="11" y="4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2" name="Freeform 148">
                <a:extLst>
                  <a:ext uri="{FF2B5EF4-FFF2-40B4-BE49-F238E27FC236}">
                    <a16:creationId xmlns:a16="http://schemas.microsoft.com/office/drawing/2014/main" id="{6E6DC5FE-FE8E-42AF-A128-4E436798DC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4" y="2917"/>
                <a:ext cx="32" cy="14"/>
              </a:xfrm>
              <a:custGeom>
                <a:avLst/>
                <a:gdLst>
                  <a:gd name="T0" fmla="*/ 15 w 32"/>
                  <a:gd name="T1" fmla="*/ 12 h 14"/>
                  <a:gd name="T2" fmla="*/ 20 w 32"/>
                  <a:gd name="T3" fmla="*/ 8 h 14"/>
                  <a:gd name="T4" fmla="*/ 24 w 32"/>
                  <a:gd name="T5" fmla="*/ 10 h 14"/>
                  <a:gd name="T6" fmla="*/ 26 w 32"/>
                  <a:gd name="T7" fmla="*/ 9 h 14"/>
                  <a:gd name="T8" fmla="*/ 28 w 32"/>
                  <a:gd name="T9" fmla="*/ 10 h 14"/>
                  <a:gd name="T10" fmla="*/ 32 w 32"/>
                  <a:gd name="T11" fmla="*/ 9 h 14"/>
                  <a:gd name="T12" fmla="*/ 31 w 32"/>
                  <a:gd name="T13" fmla="*/ 4 h 14"/>
                  <a:gd name="T14" fmla="*/ 27 w 32"/>
                  <a:gd name="T15" fmla="*/ 3 h 14"/>
                  <a:gd name="T16" fmla="*/ 26 w 32"/>
                  <a:gd name="T17" fmla="*/ 5 h 14"/>
                  <a:gd name="T18" fmla="*/ 26 w 32"/>
                  <a:gd name="T19" fmla="*/ 3 h 14"/>
                  <a:gd name="T20" fmla="*/ 23 w 32"/>
                  <a:gd name="T21" fmla="*/ 1 h 14"/>
                  <a:gd name="T22" fmla="*/ 20 w 32"/>
                  <a:gd name="T23" fmla="*/ 4 h 14"/>
                  <a:gd name="T24" fmla="*/ 19 w 32"/>
                  <a:gd name="T25" fmla="*/ 0 h 14"/>
                  <a:gd name="T26" fmla="*/ 16 w 32"/>
                  <a:gd name="T27" fmla="*/ 0 h 14"/>
                  <a:gd name="T28" fmla="*/ 14 w 32"/>
                  <a:gd name="T29" fmla="*/ 0 h 14"/>
                  <a:gd name="T30" fmla="*/ 14 w 32"/>
                  <a:gd name="T31" fmla="*/ 4 h 14"/>
                  <a:gd name="T32" fmla="*/ 19 w 32"/>
                  <a:gd name="T33" fmla="*/ 6 h 14"/>
                  <a:gd name="T34" fmla="*/ 17 w 32"/>
                  <a:gd name="T35" fmla="*/ 8 h 14"/>
                  <a:gd name="T36" fmla="*/ 14 w 32"/>
                  <a:gd name="T37" fmla="*/ 8 h 14"/>
                  <a:gd name="T38" fmla="*/ 11 w 32"/>
                  <a:gd name="T39" fmla="*/ 6 h 14"/>
                  <a:gd name="T40" fmla="*/ 6 w 32"/>
                  <a:gd name="T41" fmla="*/ 4 h 14"/>
                  <a:gd name="T42" fmla="*/ 1 w 32"/>
                  <a:gd name="T43" fmla="*/ 6 h 14"/>
                  <a:gd name="T44" fmla="*/ 0 w 32"/>
                  <a:gd name="T45" fmla="*/ 10 h 14"/>
                  <a:gd name="T46" fmla="*/ 2 w 32"/>
                  <a:gd name="T47" fmla="*/ 13 h 14"/>
                  <a:gd name="T48" fmla="*/ 5 w 32"/>
                  <a:gd name="T49" fmla="*/ 14 h 14"/>
                  <a:gd name="T50" fmla="*/ 10 w 32"/>
                  <a:gd name="T51" fmla="*/ 13 h 14"/>
                  <a:gd name="T52" fmla="*/ 12 w 32"/>
                  <a:gd name="T53" fmla="*/ 12 h 14"/>
                  <a:gd name="T54" fmla="*/ 15 w 32"/>
                  <a:gd name="T55" fmla="*/ 12 h 14"/>
                  <a:gd name="T56" fmla="*/ 15 w 32"/>
                  <a:gd name="T57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2" h="14">
                    <a:moveTo>
                      <a:pt x="15" y="12"/>
                    </a:moveTo>
                    <a:lnTo>
                      <a:pt x="20" y="8"/>
                    </a:lnTo>
                    <a:lnTo>
                      <a:pt x="24" y="10"/>
                    </a:lnTo>
                    <a:lnTo>
                      <a:pt x="26" y="9"/>
                    </a:lnTo>
                    <a:lnTo>
                      <a:pt x="28" y="10"/>
                    </a:lnTo>
                    <a:lnTo>
                      <a:pt x="32" y="9"/>
                    </a:lnTo>
                    <a:lnTo>
                      <a:pt x="31" y="4"/>
                    </a:lnTo>
                    <a:lnTo>
                      <a:pt x="27" y="3"/>
                    </a:lnTo>
                    <a:lnTo>
                      <a:pt x="26" y="5"/>
                    </a:lnTo>
                    <a:lnTo>
                      <a:pt x="26" y="3"/>
                    </a:lnTo>
                    <a:lnTo>
                      <a:pt x="23" y="1"/>
                    </a:lnTo>
                    <a:lnTo>
                      <a:pt x="20" y="4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9" y="6"/>
                    </a:lnTo>
                    <a:lnTo>
                      <a:pt x="17" y="8"/>
                    </a:lnTo>
                    <a:lnTo>
                      <a:pt x="14" y="8"/>
                    </a:lnTo>
                    <a:lnTo>
                      <a:pt x="11" y="6"/>
                    </a:lnTo>
                    <a:lnTo>
                      <a:pt x="6" y="4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2" y="13"/>
                    </a:lnTo>
                    <a:lnTo>
                      <a:pt x="5" y="14"/>
                    </a:lnTo>
                    <a:lnTo>
                      <a:pt x="10" y="13"/>
                    </a:lnTo>
                    <a:lnTo>
                      <a:pt x="12" y="12"/>
                    </a:lnTo>
                    <a:lnTo>
                      <a:pt x="15" y="12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3" name="Freeform 149">
                <a:extLst>
                  <a:ext uri="{FF2B5EF4-FFF2-40B4-BE49-F238E27FC236}">
                    <a16:creationId xmlns:a16="http://schemas.microsoft.com/office/drawing/2014/main" id="{93FE7876-F7CB-42E4-AF9E-224107ED4C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0" y="2650"/>
                <a:ext cx="34" cy="41"/>
              </a:xfrm>
              <a:custGeom>
                <a:avLst/>
                <a:gdLst>
                  <a:gd name="T0" fmla="*/ 21 w 34"/>
                  <a:gd name="T1" fmla="*/ 23 h 41"/>
                  <a:gd name="T2" fmla="*/ 21 w 34"/>
                  <a:gd name="T3" fmla="*/ 19 h 41"/>
                  <a:gd name="T4" fmla="*/ 22 w 34"/>
                  <a:gd name="T5" fmla="*/ 18 h 41"/>
                  <a:gd name="T6" fmla="*/ 26 w 34"/>
                  <a:gd name="T7" fmla="*/ 18 h 41"/>
                  <a:gd name="T8" fmla="*/ 28 w 34"/>
                  <a:gd name="T9" fmla="*/ 15 h 41"/>
                  <a:gd name="T10" fmla="*/ 30 w 34"/>
                  <a:gd name="T11" fmla="*/ 14 h 41"/>
                  <a:gd name="T12" fmla="*/ 31 w 34"/>
                  <a:gd name="T13" fmla="*/ 14 h 41"/>
                  <a:gd name="T14" fmla="*/ 34 w 34"/>
                  <a:gd name="T15" fmla="*/ 10 h 41"/>
                  <a:gd name="T16" fmla="*/ 31 w 34"/>
                  <a:gd name="T17" fmla="*/ 6 h 41"/>
                  <a:gd name="T18" fmla="*/ 31 w 34"/>
                  <a:gd name="T19" fmla="*/ 0 h 41"/>
                  <a:gd name="T20" fmla="*/ 29 w 34"/>
                  <a:gd name="T21" fmla="*/ 6 h 41"/>
                  <a:gd name="T22" fmla="*/ 30 w 34"/>
                  <a:gd name="T23" fmla="*/ 8 h 41"/>
                  <a:gd name="T24" fmla="*/ 28 w 34"/>
                  <a:gd name="T25" fmla="*/ 6 h 41"/>
                  <a:gd name="T26" fmla="*/ 29 w 34"/>
                  <a:gd name="T27" fmla="*/ 8 h 41"/>
                  <a:gd name="T28" fmla="*/ 28 w 34"/>
                  <a:gd name="T29" fmla="*/ 10 h 41"/>
                  <a:gd name="T30" fmla="*/ 26 w 34"/>
                  <a:gd name="T31" fmla="*/ 11 h 41"/>
                  <a:gd name="T32" fmla="*/ 23 w 34"/>
                  <a:gd name="T33" fmla="*/ 15 h 41"/>
                  <a:gd name="T34" fmla="*/ 21 w 34"/>
                  <a:gd name="T35" fmla="*/ 16 h 41"/>
                  <a:gd name="T36" fmla="*/ 19 w 34"/>
                  <a:gd name="T37" fmla="*/ 18 h 41"/>
                  <a:gd name="T38" fmla="*/ 18 w 34"/>
                  <a:gd name="T39" fmla="*/ 20 h 41"/>
                  <a:gd name="T40" fmla="*/ 16 w 34"/>
                  <a:gd name="T41" fmla="*/ 23 h 41"/>
                  <a:gd name="T42" fmla="*/ 11 w 34"/>
                  <a:gd name="T43" fmla="*/ 28 h 41"/>
                  <a:gd name="T44" fmla="*/ 9 w 34"/>
                  <a:gd name="T45" fmla="*/ 29 h 41"/>
                  <a:gd name="T46" fmla="*/ 5 w 34"/>
                  <a:gd name="T47" fmla="*/ 31 h 41"/>
                  <a:gd name="T48" fmla="*/ 1 w 34"/>
                  <a:gd name="T49" fmla="*/ 37 h 41"/>
                  <a:gd name="T50" fmla="*/ 0 w 34"/>
                  <a:gd name="T51" fmla="*/ 41 h 41"/>
                  <a:gd name="T52" fmla="*/ 2 w 34"/>
                  <a:gd name="T53" fmla="*/ 40 h 41"/>
                  <a:gd name="T54" fmla="*/ 5 w 34"/>
                  <a:gd name="T55" fmla="*/ 36 h 41"/>
                  <a:gd name="T56" fmla="*/ 8 w 34"/>
                  <a:gd name="T57" fmla="*/ 36 h 41"/>
                  <a:gd name="T58" fmla="*/ 10 w 34"/>
                  <a:gd name="T59" fmla="*/ 34 h 41"/>
                  <a:gd name="T60" fmla="*/ 12 w 34"/>
                  <a:gd name="T61" fmla="*/ 32 h 41"/>
                  <a:gd name="T62" fmla="*/ 18 w 34"/>
                  <a:gd name="T63" fmla="*/ 28 h 41"/>
                  <a:gd name="T64" fmla="*/ 21 w 34"/>
                  <a:gd name="T65" fmla="*/ 23 h 41"/>
                  <a:gd name="T66" fmla="*/ 21 w 34"/>
                  <a:gd name="T67" fmla="*/ 23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4" h="41">
                    <a:moveTo>
                      <a:pt x="21" y="23"/>
                    </a:moveTo>
                    <a:lnTo>
                      <a:pt x="21" y="19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8" y="15"/>
                    </a:lnTo>
                    <a:lnTo>
                      <a:pt x="30" y="14"/>
                    </a:lnTo>
                    <a:lnTo>
                      <a:pt x="31" y="14"/>
                    </a:lnTo>
                    <a:lnTo>
                      <a:pt x="34" y="10"/>
                    </a:lnTo>
                    <a:lnTo>
                      <a:pt x="31" y="6"/>
                    </a:lnTo>
                    <a:lnTo>
                      <a:pt x="31" y="0"/>
                    </a:lnTo>
                    <a:lnTo>
                      <a:pt x="29" y="6"/>
                    </a:lnTo>
                    <a:lnTo>
                      <a:pt x="30" y="8"/>
                    </a:lnTo>
                    <a:lnTo>
                      <a:pt x="28" y="6"/>
                    </a:lnTo>
                    <a:lnTo>
                      <a:pt x="29" y="8"/>
                    </a:lnTo>
                    <a:lnTo>
                      <a:pt x="28" y="10"/>
                    </a:lnTo>
                    <a:lnTo>
                      <a:pt x="26" y="11"/>
                    </a:lnTo>
                    <a:lnTo>
                      <a:pt x="23" y="15"/>
                    </a:lnTo>
                    <a:lnTo>
                      <a:pt x="21" y="16"/>
                    </a:lnTo>
                    <a:lnTo>
                      <a:pt x="19" y="18"/>
                    </a:lnTo>
                    <a:lnTo>
                      <a:pt x="18" y="20"/>
                    </a:lnTo>
                    <a:lnTo>
                      <a:pt x="16" y="23"/>
                    </a:lnTo>
                    <a:lnTo>
                      <a:pt x="11" y="28"/>
                    </a:lnTo>
                    <a:lnTo>
                      <a:pt x="9" y="29"/>
                    </a:lnTo>
                    <a:lnTo>
                      <a:pt x="5" y="31"/>
                    </a:lnTo>
                    <a:lnTo>
                      <a:pt x="1" y="37"/>
                    </a:lnTo>
                    <a:lnTo>
                      <a:pt x="0" y="41"/>
                    </a:lnTo>
                    <a:lnTo>
                      <a:pt x="2" y="40"/>
                    </a:lnTo>
                    <a:lnTo>
                      <a:pt x="5" y="36"/>
                    </a:lnTo>
                    <a:lnTo>
                      <a:pt x="8" y="36"/>
                    </a:lnTo>
                    <a:lnTo>
                      <a:pt x="10" y="34"/>
                    </a:lnTo>
                    <a:lnTo>
                      <a:pt x="12" y="32"/>
                    </a:lnTo>
                    <a:lnTo>
                      <a:pt x="18" y="28"/>
                    </a:lnTo>
                    <a:lnTo>
                      <a:pt x="21" y="23"/>
                    </a:lnTo>
                    <a:lnTo>
                      <a:pt x="21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4" name="Freeform 150">
                <a:extLst>
                  <a:ext uri="{FF2B5EF4-FFF2-40B4-BE49-F238E27FC236}">
                    <a16:creationId xmlns:a16="http://schemas.microsoft.com/office/drawing/2014/main" id="{10950628-92F2-4600-A116-47C5752746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3" y="2917"/>
                <a:ext cx="3" cy="4"/>
              </a:xfrm>
              <a:custGeom>
                <a:avLst/>
                <a:gdLst>
                  <a:gd name="T0" fmla="*/ 1 w 3"/>
                  <a:gd name="T1" fmla="*/ 4 h 4"/>
                  <a:gd name="T2" fmla="*/ 3 w 3"/>
                  <a:gd name="T3" fmla="*/ 0 h 4"/>
                  <a:gd name="T4" fmla="*/ 0 w 3"/>
                  <a:gd name="T5" fmla="*/ 1 h 4"/>
                  <a:gd name="T6" fmla="*/ 1 w 3"/>
                  <a:gd name="T7" fmla="*/ 4 h 4"/>
                  <a:gd name="T8" fmla="*/ 1 w 3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1" y="4"/>
                    </a:moveTo>
                    <a:lnTo>
                      <a:pt x="3" y="0"/>
                    </a:lnTo>
                    <a:lnTo>
                      <a:pt x="0" y="1"/>
                    </a:lnTo>
                    <a:lnTo>
                      <a:pt x="1" y="4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5" name="Freeform 151">
                <a:extLst>
                  <a:ext uri="{FF2B5EF4-FFF2-40B4-BE49-F238E27FC236}">
                    <a16:creationId xmlns:a16="http://schemas.microsoft.com/office/drawing/2014/main" id="{04127390-DD53-4660-A02A-077FF38455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1" y="2782"/>
                <a:ext cx="89" cy="101"/>
              </a:xfrm>
              <a:custGeom>
                <a:avLst/>
                <a:gdLst>
                  <a:gd name="T0" fmla="*/ 29 w 89"/>
                  <a:gd name="T1" fmla="*/ 61 h 101"/>
                  <a:gd name="T2" fmla="*/ 31 w 89"/>
                  <a:gd name="T3" fmla="*/ 68 h 101"/>
                  <a:gd name="T4" fmla="*/ 36 w 89"/>
                  <a:gd name="T5" fmla="*/ 79 h 101"/>
                  <a:gd name="T6" fmla="*/ 38 w 89"/>
                  <a:gd name="T7" fmla="*/ 87 h 101"/>
                  <a:gd name="T8" fmla="*/ 44 w 89"/>
                  <a:gd name="T9" fmla="*/ 88 h 101"/>
                  <a:gd name="T10" fmla="*/ 55 w 89"/>
                  <a:gd name="T11" fmla="*/ 84 h 101"/>
                  <a:gd name="T12" fmla="*/ 56 w 89"/>
                  <a:gd name="T13" fmla="*/ 80 h 101"/>
                  <a:gd name="T14" fmla="*/ 49 w 89"/>
                  <a:gd name="T15" fmla="*/ 74 h 101"/>
                  <a:gd name="T16" fmla="*/ 50 w 89"/>
                  <a:gd name="T17" fmla="*/ 71 h 101"/>
                  <a:gd name="T18" fmla="*/ 49 w 89"/>
                  <a:gd name="T19" fmla="*/ 65 h 101"/>
                  <a:gd name="T20" fmla="*/ 35 w 89"/>
                  <a:gd name="T21" fmla="*/ 51 h 101"/>
                  <a:gd name="T22" fmla="*/ 41 w 89"/>
                  <a:gd name="T23" fmla="*/ 49 h 101"/>
                  <a:gd name="T24" fmla="*/ 51 w 89"/>
                  <a:gd name="T25" fmla="*/ 42 h 101"/>
                  <a:gd name="T26" fmla="*/ 62 w 89"/>
                  <a:gd name="T27" fmla="*/ 38 h 101"/>
                  <a:gd name="T28" fmla="*/ 60 w 89"/>
                  <a:gd name="T29" fmla="*/ 31 h 101"/>
                  <a:gd name="T30" fmla="*/ 47 w 89"/>
                  <a:gd name="T31" fmla="*/ 34 h 101"/>
                  <a:gd name="T32" fmla="*/ 39 w 89"/>
                  <a:gd name="T33" fmla="*/ 34 h 101"/>
                  <a:gd name="T34" fmla="*/ 32 w 89"/>
                  <a:gd name="T35" fmla="*/ 44 h 101"/>
                  <a:gd name="T36" fmla="*/ 25 w 89"/>
                  <a:gd name="T37" fmla="*/ 39 h 101"/>
                  <a:gd name="T38" fmla="*/ 18 w 89"/>
                  <a:gd name="T39" fmla="*/ 32 h 101"/>
                  <a:gd name="T40" fmla="*/ 22 w 89"/>
                  <a:gd name="T41" fmla="*/ 17 h 101"/>
                  <a:gd name="T42" fmla="*/ 30 w 89"/>
                  <a:gd name="T43" fmla="*/ 17 h 101"/>
                  <a:gd name="T44" fmla="*/ 35 w 89"/>
                  <a:gd name="T45" fmla="*/ 17 h 101"/>
                  <a:gd name="T46" fmla="*/ 43 w 89"/>
                  <a:gd name="T47" fmla="*/ 17 h 101"/>
                  <a:gd name="T48" fmla="*/ 61 w 89"/>
                  <a:gd name="T49" fmla="*/ 20 h 101"/>
                  <a:gd name="T50" fmla="*/ 78 w 89"/>
                  <a:gd name="T51" fmla="*/ 16 h 101"/>
                  <a:gd name="T52" fmla="*/ 86 w 89"/>
                  <a:gd name="T53" fmla="*/ 6 h 101"/>
                  <a:gd name="T54" fmla="*/ 84 w 89"/>
                  <a:gd name="T55" fmla="*/ 0 h 101"/>
                  <a:gd name="T56" fmla="*/ 79 w 89"/>
                  <a:gd name="T57" fmla="*/ 7 h 101"/>
                  <a:gd name="T58" fmla="*/ 68 w 89"/>
                  <a:gd name="T59" fmla="*/ 12 h 101"/>
                  <a:gd name="T60" fmla="*/ 58 w 89"/>
                  <a:gd name="T61" fmla="*/ 11 h 101"/>
                  <a:gd name="T62" fmla="*/ 43 w 89"/>
                  <a:gd name="T63" fmla="*/ 8 h 101"/>
                  <a:gd name="T64" fmla="*/ 34 w 89"/>
                  <a:gd name="T65" fmla="*/ 6 h 101"/>
                  <a:gd name="T66" fmla="*/ 27 w 89"/>
                  <a:gd name="T67" fmla="*/ 10 h 101"/>
                  <a:gd name="T68" fmla="*/ 17 w 89"/>
                  <a:gd name="T69" fmla="*/ 14 h 101"/>
                  <a:gd name="T70" fmla="*/ 14 w 89"/>
                  <a:gd name="T71" fmla="*/ 21 h 101"/>
                  <a:gd name="T72" fmla="*/ 14 w 89"/>
                  <a:gd name="T73" fmla="*/ 28 h 101"/>
                  <a:gd name="T74" fmla="*/ 15 w 89"/>
                  <a:gd name="T75" fmla="*/ 36 h 101"/>
                  <a:gd name="T76" fmla="*/ 7 w 89"/>
                  <a:gd name="T77" fmla="*/ 44 h 101"/>
                  <a:gd name="T78" fmla="*/ 5 w 89"/>
                  <a:gd name="T79" fmla="*/ 54 h 101"/>
                  <a:gd name="T80" fmla="*/ 0 w 89"/>
                  <a:gd name="T81" fmla="*/ 62 h 101"/>
                  <a:gd name="T82" fmla="*/ 1 w 89"/>
                  <a:gd name="T83" fmla="*/ 72 h 101"/>
                  <a:gd name="T84" fmla="*/ 10 w 89"/>
                  <a:gd name="T85" fmla="*/ 72 h 101"/>
                  <a:gd name="T86" fmla="*/ 12 w 89"/>
                  <a:gd name="T87" fmla="*/ 84 h 101"/>
                  <a:gd name="T88" fmla="*/ 8 w 89"/>
                  <a:gd name="T89" fmla="*/ 94 h 101"/>
                  <a:gd name="T90" fmla="*/ 12 w 89"/>
                  <a:gd name="T91" fmla="*/ 100 h 101"/>
                  <a:gd name="T92" fmla="*/ 23 w 89"/>
                  <a:gd name="T93" fmla="*/ 99 h 101"/>
                  <a:gd name="T94" fmla="*/ 22 w 89"/>
                  <a:gd name="T95" fmla="*/ 91 h 101"/>
                  <a:gd name="T96" fmla="*/ 23 w 89"/>
                  <a:gd name="T97" fmla="*/ 74 h 101"/>
                  <a:gd name="T98" fmla="*/ 21 w 89"/>
                  <a:gd name="T99" fmla="*/ 64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9" h="101">
                    <a:moveTo>
                      <a:pt x="21" y="64"/>
                    </a:moveTo>
                    <a:lnTo>
                      <a:pt x="26" y="61"/>
                    </a:lnTo>
                    <a:lnTo>
                      <a:pt x="29" y="61"/>
                    </a:lnTo>
                    <a:lnTo>
                      <a:pt x="31" y="61"/>
                    </a:lnTo>
                    <a:lnTo>
                      <a:pt x="32" y="64"/>
                    </a:lnTo>
                    <a:lnTo>
                      <a:pt x="31" y="68"/>
                    </a:lnTo>
                    <a:lnTo>
                      <a:pt x="29" y="71"/>
                    </a:lnTo>
                    <a:lnTo>
                      <a:pt x="31" y="74"/>
                    </a:lnTo>
                    <a:lnTo>
                      <a:pt x="36" y="79"/>
                    </a:lnTo>
                    <a:lnTo>
                      <a:pt x="39" y="79"/>
                    </a:lnTo>
                    <a:lnTo>
                      <a:pt x="39" y="81"/>
                    </a:lnTo>
                    <a:lnTo>
                      <a:pt x="38" y="87"/>
                    </a:lnTo>
                    <a:lnTo>
                      <a:pt x="40" y="89"/>
                    </a:lnTo>
                    <a:lnTo>
                      <a:pt x="42" y="90"/>
                    </a:lnTo>
                    <a:lnTo>
                      <a:pt x="44" y="88"/>
                    </a:lnTo>
                    <a:lnTo>
                      <a:pt x="47" y="85"/>
                    </a:lnTo>
                    <a:lnTo>
                      <a:pt x="52" y="84"/>
                    </a:lnTo>
                    <a:lnTo>
                      <a:pt x="55" y="84"/>
                    </a:lnTo>
                    <a:lnTo>
                      <a:pt x="53" y="83"/>
                    </a:lnTo>
                    <a:lnTo>
                      <a:pt x="57" y="82"/>
                    </a:lnTo>
                    <a:lnTo>
                      <a:pt x="56" y="80"/>
                    </a:lnTo>
                    <a:lnTo>
                      <a:pt x="53" y="79"/>
                    </a:lnTo>
                    <a:lnTo>
                      <a:pt x="51" y="76"/>
                    </a:lnTo>
                    <a:lnTo>
                      <a:pt x="49" y="74"/>
                    </a:lnTo>
                    <a:lnTo>
                      <a:pt x="48" y="72"/>
                    </a:lnTo>
                    <a:lnTo>
                      <a:pt x="49" y="71"/>
                    </a:lnTo>
                    <a:lnTo>
                      <a:pt x="50" y="71"/>
                    </a:lnTo>
                    <a:lnTo>
                      <a:pt x="49" y="68"/>
                    </a:lnTo>
                    <a:lnTo>
                      <a:pt x="51" y="67"/>
                    </a:lnTo>
                    <a:lnTo>
                      <a:pt x="49" y="65"/>
                    </a:lnTo>
                    <a:lnTo>
                      <a:pt x="41" y="54"/>
                    </a:lnTo>
                    <a:lnTo>
                      <a:pt x="38" y="51"/>
                    </a:lnTo>
                    <a:lnTo>
                      <a:pt x="35" y="51"/>
                    </a:lnTo>
                    <a:lnTo>
                      <a:pt x="35" y="48"/>
                    </a:lnTo>
                    <a:lnTo>
                      <a:pt x="38" y="50"/>
                    </a:lnTo>
                    <a:lnTo>
                      <a:pt x="41" y="49"/>
                    </a:lnTo>
                    <a:lnTo>
                      <a:pt x="43" y="47"/>
                    </a:lnTo>
                    <a:lnTo>
                      <a:pt x="48" y="45"/>
                    </a:lnTo>
                    <a:lnTo>
                      <a:pt x="51" y="42"/>
                    </a:lnTo>
                    <a:lnTo>
                      <a:pt x="55" y="38"/>
                    </a:lnTo>
                    <a:lnTo>
                      <a:pt x="58" y="36"/>
                    </a:lnTo>
                    <a:lnTo>
                      <a:pt x="62" y="38"/>
                    </a:lnTo>
                    <a:lnTo>
                      <a:pt x="65" y="36"/>
                    </a:lnTo>
                    <a:lnTo>
                      <a:pt x="64" y="32"/>
                    </a:lnTo>
                    <a:lnTo>
                      <a:pt x="60" y="31"/>
                    </a:lnTo>
                    <a:lnTo>
                      <a:pt x="58" y="32"/>
                    </a:lnTo>
                    <a:lnTo>
                      <a:pt x="56" y="34"/>
                    </a:lnTo>
                    <a:lnTo>
                      <a:pt x="47" y="34"/>
                    </a:lnTo>
                    <a:lnTo>
                      <a:pt x="44" y="37"/>
                    </a:lnTo>
                    <a:lnTo>
                      <a:pt x="41" y="37"/>
                    </a:lnTo>
                    <a:lnTo>
                      <a:pt x="39" y="34"/>
                    </a:lnTo>
                    <a:lnTo>
                      <a:pt x="36" y="37"/>
                    </a:lnTo>
                    <a:lnTo>
                      <a:pt x="33" y="40"/>
                    </a:lnTo>
                    <a:lnTo>
                      <a:pt x="32" y="44"/>
                    </a:lnTo>
                    <a:lnTo>
                      <a:pt x="27" y="42"/>
                    </a:lnTo>
                    <a:lnTo>
                      <a:pt x="25" y="41"/>
                    </a:lnTo>
                    <a:lnTo>
                      <a:pt x="25" y="39"/>
                    </a:lnTo>
                    <a:lnTo>
                      <a:pt x="23" y="36"/>
                    </a:lnTo>
                    <a:lnTo>
                      <a:pt x="19" y="36"/>
                    </a:lnTo>
                    <a:lnTo>
                      <a:pt x="18" y="32"/>
                    </a:lnTo>
                    <a:lnTo>
                      <a:pt x="17" y="27"/>
                    </a:lnTo>
                    <a:lnTo>
                      <a:pt x="19" y="21"/>
                    </a:lnTo>
                    <a:lnTo>
                      <a:pt x="22" y="17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30" y="17"/>
                    </a:lnTo>
                    <a:lnTo>
                      <a:pt x="32" y="17"/>
                    </a:lnTo>
                    <a:lnTo>
                      <a:pt x="34" y="17"/>
                    </a:lnTo>
                    <a:lnTo>
                      <a:pt x="35" y="17"/>
                    </a:lnTo>
                    <a:lnTo>
                      <a:pt x="38" y="16"/>
                    </a:lnTo>
                    <a:lnTo>
                      <a:pt x="40" y="16"/>
                    </a:lnTo>
                    <a:lnTo>
                      <a:pt x="43" y="17"/>
                    </a:lnTo>
                    <a:lnTo>
                      <a:pt x="45" y="17"/>
                    </a:lnTo>
                    <a:lnTo>
                      <a:pt x="59" y="16"/>
                    </a:lnTo>
                    <a:lnTo>
                      <a:pt x="61" y="20"/>
                    </a:lnTo>
                    <a:lnTo>
                      <a:pt x="67" y="20"/>
                    </a:lnTo>
                    <a:lnTo>
                      <a:pt x="76" y="19"/>
                    </a:lnTo>
                    <a:lnTo>
                      <a:pt x="78" y="16"/>
                    </a:lnTo>
                    <a:lnTo>
                      <a:pt x="79" y="14"/>
                    </a:lnTo>
                    <a:lnTo>
                      <a:pt x="85" y="8"/>
                    </a:lnTo>
                    <a:lnTo>
                      <a:pt x="86" y="6"/>
                    </a:lnTo>
                    <a:lnTo>
                      <a:pt x="89" y="4"/>
                    </a:lnTo>
                    <a:lnTo>
                      <a:pt x="87" y="0"/>
                    </a:lnTo>
                    <a:lnTo>
                      <a:pt x="84" y="0"/>
                    </a:lnTo>
                    <a:lnTo>
                      <a:pt x="83" y="4"/>
                    </a:lnTo>
                    <a:lnTo>
                      <a:pt x="79" y="5"/>
                    </a:lnTo>
                    <a:lnTo>
                      <a:pt x="79" y="7"/>
                    </a:lnTo>
                    <a:lnTo>
                      <a:pt x="76" y="8"/>
                    </a:lnTo>
                    <a:lnTo>
                      <a:pt x="74" y="11"/>
                    </a:lnTo>
                    <a:lnTo>
                      <a:pt x="68" y="12"/>
                    </a:lnTo>
                    <a:lnTo>
                      <a:pt x="64" y="11"/>
                    </a:lnTo>
                    <a:lnTo>
                      <a:pt x="60" y="11"/>
                    </a:lnTo>
                    <a:lnTo>
                      <a:pt x="58" y="11"/>
                    </a:lnTo>
                    <a:lnTo>
                      <a:pt x="56" y="12"/>
                    </a:lnTo>
                    <a:lnTo>
                      <a:pt x="50" y="10"/>
                    </a:lnTo>
                    <a:lnTo>
                      <a:pt x="43" y="8"/>
                    </a:lnTo>
                    <a:lnTo>
                      <a:pt x="38" y="10"/>
                    </a:lnTo>
                    <a:lnTo>
                      <a:pt x="36" y="6"/>
                    </a:lnTo>
                    <a:lnTo>
                      <a:pt x="34" y="6"/>
                    </a:lnTo>
                    <a:lnTo>
                      <a:pt x="31" y="5"/>
                    </a:lnTo>
                    <a:lnTo>
                      <a:pt x="29" y="7"/>
                    </a:lnTo>
                    <a:lnTo>
                      <a:pt x="27" y="10"/>
                    </a:lnTo>
                    <a:lnTo>
                      <a:pt x="25" y="12"/>
                    </a:lnTo>
                    <a:lnTo>
                      <a:pt x="19" y="13"/>
                    </a:lnTo>
                    <a:lnTo>
                      <a:pt x="17" y="14"/>
                    </a:lnTo>
                    <a:lnTo>
                      <a:pt x="17" y="16"/>
                    </a:lnTo>
                    <a:lnTo>
                      <a:pt x="15" y="19"/>
                    </a:lnTo>
                    <a:lnTo>
                      <a:pt x="14" y="21"/>
                    </a:lnTo>
                    <a:lnTo>
                      <a:pt x="15" y="23"/>
                    </a:lnTo>
                    <a:lnTo>
                      <a:pt x="12" y="23"/>
                    </a:lnTo>
                    <a:lnTo>
                      <a:pt x="14" y="28"/>
                    </a:lnTo>
                    <a:lnTo>
                      <a:pt x="14" y="30"/>
                    </a:lnTo>
                    <a:lnTo>
                      <a:pt x="15" y="33"/>
                    </a:lnTo>
                    <a:lnTo>
                      <a:pt x="15" y="36"/>
                    </a:lnTo>
                    <a:lnTo>
                      <a:pt x="14" y="32"/>
                    </a:lnTo>
                    <a:lnTo>
                      <a:pt x="8" y="40"/>
                    </a:lnTo>
                    <a:lnTo>
                      <a:pt x="7" y="44"/>
                    </a:lnTo>
                    <a:lnTo>
                      <a:pt x="8" y="48"/>
                    </a:lnTo>
                    <a:lnTo>
                      <a:pt x="6" y="51"/>
                    </a:lnTo>
                    <a:lnTo>
                      <a:pt x="5" y="54"/>
                    </a:lnTo>
                    <a:lnTo>
                      <a:pt x="5" y="57"/>
                    </a:lnTo>
                    <a:lnTo>
                      <a:pt x="2" y="59"/>
                    </a:lnTo>
                    <a:lnTo>
                      <a:pt x="0" y="62"/>
                    </a:lnTo>
                    <a:lnTo>
                      <a:pt x="1" y="64"/>
                    </a:lnTo>
                    <a:lnTo>
                      <a:pt x="0" y="66"/>
                    </a:lnTo>
                    <a:lnTo>
                      <a:pt x="1" y="72"/>
                    </a:lnTo>
                    <a:lnTo>
                      <a:pt x="5" y="72"/>
                    </a:lnTo>
                    <a:lnTo>
                      <a:pt x="7" y="71"/>
                    </a:lnTo>
                    <a:lnTo>
                      <a:pt x="10" y="72"/>
                    </a:lnTo>
                    <a:lnTo>
                      <a:pt x="9" y="74"/>
                    </a:lnTo>
                    <a:lnTo>
                      <a:pt x="12" y="79"/>
                    </a:lnTo>
                    <a:lnTo>
                      <a:pt x="12" y="84"/>
                    </a:lnTo>
                    <a:lnTo>
                      <a:pt x="10" y="90"/>
                    </a:lnTo>
                    <a:lnTo>
                      <a:pt x="9" y="92"/>
                    </a:lnTo>
                    <a:lnTo>
                      <a:pt x="8" y="94"/>
                    </a:lnTo>
                    <a:lnTo>
                      <a:pt x="8" y="96"/>
                    </a:lnTo>
                    <a:lnTo>
                      <a:pt x="9" y="99"/>
                    </a:lnTo>
                    <a:lnTo>
                      <a:pt x="12" y="100"/>
                    </a:lnTo>
                    <a:lnTo>
                      <a:pt x="14" y="101"/>
                    </a:lnTo>
                    <a:lnTo>
                      <a:pt x="17" y="100"/>
                    </a:lnTo>
                    <a:lnTo>
                      <a:pt x="23" y="99"/>
                    </a:lnTo>
                    <a:lnTo>
                      <a:pt x="22" y="97"/>
                    </a:lnTo>
                    <a:lnTo>
                      <a:pt x="21" y="93"/>
                    </a:lnTo>
                    <a:lnTo>
                      <a:pt x="22" y="91"/>
                    </a:lnTo>
                    <a:lnTo>
                      <a:pt x="23" y="89"/>
                    </a:lnTo>
                    <a:lnTo>
                      <a:pt x="22" y="77"/>
                    </a:lnTo>
                    <a:lnTo>
                      <a:pt x="23" y="74"/>
                    </a:lnTo>
                    <a:lnTo>
                      <a:pt x="23" y="70"/>
                    </a:lnTo>
                    <a:lnTo>
                      <a:pt x="21" y="66"/>
                    </a:lnTo>
                    <a:lnTo>
                      <a:pt x="21" y="64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6" name="Freeform 152">
                <a:extLst>
                  <a:ext uri="{FF2B5EF4-FFF2-40B4-BE49-F238E27FC236}">
                    <a16:creationId xmlns:a16="http://schemas.microsoft.com/office/drawing/2014/main" id="{D3B96E12-B18E-40BC-9E66-E2C045C901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3" y="2934"/>
                <a:ext cx="27" cy="13"/>
              </a:xfrm>
              <a:custGeom>
                <a:avLst/>
                <a:gdLst>
                  <a:gd name="T0" fmla="*/ 27 w 27"/>
                  <a:gd name="T1" fmla="*/ 9 h 13"/>
                  <a:gd name="T2" fmla="*/ 23 w 27"/>
                  <a:gd name="T3" fmla="*/ 7 h 13"/>
                  <a:gd name="T4" fmla="*/ 21 w 27"/>
                  <a:gd name="T5" fmla="*/ 4 h 13"/>
                  <a:gd name="T6" fmla="*/ 19 w 27"/>
                  <a:gd name="T7" fmla="*/ 5 h 13"/>
                  <a:gd name="T8" fmla="*/ 15 w 27"/>
                  <a:gd name="T9" fmla="*/ 0 h 13"/>
                  <a:gd name="T10" fmla="*/ 12 w 27"/>
                  <a:gd name="T11" fmla="*/ 0 h 13"/>
                  <a:gd name="T12" fmla="*/ 10 w 27"/>
                  <a:gd name="T13" fmla="*/ 0 h 13"/>
                  <a:gd name="T14" fmla="*/ 4 w 27"/>
                  <a:gd name="T15" fmla="*/ 0 h 13"/>
                  <a:gd name="T16" fmla="*/ 2 w 27"/>
                  <a:gd name="T17" fmla="*/ 1 h 13"/>
                  <a:gd name="T18" fmla="*/ 0 w 27"/>
                  <a:gd name="T19" fmla="*/ 3 h 13"/>
                  <a:gd name="T20" fmla="*/ 2 w 27"/>
                  <a:gd name="T21" fmla="*/ 5 h 13"/>
                  <a:gd name="T22" fmla="*/ 3 w 27"/>
                  <a:gd name="T23" fmla="*/ 5 h 13"/>
                  <a:gd name="T24" fmla="*/ 8 w 27"/>
                  <a:gd name="T25" fmla="*/ 6 h 13"/>
                  <a:gd name="T26" fmla="*/ 15 w 27"/>
                  <a:gd name="T27" fmla="*/ 9 h 13"/>
                  <a:gd name="T28" fmla="*/ 17 w 27"/>
                  <a:gd name="T29" fmla="*/ 12 h 13"/>
                  <a:gd name="T30" fmla="*/ 20 w 27"/>
                  <a:gd name="T31" fmla="*/ 13 h 13"/>
                  <a:gd name="T32" fmla="*/ 25 w 27"/>
                  <a:gd name="T33" fmla="*/ 12 h 13"/>
                  <a:gd name="T34" fmla="*/ 27 w 27"/>
                  <a:gd name="T35" fmla="*/ 9 h 13"/>
                  <a:gd name="T36" fmla="*/ 27 w 27"/>
                  <a:gd name="T37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" h="13">
                    <a:moveTo>
                      <a:pt x="27" y="9"/>
                    </a:moveTo>
                    <a:lnTo>
                      <a:pt x="23" y="7"/>
                    </a:lnTo>
                    <a:lnTo>
                      <a:pt x="21" y="4"/>
                    </a:lnTo>
                    <a:lnTo>
                      <a:pt x="19" y="5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3" y="5"/>
                    </a:lnTo>
                    <a:lnTo>
                      <a:pt x="8" y="6"/>
                    </a:lnTo>
                    <a:lnTo>
                      <a:pt x="15" y="9"/>
                    </a:lnTo>
                    <a:lnTo>
                      <a:pt x="17" y="12"/>
                    </a:lnTo>
                    <a:lnTo>
                      <a:pt x="20" y="13"/>
                    </a:lnTo>
                    <a:lnTo>
                      <a:pt x="25" y="12"/>
                    </a:lnTo>
                    <a:lnTo>
                      <a:pt x="27" y="9"/>
                    </a:lnTo>
                    <a:lnTo>
                      <a:pt x="27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7" name="Freeform 153">
                <a:extLst>
                  <a:ext uri="{FF2B5EF4-FFF2-40B4-BE49-F238E27FC236}">
                    <a16:creationId xmlns:a16="http://schemas.microsoft.com/office/drawing/2014/main" id="{E0C7B16F-A1B7-4C2A-97E3-F26F935F56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5" y="2548"/>
                <a:ext cx="60" cy="84"/>
              </a:xfrm>
              <a:custGeom>
                <a:avLst/>
                <a:gdLst>
                  <a:gd name="T0" fmla="*/ 9 w 60"/>
                  <a:gd name="T1" fmla="*/ 22 h 84"/>
                  <a:gd name="T2" fmla="*/ 8 w 60"/>
                  <a:gd name="T3" fmla="*/ 31 h 84"/>
                  <a:gd name="T4" fmla="*/ 8 w 60"/>
                  <a:gd name="T5" fmla="*/ 35 h 84"/>
                  <a:gd name="T6" fmla="*/ 2 w 60"/>
                  <a:gd name="T7" fmla="*/ 33 h 84"/>
                  <a:gd name="T8" fmla="*/ 0 w 60"/>
                  <a:gd name="T9" fmla="*/ 35 h 84"/>
                  <a:gd name="T10" fmla="*/ 1 w 60"/>
                  <a:gd name="T11" fmla="*/ 40 h 84"/>
                  <a:gd name="T12" fmla="*/ 2 w 60"/>
                  <a:gd name="T13" fmla="*/ 41 h 84"/>
                  <a:gd name="T14" fmla="*/ 3 w 60"/>
                  <a:gd name="T15" fmla="*/ 48 h 84"/>
                  <a:gd name="T16" fmla="*/ 7 w 60"/>
                  <a:gd name="T17" fmla="*/ 53 h 84"/>
                  <a:gd name="T18" fmla="*/ 8 w 60"/>
                  <a:gd name="T19" fmla="*/ 58 h 84"/>
                  <a:gd name="T20" fmla="*/ 11 w 60"/>
                  <a:gd name="T21" fmla="*/ 56 h 84"/>
                  <a:gd name="T22" fmla="*/ 12 w 60"/>
                  <a:gd name="T23" fmla="*/ 54 h 84"/>
                  <a:gd name="T24" fmla="*/ 16 w 60"/>
                  <a:gd name="T25" fmla="*/ 56 h 84"/>
                  <a:gd name="T26" fmla="*/ 16 w 60"/>
                  <a:gd name="T27" fmla="*/ 58 h 84"/>
                  <a:gd name="T28" fmla="*/ 11 w 60"/>
                  <a:gd name="T29" fmla="*/ 63 h 84"/>
                  <a:gd name="T30" fmla="*/ 16 w 60"/>
                  <a:gd name="T31" fmla="*/ 66 h 84"/>
                  <a:gd name="T32" fmla="*/ 18 w 60"/>
                  <a:gd name="T33" fmla="*/ 70 h 84"/>
                  <a:gd name="T34" fmla="*/ 22 w 60"/>
                  <a:gd name="T35" fmla="*/ 67 h 84"/>
                  <a:gd name="T36" fmla="*/ 26 w 60"/>
                  <a:gd name="T37" fmla="*/ 66 h 84"/>
                  <a:gd name="T38" fmla="*/ 31 w 60"/>
                  <a:gd name="T39" fmla="*/ 68 h 84"/>
                  <a:gd name="T40" fmla="*/ 37 w 60"/>
                  <a:gd name="T41" fmla="*/ 73 h 84"/>
                  <a:gd name="T42" fmla="*/ 39 w 60"/>
                  <a:gd name="T43" fmla="*/ 76 h 84"/>
                  <a:gd name="T44" fmla="*/ 37 w 60"/>
                  <a:gd name="T45" fmla="*/ 70 h 84"/>
                  <a:gd name="T46" fmla="*/ 36 w 60"/>
                  <a:gd name="T47" fmla="*/ 66 h 84"/>
                  <a:gd name="T48" fmla="*/ 41 w 60"/>
                  <a:gd name="T49" fmla="*/ 68 h 84"/>
                  <a:gd name="T50" fmla="*/ 46 w 60"/>
                  <a:gd name="T51" fmla="*/ 73 h 84"/>
                  <a:gd name="T52" fmla="*/ 48 w 60"/>
                  <a:gd name="T53" fmla="*/ 78 h 84"/>
                  <a:gd name="T54" fmla="*/ 58 w 60"/>
                  <a:gd name="T55" fmla="*/ 80 h 84"/>
                  <a:gd name="T56" fmla="*/ 56 w 60"/>
                  <a:gd name="T57" fmla="*/ 84 h 84"/>
                  <a:gd name="T58" fmla="*/ 60 w 60"/>
                  <a:gd name="T59" fmla="*/ 78 h 84"/>
                  <a:gd name="T60" fmla="*/ 54 w 60"/>
                  <a:gd name="T61" fmla="*/ 74 h 84"/>
                  <a:gd name="T62" fmla="*/ 52 w 60"/>
                  <a:gd name="T63" fmla="*/ 71 h 84"/>
                  <a:gd name="T64" fmla="*/ 56 w 60"/>
                  <a:gd name="T65" fmla="*/ 68 h 84"/>
                  <a:gd name="T66" fmla="*/ 51 w 60"/>
                  <a:gd name="T67" fmla="*/ 66 h 84"/>
                  <a:gd name="T68" fmla="*/ 48 w 60"/>
                  <a:gd name="T69" fmla="*/ 67 h 84"/>
                  <a:gd name="T70" fmla="*/ 46 w 60"/>
                  <a:gd name="T71" fmla="*/ 69 h 84"/>
                  <a:gd name="T72" fmla="*/ 45 w 60"/>
                  <a:gd name="T73" fmla="*/ 65 h 84"/>
                  <a:gd name="T74" fmla="*/ 42 w 60"/>
                  <a:gd name="T75" fmla="*/ 61 h 84"/>
                  <a:gd name="T76" fmla="*/ 35 w 60"/>
                  <a:gd name="T77" fmla="*/ 63 h 84"/>
                  <a:gd name="T78" fmla="*/ 35 w 60"/>
                  <a:gd name="T79" fmla="*/ 65 h 84"/>
                  <a:gd name="T80" fmla="*/ 29 w 60"/>
                  <a:gd name="T81" fmla="*/ 65 h 84"/>
                  <a:gd name="T82" fmla="*/ 26 w 60"/>
                  <a:gd name="T83" fmla="*/ 60 h 84"/>
                  <a:gd name="T84" fmla="*/ 25 w 60"/>
                  <a:gd name="T85" fmla="*/ 57 h 84"/>
                  <a:gd name="T86" fmla="*/ 25 w 60"/>
                  <a:gd name="T87" fmla="*/ 53 h 84"/>
                  <a:gd name="T88" fmla="*/ 22 w 60"/>
                  <a:gd name="T89" fmla="*/ 48 h 84"/>
                  <a:gd name="T90" fmla="*/ 25 w 60"/>
                  <a:gd name="T91" fmla="*/ 42 h 84"/>
                  <a:gd name="T92" fmla="*/ 26 w 60"/>
                  <a:gd name="T93" fmla="*/ 36 h 84"/>
                  <a:gd name="T94" fmla="*/ 31 w 60"/>
                  <a:gd name="T95" fmla="*/ 35 h 84"/>
                  <a:gd name="T96" fmla="*/ 34 w 60"/>
                  <a:gd name="T97" fmla="*/ 33 h 84"/>
                  <a:gd name="T98" fmla="*/ 34 w 60"/>
                  <a:gd name="T99" fmla="*/ 30 h 84"/>
                  <a:gd name="T100" fmla="*/ 36 w 60"/>
                  <a:gd name="T101" fmla="*/ 25 h 84"/>
                  <a:gd name="T102" fmla="*/ 37 w 60"/>
                  <a:gd name="T103" fmla="*/ 20 h 84"/>
                  <a:gd name="T104" fmla="*/ 34 w 60"/>
                  <a:gd name="T105" fmla="*/ 17 h 84"/>
                  <a:gd name="T106" fmla="*/ 33 w 60"/>
                  <a:gd name="T107" fmla="*/ 7 h 84"/>
                  <a:gd name="T108" fmla="*/ 35 w 60"/>
                  <a:gd name="T109" fmla="*/ 3 h 84"/>
                  <a:gd name="T110" fmla="*/ 31 w 60"/>
                  <a:gd name="T111" fmla="*/ 3 h 84"/>
                  <a:gd name="T112" fmla="*/ 26 w 60"/>
                  <a:gd name="T113" fmla="*/ 5 h 84"/>
                  <a:gd name="T114" fmla="*/ 26 w 60"/>
                  <a:gd name="T115" fmla="*/ 6 h 84"/>
                  <a:gd name="T116" fmla="*/ 19 w 60"/>
                  <a:gd name="T117" fmla="*/ 0 h 84"/>
                  <a:gd name="T118" fmla="*/ 11 w 60"/>
                  <a:gd name="T119" fmla="*/ 5 h 84"/>
                  <a:gd name="T120" fmla="*/ 9 w 60"/>
                  <a:gd name="T121" fmla="*/ 16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0" h="84">
                    <a:moveTo>
                      <a:pt x="9" y="16"/>
                    </a:moveTo>
                    <a:lnTo>
                      <a:pt x="9" y="22"/>
                    </a:lnTo>
                    <a:lnTo>
                      <a:pt x="8" y="30"/>
                    </a:lnTo>
                    <a:lnTo>
                      <a:pt x="8" y="31"/>
                    </a:lnTo>
                    <a:lnTo>
                      <a:pt x="9" y="34"/>
                    </a:lnTo>
                    <a:lnTo>
                      <a:pt x="8" y="35"/>
                    </a:lnTo>
                    <a:lnTo>
                      <a:pt x="5" y="36"/>
                    </a:lnTo>
                    <a:lnTo>
                      <a:pt x="2" y="33"/>
                    </a:lnTo>
                    <a:lnTo>
                      <a:pt x="0" y="32"/>
                    </a:lnTo>
                    <a:lnTo>
                      <a:pt x="0" y="35"/>
                    </a:lnTo>
                    <a:lnTo>
                      <a:pt x="0" y="37"/>
                    </a:lnTo>
                    <a:lnTo>
                      <a:pt x="1" y="40"/>
                    </a:lnTo>
                    <a:lnTo>
                      <a:pt x="1" y="41"/>
                    </a:lnTo>
                    <a:lnTo>
                      <a:pt x="2" y="41"/>
                    </a:lnTo>
                    <a:lnTo>
                      <a:pt x="2" y="44"/>
                    </a:lnTo>
                    <a:lnTo>
                      <a:pt x="3" y="48"/>
                    </a:lnTo>
                    <a:lnTo>
                      <a:pt x="4" y="53"/>
                    </a:lnTo>
                    <a:lnTo>
                      <a:pt x="7" y="53"/>
                    </a:lnTo>
                    <a:lnTo>
                      <a:pt x="7" y="56"/>
                    </a:lnTo>
                    <a:lnTo>
                      <a:pt x="8" y="58"/>
                    </a:lnTo>
                    <a:lnTo>
                      <a:pt x="11" y="59"/>
                    </a:lnTo>
                    <a:lnTo>
                      <a:pt x="11" y="56"/>
                    </a:lnTo>
                    <a:lnTo>
                      <a:pt x="10" y="53"/>
                    </a:lnTo>
                    <a:lnTo>
                      <a:pt x="12" y="54"/>
                    </a:lnTo>
                    <a:lnTo>
                      <a:pt x="13" y="54"/>
                    </a:lnTo>
                    <a:lnTo>
                      <a:pt x="16" y="56"/>
                    </a:lnTo>
                    <a:lnTo>
                      <a:pt x="17" y="58"/>
                    </a:lnTo>
                    <a:lnTo>
                      <a:pt x="16" y="58"/>
                    </a:lnTo>
                    <a:lnTo>
                      <a:pt x="11" y="61"/>
                    </a:lnTo>
                    <a:lnTo>
                      <a:pt x="11" y="63"/>
                    </a:lnTo>
                    <a:lnTo>
                      <a:pt x="12" y="66"/>
                    </a:lnTo>
                    <a:lnTo>
                      <a:pt x="16" y="66"/>
                    </a:lnTo>
                    <a:lnTo>
                      <a:pt x="16" y="69"/>
                    </a:lnTo>
                    <a:lnTo>
                      <a:pt x="18" y="70"/>
                    </a:lnTo>
                    <a:lnTo>
                      <a:pt x="21" y="70"/>
                    </a:lnTo>
                    <a:lnTo>
                      <a:pt x="22" y="67"/>
                    </a:lnTo>
                    <a:lnTo>
                      <a:pt x="25" y="67"/>
                    </a:lnTo>
                    <a:lnTo>
                      <a:pt x="26" y="66"/>
                    </a:lnTo>
                    <a:lnTo>
                      <a:pt x="28" y="66"/>
                    </a:lnTo>
                    <a:lnTo>
                      <a:pt x="31" y="68"/>
                    </a:lnTo>
                    <a:lnTo>
                      <a:pt x="35" y="70"/>
                    </a:lnTo>
                    <a:lnTo>
                      <a:pt x="37" y="73"/>
                    </a:lnTo>
                    <a:lnTo>
                      <a:pt x="37" y="76"/>
                    </a:lnTo>
                    <a:lnTo>
                      <a:pt x="39" y="76"/>
                    </a:lnTo>
                    <a:lnTo>
                      <a:pt x="39" y="74"/>
                    </a:lnTo>
                    <a:lnTo>
                      <a:pt x="37" y="70"/>
                    </a:lnTo>
                    <a:lnTo>
                      <a:pt x="37" y="68"/>
                    </a:lnTo>
                    <a:lnTo>
                      <a:pt x="36" y="66"/>
                    </a:lnTo>
                    <a:lnTo>
                      <a:pt x="38" y="66"/>
                    </a:lnTo>
                    <a:lnTo>
                      <a:pt x="41" y="68"/>
                    </a:lnTo>
                    <a:lnTo>
                      <a:pt x="42" y="70"/>
                    </a:lnTo>
                    <a:lnTo>
                      <a:pt x="46" y="73"/>
                    </a:lnTo>
                    <a:lnTo>
                      <a:pt x="48" y="75"/>
                    </a:lnTo>
                    <a:lnTo>
                      <a:pt x="48" y="78"/>
                    </a:lnTo>
                    <a:lnTo>
                      <a:pt x="55" y="80"/>
                    </a:lnTo>
                    <a:lnTo>
                      <a:pt x="58" y="80"/>
                    </a:lnTo>
                    <a:lnTo>
                      <a:pt x="55" y="82"/>
                    </a:lnTo>
                    <a:lnTo>
                      <a:pt x="56" y="84"/>
                    </a:lnTo>
                    <a:lnTo>
                      <a:pt x="60" y="83"/>
                    </a:lnTo>
                    <a:lnTo>
                      <a:pt x="60" y="78"/>
                    </a:lnTo>
                    <a:lnTo>
                      <a:pt x="54" y="77"/>
                    </a:lnTo>
                    <a:lnTo>
                      <a:pt x="54" y="74"/>
                    </a:lnTo>
                    <a:lnTo>
                      <a:pt x="52" y="71"/>
                    </a:lnTo>
                    <a:lnTo>
                      <a:pt x="52" y="71"/>
                    </a:lnTo>
                    <a:lnTo>
                      <a:pt x="53" y="69"/>
                    </a:lnTo>
                    <a:lnTo>
                      <a:pt x="56" y="68"/>
                    </a:lnTo>
                    <a:lnTo>
                      <a:pt x="55" y="67"/>
                    </a:lnTo>
                    <a:lnTo>
                      <a:pt x="51" y="66"/>
                    </a:lnTo>
                    <a:lnTo>
                      <a:pt x="48" y="63"/>
                    </a:lnTo>
                    <a:lnTo>
                      <a:pt x="48" y="67"/>
                    </a:lnTo>
                    <a:lnTo>
                      <a:pt x="47" y="69"/>
                    </a:lnTo>
                    <a:lnTo>
                      <a:pt x="46" y="69"/>
                    </a:lnTo>
                    <a:lnTo>
                      <a:pt x="45" y="67"/>
                    </a:lnTo>
                    <a:lnTo>
                      <a:pt x="45" y="65"/>
                    </a:lnTo>
                    <a:lnTo>
                      <a:pt x="44" y="63"/>
                    </a:lnTo>
                    <a:lnTo>
                      <a:pt x="42" y="61"/>
                    </a:lnTo>
                    <a:lnTo>
                      <a:pt x="36" y="60"/>
                    </a:lnTo>
                    <a:lnTo>
                      <a:pt x="35" y="63"/>
                    </a:lnTo>
                    <a:lnTo>
                      <a:pt x="33" y="62"/>
                    </a:lnTo>
                    <a:lnTo>
                      <a:pt x="35" y="65"/>
                    </a:lnTo>
                    <a:lnTo>
                      <a:pt x="33" y="66"/>
                    </a:lnTo>
                    <a:lnTo>
                      <a:pt x="29" y="65"/>
                    </a:lnTo>
                    <a:lnTo>
                      <a:pt x="27" y="62"/>
                    </a:lnTo>
                    <a:lnTo>
                      <a:pt x="26" y="60"/>
                    </a:lnTo>
                    <a:lnTo>
                      <a:pt x="26" y="59"/>
                    </a:lnTo>
                    <a:lnTo>
                      <a:pt x="25" y="57"/>
                    </a:lnTo>
                    <a:lnTo>
                      <a:pt x="26" y="54"/>
                    </a:lnTo>
                    <a:lnTo>
                      <a:pt x="25" y="53"/>
                    </a:lnTo>
                    <a:lnTo>
                      <a:pt x="25" y="51"/>
                    </a:lnTo>
                    <a:lnTo>
                      <a:pt x="22" y="48"/>
                    </a:lnTo>
                    <a:lnTo>
                      <a:pt x="24" y="45"/>
                    </a:lnTo>
                    <a:lnTo>
                      <a:pt x="25" y="42"/>
                    </a:lnTo>
                    <a:lnTo>
                      <a:pt x="25" y="40"/>
                    </a:lnTo>
                    <a:lnTo>
                      <a:pt x="26" y="36"/>
                    </a:lnTo>
                    <a:lnTo>
                      <a:pt x="28" y="35"/>
                    </a:lnTo>
                    <a:lnTo>
                      <a:pt x="31" y="35"/>
                    </a:lnTo>
                    <a:lnTo>
                      <a:pt x="31" y="35"/>
                    </a:lnTo>
                    <a:lnTo>
                      <a:pt x="34" y="33"/>
                    </a:lnTo>
                    <a:lnTo>
                      <a:pt x="33" y="32"/>
                    </a:lnTo>
                    <a:lnTo>
                      <a:pt x="34" y="30"/>
                    </a:lnTo>
                    <a:lnTo>
                      <a:pt x="35" y="28"/>
                    </a:lnTo>
                    <a:lnTo>
                      <a:pt x="36" y="25"/>
                    </a:lnTo>
                    <a:lnTo>
                      <a:pt x="37" y="22"/>
                    </a:lnTo>
                    <a:lnTo>
                      <a:pt x="37" y="20"/>
                    </a:lnTo>
                    <a:lnTo>
                      <a:pt x="37" y="20"/>
                    </a:lnTo>
                    <a:lnTo>
                      <a:pt x="34" y="17"/>
                    </a:lnTo>
                    <a:lnTo>
                      <a:pt x="33" y="13"/>
                    </a:lnTo>
                    <a:lnTo>
                      <a:pt x="33" y="7"/>
                    </a:lnTo>
                    <a:lnTo>
                      <a:pt x="35" y="5"/>
                    </a:lnTo>
                    <a:lnTo>
                      <a:pt x="35" y="3"/>
                    </a:lnTo>
                    <a:lnTo>
                      <a:pt x="33" y="2"/>
                    </a:lnTo>
                    <a:lnTo>
                      <a:pt x="31" y="3"/>
                    </a:lnTo>
                    <a:lnTo>
                      <a:pt x="28" y="5"/>
                    </a:lnTo>
                    <a:lnTo>
                      <a:pt x="26" y="5"/>
                    </a:lnTo>
                    <a:lnTo>
                      <a:pt x="26" y="7"/>
                    </a:lnTo>
                    <a:lnTo>
                      <a:pt x="26" y="6"/>
                    </a:lnTo>
                    <a:lnTo>
                      <a:pt x="25" y="3"/>
                    </a:lnTo>
                    <a:lnTo>
                      <a:pt x="19" y="0"/>
                    </a:lnTo>
                    <a:lnTo>
                      <a:pt x="11" y="1"/>
                    </a:lnTo>
                    <a:lnTo>
                      <a:pt x="11" y="5"/>
                    </a:lnTo>
                    <a:lnTo>
                      <a:pt x="9" y="10"/>
                    </a:lnTo>
                    <a:lnTo>
                      <a:pt x="9" y="16"/>
                    </a:lnTo>
                    <a:lnTo>
                      <a:pt x="9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8" name="Freeform 154">
                <a:extLst>
                  <a:ext uri="{FF2B5EF4-FFF2-40B4-BE49-F238E27FC236}">
                    <a16:creationId xmlns:a16="http://schemas.microsoft.com/office/drawing/2014/main" id="{BF488BBB-E79E-4F7D-AE63-2B29FA11B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5" y="2917"/>
                <a:ext cx="44" cy="12"/>
              </a:xfrm>
              <a:custGeom>
                <a:avLst/>
                <a:gdLst>
                  <a:gd name="T0" fmla="*/ 3 w 44"/>
                  <a:gd name="T1" fmla="*/ 9 h 12"/>
                  <a:gd name="T2" fmla="*/ 4 w 44"/>
                  <a:gd name="T3" fmla="*/ 9 h 12"/>
                  <a:gd name="T4" fmla="*/ 8 w 44"/>
                  <a:gd name="T5" fmla="*/ 9 h 12"/>
                  <a:gd name="T6" fmla="*/ 10 w 44"/>
                  <a:gd name="T7" fmla="*/ 9 h 12"/>
                  <a:gd name="T8" fmla="*/ 16 w 44"/>
                  <a:gd name="T9" fmla="*/ 12 h 12"/>
                  <a:gd name="T10" fmla="*/ 21 w 44"/>
                  <a:gd name="T11" fmla="*/ 12 h 12"/>
                  <a:gd name="T12" fmla="*/ 24 w 44"/>
                  <a:gd name="T13" fmla="*/ 9 h 12"/>
                  <a:gd name="T14" fmla="*/ 26 w 44"/>
                  <a:gd name="T15" fmla="*/ 10 h 12"/>
                  <a:gd name="T16" fmla="*/ 29 w 44"/>
                  <a:gd name="T17" fmla="*/ 9 h 12"/>
                  <a:gd name="T18" fmla="*/ 31 w 44"/>
                  <a:gd name="T19" fmla="*/ 8 h 12"/>
                  <a:gd name="T20" fmla="*/ 37 w 44"/>
                  <a:gd name="T21" fmla="*/ 8 h 12"/>
                  <a:gd name="T22" fmla="*/ 41 w 44"/>
                  <a:gd name="T23" fmla="*/ 7 h 12"/>
                  <a:gd name="T24" fmla="*/ 42 w 44"/>
                  <a:gd name="T25" fmla="*/ 5 h 12"/>
                  <a:gd name="T26" fmla="*/ 44 w 44"/>
                  <a:gd name="T27" fmla="*/ 3 h 12"/>
                  <a:gd name="T28" fmla="*/ 44 w 44"/>
                  <a:gd name="T29" fmla="*/ 0 h 12"/>
                  <a:gd name="T30" fmla="*/ 41 w 44"/>
                  <a:gd name="T31" fmla="*/ 0 h 12"/>
                  <a:gd name="T32" fmla="*/ 41 w 44"/>
                  <a:gd name="T33" fmla="*/ 4 h 12"/>
                  <a:gd name="T34" fmla="*/ 38 w 44"/>
                  <a:gd name="T35" fmla="*/ 4 h 12"/>
                  <a:gd name="T36" fmla="*/ 37 w 44"/>
                  <a:gd name="T37" fmla="*/ 7 h 12"/>
                  <a:gd name="T38" fmla="*/ 34 w 44"/>
                  <a:gd name="T39" fmla="*/ 7 h 12"/>
                  <a:gd name="T40" fmla="*/ 30 w 44"/>
                  <a:gd name="T41" fmla="*/ 5 h 12"/>
                  <a:gd name="T42" fmla="*/ 27 w 44"/>
                  <a:gd name="T43" fmla="*/ 5 h 12"/>
                  <a:gd name="T44" fmla="*/ 25 w 44"/>
                  <a:gd name="T45" fmla="*/ 6 h 12"/>
                  <a:gd name="T46" fmla="*/ 21 w 44"/>
                  <a:gd name="T47" fmla="*/ 6 h 12"/>
                  <a:gd name="T48" fmla="*/ 17 w 44"/>
                  <a:gd name="T49" fmla="*/ 4 h 12"/>
                  <a:gd name="T50" fmla="*/ 8 w 44"/>
                  <a:gd name="T51" fmla="*/ 3 h 12"/>
                  <a:gd name="T52" fmla="*/ 5 w 44"/>
                  <a:gd name="T53" fmla="*/ 3 h 12"/>
                  <a:gd name="T54" fmla="*/ 0 w 44"/>
                  <a:gd name="T55" fmla="*/ 6 h 12"/>
                  <a:gd name="T56" fmla="*/ 0 w 44"/>
                  <a:gd name="T57" fmla="*/ 9 h 12"/>
                  <a:gd name="T58" fmla="*/ 3 w 44"/>
                  <a:gd name="T59" fmla="*/ 9 h 12"/>
                  <a:gd name="T60" fmla="*/ 3 w 44"/>
                  <a:gd name="T61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4" h="12">
                    <a:moveTo>
                      <a:pt x="3" y="9"/>
                    </a:moveTo>
                    <a:lnTo>
                      <a:pt x="4" y="9"/>
                    </a:lnTo>
                    <a:lnTo>
                      <a:pt x="8" y="9"/>
                    </a:lnTo>
                    <a:lnTo>
                      <a:pt x="10" y="9"/>
                    </a:lnTo>
                    <a:lnTo>
                      <a:pt x="16" y="12"/>
                    </a:lnTo>
                    <a:lnTo>
                      <a:pt x="21" y="12"/>
                    </a:lnTo>
                    <a:lnTo>
                      <a:pt x="24" y="9"/>
                    </a:lnTo>
                    <a:lnTo>
                      <a:pt x="26" y="10"/>
                    </a:lnTo>
                    <a:lnTo>
                      <a:pt x="29" y="9"/>
                    </a:lnTo>
                    <a:lnTo>
                      <a:pt x="31" y="8"/>
                    </a:lnTo>
                    <a:lnTo>
                      <a:pt x="37" y="8"/>
                    </a:lnTo>
                    <a:lnTo>
                      <a:pt x="41" y="7"/>
                    </a:lnTo>
                    <a:lnTo>
                      <a:pt x="42" y="5"/>
                    </a:lnTo>
                    <a:lnTo>
                      <a:pt x="44" y="3"/>
                    </a:lnTo>
                    <a:lnTo>
                      <a:pt x="44" y="0"/>
                    </a:lnTo>
                    <a:lnTo>
                      <a:pt x="41" y="0"/>
                    </a:lnTo>
                    <a:lnTo>
                      <a:pt x="41" y="4"/>
                    </a:lnTo>
                    <a:lnTo>
                      <a:pt x="38" y="4"/>
                    </a:lnTo>
                    <a:lnTo>
                      <a:pt x="37" y="7"/>
                    </a:lnTo>
                    <a:lnTo>
                      <a:pt x="34" y="7"/>
                    </a:lnTo>
                    <a:lnTo>
                      <a:pt x="30" y="5"/>
                    </a:lnTo>
                    <a:lnTo>
                      <a:pt x="27" y="5"/>
                    </a:lnTo>
                    <a:lnTo>
                      <a:pt x="25" y="6"/>
                    </a:lnTo>
                    <a:lnTo>
                      <a:pt x="21" y="6"/>
                    </a:lnTo>
                    <a:lnTo>
                      <a:pt x="17" y="4"/>
                    </a:lnTo>
                    <a:lnTo>
                      <a:pt x="8" y="3"/>
                    </a:lnTo>
                    <a:lnTo>
                      <a:pt x="5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3" y="9"/>
                    </a:lnTo>
                    <a:lnTo>
                      <a:pt x="3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9" name="Freeform 155">
                <a:extLst>
                  <a:ext uri="{FF2B5EF4-FFF2-40B4-BE49-F238E27FC236}">
                    <a16:creationId xmlns:a16="http://schemas.microsoft.com/office/drawing/2014/main" id="{A1F96B53-B461-4A02-9E64-190C76F095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9" y="2452"/>
                <a:ext cx="25" cy="49"/>
              </a:xfrm>
              <a:custGeom>
                <a:avLst/>
                <a:gdLst>
                  <a:gd name="T0" fmla="*/ 23 w 25"/>
                  <a:gd name="T1" fmla="*/ 15 h 49"/>
                  <a:gd name="T2" fmla="*/ 24 w 25"/>
                  <a:gd name="T3" fmla="*/ 12 h 49"/>
                  <a:gd name="T4" fmla="*/ 24 w 25"/>
                  <a:gd name="T5" fmla="*/ 5 h 49"/>
                  <a:gd name="T6" fmla="*/ 25 w 25"/>
                  <a:gd name="T7" fmla="*/ 4 h 49"/>
                  <a:gd name="T8" fmla="*/ 23 w 25"/>
                  <a:gd name="T9" fmla="*/ 2 h 49"/>
                  <a:gd name="T10" fmla="*/ 20 w 25"/>
                  <a:gd name="T11" fmla="*/ 0 h 49"/>
                  <a:gd name="T12" fmla="*/ 16 w 25"/>
                  <a:gd name="T13" fmla="*/ 2 h 49"/>
                  <a:gd name="T14" fmla="*/ 14 w 25"/>
                  <a:gd name="T15" fmla="*/ 3 h 49"/>
                  <a:gd name="T16" fmla="*/ 13 w 25"/>
                  <a:gd name="T17" fmla="*/ 5 h 49"/>
                  <a:gd name="T18" fmla="*/ 11 w 25"/>
                  <a:gd name="T19" fmla="*/ 9 h 49"/>
                  <a:gd name="T20" fmla="*/ 7 w 25"/>
                  <a:gd name="T21" fmla="*/ 12 h 49"/>
                  <a:gd name="T22" fmla="*/ 0 w 25"/>
                  <a:gd name="T23" fmla="*/ 24 h 49"/>
                  <a:gd name="T24" fmla="*/ 0 w 25"/>
                  <a:gd name="T25" fmla="*/ 29 h 49"/>
                  <a:gd name="T26" fmla="*/ 0 w 25"/>
                  <a:gd name="T27" fmla="*/ 32 h 49"/>
                  <a:gd name="T28" fmla="*/ 4 w 25"/>
                  <a:gd name="T29" fmla="*/ 41 h 49"/>
                  <a:gd name="T30" fmla="*/ 7 w 25"/>
                  <a:gd name="T31" fmla="*/ 43 h 49"/>
                  <a:gd name="T32" fmla="*/ 8 w 25"/>
                  <a:gd name="T33" fmla="*/ 49 h 49"/>
                  <a:gd name="T34" fmla="*/ 11 w 25"/>
                  <a:gd name="T35" fmla="*/ 46 h 49"/>
                  <a:gd name="T36" fmla="*/ 12 w 25"/>
                  <a:gd name="T37" fmla="*/ 42 h 49"/>
                  <a:gd name="T38" fmla="*/ 13 w 25"/>
                  <a:gd name="T39" fmla="*/ 38 h 49"/>
                  <a:gd name="T40" fmla="*/ 17 w 25"/>
                  <a:gd name="T41" fmla="*/ 34 h 49"/>
                  <a:gd name="T42" fmla="*/ 18 w 25"/>
                  <a:gd name="T43" fmla="*/ 32 h 49"/>
                  <a:gd name="T44" fmla="*/ 22 w 25"/>
                  <a:gd name="T45" fmla="*/ 17 h 49"/>
                  <a:gd name="T46" fmla="*/ 23 w 25"/>
                  <a:gd name="T47" fmla="*/ 15 h 49"/>
                  <a:gd name="T48" fmla="*/ 23 w 25"/>
                  <a:gd name="T49" fmla="*/ 1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" h="49">
                    <a:moveTo>
                      <a:pt x="23" y="15"/>
                    </a:moveTo>
                    <a:lnTo>
                      <a:pt x="24" y="12"/>
                    </a:lnTo>
                    <a:lnTo>
                      <a:pt x="24" y="5"/>
                    </a:lnTo>
                    <a:lnTo>
                      <a:pt x="25" y="4"/>
                    </a:lnTo>
                    <a:lnTo>
                      <a:pt x="23" y="2"/>
                    </a:lnTo>
                    <a:lnTo>
                      <a:pt x="20" y="0"/>
                    </a:lnTo>
                    <a:lnTo>
                      <a:pt x="16" y="2"/>
                    </a:lnTo>
                    <a:lnTo>
                      <a:pt x="14" y="3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7" y="12"/>
                    </a:lnTo>
                    <a:lnTo>
                      <a:pt x="0" y="24"/>
                    </a:lnTo>
                    <a:lnTo>
                      <a:pt x="0" y="29"/>
                    </a:lnTo>
                    <a:lnTo>
                      <a:pt x="0" y="32"/>
                    </a:lnTo>
                    <a:lnTo>
                      <a:pt x="4" y="41"/>
                    </a:lnTo>
                    <a:lnTo>
                      <a:pt x="7" y="43"/>
                    </a:lnTo>
                    <a:lnTo>
                      <a:pt x="8" y="49"/>
                    </a:lnTo>
                    <a:lnTo>
                      <a:pt x="11" y="46"/>
                    </a:lnTo>
                    <a:lnTo>
                      <a:pt x="12" y="42"/>
                    </a:lnTo>
                    <a:lnTo>
                      <a:pt x="13" y="38"/>
                    </a:lnTo>
                    <a:lnTo>
                      <a:pt x="17" y="34"/>
                    </a:lnTo>
                    <a:lnTo>
                      <a:pt x="18" y="32"/>
                    </a:lnTo>
                    <a:lnTo>
                      <a:pt x="22" y="17"/>
                    </a:lnTo>
                    <a:lnTo>
                      <a:pt x="23" y="15"/>
                    </a:lnTo>
                    <a:lnTo>
                      <a:pt x="23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0" name="Freeform 156">
                <a:extLst>
                  <a:ext uri="{FF2B5EF4-FFF2-40B4-BE49-F238E27FC236}">
                    <a16:creationId xmlns:a16="http://schemas.microsoft.com/office/drawing/2014/main" id="{DA4ABA88-EB9F-4068-BFC1-11A83FA248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3" y="2619"/>
                <a:ext cx="17" cy="19"/>
              </a:xfrm>
              <a:custGeom>
                <a:avLst/>
                <a:gdLst>
                  <a:gd name="T0" fmla="*/ 14 w 17"/>
                  <a:gd name="T1" fmla="*/ 15 h 19"/>
                  <a:gd name="T2" fmla="*/ 17 w 17"/>
                  <a:gd name="T3" fmla="*/ 12 h 19"/>
                  <a:gd name="T4" fmla="*/ 16 w 17"/>
                  <a:gd name="T5" fmla="*/ 11 h 19"/>
                  <a:gd name="T6" fmla="*/ 16 w 17"/>
                  <a:gd name="T7" fmla="*/ 6 h 19"/>
                  <a:gd name="T8" fmla="*/ 13 w 17"/>
                  <a:gd name="T9" fmla="*/ 4 h 19"/>
                  <a:gd name="T10" fmla="*/ 8 w 17"/>
                  <a:gd name="T11" fmla="*/ 0 h 19"/>
                  <a:gd name="T12" fmla="*/ 4 w 17"/>
                  <a:gd name="T13" fmla="*/ 2 h 19"/>
                  <a:gd name="T14" fmla="*/ 2 w 17"/>
                  <a:gd name="T15" fmla="*/ 0 h 19"/>
                  <a:gd name="T16" fmla="*/ 0 w 17"/>
                  <a:gd name="T17" fmla="*/ 2 h 19"/>
                  <a:gd name="T18" fmla="*/ 1 w 17"/>
                  <a:gd name="T19" fmla="*/ 2 h 19"/>
                  <a:gd name="T20" fmla="*/ 3 w 17"/>
                  <a:gd name="T21" fmla="*/ 5 h 19"/>
                  <a:gd name="T22" fmla="*/ 4 w 17"/>
                  <a:gd name="T23" fmla="*/ 6 h 19"/>
                  <a:gd name="T24" fmla="*/ 5 w 17"/>
                  <a:gd name="T25" fmla="*/ 8 h 19"/>
                  <a:gd name="T26" fmla="*/ 5 w 17"/>
                  <a:gd name="T27" fmla="*/ 12 h 19"/>
                  <a:gd name="T28" fmla="*/ 7 w 17"/>
                  <a:gd name="T29" fmla="*/ 12 h 19"/>
                  <a:gd name="T30" fmla="*/ 8 w 17"/>
                  <a:gd name="T31" fmla="*/ 15 h 19"/>
                  <a:gd name="T32" fmla="*/ 10 w 17"/>
                  <a:gd name="T33" fmla="*/ 17 h 19"/>
                  <a:gd name="T34" fmla="*/ 12 w 17"/>
                  <a:gd name="T35" fmla="*/ 19 h 19"/>
                  <a:gd name="T36" fmla="*/ 13 w 17"/>
                  <a:gd name="T37" fmla="*/ 17 h 19"/>
                  <a:gd name="T38" fmla="*/ 14 w 17"/>
                  <a:gd name="T39" fmla="*/ 17 h 19"/>
                  <a:gd name="T40" fmla="*/ 14 w 17"/>
                  <a:gd name="T41" fmla="*/ 15 h 19"/>
                  <a:gd name="T42" fmla="*/ 14 w 17"/>
                  <a:gd name="T43" fmla="*/ 1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9">
                    <a:moveTo>
                      <a:pt x="14" y="15"/>
                    </a:moveTo>
                    <a:lnTo>
                      <a:pt x="17" y="12"/>
                    </a:lnTo>
                    <a:lnTo>
                      <a:pt x="16" y="11"/>
                    </a:lnTo>
                    <a:lnTo>
                      <a:pt x="16" y="6"/>
                    </a:lnTo>
                    <a:lnTo>
                      <a:pt x="13" y="4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3" y="5"/>
                    </a:lnTo>
                    <a:lnTo>
                      <a:pt x="4" y="6"/>
                    </a:lnTo>
                    <a:lnTo>
                      <a:pt x="5" y="8"/>
                    </a:lnTo>
                    <a:lnTo>
                      <a:pt x="5" y="12"/>
                    </a:lnTo>
                    <a:lnTo>
                      <a:pt x="7" y="12"/>
                    </a:lnTo>
                    <a:lnTo>
                      <a:pt x="8" y="15"/>
                    </a:lnTo>
                    <a:lnTo>
                      <a:pt x="10" y="17"/>
                    </a:lnTo>
                    <a:lnTo>
                      <a:pt x="12" y="19"/>
                    </a:lnTo>
                    <a:lnTo>
                      <a:pt x="13" y="17"/>
                    </a:lnTo>
                    <a:lnTo>
                      <a:pt x="14" y="17"/>
                    </a:lnTo>
                    <a:lnTo>
                      <a:pt x="14" y="15"/>
                    </a:lnTo>
                    <a:lnTo>
                      <a:pt x="14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1" name="Freeform 157">
                <a:extLst>
                  <a:ext uri="{FF2B5EF4-FFF2-40B4-BE49-F238E27FC236}">
                    <a16:creationId xmlns:a16="http://schemas.microsoft.com/office/drawing/2014/main" id="{ACD0735C-0437-40CB-A0D9-A7CB33EDBD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3" y="2641"/>
                <a:ext cx="18" cy="21"/>
              </a:xfrm>
              <a:custGeom>
                <a:avLst/>
                <a:gdLst>
                  <a:gd name="T0" fmla="*/ 10 w 18"/>
                  <a:gd name="T1" fmla="*/ 6 h 21"/>
                  <a:gd name="T2" fmla="*/ 7 w 18"/>
                  <a:gd name="T3" fmla="*/ 3 h 21"/>
                  <a:gd name="T4" fmla="*/ 2 w 18"/>
                  <a:gd name="T5" fmla="*/ 0 h 21"/>
                  <a:gd name="T6" fmla="*/ 0 w 18"/>
                  <a:gd name="T7" fmla="*/ 2 h 21"/>
                  <a:gd name="T8" fmla="*/ 3 w 18"/>
                  <a:gd name="T9" fmla="*/ 3 h 21"/>
                  <a:gd name="T10" fmla="*/ 3 w 18"/>
                  <a:gd name="T11" fmla="*/ 6 h 21"/>
                  <a:gd name="T12" fmla="*/ 2 w 18"/>
                  <a:gd name="T13" fmla="*/ 14 h 21"/>
                  <a:gd name="T14" fmla="*/ 1 w 18"/>
                  <a:gd name="T15" fmla="*/ 16 h 21"/>
                  <a:gd name="T16" fmla="*/ 2 w 18"/>
                  <a:gd name="T17" fmla="*/ 21 h 21"/>
                  <a:gd name="T18" fmla="*/ 6 w 18"/>
                  <a:gd name="T19" fmla="*/ 18 h 21"/>
                  <a:gd name="T20" fmla="*/ 10 w 18"/>
                  <a:gd name="T21" fmla="*/ 18 h 21"/>
                  <a:gd name="T22" fmla="*/ 14 w 18"/>
                  <a:gd name="T23" fmla="*/ 14 h 21"/>
                  <a:gd name="T24" fmla="*/ 15 w 18"/>
                  <a:gd name="T25" fmla="*/ 14 h 21"/>
                  <a:gd name="T26" fmla="*/ 17 w 18"/>
                  <a:gd name="T27" fmla="*/ 10 h 21"/>
                  <a:gd name="T28" fmla="*/ 18 w 18"/>
                  <a:gd name="T29" fmla="*/ 7 h 21"/>
                  <a:gd name="T30" fmla="*/ 17 w 18"/>
                  <a:gd name="T31" fmla="*/ 6 h 21"/>
                  <a:gd name="T32" fmla="*/ 15 w 18"/>
                  <a:gd name="T33" fmla="*/ 8 h 21"/>
                  <a:gd name="T34" fmla="*/ 15 w 18"/>
                  <a:gd name="T35" fmla="*/ 6 h 21"/>
                  <a:gd name="T36" fmla="*/ 10 w 18"/>
                  <a:gd name="T37" fmla="*/ 6 h 21"/>
                  <a:gd name="T38" fmla="*/ 10 w 18"/>
                  <a:gd name="T39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" h="21">
                    <a:moveTo>
                      <a:pt x="10" y="6"/>
                    </a:moveTo>
                    <a:lnTo>
                      <a:pt x="7" y="3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2" y="14"/>
                    </a:lnTo>
                    <a:lnTo>
                      <a:pt x="1" y="16"/>
                    </a:lnTo>
                    <a:lnTo>
                      <a:pt x="2" y="21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4" y="14"/>
                    </a:lnTo>
                    <a:lnTo>
                      <a:pt x="15" y="14"/>
                    </a:lnTo>
                    <a:lnTo>
                      <a:pt x="17" y="10"/>
                    </a:lnTo>
                    <a:lnTo>
                      <a:pt x="18" y="7"/>
                    </a:lnTo>
                    <a:lnTo>
                      <a:pt x="17" y="6"/>
                    </a:lnTo>
                    <a:lnTo>
                      <a:pt x="15" y="8"/>
                    </a:lnTo>
                    <a:lnTo>
                      <a:pt x="15" y="6"/>
                    </a:lnTo>
                    <a:lnTo>
                      <a:pt x="10" y="6"/>
                    </a:lnTo>
                    <a:lnTo>
                      <a:pt x="10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2" name="Freeform 158">
                <a:extLst>
                  <a:ext uri="{FF2B5EF4-FFF2-40B4-BE49-F238E27FC236}">
                    <a16:creationId xmlns:a16="http://schemas.microsoft.com/office/drawing/2014/main" id="{B037896F-9468-4897-9E9B-16B57D6F9D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4" y="2673"/>
                <a:ext cx="64" cy="56"/>
              </a:xfrm>
              <a:custGeom>
                <a:avLst/>
                <a:gdLst>
                  <a:gd name="T0" fmla="*/ 2 w 64"/>
                  <a:gd name="T1" fmla="*/ 27 h 56"/>
                  <a:gd name="T2" fmla="*/ 0 w 64"/>
                  <a:gd name="T3" fmla="*/ 35 h 56"/>
                  <a:gd name="T4" fmla="*/ 4 w 64"/>
                  <a:gd name="T5" fmla="*/ 37 h 56"/>
                  <a:gd name="T6" fmla="*/ 7 w 64"/>
                  <a:gd name="T7" fmla="*/ 31 h 56"/>
                  <a:gd name="T8" fmla="*/ 9 w 64"/>
                  <a:gd name="T9" fmla="*/ 26 h 56"/>
                  <a:gd name="T10" fmla="*/ 13 w 64"/>
                  <a:gd name="T11" fmla="*/ 28 h 56"/>
                  <a:gd name="T12" fmla="*/ 15 w 64"/>
                  <a:gd name="T13" fmla="*/ 29 h 56"/>
                  <a:gd name="T14" fmla="*/ 18 w 64"/>
                  <a:gd name="T15" fmla="*/ 29 h 56"/>
                  <a:gd name="T16" fmla="*/ 22 w 64"/>
                  <a:gd name="T17" fmla="*/ 28 h 56"/>
                  <a:gd name="T18" fmla="*/ 24 w 64"/>
                  <a:gd name="T19" fmla="*/ 26 h 56"/>
                  <a:gd name="T20" fmla="*/ 31 w 64"/>
                  <a:gd name="T21" fmla="*/ 31 h 56"/>
                  <a:gd name="T22" fmla="*/ 31 w 64"/>
                  <a:gd name="T23" fmla="*/ 34 h 56"/>
                  <a:gd name="T24" fmla="*/ 29 w 64"/>
                  <a:gd name="T25" fmla="*/ 37 h 56"/>
                  <a:gd name="T26" fmla="*/ 30 w 64"/>
                  <a:gd name="T27" fmla="*/ 44 h 56"/>
                  <a:gd name="T28" fmla="*/ 35 w 64"/>
                  <a:gd name="T29" fmla="*/ 49 h 56"/>
                  <a:gd name="T30" fmla="*/ 43 w 64"/>
                  <a:gd name="T31" fmla="*/ 52 h 56"/>
                  <a:gd name="T32" fmla="*/ 47 w 64"/>
                  <a:gd name="T33" fmla="*/ 49 h 56"/>
                  <a:gd name="T34" fmla="*/ 46 w 64"/>
                  <a:gd name="T35" fmla="*/ 54 h 56"/>
                  <a:gd name="T36" fmla="*/ 48 w 64"/>
                  <a:gd name="T37" fmla="*/ 56 h 56"/>
                  <a:gd name="T38" fmla="*/ 52 w 64"/>
                  <a:gd name="T39" fmla="*/ 48 h 56"/>
                  <a:gd name="T40" fmla="*/ 48 w 64"/>
                  <a:gd name="T41" fmla="*/ 40 h 56"/>
                  <a:gd name="T42" fmla="*/ 51 w 64"/>
                  <a:gd name="T43" fmla="*/ 36 h 56"/>
                  <a:gd name="T44" fmla="*/ 53 w 64"/>
                  <a:gd name="T45" fmla="*/ 34 h 56"/>
                  <a:gd name="T46" fmla="*/ 58 w 64"/>
                  <a:gd name="T47" fmla="*/ 44 h 56"/>
                  <a:gd name="T48" fmla="*/ 59 w 64"/>
                  <a:gd name="T49" fmla="*/ 46 h 56"/>
                  <a:gd name="T50" fmla="*/ 60 w 64"/>
                  <a:gd name="T51" fmla="*/ 37 h 56"/>
                  <a:gd name="T52" fmla="*/ 64 w 64"/>
                  <a:gd name="T53" fmla="*/ 32 h 56"/>
                  <a:gd name="T54" fmla="*/ 64 w 64"/>
                  <a:gd name="T55" fmla="*/ 28 h 56"/>
                  <a:gd name="T56" fmla="*/ 61 w 64"/>
                  <a:gd name="T57" fmla="*/ 25 h 56"/>
                  <a:gd name="T58" fmla="*/ 63 w 64"/>
                  <a:gd name="T59" fmla="*/ 20 h 56"/>
                  <a:gd name="T60" fmla="*/ 60 w 64"/>
                  <a:gd name="T61" fmla="*/ 18 h 56"/>
                  <a:gd name="T62" fmla="*/ 57 w 64"/>
                  <a:gd name="T63" fmla="*/ 14 h 56"/>
                  <a:gd name="T64" fmla="*/ 58 w 64"/>
                  <a:gd name="T65" fmla="*/ 8 h 56"/>
                  <a:gd name="T66" fmla="*/ 57 w 64"/>
                  <a:gd name="T67" fmla="*/ 5 h 56"/>
                  <a:gd name="T68" fmla="*/ 55 w 64"/>
                  <a:gd name="T69" fmla="*/ 2 h 56"/>
                  <a:gd name="T70" fmla="*/ 48 w 64"/>
                  <a:gd name="T71" fmla="*/ 1 h 56"/>
                  <a:gd name="T72" fmla="*/ 50 w 64"/>
                  <a:gd name="T73" fmla="*/ 9 h 56"/>
                  <a:gd name="T74" fmla="*/ 46 w 64"/>
                  <a:gd name="T75" fmla="*/ 8 h 56"/>
                  <a:gd name="T76" fmla="*/ 42 w 64"/>
                  <a:gd name="T77" fmla="*/ 10 h 56"/>
                  <a:gd name="T78" fmla="*/ 39 w 64"/>
                  <a:gd name="T79" fmla="*/ 16 h 56"/>
                  <a:gd name="T80" fmla="*/ 35 w 64"/>
                  <a:gd name="T81" fmla="*/ 14 h 56"/>
                  <a:gd name="T82" fmla="*/ 32 w 64"/>
                  <a:gd name="T83" fmla="*/ 19 h 56"/>
                  <a:gd name="T84" fmla="*/ 29 w 64"/>
                  <a:gd name="T85" fmla="*/ 20 h 56"/>
                  <a:gd name="T86" fmla="*/ 24 w 64"/>
                  <a:gd name="T87" fmla="*/ 23 h 56"/>
                  <a:gd name="T88" fmla="*/ 25 w 64"/>
                  <a:gd name="T89" fmla="*/ 22 h 56"/>
                  <a:gd name="T90" fmla="*/ 26 w 64"/>
                  <a:gd name="T91" fmla="*/ 17 h 56"/>
                  <a:gd name="T92" fmla="*/ 21 w 64"/>
                  <a:gd name="T93" fmla="*/ 14 h 56"/>
                  <a:gd name="T94" fmla="*/ 15 w 64"/>
                  <a:gd name="T95" fmla="*/ 18 h 56"/>
                  <a:gd name="T96" fmla="*/ 13 w 64"/>
                  <a:gd name="T97" fmla="*/ 21 h 56"/>
                  <a:gd name="T98" fmla="*/ 5 w 64"/>
                  <a:gd name="T99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4" h="56">
                    <a:moveTo>
                      <a:pt x="5" y="22"/>
                    </a:moveTo>
                    <a:lnTo>
                      <a:pt x="2" y="27"/>
                    </a:lnTo>
                    <a:lnTo>
                      <a:pt x="2" y="29"/>
                    </a:lnTo>
                    <a:lnTo>
                      <a:pt x="0" y="35"/>
                    </a:lnTo>
                    <a:lnTo>
                      <a:pt x="1" y="37"/>
                    </a:lnTo>
                    <a:lnTo>
                      <a:pt x="4" y="37"/>
                    </a:lnTo>
                    <a:lnTo>
                      <a:pt x="5" y="34"/>
                    </a:lnTo>
                    <a:lnTo>
                      <a:pt x="7" y="31"/>
                    </a:lnTo>
                    <a:lnTo>
                      <a:pt x="7" y="29"/>
                    </a:lnTo>
                    <a:lnTo>
                      <a:pt x="9" y="26"/>
                    </a:lnTo>
                    <a:lnTo>
                      <a:pt x="13" y="27"/>
                    </a:lnTo>
                    <a:lnTo>
                      <a:pt x="13" y="28"/>
                    </a:lnTo>
                    <a:lnTo>
                      <a:pt x="13" y="30"/>
                    </a:lnTo>
                    <a:lnTo>
                      <a:pt x="15" y="29"/>
                    </a:lnTo>
                    <a:lnTo>
                      <a:pt x="17" y="27"/>
                    </a:lnTo>
                    <a:lnTo>
                      <a:pt x="18" y="29"/>
                    </a:lnTo>
                    <a:lnTo>
                      <a:pt x="22" y="30"/>
                    </a:lnTo>
                    <a:lnTo>
                      <a:pt x="22" y="28"/>
                    </a:lnTo>
                    <a:lnTo>
                      <a:pt x="22" y="26"/>
                    </a:lnTo>
                    <a:lnTo>
                      <a:pt x="24" y="26"/>
                    </a:lnTo>
                    <a:lnTo>
                      <a:pt x="30" y="28"/>
                    </a:lnTo>
                    <a:lnTo>
                      <a:pt x="31" y="31"/>
                    </a:lnTo>
                    <a:lnTo>
                      <a:pt x="32" y="34"/>
                    </a:lnTo>
                    <a:lnTo>
                      <a:pt x="31" y="34"/>
                    </a:lnTo>
                    <a:lnTo>
                      <a:pt x="30" y="35"/>
                    </a:lnTo>
                    <a:lnTo>
                      <a:pt x="29" y="37"/>
                    </a:lnTo>
                    <a:lnTo>
                      <a:pt x="30" y="39"/>
                    </a:lnTo>
                    <a:lnTo>
                      <a:pt x="30" y="44"/>
                    </a:lnTo>
                    <a:lnTo>
                      <a:pt x="31" y="47"/>
                    </a:lnTo>
                    <a:lnTo>
                      <a:pt x="35" y="49"/>
                    </a:lnTo>
                    <a:lnTo>
                      <a:pt x="41" y="52"/>
                    </a:lnTo>
                    <a:lnTo>
                      <a:pt x="43" y="52"/>
                    </a:lnTo>
                    <a:lnTo>
                      <a:pt x="46" y="49"/>
                    </a:lnTo>
                    <a:lnTo>
                      <a:pt x="47" y="49"/>
                    </a:lnTo>
                    <a:lnTo>
                      <a:pt x="46" y="53"/>
                    </a:lnTo>
                    <a:lnTo>
                      <a:pt x="46" y="54"/>
                    </a:lnTo>
                    <a:lnTo>
                      <a:pt x="47" y="56"/>
                    </a:lnTo>
                    <a:lnTo>
                      <a:pt x="48" y="56"/>
                    </a:lnTo>
                    <a:lnTo>
                      <a:pt x="52" y="51"/>
                    </a:lnTo>
                    <a:lnTo>
                      <a:pt x="52" y="48"/>
                    </a:lnTo>
                    <a:lnTo>
                      <a:pt x="50" y="44"/>
                    </a:lnTo>
                    <a:lnTo>
                      <a:pt x="48" y="40"/>
                    </a:lnTo>
                    <a:lnTo>
                      <a:pt x="49" y="39"/>
                    </a:lnTo>
                    <a:lnTo>
                      <a:pt x="51" y="36"/>
                    </a:lnTo>
                    <a:lnTo>
                      <a:pt x="52" y="32"/>
                    </a:lnTo>
                    <a:lnTo>
                      <a:pt x="53" y="34"/>
                    </a:lnTo>
                    <a:lnTo>
                      <a:pt x="57" y="38"/>
                    </a:lnTo>
                    <a:lnTo>
                      <a:pt x="58" y="44"/>
                    </a:lnTo>
                    <a:lnTo>
                      <a:pt x="59" y="46"/>
                    </a:lnTo>
                    <a:lnTo>
                      <a:pt x="59" y="46"/>
                    </a:lnTo>
                    <a:lnTo>
                      <a:pt x="59" y="39"/>
                    </a:lnTo>
                    <a:lnTo>
                      <a:pt x="60" y="37"/>
                    </a:lnTo>
                    <a:lnTo>
                      <a:pt x="63" y="35"/>
                    </a:lnTo>
                    <a:lnTo>
                      <a:pt x="64" y="32"/>
                    </a:lnTo>
                    <a:lnTo>
                      <a:pt x="64" y="31"/>
                    </a:lnTo>
                    <a:lnTo>
                      <a:pt x="64" y="28"/>
                    </a:lnTo>
                    <a:lnTo>
                      <a:pt x="63" y="26"/>
                    </a:lnTo>
                    <a:lnTo>
                      <a:pt x="61" y="25"/>
                    </a:lnTo>
                    <a:lnTo>
                      <a:pt x="61" y="22"/>
                    </a:lnTo>
                    <a:lnTo>
                      <a:pt x="63" y="20"/>
                    </a:lnTo>
                    <a:lnTo>
                      <a:pt x="60" y="20"/>
                    </a:lnTo>
                    <a:lnTo>
                      <a:pt x="60" y="18"/>
                    </a:lnTo>
                    <a:lnTo>
                      <a:pt x="60" y="16"/>
                    </a:lnTo>
                    <a:lnTo>
                      <a:pt x="57" y="14"/>
                    </a:lnTo>
                    <a:lnTo>
                      <a:pt x="60" y="12"/>
                    </a:lnTo>
                    <a:lnTo>
                      <a:pt x="58" y="8"/>
                    </a:lnTo>
                    <a:lnTo>
                      <a:pt x="59" y="5"/>
                    </a:lnTo>
                    <a:lnTo>
                      <a:pt x="57" y="5"/>
                    </a:lnTo>
                    <a:lnTo>
                      <a:pt x="56" y="5"/>
                    </a:lnTo>
                    <a:lnTo>
                      <a:pt x="55" y="2"/>
                    </a:lnTo>
                    <a:lnTo>
                      <a:pt x="50" y="0"/>
                    </a:lnTo>
                    <a:lnTo>
                      <a:pt x="48" y="1"/>
                    </a:lnTo>
                    <a:lnTo>
                      <a:pt x="50" y="6"/>
                    </a:lnTo>
                    <a:lnTo>
                      <a:pt x="50" y="9"/>
                    </a:lnTo>
                    <a:lnTo>
                      <a:pt x="48" y="9"/>
                    </a:lnTo>
                    <a:lnTo>
                      <a:pt x="46" y="8"/>
                    </a:lnTo>
                    <a:lnTo>
                      <a:pt x="44" y="11"/>
                    </a:lnTo>
                    <a:lnTo>
                      <a:pt x="42" y="10"/>
                    </a:lnTo>
                    <a:lnTo>
                      <a:pt x="40" y="10"/>
                    </a:lnTo>
                    <a:lnTo>
                      <a:pt x="39" y="16"/>
                    </a:lnTo>
                    <a:lnTo>
                      <a:pt x="38" y="16"/>
                    </a:lnTo>
                    <a:lnTo>
                      <a:pt x="35" y="14"/>
                    </a:lnTo>
                    <a:lnTo>
                      <a:pt x="33" y="16"/>
                    </a:lnTo>
                    <a:lnTo>
                      <a:pt x="32" y="19"/>
                    </a:lnTo>
                    <a:lnTo>
                      <a:pt x="31" y="20"/>
                    </a:lnTo>
                    <a:lnTo>
                      <a:pt x="29" y="20"/>
                    </a:lnTo>
                    <a:lnTo>
                      <a:pt x="26" y="22"/>
                    </a:lnTo>
                    <a:lnTo>
                      <a:pt x="24" y="23"/>
                    </a:lnTo>
                    <a:lnTo>
                      <a:pt x="24" y="23"/>
                    </a:lnTo>
                    <a:lnTo>
                      <a:pt x="25" y="22"/>
                    </a:lnTo>
                    <a:lnTo>
                      <a:pt x="27" y="19"/>
                    </a:lnTo>
                    <a:lnTo>
                      <a:pt x="26" y="17"/>
                    </a:lnTo>
                    <a:lnTo>
                      <a:pt x="24" y="14"/>
                    </a:lnTo>
                    <a:lnTo>
                      <a:pt x="21" y="14"/>
                    </a:lnTo>
                    <a:lnTo>
                      <a:pt x="17" y="16"/>
                    </a:lnTo>
                    <a:lnTo>
                      <a:pt x="15" y="18"/>
                    </a:lnTo>
                    <a:lnTo>
                      <a:pt x="15" y="20"/>
                    </a:lnTo>
                    <a:lnTo>
                      <a:pt x="13" y="21"/>
                    </a:lnTo>
                    <a:lnTo>
                      <a:pt x="8" y="22"/>
                    </a:lnTo>
                    <a:lnTo>
                      <a:pt x="5" y="22"/>
                    </a:lnTo>
                    <a:lnTo>
                      <a:pt x="5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3" name="Freeform 159">
                <a:extLst>
                  <a:ext uri="{FF2B5EF4-FFF2-40B4-BE49-F238E27FC236}">
                    <a16:creationId xmlns:a16="http://schemas.microsoft.com/office/drawing/2014/main" id="{ACECB43B-6319-4A2D-BEC2-D49D32E4DA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5" y="2611"/>
                <a:ext cx="3" cy="2"/>
              </a:xfrm>
              <a:custGeom>
                <a:avLst/>
                <a:gdLst>
                  <a:gd name="T0" fmla="*/ 3 w 3"/>
                  <a:gd name="T1" fmla="*/ 2 h 2"/>
                  <a:gd name="T2" fmla="*/ 3 w 3"/>
                  <a:gd name="T3" fmla="*/ 2 h 2"/>
                  <a:gd name="T4" fmla="*/ 0 w 3"/>
                  <a:gd name="T5" fmla="*/ 0 h 2"/>
                  <a:gd name="T6" fmla="*/ 3 w 3"/>
                  <a:gd name="T7" fmla="*/ 2 h 2"/>
                  <a:gd name="T8" fmla="*/ 3 w 3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lnTo>
                      <a:pt x="3" y="2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4" name="Freeform 160">
                <a:extLst>
                  <a:ext uri="{FF2B5EF4-FFF2-40B4-BE49-F238E27FC236}">
                    <a16:creationId xmlns:a16="http://schemas.microsoft.com/office/drawing/2014/main" id="{B8ECAD7E-B556-46F6-BC28-0D344304A2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9" y="2869"/>
                <a:ext cx="7" cy="11"/>
              </a:xfrm>
              <a:custGeom>
                <a:avLst/>
                <a:gdLst>
                  <a:gd name="T0" fmla="*/ 7 w 7"/>
                  <a:gd name="T1" fmla="*/ 0 h 11"/>
                  <a:gd name="T2" fmla="*/ 3 w 7"/>
                  <a:gd name="T3" fmla="*/ 2 h 11"/>
                  <a:gd name="T4" fmla="*/ 1 w 7"/>
                  <a:gd name="T5" fmla="*/ 4 h 11"/>
                  <a:gd name="T6" fmla="*/ 0 w 7"/>
                  <a:gd name="T7" fmla="*/ 10 h 11"/>
                  <a:gd name="T8" fmla="*/ 4 w 7"/>
                  <a:gd name="T9" fmla="*/ 11 h 11"/>
                  <a:gd name="T10" fmla="*/ 7 w 7"/>
                  <a:gd name="T11" fmla="*/ 3 h 11"/>
                  <a:gd name="T12" fmla="*/ 7 w 7"/>
                  <a:gd name="T13" fmla="*/ 0 h 11"/>
                  <a:gd name="T14" fmla="*/ 7 w 7"/>
                  <a:gd name="T1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11">
                    <a:moveTo>
                      <a:pt x="7" y="0"/>
                    </a:moveTo>
                    <a:lnTo>
                      <a:pt x="3" y="2"/>
                    </a:lnTo>
                    <a:lnTo>
                      <a:pt x="1" y="4"/>
                    </a:lnTo>
                    <a:lnTo>
                      <a:pt x="0" y="10"/>
                    </a:lnTo>
                    <a:lnTo>
                      <a:pt x="4" y="11"/>
                    </a:lnTo>
                    <a:lnTo>
                      <a:pt x="7" y="3"/>
                    </a:lnTo>
                    <a:lnTo>
                      <a:pt x="7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5" name="Freeform 161">
                <a:extLst>
                  <a:ext uri="{FF2B5EF4-FFF2-40B4-BE49-F238E27FC236}">
                    <a16:creationId xmlns:a16="http://schemas.microsoft.com/office/drawing/2014/main" id="{EE3DDDAC-6263-4439-A1D9-416D4905C5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1" y="2655"/>
                <a:ext cx="16" cy="27"/>
              </a:xfrm>
              <a:custGeom>
                <a:avLst/>
                <a:gdLst>
                  <a:gd name="T0" fmla="*/ 2 w 16"/>
                  <a:gd name="T1" fmla="*/ 21 h 27"/>
                  <a:gd name="T2" fmla="*/ 7 w 16"/>
                  <a:gd name="T3" fmla="*/ 23 h 27"/>
                  <a:gd name="T4" fmla="*/ 8 w 16"/>
                  <a:gd name="T5" fmla="*/ 27 h 27"/>
                  <a:gd name="T6" fmla="*/ 9 w 16"/>
                  <a:gd name="T7" fmla="*/ 27 h 27"/>
                  <a:gd name="T8" fmla="*/ 12 w 16"/>
                  <a:gd name="T9" fmla="*/ 24 h 27"/>
                  <a:gd name="T10" fmla="*/ 11 w 16"/>
                  <a:gd name="T11" fmla="*/ 21 h 27"/>
                  <a:gd name="T12" fmla="*/ 10 w 16"/>
                  <a:gd name="T13" fmla="*/ 19 h 27"/>
                  <a:gd name="T14" fmla="*/ 10 w 16"/>
                  <a:gd name="T15" fmla="*/ 17 h 27"/>
                  <a:gd name="T16" fmla="*/ 12 w 16"/>
                  <a:gd name="T17" fmla="*/ 11 h 27"/>
                  <a:gd name="T18" fmla="*/ 12 w 16"/>
                  <a:gd name="T19" fmla="*/ 7 h 27"/>
                  <a:gd name="T20" fmla="*/ 15 w 16"/>
                  <a:gd name="T21" fmla="*/ 5 h 27"/>
                  <a:gd name="T22" fmla="*/ 16 w 16"/>
                  <a:gd name="T23" fmla="*/ 3 h 27"/>
                  <a:gd name="T24" fmla="*/ 14 w 16"/>
                  <a:gd name="T25" fmla="*/ 1 h 27"/>
                  <a:gd name="T26" fmla="*/ 11 w 16"/>
                  <a:gd name="T27" fmla="*/ 0 h 27"/>
                  <a:gd name="T28" fmla="*/ 8 w 16"/>
                  <a:gd name="T29" fmla="*/ 1 h 27"/>
                  <a:gd name="T30" fmla="*/ 7 w 16"/>
                  <a:gd name="T31" fmla="*/ 2 h 27"/>
                  <a:gd name="T32" fmla="*/ 8 w 16"/>
                  <a:gd name="T33" fmla="*/ 3 h 27"/>
                  <a:gd name="T34" fmla="*/ 6 w 16"/>
                  <a:gd name="T35" fmla="*/ 5 h 27"/>
                  <a:gd name="T36" fmla="*/ 6 w 16"/>
                  <a:gd name="T37" fmla="*/ 10 h 27"/>
                  <a:gd name="T38" fmla="*/ 5 w 16"/>
                  <a:gd name="T39" fmla="*/ 13 h 27"/>
                  <a:gd name="T40" fmla="*/ 2 w 16"/>
                  <a:gd name="T41" fmla="*/ 14 h 27"/>
                  <a:gd name="T42" fmla="*/ 0 w 16"/>
                  <a:gd name="T43" fmla="*/ 15 h 27"/>
                  <a:gd name="T44" fmla="*/ 0 w 16"/>
                  <a:gd name="T45" fmla="*/ 19 h 27"/>
                  <a:gd name="T46" fmla="*/ 2 w 16"/>
                  <a:gd name="T47" fmla="*/ 21 h 27"/>
                  <a:gd name="T48" fmla="*/ 2 w 16"/>
                  <a:gd name="T49" fmla="*/ 2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" h="27">
                    <a:moveTo>
                      <a:pt x="2" y="21"/>
                    </a:moveTo>
                    <a:lnTo>
                      <a:pt x="7" y="23"/>
                    </a:lnTo>
                    <a:lnTo>
                      <a:pt x="8" y="27"/>
                    </a:lnTo>
                    <a:lnTo>
                      <a:pt x="9" y="27"/>
                    </a:lnTo>
                    <a:lnTo>
                      <a:pt x="12" y="24"/>
                    </a:lnTo>
                    <a:lnTo>
                      <a:pt x="11" y="21"/>
                    </a:lnTo>
                    <a:lnTo>
                      <a:pt x="10" y="19"/>
                    </a:lnTo>
                    <a:lnTo>
                      <a:pt x="10" y="17"/>
                    </a:lnTo>
                    <a:lnTo>
                      <a:pt x="12" y="11"/>
                    </a:lnTo>
                    <a:lnTo>
                      <a:pt x="12" y="7"/>
                    </a:lnTo>
                    <a:lnTo>
                      <a:pt x="15" y="5"/>
                    </a:lnTo>
                    <a:lnTo>
                      <a:pt x="16" y="3"/>
                    </a:lnTo>
                    <a:lnTo>
                      <a:pt x="14" y="1"/>
                    </a:lnTo>
                    <a:lnTo>
                      <a:pt x="11" y="0"/>
                    </a:lnTo>
                    <a:lnTo>
                      <a:pt x="8" y="1"/>
                    </a:lnTo>
                    <a:lnTo>
                      <a:pt x="7" y="2"/>
                    </a:lnTo>
                    <a:lnTo>
                      <a:pt x="8" y="3"/>
                    </a:lnTo>
                    <a:lnTo>
                      <a:pt x="6" y="5"/>
                    </a:lnTo>
                    <a:lnTo>
                      <a:pt x="6" y="10"/>
                    </a:lnTo>
                    <a:lnTo>
                      <a:pt x="5" y="13"/>
                    </a:lnTo>
                    <a:lnTo>
                      <a:pt x="2" y="14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2" y="21"/>
                    </a:lnTo>
                    <a:lnTo>
                      <a:pt x="2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6" name="Freeform 162">
                <a:extLst>
                  <a:ext uri="{FF2B5EF4-FFF2-40B4-BE49-F238E27FC236}">
                    <a16:creationId xmlns:a16="http://schemas.microsoft.com/office/drawing/2014/main" id="{8D229F34-B3AD-4A14-833B-8C597E98A8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3" y="2866"/>
                <a:ext cx="9" cy="17"/>
              </a:xfrm>
              <a:custGeom>
                <a:avLst/>
                <a:gdLst>
                  <a:gd name="T0" fmla="*/ 7 w 9"/>
                  <a:gd name="T1" fmla="*/ 0 h 17"/>
                  <a:gd name="T2" fmla="*/ 5 w 9"/>
                  <a:gd name="T3" fmla="*/ 1 h 17"/>
                  <a:gd name="T4" fmla="*/ 4 w 9"/>
                  <a:gd name="T5" fmla="*/ 7 h 17"/>
                  <a:gd name="T6" fmla="*/ 3 w 9"/>
                  <a:gd name="T7" fmla="*/ 10 h 17"/>
                  <a:gd name="T8" fmla="*/ 0 w 9"/>
                  <a:gd name="T9" fmla="*/ 15 h 17"/>
                  <a:gd name="T10" fmla="*/ 3 w 9"/>
                  <a:gd name="T11" fmla="*/ 17 h 17"/>
                  <a:gd name="T12" fmla="*/ 5 w 9"/>
                  <a:gd name="T13" fmla="*/ 14 h 17"/>
                  <a:gd name="T14" fmla="*/ 7 w 9"/>
                  <a:gd name="T15" fmla="*/ 14 h 17"/>
                  <a:gd name="T16" fmla="*/ 7 w 9"/>
                  <a:gd name="T17" fmla="*/ 12 h 17"/>
                  <a:gd name="T18" fmla="*/ 6 w 9"/>
                  <a:gd name="T19" fmla="*/ 8 h 17"/>
                  <a:gd name="T20" fmla="*/ 6 w 9"/>
                  <a:gd name="T21" fmla="*/ 6 h 17"/>
                  <a:gd name="T22" fmla="*/ 9 w 9"/>
                  <a:gd name="T23" fmla="*/ 3 h 17"/>
                  <a:gd name="T24" fmla="*/ 7 w 9"/>
                  <a:gd name="T25" fmla="*/ 0 h 17"/>
                  <a:gd name="T26" fmla="*/ 7 w 9"/>
                  <a:gd name="T2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17">
                    <a:moveTo>
                      <a:pt x="7" y="0"/>
                    </a:moveTo>
                    <a:lnTo>
                      <a:pt x="5" y="1"/>
                    </a:lnTo>
                    <a:lnTo>
                      <a:pt x="4" y="7"/>
                    </a:lnTo>
                    <a:lnTo>
                      <a:pt x="3" y="10"/>
                    </a:lnTo>
                    <a:lnTo>
                      <a:pt x="0" y="15"/>
                    </a:lnTo>
                    <a:lnTo>
                      <a:pt x="3" y="17"/>
                    </a:lnTo>
                    <a:lnTo>
                      <a:pt x="5" y="14"/>
                    </a:lnTo>
                    <a:lnTo>
                      <a:pt x="7" y="14"/>
                    </a:lnTo>
                    <a:lnTo>
                      <a:pt x="7" y="12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9" y="3"/>
                    </a:lnTo>
                    <a:lnTo>
                      <a:pt x="7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7" name="Freeform 163">
                <a:extLst>
                  <a:ext uri="{FF2B5EF4-FFF2-40B4-BE49-F238E27FC236}">
                    <a16:creationId xmlns:a16="http://schemas.microsoft.com/office/drawing/2014/main" id="{1731276F-3CEA-427A-83C6-BB0250A87F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8" y="2922"/>
                <a:ext cx="2" cy="2"/>
              </a:xfrm>
              <a:custGeom>
                <a:avLst/>
                <a:gdLst>
                  <a:gd name="T0" fmla="*/ 0 w 2"/>
                  <a:gd name="T1" fmla="*/ 1 h 2"/>
                  <a:gd name="T2" fmla="*/ 0 w 2"/>
                  <a:gd name="T3" fmla="*/ 2 h 2"/>
                  <a:gd name="T4" fmla="*/ 2 w 2"/>
                  <a:gd name="T5" fmla="*/ 0 h 2"/>
                  <a:gd name="T6" fmla="*/ 0 w 2"/>
                  <a:gd name="T7" fmla="*/ 1 h 2"/>
                  <a:gd name="T8" fmla="*/ 0 w 2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8" name="Freeform 164">
                <a:extLst>
                  <a:ext uri="{FF2B5EF4-FFF2-40B4-BE49-F238E27FC236}">
                    <a16:creationId xmlns:a16="http://schemas.microsoft.com/office/drawing/2014/main" id="{7DBC0955-09A2-491A-A6AD-B593749FDE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9" y="2861"/>
                <a:ext cx="3" cy="3"/>
              </a:xfrm>
              <a:custGeom>
                <a:avLst/>
                <a:gdLst>
                  <a:gd name="T0" fmla="*/ 1 w 3"/>
                  <a:gd name="T1" fmla="*/ 0 h 3"/>
                  <a:gd name="T2" fmla="*/ 0 w 3"/>
                  <a:gd name="T3" fmla="*/ 1 h 3"/>
                  <a:gd name="T4" fmla="*/ 2 w 3"/>
                  <a:gd name="T5" fmla="*/ 3 h 3"/>
                  <a:gd name="T6" fmla="*/ 3 w 3"/>
                  <a:gd name="T7" fmla="*/ 0 h 3"/>
                  <a:gd name="T8" fmla="*/ 1 w 3"/>
                  <a:gd name="T9" fmla="*/ 0 h 3"/>
                  <a:gd name="T10" fmla="*/ 1 w 3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1" y="0"/>
                    </a:moveTo>
                    <a:lnTo>
                      <a:pt x="0" y="1"/>
                    </a:lnTo>
                    <a:lnTo>
                      <a:pt x="2" y="3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9" name="Freeform 165">
                <a:extLst>
                  <a:ext uri="{FF2B5EF4-FFF2-40B4-BE49-F238E27FC236}">
                    <a16:creationId xmlns:a16="http://schemas.microsoft.com/office/drawing/2014/main" id="{5F8CBBA5-B25C-4A57-96CB-D7A849F1EB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0" y="2918"/>
                <a:ext cx="2" cy="3"/>
              </a:xfrm>
              <a:custGeom>
                <a:avLst/>
                <a:gdLst>
                  <a:gd name="T0" fmla="*/ 0 w 2"/>
                  <a:gd name="T1" fmla="*/ 2 h 3"/>
                  <a:gd name="T2" fmla="*/ 0 w 2"/>
                  <a:gd name="T3" fmla="*/ 3 h 3"/>
                  <a:gd name="T4" fmla="*/ 2 w 2"/>
                  <a:gd name="T5" fmla="*/ 0 h 3"/>
                  <a:gd name="T6" fmla="*/ 0 w 2"/>
                  <a:gd name="T7" fmla="*/ 2 h 3"/>
                  <a:gd name="T8" fmla="*/ 0 w 2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0" y="2"/>
                    </a:moveTo>
                    <a:lnTo>
                      <a:pt x="0" y="3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0" name="Freeform 166">
                <a:extLst>
                  <a:ext uri="{FF2B5EF4-FFF2-40B4-BE49-F238E27FC236}">
                    <a16:creationId xmlns:a16="http://schemas.microsoft.com/office/drawing/2014/main" id="{78AF41D2-70D5-4AB8-B658-4133EAC0DC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1" y="2634"/>
                <a:ext cx="13" cy="9"/>
              </a:xfrm>
              <a:custGeom>
                <a:avLst/>
                <a:gdLst>
                  <a:gd name="T0" fmla="*/ 2 w 13"/>
                  <a:gd name="T1" fmla="*/ 0 h 9"/>
                  <a:gd name="T2" fmla="*/ 1 w 13"/>
                  <a:gd name="T3" fmla="*/ 0 h 9"/>
                  <a:gd name="T4" fmla="*/ 1 w 13"/>
                  <a:gd name="T5" fmla="*/ 4 h 9"/>
                  <a:gd name="T6" fmla="*/ 0 w 13"/>
                  <a:gd name="T7" fmla="*/ 7 h 9"/>
                  <a:gd name="T8" fmla="*/ 1 w 13"/>
                  <a:gd name="T9" fmla="*/ 7 h 9"/>
                  <a:gd name="T10" fmla="*/ 4 w 13"/>
                  <a:gd name="T11" fmla="*/ 4 h 9"/>
                  <a:gd name="T12" fmla="*/ 6 w 13"/>
                  <a:gd name="T13" fmla="*/ 4 h 9"/>
                  <a:gd name="T14" fmla="*/ 8 w 13"/>
                  <a:gd name="T15" fmla="*/ 8 h 9"/>
                  <a:gd name="T16" fmla="*/ 12 w 13"/>
                  <a:gd name="T17" fmla="*/ 9 h 9"/>
                  <a:gd name="T18" fmla="*/ 12 w 13"/>
                  <a:gd name="T19" fmla="*/ 7 h 9"/>
                  <a:gd name="T20" fmla="*/ 13 w 13"/>
                  <a:gd name="T21" fmla="*/ 7 h 9"/>
                  <a:gd name="T22" fmla="*/ 12 w 13"/>
                  <a:gd name="T23" fmla="*/ 6 h 9"/>
                  <a:gd name="T24" fmla="*/ 9 w 13"/>
                  <a:gd name="T25" fmla="*/ 4 h 9"/>
                  <a:gd name="T26" fmla="*/ 7 w 13"/>
                  <a:gd name="T27" fmla="*/ 1 h 9"/>
                  <a:gd name="T28" fmla="*/ 5 w 13"/>
                  <a:gd name="T29" fmla="*/ 0 h 9"/>
                  <a:gd name="T30" fmla="*/ 2 w 13"/>
                  <a:gd name="T31" fmla="*/ 0 h 9"/>
                  <a:gd name="T32" fmla="*/ 2 w 13"/>
                  <a:gd name="T3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" h="9">
                    <a:moveTo>
                      <a:pt x="2" y="0"/>
                    </a:moveTo>
                    <a:lnTo>
                      <a:pt x="1" y="0"/>
                    </a:lnTo>
                    <a:lnTo>
                      <a:pt x="1" y="4"/>
                    </a:lnTo>
                    <a:lnTo>
                      <a:pt x="0" y="7"/>
                    </a:lnTo>
                    <a:lnTo>
                      <a:pt x="1" y="7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8" y="8"/>
                    </a:lnTo>
                    <a:lnTo>
                      <a:pt x="12" y="9"/>
                    </a:lnTo>
                    <a:lnTo>
                      <a:pt x="12" y="7"/>
                    </a:lnTo>
                    <a:lnTo>
                      <a:pt x="13" y="7"/>
                    </a:lnTo>
                    <a:lnTo>
                      <a:pt x="12" y="6"/>
                    </a:lnTo>
                    <a:lnTo>
                      <a:pt x="9" y="4"/>
                    </a:lnTo>
                    <a:lnTo>
                      <a:pt x="7" y="1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1" name="Freeform 167">
                <a:extLst>
                  <a:ext uri="{FF2B5EF4-FFF2-40B4-BE49-F238E27FC236}">
                    <a16:creationId xmlns:a16="http://schemas.microsoft.com/office/drawing/2014/main" id="{B6F116B2-87C8-40AC-881B-A014420E5B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3" y="2918"/>
                <a:ext cx="8" cy="5"/>
              </a:xfrm>
              <a:custGeom>
                <a:avLst/>
                <a:gdLst>
                  <a:gd name="T0" fmla="*/ 2 w 8"/>
                  <a:gd name="T1" fmla="*/ 2 h 5"/>
                  <a:gd name="T2" fmla="*/ 0 w 8"/>
                  <a:gd name="T3" fmla="*/ 4 h 5"/>
                  <a:gd name="T4" fmla="*/ 3 w 8"/>
                  <a:gd name="T5" fmla="*/ 5 h 5"/>
                  <a:gd name="T6" fmla="*/ 5 w 8"/>
                  <a:gd name="T7" fmla="*/ 4 h 5"/>
                  <a:gd name="T8" fmla="*/ 8 w 8"/>
                  <a:gd name="T9" fmla="*/ 2 h 5"/>
                  <a:gd name="T10" fmla="*/ 5 w 8"/>
                  <a:gd name="T11" fmla="*/ 0 h 5"/>
                  <a:gd name="T12" fmla="*/ 2 w 8"/>
                  <a:gd name="T13" fmla="*/ 2 h 5"/>
                  <a:gd name="T14" fmla="*/ 2 w 8"/>
                  <a:gd name="T1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5">
                    <a:moveTo>
                      <a:pt x="2" y="2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5" y="4"/>
                    </a:lnTo>
                    <a:lnTo>
                      <a:pt x="8" y="2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2" name="Freeform 168">
                <a:extLst>
                  <a:ext uri="{FF2B5EF4-FFF2-40B4-BE49-F238E27FC236}">
                    <a16:creationId xmlns:a16="http://schemas.microsoft.com/office/drawing/2014/main" id="{3E6BC460-B88F-4F27-A2F1-D735C86C22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3" y="2651"/>
                <a:ext cx="11" cy="25"/>
              </a:xfrm>
              <a:custGeom>
                <a:avLst/>
                <a:gdLst>
                  <a:gd name="T0" fmla="*/ 5 w 11"/>
                  <a:gd name="T1" fmla="*/ 17 h 25"/>
                  <a:gd name="T2" fmla="*/ 5 w 11"/>
                  <a:gd name="T3" fmla="*/ 16 h 25"/>
                  <a:gd name="T4" fmla="*/ 8 w 11"/>
                  <a:gd name="T5" fmla="*/ 14 h 25"/>
                  <a:gd name="T6" fmla="*/ 10 w 11"/>
                  <a:gd name="T7" fmla="*/ 11 h 25"/>
                  <a:gd name="T8" fmla="*/ 11 w 11"/>
                  <a:gd name="T9" fmla="*/ 2 h 25"/>
                  <a:gd name="T10" fmla="*/ 11 w 11"/>
                  <a:gd name="T11" fmla="*/ 0 h 25"/>
                  <a:gd name="T12" fmla="*/ 8 w 11"/>
                  <a:gd name="T13" fmla="*/ 2 h 25"/>
                  <a:gd name="T14" fmla="*/ 8 w 11"/>
                  <a:gd name="T15" fmla="*/ 6 h 25"/>
                  <a:gd name="T16" fmla="*/ 4 w 11"/>
                  <a:gd name="T17" fmla="*/ 13 h 25"/>
                  <a:gd name="T18" fmla="*/ 3 w 11"/>
                  <a:gd name="T19" fmla="*/ 16 h 25"/>
                  <a:gd name="T20" fmla="*/ 2 w 11"/>
                  <a:gd name="T21" fmla="*/ 16 h 25"/>
                  <a:gd name="T22" fmla="*/ 0 w 11"/>
                  <a:gd name="T23" fmla="*/ 19 h 25"/>
                  <a:gd name="T24" fmla="*/ 0 w 11"/>
                  <a:gd name="T25" fmla="*/ 25 h 25"/>
                  <a:gd name="T26" fmla="*/ 3 w 11"/>
                  <a:gd name="T27" fmla="*/ 23 h 25"/>
                  <a:gd name="T28" fmla="*/ 5 w 11"/>
                  <a:gd name="T29" fmla="*/ 17 h 25"/>
                  <a:gd name="T30" fmla="*/ 5 w 11"/>
                  <a:gd name="T31" fmla="*/ 1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25">
                    <a:moveTo>
                      <a:pt x="5" y="17"/>
                    </a:moveTo>
                    <a:lnTo>
                      <a:pt x="5" y="16"/>
                    </a:lnTo>
                    <a:lnTo>
                      <a:pt x="8" y="14"/>
                    </a:lnTo>
                    <a:lnTo>
                      <a:pt x="10" y="11"/>
                    </a:lnTo>
                    <a:lnTo>
                      <a:pt x="11" y="2"/>
                    </a:lnTo>
                    <a:lnTo>
                      <a:pt x="11" y="0"/>
                    </a:lnTo>
                    <a:lnTo>
                      <a:pt x="8" y="2"/>
                    </a:lnTo>
                    <a:lnTo>
                      <a:pt x="8" y="6"/>
                    </a:lnTo>
                    <a:lnTo>
                      <a:pt x="4" y="13"/>
                    </a:lnTo>
                    <a:lnTo>
                      <a:pt x="3" y="16"/>
                    </a:lnTo>
                    <a:lnTo>
                      <a:pt x="2" y="16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3" y="23"/>
                    </a:lnTo>
                    <a:lnTo>
                      <a:pt x="5" y="17"/>
                    </a:lnTo>
                    <a:lnTo>
                      <a:pt x="5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3" name="Freeform 169">
                <a:extLst>
                  <a:ext uri="{FF2B5EF4-FFF2-40B4-BE49-F238E27FC236}">
                    <a16:creationId xmlns:a16="http://schemas.microsoft.com/office/drawing/2014/main" id="{5BAE1E77-716B-48D3-958F-5FEAB3A342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7" y="2921"/>
                <a:ext cx="51" cy="27"/>
              </a:xfrm>
              <a:custGeom>
                <a:avLst/>
                <a:gdLst>
                  <a:gd name="T0" fmla="*/ 0 w 51"/>
                  <a:gd name="T1" fmla="*/ 22 h 27"/>
                  <a:gd name="T2" fmla="*/ 0 w 51"/>
                  <a:gd name="T3" fmla="*/ 27 h 27"/>
                  <a:gd name="T4" fmla="*/ 3 w 51"/>
                  <a:gd name="T5" fmla="*/ 27 h 27"/>
                  <a:gd name="T6" fmla="*/ 8 w 51"/>
                  <a:gd name="T7" fmla="*/ 25 h 27"/>
                  <a:gd name="T8" fmla="*/ 11 w 51"/>
                  <a:gd name="T9" fmla="*/ 25 h 27"/>
                  <a:gd name="T10" fmla="*/ 19 w 51"/>
                  <a:gd name="T11" fmla="*/ 18 h 27"/>
                  <a:gd name="T12" fmla="*/ 20 w 51"/>
                  <a:gd name="T13" fmla="*/ 14 h 27"/>
                  <a:gd name="T14" fmla="*/ 25 w 51"/>
                  <a:gd name="T15" fmla="*/ 12 h 27"/>
                  <a:gd name="T16" fmla="*/ 33 w 51"/>
                  <a:gd name="T17" fmla="*/ 10 h 27"/>
                  <a:gd name="T18" fmla="*/ 35 w 51"/>
                  <a:gd name="T19" fmla="*/ 9 h 27"/>
                  <a:gd name="T20" fmla="*/ 37 w 51"/>
                  <a:gd name="T21" fmla="*/ 8 h 27"/>
                  <a:gd name="T22" fmla="*/ 43 w 51"/>
                  <a:gd name="T23" fmla="*/ 5 h 27"/>
                  <a:gd name="T24" fmla="*/ 45 w 51"/>
                  <a:gd name="T25" fmla="*/ 4 h 27"/>
                  <a:gd name="T26" fmla="*/ 49 w 51"/>
                  <a:gd name="T27" fmla="*/ 2 h 27"/>
                  <a:gd name="T28" fmla="*/ 51 w 51"/>
                  <a:gd name="T29" fmla="*/ 0 h 27"/>
                  <a:gd name="T30" fmla="*/ 45 w 51"/>
                  <a:gd name="T31" fmla="*/ 0 h 27"/>
                  <a:gd name="T32" fmla="*/ 43 w 51"/>
                  <a:gd name="T33" fmla="*/ 1 h 27"/>
                  <a:gd name="T34" fmla="*/ 37 w 51"/>
                  <a:gd name="T35" fmla="*/ 1 h 27"/>
                  <a:gd name="T36" fmla="*/ 34 w 51"/>
                  <a:gd name="T37" fmla="*/ 2 h 27"/>
                  <a:gd name="T38" fmla="*/ 32 w 51"/>
                  <a:gd name="T39" fmla="*/ 1 h 27"/>
                  <a:gd name="T40" fmla="*/ 21 w 51"/>
                  <a:gd name="T41" fmla="*/ 3 h 27"/>
                  <a:gd name="T42" fmla="*/ 19 w 51"/>
                  <a:gd name="T43" fmla="*/ 8 h 27"/>
                  <a:gd name="T44" fmla="*/ 15 w 51"/>
                  <a:gd name="T45" fmla="*/ 10 h 27"/>
                  <a:gd name="T46" fmla="*/ 9 w 51"/>
                  <a:gd name="T47" fmla="*/ 11 h 27"/>
                  <a:gd name="T48" fmla="*/ 4 w 51"/>
                  <a:gd name="T49" fmla="*/ 14 h 27"/>
                  <a:gd name="T50" fmla="*/ 1 w 51"/>
                  <a:gd name="T51" fmla="*/ 17 h 27"/>
                  <a:gd name="T52" fmla="*/ 0 w 51"/>
                  <a:gd name="T53" fmla="*/ 22 h 27"/>
                  <a:gd name="T54" fmla="*/ 0 w 51"/>
                  <a:gd name="T55" fmla="*/ 2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1" h="27">
                    <a:moveTo>
                      <a:pt x="0" y="22"/>
                    </a:moveTo>
                    <a:lnTo>
                      <a:pt x="0" y="27"/>
                    </a:lnTo>
                    <a:lnTo>
                      <a:pt x="3" y="27"/>
                    </a:lnTo>
                    <a:lnTo>
                      <a:pt x="8" y="25"/>
                    </a:lnTo>
                    <a:lnTo>
                      <a:pt x="11" y="25"/>
                    </a:lnTo>
                    <a:lnTo>
                      <a:pt x="19" y="18"/>
                    </a:lnTo>
                    <a:lnTo>
                      <a:pt x="20" y="14"/>
                    </a:lnTo>
                    <a:lnTo>
                      <a:pt x="25" y="12"/>
                    </a:lnTo>
                    <a:lnTo>
                      <a:pt x="33" y="10"/>
                    </a:lnTo>
                    <a:lnTo>
                      <a:pt x="35" y="9"/>
                    </a:lnTo>
                    <a:lnTo>
                      <a:pt x="37" y="8"/>
                    </a:lnTo>
                    <a:lnTo>
                      <a:pt x="43" y="5"/>
                    </a:lnTo>
                    <a:lnTo>
                      <a:pt x="45" y="4"/>
                    </a:lnTo>
                    <a:lnTo>
                      <a:pt x="49" y="2"/>
                    </a:lnTo>
                    <a:lnTo>
                      <a:pt x="51" y="0"/>
                    </a:lnTo>
                    <a:lnTo>
                      <a:pt x="45" y="0"/>
                    </a:lnTo>
                    <a:lnTo>
                      <a:pt x="43" y="1"/>
                    </a:lnTo>
                    <a:lnTo>
                      <a:pt x="37" y="1"/>
                    </a:lnTo>
                    <a:lnTo>
                      <a:pt x="34" y="2"/>
                    </a:lnTo>
                    <a:lnTo>
                      <a:pt x="32" y="1"/>
                    </a:lnTo>
                    <a:lnTo>
                      <a:pt x="21" y="3"/>
                    </a:lnTo>
                    <a:lnTo>
                      <a:pt x="19" y="8"/>
                    </a:lnTo>
                    <a:lnTo>
                      <a:pt x="15" y="10"/>
                    </a:lnTo>
                    <a:lnTo>
                      <a:pt x="9" y="11"/>
                    </a:lnTo>
                    <a:lnTo>
                      <a:pt x="4" y="14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4" name="Freeform 170">
                <a:extLst>
                  <a:ext uri="{FF2B5EF4-FFF2-40B4-BE49-F238E27FC236}">
                    <a16:creationId xmlns:a16="http://schemas.microsoft.com/office/drawing/2014/main" id="{09273525-CC6D-4ED5-8872-361B1F6006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0" y="2666"/>
                <a:ext cx="10" cy="8"/>
              </a:xfrm>
              <a:custGeom>
                <a:avLst/>
                <a:gdLst>
                  <a:gd name="T0" fmla="*/ 1 w 10"/>
                  <a:gd name="T1" fmla="*/ 8 h 8"/>
                  <a:gd name="T2" fmla="*/ 6 w 10"/>
                  <a:gd name="T3" fmla="*/ 8 h 8"/>
                  <a:gd name="T4" fmla="*/ 8 w 10"/>
                  <a:gd name="T5" fmla="*/ 8 h 8"/>
                  <a:gd name="T6" fmla="*/ 10 w 10"/>
                  <a:gd name="T7" fmla="*/ 6 h 8"/>
                  <a:gd name="T8" fmla="*/ 10 w 10"/>
                  <a:gd name="T9" fmla="*/ 2 h 8"/>
                  <a:gd name="T10" fmla="*/ 8 w 10"/>
                  <a:gd name="T11" fmla="*/ 0 h 8"/>
                  <a:gd name="T12" fmla="*/ 5 w 10"/>
                  <a:gd name="T13" fmla="*/ 0 h 8"/>
                  <a:gd name="T14" fmla="*/ 4 w 10"/>
                  <a:gd name="T15" fmla="*/ 1 h 8"/>
                  <a:gd name="T16" fmla="*/ 4 w 10"/>
                  <a:gd name="T17" fmla="*/ 2 h 8"/>
                  <a:gd name="T18" fmla="*/ 0 w 10"/>
                  <a:gd name="T19" fmla="*/ 3 h 8"/>
                  <a:gd name="T20" fmla="*/ 1 w 10"/>
                  <a:gd name="T21" fmla="*/ 8 h 8"/>
                  <a:gd name="T22" fmla="*/ 1 w 10"/>
                  <a:gd name="T2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8">
                    <a:moveTo>
                      <a:pt x="1" y="8"/>
                    </a:moveTo>
                    <a:lnTo>
                      <a:pt x="6" y="8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4" y="2"/>
                    </a:lnTo>
                    <a:lnTo>
                      <a:pt x="0" y="3"/>
                    </a:lnTo>
                    <a:lnTo>
                      <a:pt x="1" y="8"/>
                    </a:lnTo>
                    <a:lnTo>
                      <a:pt x="1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5" name="Freeform 171">
                <a:extLst>
                  <a:ext uri="{FF2B5EF4-FFF2-40B4-BE49-F238E27FC236}">
                    <a16:creationId xmlns:a16="http://schemas.microsoft.com/office/drawing/2014/main" id="{C601ECF7-75EC-4215-B3E4-A6D1DBC0B3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3" y="2920"/>
                <a:ext cx="2" cy="2"/>
              </a:xfrm>
              <a:custGeom>
                <a:avLst/>
                <a:gdLst>
                  <a:gd name="T0" fmla="*/ 0 w 2"/>
                  <a:gd name="T1" fmla="*/ 1 h 2"/>
                  <a:gd name="T2" fmla="*/ 0 w 2"/>
                  <a:gd name="T3" fmla="*/ 2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1 h 2"/>
                  <a:gd name="T10" fmla="*/ 0 w 2"/>
                  <a:gd name="T1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6" name="Freeform 172">
                <a:extLst>
                  <a:ext uri="{FF2B5EF4-FFF2-40B4-BE49-F238E27FC236}">
                    <a16:creationId xmlns:a16="http://schemas.microsoft.com/office/drawing/2014/main" id="{D2AF7025-DC42-4E94-A63F-EA886F136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4" y="2613"/>
                <a:ext cx="4" cy="6"/>
              </a:xfrm>
              <a:custGeom>
                <a:avLst/>
                <a:gdLst>
                  <a:gd name="T0" fmla="*/ 2 w 4"/>
                  <a:gd name="T1" fmla="*/ 6 h 6"/>
                  <a:gd name="T2" fmla="*/ 4 w 4"/>
                  <a:gd name="T3" fmla="*/ 4 h 6"/>
                  <a:gd name="T4" fmla="*/ 4 w 4"/>
                  <a:gd name="T5" fmla="*/ 2 h 6"/>
                  <a:gd name="T6" fmla="*/ 2 w 4"/>
                  <a:gd name="T7" fmla="*/ 0 h 6"/>
                  <a:gd name="T8" fmla="*/ 0 w 4"/>
                  <a:gd name="T9" fmla="*/ 4 h 6"/>
                  <a:gd name="T10" fmla="*/ 2 w 4"/>
                  <a:gd name="T11" fmla="*/ 6 h 6"/>
                  <a:gd name="T12" fmla="*/ 2 w 4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6">
                    <a:moveTo>
                      <a:pt x="2" y="6"/>
                    </a:move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7" name="Freeform 173">
                <a:extLst>
                  <a:ext uri="{FF2B5EF4-FFF2-40B4-BE49-F238E27FC236}">
                    <a16:creationId xmlns:a16="http://schemas.microsoft.com/office/drawing/2014/main" id="{857CCC24-C66C-461C-9A32-3D9F143390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6" y="2633"/>
                <a:ext cx="20" cy="20"/>
              </a:xfrm>
              <a:custGeom>
                <a:avLst/>
                <a:gdLst>
                  <a:gd name="T0" fmla="*/ 14 w 20"/>
                  <a:gd name="T1" fmla="*/ 1 h 20"/>
                  <a:gd name="T2" fmla="*/ 11 w 20"/>
                  <a:gd name="T3" fmla="*/ 0 h 20"/>
                  <a:gd name="T4" fmla="*/ 9 w 20"/>
                  <a:gd name="T5" fmla="*/ 0 h 20"/>
                  <a:gd name="T6" fmla="*/ 9 w 20"/>
                  <a:gd name="T7" fmla="*/ 0 h 20"/>
                  <a:gd name="T8" fmla="*/ 6 w 20"/>
                  <a:gd name="T9" fmla="*/ 1 h 20"/>
                  <a:gd name="T10" fmla="*/ 3 w 20"/>
                  <a:gd name="T11" fmla="*/ 0 h 20"/>
                  <a:gd name="T12" fmla="*/ 0 w 20"/>
                  <a:gd name="T13" fmla="*/ 1 h 20"/>
                  <a:gd name="T14" fmla="*/ 1 w 20"/>
                  <a:gd name="T15" fmla="*/ 3 h 20"/>
                  <a:gd name="T16" fmla="*/ 3 w 20"/>
                  <a:gd name="T17" fmla="*/ 6 h 20"/>
                  <a:gd name="T18" fmla="*/ 6 w 20"/>
                  <a:gd name="T19" fmla="*/ 7 h 20"/>
                  <a:gd name="T20" fmla="*/ 7 w 20"/>
                  <a:gd name="T21" fmla="*/ 8 h 20"/>
                  <a:gd name="T22" fmla="*/ 9 w 20"/>
                  <a:gd name="T23" fmla="*/ 11 h 20"/>
                  <a:gd name="T24" fmla="*/ 9 w 20"/>
                  <a:gd name="T25" fmla="*/ 14 h 20"/>
                  <a:gd name="T26" fmla="*/ 10 w 20"/>
                  <a:gd name="T27" fmla="*/ 16 h 20"/>
                  <a:gd name="T28" fmla="*/ 12 w 20"/>
                  <a:gd name="T29" fmla="*/ 18 h 20"/>
                  <a:gd name="T30" fmla="*/ 14 w 20"/>
                  <a:gd name="T31" fmla="*/ 20 h 20"/>
                  <a:gd name="T32" fmla="*/ 20 w 20"/>
                  <a:gd name="T33" fmla="*/ 19 h 20"/>
                  <a:gd name="T34" fmla="*/ 19 w 20"/>
                  <a:gd name="T35" fmla="*/ 16 h 20"/>
                  <a:gd name="T36" fmla="*/ 18 w 20"/>
                  <a:gd name="T37" fmla="*/ 16 h 20"/>
                  <a:gd name="T38" fmla="*/ 17 w 20"/>
                  <a:gd name="T39" fmla="*/ 14 h 20"/>
                  <a:gd name="T40" fmla="*/ 17 w 20"/>
                  <a:gd name="T41" fmla="*/ 9 h 20"/>
                  <a:gd name="T42" fmla="*/ 17 w 20"/>
                  <a:gd name="T43" fmla="*/ 7 h 20"/>
                  <a:gd name="T44" fmla="*/ 17 w 20"/>
                  <a:gd name="T45" fmla="*/ 6 h 20"/>
                  <a:gd name="T46" fmla="*/ 17 w 20"/>
                  <a:gd name="T47" fmla="*/ 6 h 20"/>
                  <a:gd name="T48" fmla="*/ 17 w 20"/>
                  <a:gd name="T49" fmla="*/ 5 h 20"/>
                  <a:gd name="T50" fmla="*/ 15 w 20"/>
                  <a:gd name="T51" fmla="*/ 3 h 20"/>
                  <a:gd name="T52" fmla="*/ 14 w 20"/>
                  <a:gd name="T53" fmla="*/ 1 h 20"/>
                  <a:gd name="T54" fmla="*/ 14 w 20"/>
                  <a:gd name="T55" fmla="*/ 1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0" h="20">
                    <a:moveTo>
                      <a:pt x="14" y="1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0"/>
                    </a:lnTo>
                    <a:lnTo>
                      <a:pt x="0" y="1"/>
                    </a:lnTo>
                    <a:lnTo>
                      <a:pt x="1" y="3"/>
                    </a:lnTo>
                    <a:lnTo>
                      <a:pt x="3" y="6"/>
                    </a:lnTo>
                    <a:lnTo>
                      <a:pt x="6" y="7"/>
                    </a:lnTo>
                    <a:lnTo>
                      <a:pt x="7" y="8"/>
                    </a:lnTo>
                    <a:lnTo>
                      <a:pt x="9" y="11"/>
                    </a:lnTo>
                    <a:lnTo>
                      <a:pt x="9" y="14"/>
                    </a:lnTo>
                    <a:lnTo>
                      <a:pt x="10" y="16"/>
                    </a:lnTo>
                    <a:lnTo>
                      <a:pt x="12" y="18"/>
                    </a:lnTo>
                    <a:lnTo>
                      <a:pt x="14" y="20"/>
                    </a:lnTo>
                    <a:lnTo>
                      <a:pt x="20" y="19"/>
                    </a:lnTo>
                    <a:lnTo>
                      <a:pt x="19" y="16"/>
                    </a:lnTo>
                    <a:lnTo>
                      <a:pt x="18" y="16"/>
                    </a:lnTo>
                    <a:lnTo>
                      <a:pt x="17" y="14"/>
                    </a:lnTo>
                    <a:lnTo>
                      <a:pt x="17" y="9"/>
                    </a:lnTo>
                    <a:lnTo>
                      <a:pt x="17" y="7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7" y="5"/>
                    </a:lnTo>
                    <a:lnTo>
                      <a:pt x="15" y="3"/>
                    </a:lnTo>
                    <a:lnTo>
                      <a:pt x="14" y="1"/>
                    </a:lnTo>
                    <a:lnTo>
                      <a:pt x="14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8" name="Freeform 174">
                <a:extLst>
                  <a:ext uri="{FF2B5EF4-FFF2-40B4-BE49-F238E27FC236}">
                    <a16:creationId xmlns:a16="http://schemas.microsoft.com/office/drawing/2014/main" id="{BB86C015-A37B-4E32-8238-71CEBE9F97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7" y="2645"/>
                <a:ext cx="3" cy="3"/>
              </a:xfrm>
              <a:custGeom>
                <a:avLst/>
                <a:gdLst>
                  <a:gd name="T0" fmla="*/ 2 w 3"/>
                  <a:gd name="T1" fmla="*/ 3 h 3"/>
                  <a:gd name="T2" fmla="*/ 3 w 3"/>
                  <a:gd name="T3" fmla="*/ 0 h 3"/>
                  <a:gd name="T4" fmla="*/ 0 w 3"/>
                  <a:gd name="T5" fmla="*/ 0 h 3"/>
                  <a:gd name="T6" fmla="*/ 2 w 3"/>
                  <a:gd name="T7" fmla="*/ 3 h 3"/>
                  <a:gd name="T8" fmla="*/ 2 w 3"/>
                  <a:gd name="T9" fmla="*/ 3 h 3"/>
                  <a:gd name="T10" fmla="*/ 2 w 3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2" y="3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9" name="Freeform 175">
                <a:extLst>
                  <a:ext uri="{FF2B5EF4-FFF2-40B4-BE49-F238E27FC236}">
                    <a16:creationId xmlns:a16="http://schemas.microsoft.com/office/drawing/2014/main" id="{9292B6D8-45F9-405D-8757-0BC9EB726B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7" y="2917"/>
                <a:ext cx="11" cy="5"/>
              </a:xfrm>
              <a:custGeom>
                <a:avLst/>
                <a:gdLst>
                  <a:gd name="T0" fmla="*/ 2 w 11"/>
                  <a:gd name="T1" fmla="*/ 0 h 5"/>
                  <a:gd name="T2" fmla="*/ 2 w 11"/>
                  <a:gd name="T3" fmla="*/ 1 h 5"/>
                  <a:gd name="T4" fmla="*/ 0 w 11"/>
                  <a:gd name="T5" fmla="*/ 5 h 5"/>
                  <a:gd name="T6" fmla="*/ 3 w 11"/>
                  <a:gd name="T7" fmla="*/ 5 h 5"/>
                  <a:gd name="T8" fmla="*/ 11 w 11"/>
                  <a:gd name="T9" fmla="*/ 4 h 5"/>
                  <a:gd name="T10" fmla="*/ 10 w 11"/>
                  <a:gd name="T11" fmla="*/ 0 h 5"/>
                  <a:gd name="T12" fmla="*/ 5 w 11"/>
                  <a:gd name="T13" fmla="*/ 0 h 5"/>
                  <a:gd name="T14" fmla="*/ 2 w 11"/>
                  <a:gd name="T15" fmla="*/ 0 h 5"/>
                  <a:gd name="T16" fmla="*/ 2 w 11"/>
                  <a:gd name="T1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5">
                    <a:moveTo>
                      <a:pt x="2" y="0"/>
                    </a:moveTo>
                    <a:lnTo>
                      <a:pt x="2" y="1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11" y="4"/>
                    </a:lnTo>
                    <a:lnTo>
                      <a:pt x="10" y="0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0" name="Freeform 176">
                <a:extLst>
                  <a:ext uri="{FF2B5EF4-FFF2-40B4-BE49-F238E27FC236}">
                    <a16:creationId xmlns:a16="http://schemas.microsoft.com/office/drawing/2014/main" id="{952D5C25-E05A-4A7C-965F-09F157CC1C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8" y="2648"/>
                <a:ext cx="10" cy="20"/>
              </a:xfrm>
              <a:custGeom>
                <a:avLst/>
                <a:gdLst>
                  <a:gd name="T0" fmla="*/ 5 w 10"/>
                  <a:gd name="T1" fmla="*/ 18 h 20"/>
                  <a:gd name="T2" fmla="*/ 8 w 10"/>
                  <a:gd name="T3" fmla="*/ 20 h 20"/>
                  <a:gd name="T4" fmla="*/ 8 w 10"/>
                  <a:gd name="T5" fmla="*/ 17 h 20"/>
                  <a:gd name="T6" fmla="*/ 10 w 10"/>
                  <a:gd name="T7" fmla="*/ 17 h 20"/>
                  <a:gd name="T8" fmla="*/ 10 w 10"/>
                  <a:gd name="T9" fmla="*/ 12 h 20"/>
                  <a:gd name="T10" fmla="*/ 9 w 10"/>
                  <a:gd name="T11" fmla="*/ 10 h 20"/>
                  <a:gd name="T12" fmla="*/ 9 w 10"/>
                  <a:gd name="T13" fmla="*/ 4 h 20"/>
                  <a:gd name="T14" fmla="*/ 8 w 10"/>
                  <a:gd name="T15" fmla="*/ 2 h 20"/>
                  <a:gd name="T16" fmla="*/ 6 w 10"/>
                  <a:gd name="T17" fmla="*/ 1 h 20"/>
                  <a:gd name="T18" fmla="*/ 2 w 10"/>
                  <a:gd name="T19" fmla="*/ 2 h 20"/>
                  <a:gd name="T20" fmla="*/ 0 w 10"/>
                  <a:gd name="T21" fmla="*/ 0 h 20"/>
                  <a:gd name="T22" fmla="*/ 0 w 10"/>
                  <a:gd name="T23" fmla="*/ 5 h 20"/>
                  <a:gd name="T24" fmla="*/ 0 w 10"/>
                  <a:gd name="T25" fmla="*/ 8 h 20"/>
                  <a:gd name="T26" fmla="*/ 4 w 10"/>
                  <a:gd name="T27" fmla="*/ 7 h 20"/>
                  <a:gd name="T28" fmla="*/ 6 w 10"/>
                  <a:gd name="T29" fmla="*/ 10 h 20"/>
                  <a:gd name="T30" fmla="*/ 6 w 10"/>
                  <a:gd name="T31" fmla="*/ 11 h 20"/>
                  <a:gd name="T32" fmla="*/ 5 w 10"/>
                  <a:gd name="T33" fmla="*/ 13 h 20"/>
                  <a:gd name="T34" fmla="*/ 6 w 10"/>
                  <a:gd name="T35" fmla="*/ 16 h 20"/>
                  <a:gd name="T36" fmla="*/ 5 w 10"/>
                  <a:gd name="T37" fmla="*/ 18 h 20"/>
                  <a:gd name="T38" fmla="*/ 5 w 10"/>
                  <a:gd name="T39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20">
                    <a:moveTo>
                      <a:pt x="5" y="18"/>
                    </a:moveTo>
                    <a:lnTo>
                      <a:pt x="8" y="20"/>
                    </a:lnTo>
                    <a:lnTo>
                      <a:pt x="8" y="17"/>
                    </a:lnTo>
                    <a:lnTo>
                      <a:pt x="10" y="17"/>
                    </a:lnTo>
                    <a:lnTo>
                      <a:pt x="10" y="12"/>
                    </a:lnTo>
                    <a:lnTo>
                      <a:pt x="9" y="10"/>
                    </a:lnTo>
                    <a:lnTo>
                      <a:pt x="9" y="4"/>
                    </a:lnTo>
                    <a:lnTo>
                      <a:pt x="8" y="2"/>
                    </a:lnTo>
                    <a:lnTo>
                      <a:pt x="6" y="1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4" y="7"/>
                    </a:lnTo>
                    <a:lnTo>
                      <a:pt x="6" y="10"/>
                    </a:lnTo>
                    <a:lnTo>
                      <a:pt x="6" y="11"/>
                    </a:lnTo>
                    <a:lnTo>
                      <a:pt x="5" y="13"/>
                    </a:lnTo>
                    <a:lnTo>
                      <a:pt x="6" y="16"/>
                    </a:lnTo>
                    <a:lnTo>
                      <a:pt x="5" y="18"/>
                    </a:lnTo>
                    <a:lnTo>
                      <a:pt x="5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1" name="Freeform 177">
                <a:extLst>
                  <a:ext uri="{FF2B5EF4-FFF2-40B4-BE49-F238E27FC236}">
                    <a16:creationId xmlns:a16="http://schemas.microsoft.com/office/drawing/2014/main" id="{4EAE8AE9-D0FF-4802-BC90-C72D08F77C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7" y="2909"/>
                <a:ext cx="14" cy="7"/>
              </a:xfrm>
              <a:custGeom>
                <a:avLst/>
                <a:gdLst>
                  <a:gd name="T0" fmla="*/ 3 w 14"/>
                  <a:gd name="T1" fmla="*/ 1 h 7"/>
                  <a:gd name="T2" fmla="*/ 0 w 14"/>
                  <a:gd name="T3" fmla="*/ 4 h 7"/>
                  <a:gd name="T4" fmla="*/ 0 w 14"/>
                  <a:gd name="T5" fmla="*/ 7 h 7"/>
                  <a:gd name="T6" fmla="*/ 3 w 14"/>
                  <a:gd name="T7" fmla="*/ 5 h 7"/>
                  <a:gd name="T8" fmla="*/ 8 w 14"/>
                  <a:gd name="T9" fmla="*/ 6 h 7"/>
                  <a:gd name="T10" fmla="*/ 11 w 14"/>
                  <a:gd name="T11" fmla="*/ 4 h 7"/>
                  <a:gd name="T12" fmla="*/ 14 w 14"/>
                  <a:gd name="T13" fmla="*/ 3 h 7"/>
                  <a:gd name="T14" fmla="*/ 11 w 14"/>
                  <a:gd name="T15" fmla="*/ 0 h 7"/>
                  <a:gd name="T16" fmla="*/ 8 w 14"/>
                  <a:gd name="T17" fmla="*/ 1 h 7"/>
                  <a:gd name="T18" fmla="*/ 5 w 14"/>
                  <a:gd name="T19" fmla="*/ 3 h 7"/>
                  <a:gd name="T20" fmla="*/ 3 w 14"/>
                  <a:gd name="T21" fmla="*/ 1 h 7"/>
                  <a:gd name="T22" fmla="*/ 3 w 14"/>
                  <a:gd name="T23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" h="7">
                    <a:moveTo>
                      <a:pt x="3" y="1"/>
                    </a:moveTo>
                    <a:lnTo>
                      <a:pt x="0" y="4"/>
                    </a:lnTo>
                    <a:lnTo>
                      <a:pt x="0" y="7"/>
                    </a:lnTo>
                    <a:lnTo>
                      <a:pt x="3" y="5"/>
                    </a:lnTo>
                    <a:lnTo>
                      <a:pt x="8" y="6"/>
                    </a:lnTo>
                    <a:lnTo>
                      <a:pt x="11" y="4"/>
                    </a:lnTo>
                    <a:lnTo>
                      <a:pt x="14" y="3"/>
                    </a:lnTo>
                    <a:lnTo>
                      <a:pt x="11" y="0"/>
                    </a:lnTo>
                    <a:lnTo>
                      <a:pt x="8" y="1"/>
                    </a:lnTo>
                    <a:lnTo>
                      <a:pt x="5" y="3"/>
                    </a:lnTo>
                    <a:lnTo>
                      <a:pt x="3" y="1"/>
                    </a:lnTo>
                    <a:lnTo>
                      <a:pt x="3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2" name="Freeform 178">
                <a:extLst>
                  <a:ext uri="{FF2B5EF4-FFF2-40B4-BE49-F238E27FC236}">
                    <a16:creationId xmlns:a16="http://schemas.microsoft.com/office/drawing/2014/main" id="{FBE0DE5A-9CB4-4A20-A4E9-B0742E56FC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1" y="2848"/>
                <a:ext cx="16" cy="10"/>
              </a:xfrm>
              <a:custGeom>
                <a:avLst/>
                <a:gdLst>
                  <a:gd name="T0" fmla="*/ 9 w 16"/>
                  <a:gd name="T1" fmla="*/ 10 h 10"/>
                  <a:gd name="T2" fmla="*/ 11 w 16"/>
                  <a:gd name="T3" fmla="*/ 9 h 10"/>
                  <a:gd name="T4" fmla="*/ 13 w 16"/>
                  <a:gd name="T5" fmla="*/ 8 h 10"/>
                  <a:gd name="T6" fmla="*/ 16 w 16"/>
                  <a:gd name="T7" fmla="*/ 5 h 10"/>
                  <a:gd name="T8" fmla="*/ 11 w 16"/>
                  <a:gd name="T9" fmla="*/ 0 h 10"/>
                  <a:gd name="T10" fmla="*/ 9 w 16"/>
                  <a:gd name="T11" fmla="*/ 0 h 10"/>
                  <a:gd name="T12" fmla="*/ 0 w 16"/>
                  <a:gd name="T13" fmla="*/ 0 h 10"/>
                  <a:gd name="T14" fmla="*/ 0 w 16"/>
                  <a:gd name="T15" fmla="*/ 2 h 10"/>
                  <a:gd name="T16" fmla="*/ 1 w 16"/>
                  <a:gd name="T17" fmla="*/ 6 h 10"/>
                  <a:gd name="T18" fmla="*/ 3 w 16"/>
                  <a:gd name="T19" fmla="*/ 8 h 10"/>
                  <a:gd name="T20" fmla="*/ 9 w 16"/>
                  <a:gd name="T21" fmla="*/ 10 h 10"/>
                  <a:gd name="T22" fmla="*/ 9 w 16"/>
                  <a:gd name="T2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10">
                    <a:moveTo>
                      <a:pt x="9" y="10"/>
                    </a:moveTo>
                    <a:lnTo>
                      <a:pt x="11" y="9"/>
                    </a:lnTo>
                    <a:lnTo>
                      <a:pt x="13" y="8"/>
                    </a:lnTo>
                    <a:lnTo>
                      <a:pt x="16" y="5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1" y="6"/>
                    </a:lnTo>
                    <a:lnTo>
                      <a:pt x="3" y="8"/>
                    </a:lnTo>
                    <a:lnTo>
                      <a:pt x="9" y="10"/>
                    </a:lnTo>
                    <a:lnTo>
                      <a:pt x="9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3" name="Freeform 179">
                <a:extLst>
                  <a:ext uri="{FF2B5EF4-FFF2-40B4-BE49-F238E27FC236}">
                    <a16:creationId xmlns:a16="http://schemas.microsoft.com/office/drawing/2014/main" id="{08767724-8A02-420B-BEF5-CD6BD69206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9" y="2776"/>
                <a:ext cx="20" cy="40"/>
              </a:xfrm>
              <a:custGeom>
                <a:avLst/>
                <a:gdLst>
                  <a:gd name="T0" fmla="*/ 5 w 20"/>
                  <a:gd name="T1" fmla="*/ 29 h 40"/>
                  <a:gd name="T2" fmla="*/ 5 w 20"/>
                  <a:gd name="T3" fmla="*/ 31 h 40"/>
                  <a:gd name="T4" fmla="*/ 10 w 20"/>
                  <a:gd name="T5" fmla="*/ 39 h 40"/>
                  <a:gd name="T6" fmla="*/ 12 w 20"/>
                  <a:gd name="T7" fmla="*/ 40 h 40"/>
                  <a:gd name="T8" fmla="*/ 9 w 20"/>
                  <a:gd name="T9" fmla="*/ 35 h 40"/>
                  <a:gd name="T10" fmla="*/ 7 w 20"/>
                  <a:gd name="T11" fmla="*/ 29 h 40"/>
                  <a:gd name="T12" fmla="*/ 8 w 20"/>
                  <a:gd name="T13" fmla="*/ 28 h 40"/>
                  <a:gd name="T14" fmla="*/ 7 w 20"/>
                  <a:gd name="T15" fmla="*/ 25 h 40"/>
                  <a:gd name="T16" fmla="*/ 10 w 20"/>
                  <a:gd name="T17" fmla="*/ 23 h 40"/>
                  <a:gd name="T18" fmla="*/ 20 w 20"/>
                  <a:gd name="T19" fmla="*/ 26 h 40"/>
                  <a:gd name="T20" fmla="*/ 18 w 20"/>
                  <a:gd name="T21" fmla="*/ 25 h 40"/>
                  <a:gd name="T22" fmla="*/ 18 w 20"/>
                  <a:gd name="T23" fmla="*/ 22 h 40"/>
                  <a:gd name="T24" fmla="*/ 15 w 20"/>
                  <a:gd name="T25" fmla="*/ 21 h 40"/>
                  <a:gd name="T26" fmla="*/ 12 w 20"/>
                  <a:gd name="T27" fmla="*/ 20 h 40"/>
                  <a:gd name="T28" fmla="*/ 14 w 20"/>
                  <a:gd name="T29" fmla="*/ 17 h 40"/>
                  <a:gd name="T30" fmla="*/ 16 w 20"/>
                  <a:gd name="T31" fmla="*/ 16 h 40"/>
                  <a:gd name="T32" fmla="*/ 18 w 20"/>
                  <a:gd name="T33" fmla="*/ 13 h 40"/>
                  <a:gd name="T34" fmla="*/ 18 w 20"/>
                  <a:gd name="T35" fmla="*/ 11 h 40"/>
                  <a:gd name="T36" fmla="*/ 16 w 20"/>
                  <a:gd name="T37" fmla="*/ 8 h 40"/>
                  <a:gd name="T38" fmla="*/ 14 w 20"/>
                  <a:gd name="T39" fmla="*/ 10 h 40"/>
                  <a:gd name="T40" fmla="*/ 10 w 20"/>
                  <a:gd name="T41" fmla="*/ 11 h 40"/>
                  <a:gd name="T42" fmla="*/ 10 w 20"/>
                  <a:gd name="T43" fmla="*/ 14 h 40"/>
                  <a:gd name="T44" fmla="*/ 8 w 20"/>
                  <a:gd name="T45" fmla="*/ 16 h 40"/>
                  <a:gd name="T46" fmla="*/ 7 w 20"/>
                  <a:gd name="T47" fmla="*/ 18 h 40"/>
                  <a:gd name="T48" fmla="*/ 5 w 20"/>
                  <a:gd name="T49" fmla="*/ 18 h 40"/>
                  <a:gd name="T50" fmla="*/ 5 w 20"/>
                  <a:gd name="T51" fmla="*/ 16 h 40"/>
                  <a:gd name="T52" fmla="*/ 7 w 20"/>
                  <a:gd name="T53" fmla="*/ 13 h 40"/>
                  <a:gd name="T54" fmla="*/ 9 w 20"/>
                  <a:gd name="T55" fmla="*/ 11 h 40"/>
                  <a:gd name="T56" fmla="*/ 9 w 20"/>
                  <a:gd name="T57" fmla="*/ 8 h 40"/>
                  <a:gd name="T58" fmla="*/ 7 w 20"/>
                  <a:gd name="T59" fmla="*/ 0 h 40"/>
                  <a:gd name="T60" fmla="*/ 3 w 20"/>
                  <a:gd name="T61" fmla="*/ 5 h 40"/>
                  <a:gd name="T62" fmla="*/ 1 w 20"/>
                  <a:gd name="T63" fmla="*/ 11 h 40"/>
                  <a:gd name="T64" fmla="*/ 0 w 20"/>
                  <a:gd name="T65" fmla="*/ 13 h 40"/>
                  <a:gd name="T66" fmla="*/ 2 w 20"/>
                  <a:gd name="T67" fmla="*/ 16 h 40"/>
                  <a:gd name="T68" fmla="*/ 3 w 20"/>
                  <a:gd name="T69" fmla="*/ 19 h 40"/>
                  <a:gd name="T70" fmla="*/ 2 w 20"/>
                  <a:gd name="T71" fmla="*/ 21 h 40"/>
                  <a:gd name="T72" fmla="*/ 5 w 20"/>
                  <a:gd name="T73" fmla="*/ 27 h 40"/>
                  <a:gd name="T74" fmla="*/ 5 w 20"/>
                  <a:gd name="T75" fmla="*/ 29 h 40"/>
                  <a:gd name="T76" fmla="*/ 5 w 20"/>
                  <a:gd name="T77" fmla="*/ 2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0" h="40">
                    <a:moveTo>
                      <a:pt x="5" y="29"/>
                    </a:moveTo>
                    <a:lnTo>
                      <a:pt x="5" y="31"/>
                    </a:lnTo>
                    <a:lnTo>
                      <a:pt x="10" y="39"/>
                    </a:lnTo>
                    <a:lnTo>
                      <a:pt x="12" y="40"/>
                    </a:lnTo>
                    <a:lnTo>
                      <a:pt x="9" y="35"/>
                    </a:lnTo>
                    <a:lnTo>
                      <a:pt x="7" y="29"/>
                    </a:lnTo>
                    <a:lnTo>
                      <a:pt x="8" y="28"/>
                    </a:lnTo>
                    <a:lnTo>
                      <a:pt x="7" y="25"/>
                    </a:lnTo>
                    <a:lnTo>
                      <a:pt x="10" y="23"/>
                    </a:lnTo>
                    <a:lnTo>
                      <a:pt x="20" y="26"/>
                    </a:lnTo>
                    <a:lnTo>
                      <a:pt x="18" y="25"/>
                    </a:lnTo>
                    <a:lnTo>
                      <a:pt x="18" y="22"/>
                    </a:lnTo>
                    <a:lnTo>
                      <a:pt x="15" y="21"/>
                    </a:lnTo>
                    <a:lnTo>
                      <a:pt x="12" y="20"/>
                    </a:lnTo>
                    <a:lnTo>
                      <a:pt x="14" y="17"/>
                    </a:lnTo>
                    <a:lnTo>
                      <a:pt x="16" y="16"/>
                    </a:lnTo>
                    <a:lnTo>
                      <a:pt x="18" y="13"/>
                    </a:lnTo>
                    <a:lnTo>
                      <a:pt x="18" y="11"/>
                    </a:lnTo>
                    <a:lnTo>
                      <a:pt x="16" y="8"/>
                    </a:lnTo>
                    <a:lnTo>
                      <a:pt x="14" y="10"/>
                    </a:lnTo>
                    <a:lnTo>
                      <a:pt x="10" y="11"/>
                    </a:lnTo>
                    <a:lnTo>
                      <a:pt x="10" y="14"/>
                    </a:lnTo>
                    <a:lnTo>
                      <a:pt x="8" y="16"/>
                    </a:lnTo>
                    <a:lnTo>
                      <a:pt x="7" y="18"/>
                    </a:lnTo>
                    <a:lnTo>
                      <a:pt x="5" y="18"/>
                    </a:lnTo>
                    <a:lnTo>
                      <a:pt x="5" y="16"/>
                    </a:lnTo>
                    <a:lnTo>
                      <a:pt x="7" y="13"/>
                    </a:lnTo>
                    <a:lnTo>
                      <a:pt x="9" y="11"/>
                    </a:lnTo>
                    <a:lnTo>
                      <a:pt x="9" y="8"/>
                    </a:lnTo>
                    <a:lnTo>
                      <a:pt x="7" y="0"/>
                    </a:lnTo>
                    <a:lnTo>
                      <a:pt x="3" y="5"/>
                    </a:lnTo>
                    <a:lnTo>
                      <a:pt x="1" y="11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3" y="19"/>
                    </a:lnTo>
                    <a:lnTo>
                      <a:pt x="2" y="21"/>
                    </a:lnTo>
                    <a:lnTo>
                      <a:pt x="5" y="27"/>
                    </a:lnTo>
                    <a:lnTo>
                      <a:pt x="5" y="29"/>
                    </a:lnTo>
                    <a:lnTo>
                      <a:pt x="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4" name="Freeform 180">
                <a:extLst>
                  <a:ext uri="{FF2B5EF4-FFF2-40B4-BE49-F238E27FC236}">
                    <a16:creationId xmlns:a16="http://schemas.microsoft.com/office/drawing/2014/main" id="{B28A85E3-190F-400B-AA32-1733AB45CF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7" y="2844"/>
                <a:ext cx="40" cy="14"/>
              </a:xfrm>
              <a:custGeom>
                <a:avLst/>
                <a:gdLst>
                  <a:gd name="T0" fmla="*/ 28 w 40"/>
                  <a:gd name="T1" fmla="*/ 9 h 14"/>
                  <a:gd name="T2" fmla="*/ 34 w 40"/>
                  <a:gd name="T3" fmla="*/ 12 h 14"/>
                  <a:gd name="T4" fmla="*/ 36 w 40"/>
                  <a:gd name="T5" fmla="*/ 13 h 14"/>
                  <a:gd name="T6" fmla="*/ 40 w 40"/>
                  <a:gd name="T7" fmla="*/ 14 h 14"/>
                  <a:gd name="T8" fmla="*/ 40 w 40"/>
                  <a:gd name="T9" fmla="*/ 9 h 14"/>
                  <a:gd name="T10" fmla="*/ 36 w 40"/>
                  <a:gd name="T11" fmla="*/ 8 h 14"/>
                  <a:gd name="T12" fmla="*/ 36 w 40"/>
                  <a:gd name="T13" fmla="*/ 4 h 14"/>
                  <a:gd name="T14" fmla="*/ 33 w 40"/>
                  <a:gd name="T15" fmla="*/ 3 h 14"/>
                  <a:gd name="T16" fmla="*/ 28 w 40"/>
                  <a:gd name="T17" fmla="*/ 3 h 14"/>
                  <a:gd name="T18" fmla="*/ 26 w 40"/>
                  <a:gd name="T19" fmla="*/ 2 h 14"/>
                  <a:gd name="T20" fmla="*/ 21 w 40"/>
                  <a:gd name="T21" fmla="*/ 0 h 14"/>
                  <a:gd name="T22" fmla="*/ 16 w 40"/>
                  <a:gd name="T23" fmla="*/ 2 h 14"/>
                  <a:gd name="T24" fmla="*/ 14 w 40"/>
                  <a:gd name="T25" fmla="*/ 1 h 14"/>
                  <a:gd name="T26" fmla="*/ 8 w 40"/>
                  <a:gd name="T27" fmla="*/ 1 h 14"/>
                  <a:gd name="T28" fmla="*/ 4 w 40"/>
                  <a:gd name="T29" fmla="*/ 1 h 14"/>
                  <a:gd name="T30" fmla="*/ 2 w 40"/>
                  <a:gd name="T31" fmla="*/ 2 h 14"/>
                  <a:gd name="T32" fmla="*/ 0 w 40"/>
                  <a:gd name="T33" fmla="*/ 4 h 14"/>
                  <a:gd name="T34" fmla="*/ 0 w 40"/>
                  <a:gd name="T35" fmla="*/ 10 h 14"/>
                  <a:gd name="T36" fmla="*/ 1 w 40"/>
                  <a:gd name="T37" fmla="*/ 8 h 14"/>
                  <a:gd name="T38" fmla="*/ 2 w 40"/>
                  <a:gd name="T39" fmla="*/ 4 h 14"/>
                  <a:gd name="T40" fmla="*/ 4 w 40"/>
                  <a:gd name="T41" fmla="*/ 6 h 14"/>
                  <a:gd name="T42" fmla="*/ 7 w 40"/>
                  <a:gd name="T43" fmla="*/ 9 h 14"/>
                  <a:gd name="T44" fmla="*/ 9 w 40"/>
                  <a:gd name="T45" fmla="*/ 9 h 14"/>
                  <a:gd name="T46" fmla="*/ 11 w 40"/>
                  <a:gd name="T47" fmla="*/ 6 h 14"/>
                  <a:gd name="T48" fmla="*/ 15 w 40"/>
                  <a:gd name="T49" fmla="*/ 8 h 14"/>
                  <a:gd name="T50" fmla="*/ 20 w 40"/>
                  <a:gd name="T51" fmla="*/ 9 h 14"/>
                  <a:gd name="T52" fmla="*/ 23 w 40"/>
                  <a:gd name="T53" fmla="*/ 8 h 14"/>
                  <a:gd name="T54" fmla="*/ 25 w 40"/>
                  <a:gd name="T55" fmla="*/ 8 h 14"/>
                  <a:gd name="T56" fmla="*/ 28 w 40"/>
                  <a:gd name="T57" fmla="*/ 9 h 14"/>
                  <a:gd name="T58" fmla="*/ 28 w 40"/>
                  <a:gd name="T59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0" h="14">
                    <a:moveTo>
                      <a:pt x="28" y="9"/>
                    </a:moveTo>
                    <a:lnTo>
                      <a:pt x="34" y="12"/>
                    </a:lnTo>
                    <a:lnTo>
                      <a:pt x="36" y="13"/>
                    </a:lnTo>
                    <a:lnTo>
                      <a:pt x="40" y="14"/>
                    </a:lnTo>
                    <a:lnTo>
                      <a:pt x="40" y="9"/>
                    </a:lnTo>
                    <a:lnTo>
                      <a:pt x="36" y="8"/>
                    </a:lnTo>
                    <a:lnTo>
                      <a:pt x="36" y="4"/>
                    </a:lnTo>
                    <a:lnTo>
                      <a:pt x="33" y="3"/>
                    </a:lnTo>
                    <a:lnTo>
                      <a:pt x="28" y="3"/>
                    </a:lnTo>
                    <a:lnTo>
                      <a:pt x="26" y="2"/>
                    </a:lnTo>
                    <a:lnTo>
                      <a:pt x="21" y="0"/>
                    </a:lnTo>
                    <a:lnTo>
                      <a:pt x="16" y="2"/>
                    </a:lnTo>
                    <a:lnTo>
                      <a:pt x="14" y="1"/>
                    </a:lnTo>
                    <a:lnTo>
                      <a:pt x="8" y="1"/>
                    </a:lnTo>
                    <a:lnTo>
                      <a:pt x="4" y="1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7" y="9"/>
                    </a:lnTo>
                    <a:lnTo>
                      <a:pt x="9" y="9"/>
                    </a:lnTo>
                    <a:lnTo>
                      <a:pt x="11" y="6"/>
                    </a:lnTo>
                    <a:lnTo>
                      <a:pt x="15" y="8"/>
                    </a:lnTo>
                    <a:lnTo>
                      <a:pt x="20" y="9"/>
                    </a:lnTo>
                    <a:lnTo>
                      <a:pt x="23" y="8"/>
                    </a:lnTo>
                    <a:lnTo>
                      <a:pt x="25" y="8"/>
                    </a:lnTo>
                    <a:lnTo>
                      <a:pt x="28" y="9"/>
                    </a:lnTo>
                    <a:lnTo>
                      <a:pt x="28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5" name="Freeform 181">
                <a:extLst>
                  <a:ext uri="{FF2B5EF4-FFF2-40B4-BE49-F238E27FC236}">
                    <a16:creationId xmlns:a16="http://schemas.microsoft.com/office/drawing/2014/main" id="{346AF474-B811-4E91-879C-0C51E8713D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0" y="2770"/>
                <a:ext cx="7" cy="8"/>
              </a:xfrm>
              <a:custGeom>
                <a:avLst/>
                <a:gdLst>
                  <a:gd name="T0" fmla="*/ 1 w 7"/>
                  <a:gd name="T1" fmla="*/ 8 h 8"/>
                  <a:gd name="T2" fmla="*/ 3 w 7"/>
                  <a:gd name="T3" fmla="*/ 8 h 8"/>
                  <a:gd name="T4" fmla="*/ 6 w 7"/>
                  <a:gd name="T5" fmla="*/ 6 h 8"/>
                  <a:gd name="T6" fmla="*/ 7 w 7"/>
                  <a:gd name="T7" fmla="*/ 3 h 8"/>
                  <a:gd name="T8" fmla="*/ 7 w 7"/>
                  <a:gd name="T9" fmla="*/ 1 h 8"/>
                  <a:gd name="T10" fmla="*/ 5 w 7"/>
                  <a:gd name="T11" fmla="*/ 0 h 8"/>
                  <a:gd name="T12" fmla="*/ 1 w 7"/>
                  <a:gd name="T13" fmla="*/ 2 h 8"/>
                  <a:gd name="T14" fmla="*/ 0 w 7"/>
                  <a:gd name="T15" fmla="*/ 6 h 8"/>
                  <a:gd name="T16" fmla="*/ 1 w 7"/>
                  <a:gd name="T17" fmla="*/ 8 h 8"/>
                  <a:gd name="T18" fmla="*/ 1 w 7"/>
                  <a:gd name="T1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8">
                    <a:moveTo>
                      <a:pt x="1" y="8"/>
                    </a:moveTo>
                    <a:lnTo>
                      <a:pt x="3" y="8"/>
                    </a:lnTo>
                    <a:lnTo>
                      <a:pt x="6" y="6"/>
                    </a:lnTo>
                    <a:lnTo>
                      <a:pt x="7" y="3"/>
                    </a:lnTo>
                    <a:lnTo>
                      <a:pt x="7" y="1"/>
                    </a:lnTo>
                    <a:lnTo>
                      <a:pt x="5" y="0"/>
                    </a:lnTo>
                    <a:lnTo>
                      <a:pt x="1" y="2"/>
                    </a:lnTo>
                    <a:lnTo>
                      <a:pt x="0" y="6"/>
                    </a:lnTo>
                    <a:lnTo>
                      <a:pt x="1" y="8"/>
                    </a:lnTo>
                    <a:lnTo>
                      <a:pt x="1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6" name="Freeform 182">
                <a:extLst>
                  <a:ext uri="{FF2B5EF4-FFF2-40B4-BE49-F238E27FC236}">
                    <a16:creationId xmlns:a16="http://schemas.microsoft.com/office/drawing/2014/main" id="{29C787C5-7510-4A3A-9261-1E425D59D8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0" y="2203"/>
                <a:ext cx="169" cy="164"/>
              </a:xfrm>
              <a:custGeom>
                <a:avLst/>
                <a:gdLst>
                  <a:gd name="T0" fmla="*/ 23 w 169"/>
                  <a:gd name="T1" fmla="*/ 119 h 164"/>
                  <a:gd name="T2" fmla="*/ 35 w 169"/>
                  <a:gd name="T3" fmla="*/ 119 h 164"/>
                  <a:gd name="T4" fmla="*/ 41 w 169"/>
                  <a:gd name="T5" fmla="*/ 115 h 164"/>
                  <a:gd name="T6" fmla="*/ 48 w 169"/>
                  <a:gd name="T7" fmla="*/ 114 h 164"/>
                  <a:gd name="T8" fmla="*/ 60 w 169"/>
                  <a:gd name="T9" fmla="*/ 111 h 164"/>
                  <a:gd name="T10" fmla="*/ 77 w 169"/>
                  <a:gd name="T11" fmla="*/ 108 h 164"/>
                  <a:gd name="T12" fmla="*/ 74 w 169"/>
                  <a:gd name="T13" fmla="*/ 114 h 164"/>
                  <a:gd name="T14" fmla="*/ 79 w 169"/>
                  <a:gd name="T15" fmla="*/ 123 h 164"/>
                  <a:gd name="T16" fmla="*/ 88 w 169"/>
                  <a:gd name="T17" fmla="*/ 121 h 164"/>
                  <a:gd name="T18" fmla="*/ 99 w 169"/>
                  <a:gd name="T19" fmla="*/ 113 h 164"/>
                  <a:gd name="T20" fmla="*/ 97 w 169"/>
                  <a:gd name="T21" fmla="*/ 103 h 164"/>
                  <a:gd name="T22" fmla="*/ 100 w 169"/>
                  <a:gd name="T23" fmla="*/ 105 h 164"/>
                  <a:gd name="T24" fmla="*/ 116 w 169"/>
                  <a:gd name="T25" fmla="*/ 110 h 164"/>
                  <a:gd name="T26" fmla="*/ 125 w 169"/>
                  <a:gd name="T27" fmla="*/ 104 h 164"/>
                  <a:gd name="T28" fmla="*/ 130 w 169"/>
                  <a:gd name="T29" fmla="*/ 102 h 164"/>
                  <a:gd name="T30" fmla="*/ 137 w 169"/>
                  <a:gd name="T31" fmla="*/ 98 h 164"/>
                  <a:gd name="T32" fmla="*/ 140 w 169"/>
                  <a:gd name="T33" fmla="*/ 99 h 164"/>
                  <a:gd name="T34" fmla="*/ 151 w 169"/>
                  <a:gd name="T35" fmla="*/ 93 h 164"/>
                  <a:gd name="T36" fmla="*/ 150 w 169"/>
                  <a:gd name="T37" fmla="*/ 85 h 164"/>
                  <a:gd name="T38" fmla="*/ 156 w 169"/>
                  <a:gd name="T39" fmla="*/ 65 h 164"/>
                  <a:gd name="T40" fmla="*/ 157 w 169"/>
                  <a:gd name="T41" fmla="*/ 51 h 164"/>
                  <a:gd name="T42" fmla="*/ 164 w 169"/>
                  <a:gd name="T43" fmla="*/ 40 h 164"/>
                  <a:gd name="T44" fmla="*/ 169 w 169"/>
                  <a:gd name="T45" fmla="*/ 33 h 164"/>
                  <a:gd name="T46" fmla="*/ 162 w 169"/>
                  <a:gd name="T47" fmla="*/ 14 h 164"/>
                  <a:gd name="T48" fmla="*/ 157 w 169"/>
                  <a:gd name="T49" fmla="*/ 0 h 164"/>
                  <a:gd name="T50" fmla="*/ 159 w 169"/>
                  <a:gd name="T51" fmla="*/ 4 h 164"/>
                  <a:gd name="T52" fmla="*/ 152 w 169"/>
                  <a:gd name="T53" fmla="*/ 11 h 164"/>
                  <a:gd name="T54" fmla="*/ 146 w 169"/>
                  <a:gd name="T55" fmla="*/ 6 h 164"/>
                  <a:gd name="T56" fmla="*/ 140 w 169"/>
                  <a:gd name="T57" fmla="*/ 14 h 164"/>
                  <a:gd name="T58" fmla="*/ 139 w 169"/>
                  <a:gd name="T59" fmla="*/ 27 h 164"/>
                  <a:gd name="T60" fmla="*/ 142 w 169"/>
                  <a:gd name="T61" fmla="*/ 35 h 164"/>
                  <a:gd name="T62" fmla="*/ 134 w 169"/>
                  <a:gd name="T63" fmla="*/ 51 h 164"/>
                  <a:gd name="T64" fmla="*/ 126 w 169"/>
                  <a:gd name="T65" fmla="*/ 59 h 164"/>
                  <a:gd name="T66" fmla="*/ 117 w 169"/>
                  <a:gd name="T67" fmla="*/ 70 h 164"/>
                  <a:gd name="T68" fmla="*/ 102 w 169"/>
                  <a:gd name="T69" fmla="*/ 72 h 164"/>
                  <a:gd name="T70" fmla="*/ 105 w 169"/>
                  <a:gd name="T71" fmla="*/ 64 h 164"/>
                  <a:gd name="T72" fmla="*/ 97 w 169"/>
                  <a:gd name="T73" fmla="*/ 76 h 164"/>
                  <a:gd name="T74" fmla="*/ 88 w 169"/>
                  <a:gd name="T75" fmla="*/ 90 h 164"/>
                  <a:gd name="T76" fmla="*/ 79 w 169"/>
                  <a:gd name="T77" fmla="*/ 96 h 164"/>
                  <a:gd name="T78" fmla="*/ 64 w 169"/>
                  <a:gd name="T79" fmla="*/ 94 h 164"/>
                  <a:gd name="T80" fmla="*/ 48 w 169"/>
                  <a:gd name="T81" fmla="*/ 95 h 164"/>
                  <a:gd name="T82" fmla="*/ 30 w 169"/>
                  <a:gd name="T83" fmla="*/ 107 h 164"/>
                  <a:gd name="T84" fmla="*/ 20 w 169"/>
                  <a:gd name="T85" fmla="*/ 112 h 164"/>
                  <a:gd name="T86" fmla="*/ 12 w 169"/>
                  <a:gd name="T87" fmla="*/ 121 h 164"/>
                  <a:gd name="T88" fmla="*/ 5 w 169"/>
                  <a:gd name="T89" fmla="*/ 128 h 164"/>
                  <a:gd name="T90" fmla="*/ 0 w 169"/>
                  <a:gd name="T91" fmla="*/ 130 h 164"/>
                  <a:gd name="T92" fmla="*/ 2 w 169"/>
                  <a:gd name="T93" fmla="*/ 136 h 164"/>
                  <a:gd name="T94" fmla="*/ 5 w 169"/>
                  <a:gd name="T95" fmla="*/ 138 h 164"/>
                  <a:gd name="T96" fmla="*/ 10 w 169"/>
                  <a:gd name="T97" fmla="*/ 132 h 164"/>
                  <a:gd name="T98" fmla="*/ 13 w 169"/>
                  <a:gd name="T99" fmla="*/ 139 h 164"/>
                  <a:gd name="T100" fmla="*/ 10 w 169"/>
                  <a:gd name="T101" fmla="*/ 155 h 164"/>
                  <a:gd name="T102" fmla="*/ 12 w 169"/>
                  <a:gd name="T103" fmla="*/ 156 h 164"/>
                  <a:gd name="T104" fmla="*/ 15 w 169"/>
                  <a:gd name="T105" fmla="*/ 158 h 164"/>
                  <a:gd name="T106" fmla="*/ 20 w 169"/>
                  <a:gd name="T107" fmla="*/ 160 h 164"/>
                  <a:gd name="T108" fmla="*/ 23 w 169"/>
                  <a:gd name="T109" fmla="*/ 156 h 164"/>
                  <a:gd name="T110" fmla="*/ 28 w 169"/>
                  <a:gd name="T111" fmla="*/ 141 h 164"/>
                  <a:gd name="T112" fmla="*/ 32 w 169"/>
                  <a:gd name="T113" fmla="*/ 132 h 164"/>
                  <a:gd name="T114" fmla="*/ 28 w 169"/>
                  <a:gd name="T115" fmla="*/ 124 h 164"/>
                  <a:gd name="T116" fmla="*/ 19 w 169"/>
                  <a:gd name="T117" fmla="*/ 122 h 164"/>
                  <a:gd name="T118" fmla="*/ 18 w 169"/>
                  <a:gd name="T119" fmla="*/ 12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9" h="164">
                    <a:moveTo>
                      <a:pt x="18" y="120"/>
                    </a:moveTo>
                    <a:lnTo>
                      <a:pt x="19" y="119"/>
                    </a:lnTo>
                    <a:lnTo>
                      <a:pt x="21" y="120"/>
                    </a:lnTo>
                    <a:lnTo>
                      <a:pt x="23" y="119"/>
                    </a:lnTo>
                    <a:lnTo>
                      <a:pt x="27" y="119"/>
                    </a:lnTo>
                    <a:lnTo>
                      <a:pt x="29" y="117"/>
                    </a:lnTo>
                    <a:lnTo>
                      <a:pt x="35" y="121"/>
                    </a:lnTo>
                    <a:lnTo>
                      <a:pt x="35" y="119"/>
                    </a:lnTo>
                    <a:lnTo>
                      <a:pt x="36" y="115"/>
                    </a:lnTo>
                    <a:lnTo>
                      <a:pt x="37" y="113"/>
                    </a:lnTo>
                    <a:lnTo>
                      <a:pt x="39" y="115"/>
                    </a:lnTo>
                    <a:lnTo>
                      <a:pt x="41" y="115"/>
                    </a:lnTo>
                    <a:lnTo>
                      <a:pt x="47" y="113"/>
                    </a:lnTo>
                    <a:lnTo>
                      <a:pt x="48" y="113"/>
                    </a:lnTo>
                    <a:lnTo>
                      <a:pt x="47" y="114"/>
                    </a:lnTo>
                    <a:lnTo>
                      <a:pt x="48" y="114"/>
                    </a:lnTo>
                    <a:lnTo>
                      <a:pt x="49" y="112"/>
                    </a:lnTo>
                    <a:lnTo>
                      <a:pt x="52" y="112"/>
                    </a:lnTo>
                    <a:lnTo>
                      <a:pt x="54" y="112"/>
                    </a:lnTo>
                    <a:lnTo>
                      <a:pt x="60" y="111"/>
                    </a:lnTo>
                    <a:lnTo>
                      <a:pt x="64" y="107"/>
                    </a:lnTo>
                    <a:lnTo>
                      <a:pt x="69" y="106"/>
                    </a:lnTo>
                    <a:lnTo>
                      <a:pt x="74" y="110"/>
                    </a:lnTo>
                    <a:lnTo>
                      <a:pt x="77" y="108"/>
                    </a:lnTo>
                    <a:lnTo>
                      <a:pt x="79" y="108"/>
                    </a:lnTo>
                    <a:lnTo>
                      <a:pt x="80" y="110"/>
                    </a:lnTo>
                    <a:lnTo>
                      <a:pt x="78" y="113"/>
                    </a:lnTo>
                    <a:lnTo>
                      <a:pt x="74" y="114"/>
                    </a:lnTo>
                    <a:lnTo>
                      <a:pt x="75" y="116"/>
                    </a:lnTo>
                    <a:lnTo>
                      <a:pt x="74" y="119"/>
                    </a:lnTo>
                    <a:lnTo>
                      <a:pt x="75" y="122"/>
                    </a:lnTo>
                    <a:lnTo>
                      <a:pt x="79" y="123"/>
                    </a:lnTo>
                    <a:lnTo>
                      <a:pt x="80" y="125"/>
                    </a:lnTo>
                    <a:lnTo>
                      <a:pt x="82" y="127"/>
                    </a:lnTo>
                    <a:lnTo>
                      <a:pt x="86" y="127"/>
                    </a:lnTo>
                    <a:lnTo>
                      <a:pt x="88" y="121"/>
                    </a:lnTo>
                    <a:lnTo>
                      <a:pt x="91" y="119"/>
                    </a:lnTo>
                    <a:lnTo>
                      <a:pt x="91" y="116"/>
                    </a:lnTo>
                    <a:lnTo>
                      <a:pt x="94" y="115"/>
                    </a:lnTo>
                    <a:lnTo>
                      <a:pt x="99" y="113"/>
                    </a:lnTo>
                    <a:lnTo>
                      <a:pt x="97" y="111"/>
                    </a:lnTo>
                    <a:lnTo>
                      <a:pt x="95" y="110"/>
                    </a:lnTo>
                    <a:lnTo>
                      <a:pt x="95" y="108"/>
                    </a:lnTo>
                    <a:lnTo>
                      <a:pt x="97" y="103"/>
                    </a:lnTo>
                    <a:lnTo>
                      <a:pt x="99" y="102"/>
                    </a:lnTo>
                    <a:lnTo>
                      <a:pt x="98" y="105"/>
                    </a:lnTo>
                    <a:lnTo>
                      <a:pt x="100" y="107"/>
                    </a:lnTo>
                    <a:lnTo>
                      <a:pt x="100" y="105"/>
                    </a:lnTo>
                    <a:lnTo>
                      <a:pt x="104" y="108"/>
                    </a:lnTo>
                    <a:lnTo>
                      <a:pt x="102" y="110"/>
                    </a:lnTo>
                    <a:lnTo>
                      <a:pt x="108" y="108"/>
                    </a:lnTo>
                    <a:lnTo>
                      <a:pt x="116" y="110"/>
                    </a:lnTo>
                    <a:lnTo>
                      <a:pt x="119" y="107"/>
                    </a:lnTo>
                    <a:lnTo>
                      <a:pt x="120" y="104"/>
                    </a:lnTo>
                    <a:lnTo>
                      <a:pt x="122" y="102"/>
                    </a:lnTo>
                    <a:lnTo>
                      <a:pt x="125" y="104"/>
                    </a:lnTo>
                    <a:lnTo>
                      <a:pt x="125" y="106"/>
                    </a:lnTo>
                    <a:lnTo>
                      <a:pt x="126" y="110"/>
                    </a:lnTo>
                    <a:lnTo>
                      <a:pt x="129" y="106"/>
                    </a:lnTo>
                    <a:lnTo>
                      <a:pt x="130" y="102"/>
                    </a:lnTo>
                    <a:lnTo>
                      <a:pt x="132" y="99"/>
                    </a:lnTo>
                    <a:lnTo>
                      <a:pt x="134" y="98"/>
                    </a:lnTo>
                    <a:lnTo>
                      <a:pt x="138" y="100"/>
                    </a:lnTo>
                    <a:lnTo>
                      <a:pt x="137" y="98"/>
                    </a:lnTo>
                    <a:lnTo>
                      <a:pt x="140" y="94"/>
                    </a:lnTo>
                    <a:lnTo>
                      <a:pt x="142" y="94"/>
                    </a:lnTo>
                    <a:lnTo>
                      <a:pt x="142" y="96"/>
                    </a:lnTo>
                    <a:lnTo>
                      <a:pt x="140" y="99"/>
                    </a:lnTo>
                    <a:lnTo>
                      <a:pt x="139" y="104"/>
                    </a:lnTo>
                    <a:lnTo>
                      <a:pt x="147" y="100"/>
                    </a:lnTo>
                    <a:lnTo>
                      <a:pt x="148" y="95"/>
                    </a:lnTo>
                    <a:lnTo>
                      <a:pt x="151" y="93"/>
                    </a:lnTo>
                    <a:lnTo>
                      <a:pt x="154" y="91"/>
                    </a:lnTo>
                    <a:lnTo>
                      <a:pt x="152" y="90"/>
                    </a:lnTo>
                    <a:lnTo>
                      <a:pt x="151" y="88"/>
                    </a:lnTo>
                    <a:lnTo>
                      <a:pt x="150" y="85"/>
                    </a:lnTo>
                    <a:lnTo>
                      <a:pt x="150" y="80"/>
                    </a:lnTo>
                    <a:lnTo>
                      <a:pt x="152" y="74"/>
                    </a:lnTo>
                    <a:lnTo>
                      <a:pt x="155" y="71"/>
                    </a:lnTo>
                    <a:lnTo>
                      <a:pt x="156" y="65"/>
                    </a:lnTo>
                    <a:lnTo>
                      <a:pt x="156" y="61"/>
                    </a:lnTo>
                    <a:lnTo>
                      <a:pt x="155" y="57"/>
                    </a:lnTo>
                    <a:lnTo>
                      <a:pt x="155" y="53"/>
                    </a:lnTo>
                    <a:lnTo>
                      <a:pt x="157" y="51"/>
                    </a:lnTo>
                    <a:lnTo>
                      <a:pt x="160" y="50"/>
                    </a:lnTo>
                    <a:lnTo>
                      <a:pt x="163" y="52"/>
                    </a:lnTo>
                    <a:lnTo>
                      <a:pt x="163" y="48"/>
                    </a:lnTo>
                    <a:lnTo>
                      <a:pt x="164" y="40"/>
                    </a:lnTo>
                    <a:lnTo>
                      <a:pt x="166" y="40"/>
                    </a:lnTo>
                    <a:lnTo>
                      <a:pt x="168" y="37"/>
                    </a:lnTo>
                    <a:lnTo>
                      <a:pt x="168" y="35"/>
                    </a:lnTo>
                    <a:lnTo>
                      <a:pt x="169" y="33"/>
                    </a:lnTo>
                    <a:lnTo>
                      <a:pt x="168" y="25"/>
                    </a:lnTo>
                    <a:lnTo>
                      <a:pt x="166" y="19"/>
                    </a:lnTo>
                    <a:lnTo>
                      <a:pt x="165" y="17"/>
                    </a:lnTo>
                    <a:lnTo>
                      <a:pt x="162" y="14"/>
                    </a:lnTo>
                    <a:lnTo>
                      <a:pt x="162" y="12"/>
                    </a:lnTo>
                    <a:lnTo>
                      <a:pt x="160" y="5"/>
                    </a:lnTo>
                    <a:lnTo>
                      <a:pt x="159" y="2"/>
                    </a:lnTo>
                    <a:lnTo>
                      <a:pt x="157" y="0"/>
                    </a:lnTo>
                    <a:lnTo>
                      <a:pt x="154" y="0"/>
                    </a:lnTo>
                    <a:lnTo>
                      <a:pt x="152" y="3"/>
                    </a:lnTo>
                    <a:lnTo>
                      <a:pt x="154" y="5"/>
                    </a:lnTo>
                    <a:lnTo>
                      <a:pt x="159" y="4"/>
                    </a:lnTo>
                    <a:lnTo>
                      <a:pt x="159" y="6"/>
                    </a:lnTo>
                    <a:lnTo>
                      <a:pt x="156" y="10"/>
                    </a:lnTo>
                    <a:lnTo>
                      <a:pt x="154" y="8"/>
                    </a:lnTo>
                    <a:lnTo>
                      <a:pt x="152" y="11"/>
                    </a:lnTo>
                    <a:lnTo>
                      <a:pt x="151" y="10"/>
                    </a:lnTo>
                    <a:lnTo>
                      <a:pt x="149" y="4"/>
                    </a:lnTo>
                    <a:lnTo>
                      <a:pt x="147" y="4"/>
                    </a:lnTo>
                    <a:lnTo>
                      <a:pt x="146" y="6"/>
                    </a:lnTo>
                    <a:lnTo>
                      <a:pt x="146" y="9"/>
                    </a:lnTo>
                    <a:lnTo>
                      <a:pt x="145" y="12"/>
                    </a:lnTo>
                    <a:lnTo>
                      <a:pt x="142" y="12"/>
                    </a:lnTo>
                    <a:lnTo>
                      <a:pt x="140" y="14"/>
                    </a:lnTo>
                    <a:lnTo>
                      <a:pt x="141" y="18"/>
                    </a:lnTo>
                    <a:lnTo>
                      <a:pt x="142" y="18"/>
                    </a:lnTo>
                    <a:lnTo>
                      <a:pt x="142" y="21"/>
                    </a:lnTo>
                    <a:lnTo>
                      <a:pt x="139" y="27"/>
                    </a:lnTo>
                    <a:lnTo>
                      <a:pt x="142" y="27"/>
                    </a:lnTo>
                    <a:lnTo>
                      <a:pt x="142" y="28"/>
                    </a:lnTo>
                    <a:lnTo>
                      <a:pt x="143" y="31"/>
                    </a:lnTo>
                    <a:lnTo>
                      <a:pt x="142" y="35"/>
                    </a:lnTo>
                    <a:lnTo>
                      <a:pt x="141" y="36"/>
                    </a:lnTo>
                    <a:lnTo>
                      <a:pt x="139" y="42"/>
                    </a:lnTo>
                    <a:lnTo>
                      <a:pt x="136" y="47"/>
                    </a:lnTo>
                    <a:lnTo>
                      <a:pt x="134" y="51"/>
                    </a:lnTo>
                    <a:lnTo>
                      <a:pt x="134" y="53"/>
                    </a:lnTo>
                    <a:lnTo>
                      <a:pt x="132" y="56"/>
                    </a:lnTo>
                    <a:lnTo>
                      <a:pt x="129" y="57"/>
                    </a:lnTo>
                    <a:lnTo>
                      <a:pt x="126" y="59"/>
                    </a:lnTo>
                    <a:lnTo>
                      <a:pt x="125" y="62"/>
                    </a:lnTo>
                    <a:lnTo>
                      <a:pt x="123" y="65"/>
                    </a:lnTo>
                    <a:lnTo>
                      <a:pt x="120" y="68"/>
                    </a:lnTo>
                    <a:lnTo>
                      <a:pt x="117" y="70"/>
                    </a:lnTo>
                    <a:lnTo>
                      <a:pt x="107" y="73"/>
                    </a:lnTo>
                    <a:lnTo>
                      <a:pt x="104" y="76"/>
                    </a:lnTo>
                    <a:lnTo>
                      <a:pt x="102" y="76"/>
                    </a:lnTo>
                    <a:lnTo>
                      <a:pt x="102" y="72"/>
                    </a:lnTo>
                    <a:lnTo>
                      <a:pt x="99" y="70"/>
                    </a:lnTo>
                    <a:lnTo>
                      <a:pt x="102" y="69"/>
                    </a:lnTo>
                    <a:lnTo>
                      <a:pt x="104" y="67"/>
                    </a:lnTo>
                    <a:lnTo>
                      <a:pt x="105" y="64"/>
                    </a:lnTo>
                    <a:lnTo>
                      <a:pt x="103" y="64"/>
                    </a:lnTo>
                    <a:lnTo>
                      <a:pt x="97" y="68"/>
                    </a:lnTo>
                    <a:lnTo>
                      <a:pt x="97" y="73"/>
                    </a:lnTo>
                    <a:lnTo>
                      <a:pt x="97" y="76"/>
                    </a:lnTo>
                    <a:lnTo>
                      <a:pt x="94" y="81"/>
                    </a:lnTo>
                    <a:lnTo>
                      <a:pt x="89" y="85"/>
                    </a:lnTo>
                    <a:lnTo>
                      <a:pt x="87" y="88"/>
                    </a:lnTo>
                    <a:lnTo>
                      <a:pt x="88" y="90"/>
                    </a:lnTo>
                    <a:lnTo>
                      <a:pt x="88" y="93"/>
                    </a:lnTo>
                    <a:lnTo>
                      <a:pt x="82" y="95"/>
                    </a:lnTo>
                    <a:lnTo>
                      <a:pt x="80" y="95"/>
                    </a:lnTo>
                    <a:lnTo>
                      <a:pt x="79" y="96"/>
                    </a:lnTo>
                    <a:lnTo>
                      <a:pt x="77" y="95"/>
                    </a:lnTo>
                    <a:lnTo>
                      <a:pt x="77" y="91"/>
                    </a:lnTo>
                    <a:lnTo>
                      <a:pt x="72" y="93"/>
                    </a:lnTo>
                    <a:lnTo>
                      <a:pt x="64" y="94"/>
                    </a:lnTo>
                    <a:lnTo>
                      <a:pt x="63" y="95"/>
                    </a:lnTo>
                    <a:lnTo>
                      <a:pt x="57" y="96"/>
                    </a:lnTo>
                    <a:lnTo>
                      <a:pt x="52" y="96"/>
                    </a:lnTo>
                    <a:lnTo>
                      <a:pt x="48" y="95"/>
                    </a:lnTo>
                    <a:lnTo>
                      <a:pt x="43" y="96"/>
                    </a:lnTo>
                    <a:lnTo>
                      <a:pt x="40" y="99"/>
                    </a:lnTo>
                    <a:lnTo>
                      <a:pt x="38" y="100"/>
                    </a:lnTo>
                    <a:lnTo>
                      <a:pt x="30" y="107"/>
                    </a:lnTo>
                    <a:lnTo>
                      <a:pt x="28" y="108"/>
                    </a:lnTo>
                    <a:lnTo>
                      <a:pt x="24" y="111"/>
                    </a:lnTo>
                    <a:lnTo>
                      <a:pt x="22" y="112"/>
                    </a:lnTo>
                    <a:lnTo>
                      <a:pt x="20" y="112"/>
                    </a:lnTo>
                    <a:lnTo>
                      <a:pt x="17" y="114"/>
                    </a:lnTo>
                    <a:lnTo>
                      <a:pt x="17" y="117"/>
                    </a:lnTo>
                    <a:lnTo>
                      <a:pt x="18" y="120"/>
                    </a:lnTo>
                    <a:lnTo>
                      <a:pt x="12" y="121"/>
                    </a:lnTo>
                    <a:lnTo>
                      <a:pt x="11" y="123"/>
                    </a:lnTo>
                    <a:lnTo>
                      <a:pt x="9" y="124"/>
                    </a:lnTo>
                    <a:lnTo>
                      <a:pt x="5" y="127"/>
                    </a:lnTo>
                    <a:lnTo>
                      <a:pt x="5" y="128"/>
                    </a:lnTo>
                    <a:lnTo>
                      <a:pt x="3" y="127"/>
                    </a:lnTo>
                    <a:lnTo>
                      <a:pt x="2" y="129"/>
                    </a:lnTo>
                    <a:lnTo>
                      <a:pt x="2" y="129"/>
                    </a:lnTo>
                    <a:lnTo>
                      <a:pt x="0" y="130"/>
                    </a:lnTo>
                    <a:lnTo>
                      <a:pt x="1" y="132"/>
                    </a:lnTo>
                    <a:lnTo>
                      <a:pt x="4" y="133"/>
                    </a:lnTo>
                    <a:lnTo>
                      <a:pt x="5" y="137"/>
                    </a:lnTo>
                    <a:lnTo>
                      <a:pt x="2" y="136"/>
                    </a:lnTo>
                    <a:lnTo>
                      <a:pt x="2" y="133"/>
                    </a:lnTo>
                    <a:lnTo>
                      <a:pt x="1" y="136"/>
                    </a:lnTo>
                    <a:lnTo>
                      <a:pt x="3" y="139"/>
                    </a:lnTo>
                    <a:lnTo>
                      <a:pt x="5" y="138"/>
                    </a:lnTo>
                    <a:lnTo>
                      <a:pt x="8" y="138"/>
                    </a:lnTo>
                    <a:lnTo>
                      <a:pt x="8" y="134"/>
                    </a:lnTo>
                    <a:lnTo>
                      <a:pt x="6" y="132"/>
                    </a:lnTo>
                    <a:lnTo>
                      <a:pt x="10" y="132"/>
                    </a:lnTo>
                    <a:lnTo>
                      <a:pt x="11" y="134"/>
                    </a:lnTo>
                    <a:lnTo>
                      <a:pt x="13" y="137"/>
                    </a:lnTo>
                    <a:lnTo>
                      <a:pt x="11" y="139"/>
                    </a:lnTo>
                    <a:lnTo>
                      <a:pt x="13" y="139"/>
                    </a:lnTo>
                    <a:lnTo>
                      <a:pt x="13" y="141"/>
                    </a:lnTo>
                    <a:lnTo>
                      <a:pt x="10" y="147"/>
                    </a:lnTo>
                    <a:lnTo>
                      <a:pt x="8" y="149"/>
                    </a:lnTo>
                    <a:lnTo>
                      <a:pt x="10" y="155"/>
                    </a:lnTo>
                    <a:lnTo>
                      <a:pt x="9" y="157"/>
                    </a:lnTo>
                    <a:lnTo>
                      <a:pt x="8" y="160"/>
                    </a:lnTo>
                    <a:lnTo>
                      <a:pt x="13" y="162"/>
                    </a:lnTo>
                    <a:lnTo>
                      <a:pt x="12" y="156"/>
                    </a:lnTo>
                    <a:lnTo>
                      <a:pt x="13" y="154"/>
                    </a:lnTo>
                    <a:lnTo>
                      <a:pt x="15" y="154"/>
                    </a:lnTo>
                    <a:lnTo>
                      <a:pt x="13" y="156"/>
                    </a:lnTo>
                    <a:lnTo>
                      <a:pt x="15" y="158"/>
                    </a:lnTo>
                    <a:lnTo>
                      <a:pt x="15" y="160"/>
                    </a:lnTo>
                    <a:lnTo>
                      <a:pt x="14" y="164"/>
                    </a:lnTo>
                    <a:lnTo>
                      <a:pt x="17" y="163"/>
                    </a:lnTo>
                    <a:lnTo>
                      <a:pt x="20" y="160"/>
                    </a:lnTo>
                    <a:lnTo>
                      <a:pt x="19" y="158"/>
                    </a:lnTo>
                    <a:lnTo>
                      <a:pt x="21" y="157"/>
                    </a:lnTo>
                    <a:lnTo>
                      <a:pt x="23" y="158"/>
                    </a:lnTo>
                    <a:lnTo>
                      <a:pt x="23" y="156"/>
                    </a:lnTo>
                    <a:lnTo>
                      <a:pt x="24" y="154"/>
                    </a:lnTo>
                    <a:lnTo>
                      <a:pt x="24" y="150"/>
                    </a:lnTo>
                    <a:lnTo>
                      <a:pt x="26" y="147"/>
                    </a:lnTo>
                    <a:lnTo>
                      <a:pt x="28" y="141"/>
                    </a:lnTo>
                    <a:lnTo>
                      <a:pt x="28" y="140"/>
                    </a:lnTo>
                    <a:lnTo>
                      <a:pt x="30" y="138"/>
                    </a:lnTo>
                    <a:lnTo>
                      <a:pt x="32" y="136"/>
                    </a:lnTo>
                    <a:lnTo>
                      <a:pt x="32" y="132"/>
                    </a:lnTo>
                    <a:lnTo>
                      <a:pt x="31" y="130"/>
                    </a:lnTo>
                    <a:lnTo>
                      <a:pt x="26" y="130"/>
                    </a:lnTo>
                    <a:lnTo>
                      <a:pt x="28" y="128"/>
                    </a:lnTo>
                    <a:lnTo>
                      <a:pt x="28" y="124"/>
                    </a:lnTo>
                    <a:lnTo>
                      <a:pt x="26" y="124"/>
                    </a:lnTo>
                    <a:lnTo>
                      <a:pt x="23" y="125"/>
                    </a:lnTo>
                    <a:lnTo>
                      <a:pt x="21" y="124"/>
                    </a:lnTo>
                    <a:lnTo>
                      <a:pt x="19" y="122"/>
                    </a:lnTo>
                    <a:lnTo>
                      <a:pt x="18" y="121"/>
                    </a:lnTo>
                    <a:lnTo>
                      <a:pt x="18" y="120"/>
                    </a:lnTo>
                    <a:lnTo>
                      <a:pt x="18" y="120"/>
                    </a:lnTo>
                    <a:lnTo>
                      <a:pt x="18" y="1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7" name="Freeform 183">
                <a:extLst>
                  <a:ext uri="{FF2B5EF4-FFF2-40B4-BE49-F238E27FC236}">
                    <a16:creationId xmlns:a16="http://schemas.microsoft.com/office/drawing/2014/main" id="{6788F85F-CA16-404D-B550-48EC53C375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4" y="2316"/>
                <a:ext cx="35" cy="25"/>
              </a:xfrm>
              <a:custGeom>
                <a:avLst/>
                <a:gdLst>
                  <a:gd name="T0" fmla="*/ 20 w 35"/>
                  <a:gd name="T1" fmla="*/ 6 h 25"/>
                  <a:gd name="T2" fmla="*/ 14 w 35"/>
                  <a:gd name="T3" fmla="*/ 7 h 25"/>
                  <a:gd name="T4" fmla="*/ 12 w 35"/>
                  <a:gd name="T5" fmla="*/ 4 h 25"/>
                  <a:gd name="T6" fmla="*/ 9 w 35"/>
                  <a:gd name="T7" fmla="*/ 6 h 25"/>
                  <a:gd name="T8" fmla="*/ 9 w 35"/>
                  <a:gd name="T9" fmla="*/ 8 h 25"/>
                  <a:gd name="T10" fmla="*/ 7 w 35"/>
                  <a:gd name="T11" fmla="*/ 10 h 25"/>
                  <a:gd name="T12" fmla="*/ 3 w 35"/>
                  <a:gd name="T13" fmla="*/ 14 h 25"/>
                  <a:gd name="T14" fmla="*/ 0 w 35"/>
                  <a:gd name="T15" fmla="*/ 15 h 25"/>
                  <a:gd name="T16" fmla="*/ 3 w 35"/>
                  <a:gd name="T17" fmla="*/ 14 h 25"/>
                  <a:gd name="T18" fmla="*/ 5 w 35"/>
                  <a:gd name="T19" fmla="*/ 17 h 25"/>
                  <a:gd name="T20" fmla="*/ 5 w 35"/>
                  <a:gd name="T21" fmla="*/ 21 h 25"/>
                  <a:gd name="T22" fmla="*/ 7 w 35"/>
                  <a:gd name="T23" fmla="*/ 23 h 25"/>
                  <a:gd name="T24" fmla="*/ 10 w 35"/>
                  <a:gd name="T25" fmla="*/ 25 h 25"/>
                  <a:gd name="T26" fmla="*/ 18 w 35"/>
                  <a:gd name="T27" fmla="*/ 15 h 25"/>
                  <a:gd name="T28" fmla="*/ 21 w 35"/>
                  <a:gd name="T29" fmla="*/ 14 h 25"/>
                  <a:gd name="T30" fmla="*/ 23 w 35"/>
                  <a:gd name="T31" fmla="*/ 14 h 25"/>
                  <a:gd name="T32" fmla="*/ 27 w 35"/>
                  <a:gd name="T33" fmla="*/ 16 h 25"/>
                  <a:gd name="T34" fmla="*/ 29 w 35"/>
                  <a:gd name="T35" fmla="*/ 15 h 25"/>
                  <a:gd name="T36" fmla="*/ 31 w 35"/>
                  <a:gd name="T37" fmla="*/ 11 h 25"/>
                  <a:gd name="T38" fmla="*/ 35 w 35"/>
                  <a:gd name="T39" fmla="*/ 9 h 25"/>
                  <a:gd name="T40" fmla="*/ 35 w 35"/>
                  <a:gd name="T41" fmla="*/ 7 h 25"/>
                  <a:gd name="T42" fmla="*/ 35 w 35"/>
                  <a:gd name="T43" fmla="*/ 3 h 25"/>
                  <a:gd name="T44" fmla="*/ 35 w 35"/>
                  <a:gd name="T45" fmla="*/ 2 h 25"/>
                  <a:gd name="T46" fmla="*/ 31 w 35"/>
                  <a:gd name="T47" fmla="*/ 2 h 25"/>
                  <a:gd name="T48" fmla="*/ 29 w 35"/>
                  <a:gd name="T49" fmla="*/ 0 h 25"/>
                  <a:gd name="T50" fmla="*/ 27 w 35"/>
                  <a:gd name="T51" fmla="*/ 0 h 25"/>
                  <a:gd name="T52" fmla="*/ 23 w 35"/>
                  <a:gd name="T53" fmla="*/ 1 h 25"/>
                  <a:gd name="T54" fmla="*/ 21 w 35"/>
                  <a:gd name="T55" fmla="*/ 2 h 25"/>
                  <a:gd name="T56" fmla="*/ 20 w 35"/>
                  <a:gd name="T57" fmla="*/ 6 h 25"/>
                  <a:gd name="T58" fmla="*/ 20 w 35"/>
                  <a:gd name="T59" fmla="*/ 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5" h="25">
                    <a:moveTo>
                      <a:pt x="20" y="6"/>
                    </a:moveTo>
                    <a:lnTo>
                      <a:pt x="14" y="7"/>
                    </a:lnTo>
                    <a:lnTo>
                      <a:pt x="12" y="4"/>
                    </a:lnTo>
                    <a:lnTo>
                      <a:pt x="9" y="6"/>
                    </a:lnTo>
                    <a:lnTo>
                      <a:pt x="9" y="8"/>
                    </a:lnTo>
                    <a:lnTo>
                      <a:pt x="7" y="10"/>
                    </a:lnTo>
                    <a:lnTo>
                      <a:pt x="3" y="14"/>
                    </a:lnTo>
                    <a:lnTo>
                      <a:pt x="0" y="15"/>
                    </a:lnTo>
                    <a:lnTo>
                      <a:pt x="3" y="14"/>
                    </a:lnTo>
                    <a:lnTo>
                      <a:pt x="5" y="17"/>
                    </a:lnTo>
                    <a:lnTo>
                      <a:pt x="5" y="21"/>
                    </a:lnTo>
                    <a:lnTo>
                      <a:pt x="7" y="23"/>
                    </a:lnTo>
                    <a:lnTo>
                      <a:pt x="10" y="25"/>
                    </a:lnTo>
                    <a:lnTo>
                      <a:pt x="18" y="15"/>
                    </a:lnTo>
                    <a:lnTo>
                      <a:pt x="21" y="14"/>
                    </a:lnTo>
                    <a:lnTo>
                      <a:pt x="23" y="14"/>
                    </a:lnTo>
                    <a:lnTo>
                      <a:pt x="27" y="16"/>
                    </a:lnTo>
                    <a:lnTo>
                      <a:pt x="29" y="15"/>
                    </a:lnTo>
                    <a:lnTo>
                      <a:pt x="31" y="11"/>
                    </a:lnTo>
                    <a:lnTo>
                      <a:pt x="35" y="9"/>
                    </a:lnTo>
                    <a:lnTo>
                      <a:pt x="35" y="7"/>
                    </a:lnTo>
                    <a:lnTo>
                      <a:pt x="35" y="3"/>
                    </a:lnTo>
                    <a:lnTo>
                      <a:pt x="35" y="2"/>
                    </a:lnTo>
                    <a:lnTo>
                      <a:pt x="31" y="2"/>
                    </a:lnTo>
                    <a:lnTo>
                      <a:pt x="29" y="0"/>
                    </a:lnTo>
                    <a:lnTo>
                      <a:pt x="27" y="0"/>
                    </a:lnTo>
                    <a:lnTo>
                      <a:pt x="23" y="1"/>
                    </a:lnTo>
                    <a:lnTo>
                      <a:pt x="21" y="2"/>
                    </a:lnTo>
                    <a:lnTo>
                      <a:pt x="20" y="6"/>
                    </a:lnTo>
                    <a:lnTo>
                      <a:pt x="20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8" name="Freeform 184">
                <a:extLst>
                  <a:ext uri="{FF2B5EF4-FFF2-40B4-BE49-F238E27FC236}">
                    <a16:creationId xmlns:a16="http://schemas.microsoft.com/office/drawing/2014/main" id="{69212753-AC70-4C48-B824-B72029232B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9" y="2313"/>
                <a:ext cx="4" cy="5"/>
              </a:xfrm>
              <a:custGeom>
                <a:avLst/>
                <a:gdLst>
                  <a:gd name="T0" fmla="*/ 4 w 4"/>
                  <a:gd name="T1" fmla="*/ 1 h 5"/>
                  <a:gd name="T2" fmla="*/ 4 w 4"/>
                  <a:gd name="T3" fmla="*/ 0 h 5"/>
                  <a:gd name="T4" fmla="*/ 2 w 4"/>
                  <a:gd name="T5" fmla="*/ 2 h 5"/>
                  <a:gd name="T6" fmla="*/ 0 w 4"/>
                  <a:gd name="T7" fmla="*/ 4 h 5"/>
                  <a:gd name="T8" fmla="*/ 0 w 4"/>
                  <a:gd name="T9" fmla="*/ 5 h 5"/>
                  <a:gd name="T10" fmla="*/ 3 w 4"/>
                  <a:gd name="T11" fmla="*/ 5 h 5"/>
                  <a:gd name="T12" fmla="*/ 3 w 4"/>
                  <a:gd name="T13" fmla="*/ 3 h 5"/>
                  <a:gd name="T14" fmla="*/ 4 w 4"/>
                  <a:gd name="T15" fmla="*/ 1 h 5"/>
                  <a:gd name="T16" fmla="*/ 4 w 4"/>
                  <a:gd name="T1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5">
                    <a:moveTo>
                      <a:pt x="4" y="1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3" y="3"/>
                    </a:lnTo>
                    <a:lnTo>
                      <a:pt x="4" y="1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9" name="Freeform 185">
                <a:extLst>
                  <a:ext uri="{FF2B5EF4-FFF2-40B4-BE49-F238E27FC236}">
                    <a16:creationId xmlns:a16="http://schemas.microsoft.com/office/drawing/2014/main" id="{0DBB4DCF-37C8-4BBF-A2A7-16ACD79A18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9" y="2907"/>
                <a:ext cx="20" cy="14"/>
              </a:xfrm>
              <a:custGeom>
                <a:avLst/>
                <a:gdLst>
                  <a:gd name="T0" fmla="*/ 13 w 20"/>
                  <a:gd name="T1" fmla="*/ 0 h 14"/>
                  <a:gd name="T2" fmla="*/ 7 w 20"/>
                  <a:gd name="T3" fmla="*/ 1 h 14"/>
                  <a:gd name="T4" fmla="*/ 5 w 20"/>
                  <a:gd name="T5" fmla="*/ 5 h 14"/>
                  <a:gd name="T6" fmla="*/ 4 w 20"/>
                  <a:gd name="T7" fmla="*/ 6 h 14"/>
                  <a:gd name="T8" fmla="*/ 0 w 20"/>
                  <a:gd name="T9" fmla="*/ 14 h 14"/>
                  <a:gd name="T10" fmla="*/ 12 w 20"/>
                  <a:gd name="T11" fmla="*/ 14 h 14"/>
                  <a:gd name="T12" fmla="*/ 14 w 20"/>
                  <a:gd name="T13" fmla="*/ 11 h 14"/>
                  <a:gd name="T14" fmla="*/ 15 w 20"/>
                  <a:gd name="T15" fmla="*/ 14 h 14"/>
                  <a:gd name="T16" fmla="*/ 17 w 20"/>
                  <a:gd name="T17" fmla="*/ 14 h 14"/>
                  <a:gd name="T18" fmla="*/ 16 w 20"/>
                  <a:gd name="T19" fmla="*/ 10 h 14"/>
                  <a:gd name="T20" fmla="*/ 14 w 20"/>
                  <a:gd name="T21" fmla="*/ 11 h 14"/>
                  <a:gd name="T22" fmla="*/ 16 w 20"/>
                  <a:gd name="T23" fmla="*/ 10 h 14"/>
                  <a:gd name="T24" fmla="*/ 17 w 20"/>
                  <a:gd name="T25" fmla="*/ 7 h 14"/>
                  <a:gd name="T26" fmla="*/ 20 w 20"/>
                  <a:gd name="T27" fmla="*/ 5 h 14"/>
                  <a:gd name="T28" fmla="*/ 17 w 20"/>
                  <a:gd name="T29" fmla="*/ 1 h 14"/>
                  <a:gd name="T30" fmla="*/ 15 w 20"/>
                  <a:gd name="T31" fmla="*/ 0 h 14"/>
                  <a:gd name="T32" fmla="*/ 13 w 20"/>
                  <a:gd name="T33" fmla="*/ 0 h 14"/>
                  <a:gd name="T34" fmla="*/ 13 w 20"/>
                  <a:gd name="T3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0" h="14">
                    <a:moveTo>
                      <a:pt x="13" y="0"/>
                    </a:moveTo>
                    <a:lnTo>
                      <a:pt x="7" y="1"/>
                    </a:lnTo>
                    <a:lnTo>
                      <a:pt x="5" y="5"/>
                    </a:lnTo>
                    <a:lnTo>
                      <a:pt x="4" y="6"/>
                    </a:lnTo>
                    <a:lnTo>
                      <a:pt x="0" y="14"/>
                    </a:lnTo>
                    <a:lnTo>
                      <a:pt x="12" y="14"/>
                    </a:lnTo>
                    <a:lnTo>
                      <a:pt x="14" y="11"/>
                    </a:lnTo>
                    <a:lnTo>
                      <a:pt x="15" y="14"/>
                    </a:lnTo>
                    <a:lnTo>
                      <a:pt x="17" y="14"/>
                    </a:lnTo>
                    <a:lnTo>
                      <a:pt x="16" y="10"/>
                    </a:lnTo>
                    <a:lnTo>
                      <a:pt x="14" y="11"/>
                    </a:lnTo>
                    <a:lnTo>
                      <a:pt x="16" y="10"/>
                    </a:lnTo>
                    <a:lnTo>
                      <a:pt x="17" y="7"/>
                    </a:lnTo>
                    <a:lnTo>
                      <a:pt x="20" y="5"/>
                    </a:lnTo>
                    <a:lnTo>
                      <a:pt x="17" y="1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0" name="Freeform 186">
                <a:extLst>
                  <a:ext uri="{FF2B5EF4-FFF2-40B4-BE49-F238E27FC236}">
                    <a16:creationId xmlns:a16="http://schemas.microsoft.com/office/drawing/2014/main" id="{C4B09ED7-31CC-49AB-826B-FDA5259C04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9" y="2137"/>
                <a:ext cx="81" cy="67"/>
              </a:xfrm>
              <a:custGeom>
                <a:avLst/>
                <a:gdLst>
                  <a:gd name="T0" fmla="*/ 3 w 81"/>
                  <a:gd name="T1" fmla="*/ 66 h 67"/>
                  <a:gd name="T2" fmla="*/ 6 w 81"/>
                  <a:gd name="T3" fmla="*/ 67 h 67"/>
                  <a:gd name="T4" fmla="*/ 10 w 81"/>
                  <a:gd name="T5" fmla="*/ 62 h 67"/>
                  <a:gd name="T6" fmla="*/ 17 w 81"/>
                  <a:gd name="T7" fmla="*/ 62 h 67"/>
                  <a:gd name="T8" fmla="*/ 12 w 81"/>
                  <a:gd name="T9" fmla="*/ 56 h 67"/>
                  <a:gd name="T10" fmla="*/ 7 w 81"/>
                  <a:gd name="T11" fmla="*/ 52 h 67"/>
                  <a:gd name="T12" fmla="*/ 11 w 81"/>
                  <a:gd name="T13" fmla="*/ 49 h 67"/>
                  <a:gd name="T14" fmla="*/ 16 w 81"/>
                  <a:gd name="T15" fmla="*/ 52 h 67"/>
                  <a:gd name="T16" fmla="*/ 24 w 81"/>
                  <a:gd name="T17" fmla="*/ 48 h 67"/>
                  <a:gd name="T18" fmla="*/ 29 w 81"/>
                  <a:gd name="T19" fmla="*/ 49 h 67"/>
                  <a:gd name="T20" fmla="*/ 40 w 81"/>
                  <a:gd name="T21" fmla="*/ 54 h 67"/>
                  <a:gd name="T22" fmla="*/ 47 w 81"/>
                  <a:gd name="T23" fmla="*/ 58 h 67"/>
                  <a:gd name="T24" fmla="*/ 51 w 81"/>
                  <a:gd name="T25" fmla="*/ 50 h 67"/>
                  <a:gd name="T26" fmla="*/ 57 w 81"/>
                  <a:gd name="T27" fmla="*/ 43 h 67"/>
                  <a:gd name="T28" fmla="*/ 61 w 81"/>
                  <a:gd name="T29" fmla="*/ 41 h 67"/>
                  <a:gd name="T30" fmla="*/ 74 w 81"/>
                  <a:gd name="T31" fmla="*/ 40 h 67"/>
                  <a:gd name="T32" fmla="*/ 78 w 81"/>
                  <a:gd name="T33" fmla="*/ 37 h 67"/>
                  <a:gd name="T34" fmla="*/ 79 w 81"/>
                  <a:gd name="T35" fmla="*/ 36 h 67"/>
                  <a:gd name="T36" fmla="*/ 78 w 81"/>
                  <a:gd name="T37" fmla="*/ 37 h 67"/>
                  <a:gd name="T38" fmla="*/ 75 w 81"/>
                  <a:gd name="T39" fmla="*/ 34 h 67"/>
                  <a:gd name="T40" fmla="*/ 72 w 81"/>
                  <a:gd name="T41" fmla="*/ 29 h 67"/>
                  <a:gd name="T42" fmla="*/ 76 w 81"/>
                  <a:gd name="T43" fmla="*/ 22 h 67"/>
                  <a:gd name="T44" fmla="*/ 74 w 81"/>
                  <a:gd name="T45" fmla="*/ 22 h 67"/>
                  <a:gd name="T46" fmla="*/ 62 w 81"/>
                  <a:gd name="T47" fmla="*/ 25 h 67"/>
                  <a:gd name="T48" fmla="*/ 59 w 81"/>
                  <a:gd name="T49" fmla="*/ 23 h 67"/>
                  <a:gd name="T50" fmla="*/ 53 w 81"/>
                  <a:gd name="T51" fmla="*/ 20 h 67"/>
                  <a:gd name="T52" fmla="*/ 44 w 81"/>
                  <a:gd name="T53" fmla="*/ 15 h 67"/>
                  <a:gd name="T54" fmla="*/ 34 w 81"/>
                  <a:gd name="T55" fmla="*/ 3 h 67"/>
                  <a:gd name="T56" fmla="*/ 28 w 81"/>
                  <a:gd name="T57" fmla="*/ 0 h 67"/>
                  <a:gd name="T58" fmla="*/ 25 w 81"/>
                  <a:gd name="T59" fmla="*/ 6 h 67"/>
                  <a:gd name="T60" fmla="*/ 27 w 81"/>
                  <a:gd name="T61" fmla="*/ 15 h 67"/>
                  <a:gd name="T62" fmla="*/ 26 w 81"/>
                  <a:gd name="T63" fmla="*/ 19 h 67"/>
                  <a:gd name="T64" fmla="*/ 24 w 81"/>
                  <a:gd name="T65" fmla="*/ 27 h 67"/>
                  <a:gd name="T66" fmla="*/ 23 w 81"/>
                  <a:gd name="T67" fmla="*/ 34 h 67"/>
                  <a:gd name="T68" fmla="*/ 20 w 81"/>
                  <a:gd name="T69" fmla="*/ 39 h 67"/>
                  <a:gd name="T70" fmla="*/ 12 w 81"/>
                  <a:gd name="T71" fmla="*/ 37 h 67"/>
                  <a:gd name="T72" fmla="*/ 8 w 81"/>
                  <a:gd name="T73" fmla="*/ 37 h 67"/>
                  <a:gd name="T74" fmla="*/ 8 w 81"/>
                  <a:gd name="T75" fmla="*/ 43 h 67"/>
                  <a:gd name="T76" fmla="*/ 1 w 81"/>
                  <a:gd name="T77" fmla="*/ 49 h 67"/>
                  <a:gd name="T78" fmla="*/ 3 w 81"/>
                  <a:gd name="T79" fmla="*/ 56 h 67"/>
                  <a:gd name="T80" fmla="*/ 3 w 81"/>
                  <a:gd name="T81" fmla="*/ 63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1" h="67">
                    <a:moveTo>
                      <a:pt x="3" y="63"/>
                    </a:moveTo>
                    <a:lnTo>
                      <a:pt x="3" y="66"/>
                    </a:lnTo>
                    <a:lnTo>
                      <a:pt x="3" y="67"/>
                    </a:lnTo>
                    <a:lnTo>
                      <a:pt x="6" y="67"/>
                    </a:lnTo>
                    <a:lnTo>
                      <a:pt x="9" y="66"/>
                    </a:lnTo>
                    <a:lnTo>
                      <a:pt x="10" y="62"/>
                    </a:lnTo>
                    <a:lnTo>
                      <a:pt x="12" y="61"/>
                    </a:lnTo>
                    <a:lnTo>
                      <a:pt x="17" y="62"/>
                    </a:lnTo>
                    <a:lnTo>
                      <a:pt x="17" y="59"/>
                    </a:lnTo>
                    <a:lnTo>
                      <a:pt x="12" y="56"/>
                    </a:lnTo>
                    <a:lnTo>
                      <a:pt x="9" y="54"/>
                    </a:lnTo>
                    <a:lnTo>
                      <a:pt x="7" y="52"/>
                    </a:lnTo>
                    <a:lnTo>
                      <a:pt x="8" y="49"/>
                    </a:lnTo>
                    <a:lnTo>
                      <a:pt x="11" y="49"/>
                    </a:lnTo>
                    <a:lnTo>
                      <a:pt x="13" y="49"/>
                    </a:lnTo>
                    <a:lnTo>
                      <a:pt x="16" y="52"/>
                    </a:lnTo>
                    <a:lnTo>
                      <a:pt x="18" y="51"/>
                    </a:lnTo>
                    <a:lnTo>
                      <a:pt x="24" y="48"/>
                    </a:lnTo>
                    <a:lnTo>
                      <a:pt x="26" y="48"/>
                    </a:lnTo>
                    <a:lnTo>
                      <a:pt x="29" y="49"/>
                    </a:lnTo>
                    <a:lnTo>
                      <a:pt x="34" y="52"/>
                    </a:lnTo>
                    <a:lnTo>
                      <a:pt x="40" y="54"/>
                    </a:lnTo>
                    <a:lnTo>
                      <a:pt x="45" y="57"/>
                    </a:lnTo>
                    <a:lnTo>
                      <a:pt x="47" y="58"/>
                    </a:lnTo>
                    <a:lnTo>
                      <a:pt x="49" y="52"/>
                    </a:lnTo>
                    <a:lnTo>
                      <a:pt x="51" y="50"/>
                    </a:lnTo>
                    <a:lnTo>
                      <a:pt x="52" y="46"/>
                    </a:lnTo>
                    <a:lnTo>
                      <a:pt x="57" y="43"/>
                    </a:lnTo>
                    <a:lnTo>
                      <a:pt x="59" y="42"/>
                    </a:lnTo>
                    <a:lnTo>
                      <a:pt x="61" y="41"/>
                    </a:lnTo>
                    <a:lnTo>
                      <a:pt x="68" y="42"/>
                    </a:lnTo>
                    <a:lnTo>
                      <a:pt x="74" y="40"/>
                    </a:lnTo>
                    <a:lnTo>
                      <a:pt x="76" y="39"/>
                    </a:lnTo>
                    <a:lnTo>
                      <a:pt x="78" y="37"/>
                    </a:lnTo>
                    <a:lnTo>
                      <a:pt x="81" y="36"/>
                    </a:lnTo>
                    <a:lnTo>
                      <a:pt x="79" y="36"/>
                    </a:lnTo>
                    <a:lnTo>
                      <a:pt x="78" y="36"/>
                    </a:lnTo>
                    <a:lnTo>
                      <a:pt x="78" y="37"/>
                    </a:lnTo>
                    <a:lnTo>
                      <a:pt x="76" y="36"/>
                    </a:lnTo>
                    <a:lnTo>
                      <a:pt x="75" y="34"/>
                    </a:lnTo>
                    <a:lnTo>
                      <a:pt x="76" y="32"/>
                    </a:lnTo>
                    <a:lnTo>
                      <a:pt x="72" y="29"/>
                    </a:lnTo>
                    <a:lnTo>
                      <a:pt x="72" y="27"/>
                    </a:lnTo>
                    <a:lnTo>
                      <a:pt x="76" y="22"/>
                    </a:lnTo>
                    <a:lnTo>
                      <a:pt x="76" y="18"/>
                    </a:lnTo>
                    <a:lnTo>
                      <a:pt x="74" y="22"/>
                    </a:lnTo>
                    <a:lnTo>
                      <a:pt x="68" y="26"/>
                    </a:lnTo>
                    <a:lnTo>
                      <a:pt x="62" y="25"/>
                    </a:lnTo>
                    <a:lnTo>
                      <a:pt x="61" y="23"/>
                    </a:lnTo>
                    <a:lnTo>
                      <a:pt x="59" y="23"/>
                    </a:lnTo>
                    <a:lnTo>
                      <a:pt x="55" y="23"/>
                    </a:lnTo>
                    <a:lnTo>
                      <a:pt x="53" y="20"/>
                    </a:lnTo>
                    <a:lnTo>
                      <a:pt x="50" y="19"/>
                    </a:lnTo>
                    <a:lnTo>
                      <a:pt x="44" y="15"/>
                    </a:lnTo>
                    <a:lnTo>
                      <a:pt x="41" y="11"/>
                    </a:lnTo>
                    <a:lnTo>
                      <a:pt x="34" y="3"/>
                    </a:lnTo>
                    <a:lnTo>
                      <a:pt x="30" y="1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5" y="6"/>
                    </a:lnTo>
                    <a:lnTo>
                      <a:pt x="27" y="9"/>
                    </a:lnTo>
                    <a:lnTo>
                      <a:pt x="27" y="15"/>
                    </a:lnTo>
                    <a:lnTo>
                      <a:pt x="27" y="17"/>
                    </a:lnTo>
                    <a:lnTo>
                      <a:pt x="26" y="19"/>
                    </a:lnTo>
                    <a:lnTo>
                      <a:pt x="26" y="25"/>
                    </a:lnTo>
                    <a:lnTo>
                      <a:pt x="24" y="27"/>
                    </a:lnTo>
                    <a:lnTo>
                      <a:pt x="21" y="28"/>
                    </a:lnTo>
                    <a:lnTo>
                      <a:pt x="23" y="34"/>
                    </a:lnTo>
                    <a:lnTo>
                      <a:pt x="21" y="37"/>
                    </a:lnTo>
                    <a:lnTo>
                      <a:pt x="20" y="39"/>
                    </a:lnTo>
                    <a:lnTo>
                      <a:pt x="18" y="39"/>
                    </a:lnTo>
                    <a:lnTo>
                      <a:pt x="12" y="37"/>
                    </a:lnTo>
                    <a:lnTo>
                      <a:pt x="10" y="35"/>
                    </a:lnTo>
                    <a:lnTo>
                      <a:pt x="8" y="37"/>
                    </a:lnTo>
                    <a:lnTo>
                      <a:pt x="9" y="40"/>
                    </a:lnTo>
                    <a:lnTo>
                      <a:pt x="8" y="43"/>
                    </a:lnTo>
                    <a:lnTo>
                      <a:pt x="6" y="44"/>
                    </a:lnTo>
                    <a:lnTo>
                      <a:pt x="1" y="49"/>
                    </a:lnTo>
                    <a:lnTo>
                      <a:pt x="0" y="53"/>
                    </a:lnTo>
                    <a:lnTo>
                      <a:pt x="3" y="56"/>
                    </a:lnTo>
                    <a:lnTo>
                      <a:pt x="4" y="58"/>
                    </a:lnTo>
                    <a:lnTo>
                      <a:pt x="3" y="63"/>
                    </a:lnTo>
                    <a:lnTo>
                      <a:pt x="3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1" name="Freeform 187">
                <a:extLst>
                  <a:ext uri="{FF2B5EF4-FFF2-40B4-BE49-F238E27FC236}">
                    <a16:creationId xmlns:a16="http://schemas.microsoft.com/office/drawing/2014/main" id="{BFBC00F4-8D0C-4356-AA15-4FB6C296F4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0" y="2323"/>
                <a:ext cx="32" cy="44"/>
              </a:xfrm>
              <a:custGeom>
                <a:avLst/>
                <a:gdLst>
                  <a:gd name="T0" fmla="*/ 18 w 32"/>
                  <a:gd name="T1" fmla="*/ 0 h 44"/>
                  <a:gd name="T2" fmla="*/ 19 w 32"/>
                  <a:gd name="T3" fmla="*/ 2 h 44"/>
                  <a:gd name="T4" fmla="*/ 23 w 32"/>
                  <a:gd name="T5" fmla="*/ 5 h 44"/>
                  <a:gd name="T6" fmla="*/ 28 w 32"/>
                  <a:gd name="T7" fmla="*/ 4 h 44"/>
                  <a:gd name="T8" fmla="*/ 26 w 32"/>
                  <a:gd name="T9" fmla="*/ 10 h 44"/>
                  <a:gd name="T10" fmla="*/ 32 w 32"/>
                  <a:gd name="T11" fmla="*/ 12 h 44"/>
                  <a:gd name="T12" fmla="*/ 30 w 32"/>
                  <a:gd name="T13" fmla="*/ 18 h 44"/>
                  <a:gd name="T14" fmla="*/ 28 w 32"/>
                  <a:gd name="T15" fmla="*/ 21 h 44"/>
                  <a:gd name="T16" fmla="*/ 24 w 32"/>
                  <a:gd name="T17" fmla="*/ 30 h 44"/>
                  <a:gd name="T18" fmla="*/ 23 w 32"/>
                  <a:gd name="T19" fmla="*/ 36 h 44"/>
                  <a:gd name="T20" fmla="*/ 21 w 32"/>
                  <a:gd name="T21" fmla="*/ 37 h 44"/>
                  <a:gd name="T22" fmla="*/ 20 w 32"/>
                  <a:gd name="T23" fmla="*/ 40 h 44"/>
                  <a:gd name="T24" fmla="*/ 14 w 32"/>
                  <a:gd name="T25" fmla="*/ 44 h 44"/>
                  <a:gd name="T26" fmla="*/ 15 w 32"/>
                  <a:gd name="T27" fmla="*/ 38 h 44"/>
                  <a:gd name="T28" fmla="*/ 15 w 32"/>
                  <a:gd name="T29" fmla="*/ 34 h 44"/>
                  <a:gd name="T30" fmla="*/ 12 w 32"/>
                  <a:gd name="T31" fmla="*/ 36 h 44"/>
                  <a:gd name="T32" fmla="*/ 8 w 32"/>
                  <a:gd name="T33" fmla="*/ 40 h 44"/>
                  <a:gd name="T34" fmla="*/ 10 w 32"/>
                  <a:gd name="T35" fmla="*/ 35 h 44"/>
                  <a:gd name="T36" fmla="*/ 10 w 32"/>
                  <a:gd name="T37" fmla="*/ 27 h 44"/>
                  <a:gd name="T38" fmla="*/ 13 w 32"/>
                  <a:gd name="T39" fmla="*/ 19 h 44"/>
                  <a:gd name="T40" fmla="*/ 13 w 32"/>
                  <a:gd name="T41" fmla="*/ 17 h 44"/>
                  <a:gd name="T42" fmla="*/ 10 w 32"/>
                  <a:gd name="T43" fmla="*/ 12 h 44"/>
                  <a:gd name="T44" fmla="*/ 8 w 32"/>
                  <a:gd name="T45" fmla="*/ 14 h 44"/>
                  <a:gd name="T46" fmla="*/ 5 w 32"/>
                  <a:gd name="T47" fmla="*/ 18 h 44"/>
                  <a:gd name="T48" fmla="*/ 1 w 32"/>
                  <a:gd name="T49" fmla="*/ 16 h 44"/>
                  <a:gd name="T50" fmla="*/ 2 w 32"/>
                  <a:gd name="T51" fmla="*/ 16 h 44"/>
                  <a:gd name="T52" fmla="*/ 4 w 32"/>
                  <a:gd name="T53" fmla="*/ 13 h 44"/>
                  <a:gd name="T54" fmla="*/ 0 w 32"/>
                  <a:gd name="T55" fmla="*/ 10 h 44"/>
                  <a:gd name="T56" fmla="*/ 2 w 32"/>
                  <a:gd name="T57" fmla="*/ 9 h 44"/>
                  <a:gd name="T58" fmla="*/ 5 w 32"/>
                  <a:gd name="T59" fmla="*/ 8 h 44"/>
                  <a:gd name="T60" fmla="*/ 9 w 32"/>
                  <a:gd name="T61" fmla="*/ 4 h 44"/>
                  <a:gd name="T62" fmla="*/ 12 w 32"/>
                  <a:gd name="T63" fmla="*/ 1 h 44"/>
                  <a:gd name="T64" fmla="*/ 18 w 32"/>
                  <a:gd name="T65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2" h="44">
                    <a:moveTo>
                      <a:pt x="18" y="0"/>
                    </a:moveTo>
                    <a:lnTo>
                      <a:pt x="18" y="0"/>
                    </a:lnTo>
                    <a:lnTo>
                      <a:pt x="18" y="1"/>
                    </a:lnTo>
                    <a:lnTo>
                      <a:pt x="19" y="2"/>
                    </a:lnTo>
                    <a:lnTo>
                      <a:pt x="21" y="4"/>
                    </a:lnTo>
                    <a:lnTo>
                      <a:pt x="23" y="5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6" y="10"/>
                    </a:lnTo>
                    <a:lnTo>
                      <a:pt x="31" y="10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0" y="18"/>
                    </a:lnTo>
                    <a:lnTo>
                      <a:pt x="28" y="20"/>
                    </a:lnTo>
                    <a:lnTo>
                      <a:pt x="28" y="21"/>
                    </a:lnTo>
                    <a:lnTo>
                      <a:pt x="26" y="27"/>
                    </a:lnTo>
                    <a:lnTo>
                      <a:pt x="24" y="30"/>
                    </a:lnTo>
                    <a:lnTo>
                      <a:pt x="24" y="34"/>
                    </a:lnTo>
                    <a:lnTo>
                      <a:pt x="23" y="36"/>
                    </a:lnTo>
                    <a:lnTo>
                      <a:pt x="23" y="38"/>
                    </a:lnTo>
                    <a:lnTo>
                      <a:pt x="21" y="37"/>
                    </a:lnTo>
                    <a:lnTo>
                      <a:pt x="19" y="38"/>
                    </a:lnTo>
                    <a:lnTo>
                      <a:pt x="20" y="40"/>
                    </a:lnTo>
                    <a:lnTo>
                      <a:pt x="17" y="43"/>
                    </a:lnTo>
                    <a:lnTo>
                      <a:pt x="14" y="44"/>
                    </a:lnTo>
                    <a:lnTo>
                      <a:pt x="15" y="40"/>
                    </a:lnTo>
                    <a:lnTo>
                      <a:pt x="15" y="38"/>
                    </a:lnTo>
                    <a:lnTo>
                      <a:pt x="13" y="36"/>
                    </a:lnTo>
                    <a:lnTo>
                      <a:pt x="15" y="34"/>
                    </a:lnTo>
                    <a:lnTo>
                      <a:pt x="13" y="34"/>
                    </a:lnTo>
                    <a:lnTo>
                      <a:pt x="12" y="36"/>
                    </a:lnTo>
                    <a:lnTo>
                      <a:pt x="13" y="42"/>
                    </a:lnTo>
                    <a:lnTo>
                      <a:pt x="8" y="40"/>
                    </a:lnTo>
                    <a:lnTo>
                      <a:pt x="9" y="37"/>
                    </a:lnTo>
                    <a:lnTo>
                      <a:pt x="10" y="35"/>
                    </a:lnTo>
                    <a:lnTo>
                      <a:pt x="8" y="29"/>
                    </a:lnTo>
                    <a:lnTo>
                      <a:pt x="10" y="27"/>
                    </a:lnTo>
                    <a:lnTo>
                      <a:pt x="13" y="21"/>
                    </a:lnTo>
                    <a:lnTo>
                      <a:pt x="13" y="19"/>
                    </a:lnTo>
                    <a:lnTo>
                      <a:pt x="11" y="19"/>
                    </a:lnTo>
                    <a:lnTo>
                      <a:pt x="13" y="17"/>
                    </a:lnTo>
                    <a:lnTo>
                      <a:pt x="11" y="14"/>
                    </a:lnTo>
                    <a:lnTo>
                      <a:pt x="10" y="12"/>
                    </a:lnTo>
                    <a:lnTo>
                      <a:pt x="6" y="12"/>
                    </a:lnTo>
                    <a:lnTo>
                      <a:pt x="8" y="14"/>
                    </a:lnTo>
                    <a:lnTo>
                      <a:pt x="8" y="18"/>
                    </a:lnTo>
                    <a:lnTo>
                      <a:pt x="5" y="18"/>
                    </a:lnTo>
                    <a:lnTo>
                      <a:pt x="3" y="19"/>
                    </a:lnTo>
                    <a:lnTo>
                      <a:pt x="1" y="16"/>
                    </a:lnTo>
                    <a:lnTo>
                      <a:pt x="2" y="13"/>
                    </a:lnTo>
                    <a:lnTo>
                      <a:pt x="2" y="16"/>
                    </a:lnTo>
                    <a:lnTo>
                      <a:pt x="5" y="17"/>
                    </a:lnTo>
                    <a:lnTo>
                      <a:pt x="4" y="13"/>
                    </a:lnTo>
                    <a:lnTo>
                      <a:pt x="1" y="12"/>
                    </a:lnTo>
                    <a:lnTo>
                      <a:pt x="0" y="10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3" y="7"/>
                    </a:lnTo>
                    <a:lnTo>
                      <a:pt x="5" y="8"/>
                    </a:lnTo>
                    <a:lnTo>
                      <a:pt x="5" y="7"/>
                    </a:lnTo>
                    <a:lnTo>
                      <a:pt x="9" y="4"/>
                    </a:lnTo>
                    <a:lnTo>
                      <a:pt x="11" y="3"/>
                    </a:lnTo>
                    <a:lnTo>
                      <a:pt x="12" y="1"/>
                    </a:lnTo>
                    <a:lnTo>
                      <a:pt x="18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2" name="Freeform 188">
                <a:extLst>
                  <a:ext uri="{FF2B5EF4-FFF2-40B4-BE49-F238E27FC236}">
                    <a16:creationId xmlns:a16="http://schemas.microsoft.com/office/drawing/2014/main" id="{A181707F-FA3C-498C-A601-09FAA5BBAE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9" y="1480"/>
                <a:ext cx="116" cy="44"/>
              </a:xfrm>
              <a:custGeom>
                <a:avLst/>
                <a:gdLst>
                  <a:gd name="T0" fmla="*/ 27 w 116"/>
                  <a:gd name="T1" fmla="*/ 0 h 44"/>
                  <a:gd name="T2" fmla="*/ 22 w 116"/>
                  <a:gd name="T3" fmla="*/ 2 h 44"/>
                  <a:gd name="T4" fmla="*/ 18 w 116"/>
                  <a:gd name="T5" fmla="*/ 2 h 44"/>
                  <a:gd name="T6" fmla="*/ 10 w 116"/>
                  <a:gd name="T7" fmla="*/ 7 h 44"/>
                  <a:gd name="T8" fmla="*/ 12 w 116"/>
                  <a:gd name="T9" fmla="*/ 14 h 44"/>
                  <a:gd name="T10" fmla="*/ 3 w 116"/>
                  <a:gd name="T11" fmla="*/ 14 h 44"/>
                  <a:gd name="T12" fmla="*/ 5 w 116"/>
                  <a:gd name="T13" fmla="*/ 17 h 44"/>
                  <a:gd name="T14" fmla="*/ 4 w 116"/>
                  <a:gd name="T15" fmla="*/ 23 h 44"/>
                  <a:gd name="T16" fmla="*/ 0 w 116"/>
                  <a:gd name="T17" fmla="*/ 25 h 44"/>
                  <a:gd name="T18" fmla="*/ 5 w 116"/>
                  <a:gd name="T19" fmla="*/ 31 h 44"/>
                  <a:gd name="T20" fmla="*/ 13 w 116"/>
                  <a:gd name="T21" fmla="*/ 35 h 44"/>
                  <a:gd name="T22" fmla="*/ 16 w 116"/>
                  <a:gd name="T23" fmla="*/ 40 h 44"/>
                  <a:gd name="T24" fmla="*/ 27 w 116"/>
                  <a:gd name="T25" fmla="*/ 43 h 44"/>
                  <a:gd name="T26" fmla="*/ 33 w 116"/>
                  <a:gd name="T27" fmla="*/ 43 h 44"/>
                  <a:gd name="T28" fmla="*/ 35 w 116"/>
                  <a:gd name="T29" fmla="*/ 38 h 44"/>
                  <a:gd name="T30" fmla="*/ 41 w 116"/>
                  <a:gd name="T31" fmla="*/ 35 h 44"/>
                  <a:gd name="T32" fmla="*/ 43 w 116"/>
                  <a:gd name="T33" fmla="*/ 40 h 44"/>
                  <a:gd name="T34" fmla="*/ 63 w 116"/>
                  <a:gd name="T35" fmla="*/ 36 h 44"/>
                  <a:gd name="T36" fmla="*/ 72 w 116"/>
                  <a:gd name="T37" fmla="*/ 34 h 44"/>
                  <a:gd name="T38" fmla="*/ 72 w 116"/>
                  <a:gd name="T39" fmla="*/ 38 h 44"/>
                  <a:gd name="T40" fmla="*/ 80 w 116"/>
                  <a:gd name="T41" fmla="*/ 38 h 44"/>
                  <a:gd name="T42" fmla="*/ 91 w 116"/>
                  <a:gd name="T43" fmla="*/ 36 h 44"/>
                  <a:gd name="T44" fmla="*/ 90 w 116"/>
                  <a:gd name="T45" fmla="*/ 34 h 44"/>
                  <a:gd name="T46" fmla="*/ 81 w 116"/>
                  <a:gd name="T47" fmla="*/ 32 h 44"/>
                  <a:gd name="T48" fmla="*/ 74 w 116"/>
                  <a:gd name="T49" fmla="*/ 25 h 44"/>
                  <a:gd name="T50" fmla="*/ 73 w 116"/>
                  <a:gd name="T51" fmla="*/ 17 h 44"/>
                  <a:gd name="T52" fmla="*/ 73 w 116"/>
                  <a:gd name="T53" fmla="*/ 16 h 44"/>
                  <a:gd name="T54" fmla="*/ 82 w 116"/>
                  <a:gd name="T55" fmla="*/ 15 h 44"/>
                  <a:gd name="T56" fmla="*/ 83 w 116"/>
                  <a:gd name="T57" fmla="*/ 18 h 44"/>
                  <a:gd name="T58" fmla="*/ 77 w 116"/>
                  <a:gd name="T59" fmla="*/ 22 h 44"/>
                  <a:gd name="T60" fmla="*/ 84 w 116"/>
                  <a:gd name="T61" fmla="*/ 31 h 44"/>
                  <a:gd name="T62" fmla="*/ 93 w 116"/>
                  <a:gd name="T63" fmla="*/ 32 h 44"/>
                  <a:gd name="T64" fmla="*/ 104 w 116"/>
                  <a:gd name="T65" fmla="*/ 32 h 44"/>
                  <a:gd name="T66" fmla="*/ 108 w 116"/>
                  <a:gd name="T67" fmla="*/ 27 h 44"/>
                  <a:gd name="T68" fmla="*/ 108 w 116"/>
                  <a:gd name="T69" fmla="*/ 26 h 44"/>
                  <a:gd name="T70" fmla="*/ 112 w 116"/>
                  <a:gd name="T71" fmla="*/ 21 h 44"/>
                  <a:gd name="T72" fmla="*/ 112 w 116"/>
                  <a:gd name="T73" fmla="*/ 17 h 44"/>
                  <a:gd name="T74" fmla="*/ 107 w 116"/>
                  <a:gd name="T75" fmla="*/ 15 h 44"/>
                  <a:gd name="T76" fmla="*/ 92 w 116"/>
                  <a:gd name="T77" fmla="*/ 10 h 44"/>
                  <a:gd name="T78" fmla="*/ 82 w 116"/>
                  <a:gd name="T79" fmla="*/ 12 h 44"/>
                  <a:gd name="T80" fmla="*/ 76 w 116"/>
                  <a:gd name="T81" fmla="*/ 9 h 44"/>
                  <a:gd name="T82" fmla="*/ 65 w 116"/>
                  <a:gd name="T83" fmla="*/ 4 h 44"/>
                  <a:gd name="T84" fmla="*/ 64 w 116"/>
                  <a:gd name="T85" fmla="*/ 6 h 44"/>
                  <a:gd name="T86" fmla="*/ 56 w 116"/>
                  <a:gd name="T87" fmla="*/ 7 h 44"/>
                  <a:gd name="T88" fmla="*/ 55 w 116"/>
                  <a:gd name="T89" fmla="*/ 14 h 44"/>
                  <a:gd name="T90" fmla="*/ 55 w 116"/>
                  <a:gd name="T91" fmla="*/ 17 h 44"/>
                  <a:gd name="T92" fmla="*/ 49 w 116"/>
                  <a:gd name="T93" fmla="*/ 15 h 44"/>
                  <a:gd name="T94" fmla="*/ 43 w 116"/>
                  <a:gd name="T95" fmla="*/ 12 h 44"/>
                  <a:gd name="T96" fmla="*/ 41 w 116"/>
                  <a:gd name="T97" fmla="*/ 8 h 44"/>
                  <a:gd name="T98" fmla="*/ 30 w 116"/>
                  <a:gd name="T99" fmla="*/ 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6" h="44">
                    <a:moveTo>
                      <a:pt x="30" y="4"/>
                    </a:moveTo>
                    <a:lnTo>
                      <a:pt x="27" y="0"/>
                    </a:lnTo>
                    <a:lnTo>
                      <a:pt x="25" y="0"/>
                    </a:lnTo>
                    <a:lnTo>
                      <a:pt x="22" y="2"/>
                    </a:lnTo>
                    <a:lnTo>
                      <a:pt x="21" y="5"/>
                    </a:lnTo>
                    <a:lnTo>
                      <a:pt x="18" y="2"/>
                    </a:lnTo>
                    <a:lnTo>
                      <a:pt x="16" y="6"/>
                    </a:lnTo>
                    <a:lnTo>
                      <a:pt x="10" y="7"/>
                    </a:lnTo>
                    <a:lnTo>
                      <a:pt x="7" y="8"/>
                    </a:lnTo>
                    <a:lnTo>
                      <a:pt x="12" y="14"/>
                    </a:lnTo>
                    <a:lnTo>
                      <a:pt x="6" y="13"/>
                    </a:lnTo>
                    <a:lnTo>
                      <a:pt x="3" y="14"/>
                    </a:lnTo>
                    <a:lnTo>
                      <a:pt x="3" y="17"/>
                    </a:lnTo>
                    <a:lnTo>
                      <a:pt x="5" y="17"/>
                    </a:lnTo>
                    <a:lnTo>
                      <a:pt x="5" y="21"/>
                    </a:lnTo>
                    <a:lnTo>
                      <a:pt x="4" y="23"/>
                    </a:lnTo>
                    <a:lnTo>
                      <a:pt x="6" y="25"/>
                    </a:lnTo>
                    <a:lnTo>
                      <a:pt x="0" y="25"/>
                    </a:lnTo>
                    <a:lnTo>
                      <a:pt x="1" y="29"/>
                    </a:lnTo>
                    <a:lnTo>
                      <a:pt x="5" y="31"/>
                    </a:lnTo>
                    <a:lnTo>
                      <a:pt x="9" y="34"/>
                    </a:lnTo>
                    <a:lnTo>
                      <a:pt x="13" y="35"/>
                    </a:lnTo>
                    <a:lnTo>
                      <a:pt x="14" y="39"/>
                    </a:lnTo>
                    <a:lnTo>
                      <a:pt x="16" y="40"/>
                    </a:lnTo>
                    <a:lnTo>
                      <a:pt x="25" y="42"/>
                    </a:lnTo>
                    <a:lnTo>
                      <a:pt x="27" y="43"/>
                    </a:lnTo>
                    <a:lnTo>
                      <a:pt x="31" y="44"/>
                    </a:lnTo>
                    <a:lnTo>
                      <a:pt x="33" y="43"/>
                    </a:lnTo>
                    <a:lnTo>
                      <a:pt x="37" y="40"/>
                    </a:lnTo>
                    <a:lnTo>
                      <a:pt x="35" y="38"/>
                    </a:lnTo>
                    <a:lnTo>
                      <a:pt x="38" y="35"/>
                    </a:lnTo>
                    <a:lnTo>
                      <a:pt x="41" y="35"/>
                    </a:lnTo>
                    <a:lnTo>
                      <a:pt x="43" y="39"/>
                    </a:lnTo>
                    <a:lnTo>
                      <a:pt x="43" y="40"/>
                    </a:lnTo>
                    <a:lnTo>
                      <a:pt x="57" y="36"/>
                    </a:lnTo>
                    <a:lnTo>
                      <a:pt x="63" y="36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4" y="36"/>
                    </a:lnTo>
                    <a:lnTo>
                      <a:pt x="72" y="38"/>
                    </a:lnTo>
                    <a:lnTo>
                      <a:pt x="76" y="40"/>
                    </a:lnTo>
                    <a:lnTo>
                      <a:pt x="80" y="38"/>
                    </a:lnTo>
                    <a:lnTo>
                      <a:pt x="85" y="38"/>
                    </a:lnTo>
                    <a:lnTo>
                      <a:pt x="91" y="36"/>
                    </a:lnTo>
                    <a:lnTo>
                      <a:pt x="92" y="34"/>
                    </a:lnTo>
                    <a:lnTo>
                      <a:pt x="90" y="34"/>
                    </a:lnTo>
                    <a:lnTo>
                      <a:pt x="84" y="32"/>
                    </a:lnTo>
                    <a:lnTo>
                      <a:pt x="81" y="32"/>
                    </a:lnTo>
                    <a:lnTo>
                      <a:pt x="78" y="31"/>
                    </a:lnTo>
                    <a:lnTo>
                      <a:pt x="74" y="25"/>
                    </a:lnTo>
                    <a:lnTo>
                      <a:pt x="70" y="17"/>
                    </a:lnTo>
                    <a:lnTo>
                      <a:pt x="73" y="17"/>
                    </a:lnTo>
                    <a:lnTo>
                      <a:pt x="70" y="16"/>
                    </a:lnTo>
                    <a:lnTo>
                      <a:pt x="73" y="16"/>
                    </a:lnTo>
                    <a:lnTo>
                      <a:pt x="76" y="15"/>
                    </a:lnTo>
                    <a:lnTo>
                      <a:pt x="82" y="15"/>
                    </a:lnTo>
                    <a:lnTo>
                      <a:pt x="84" y="16"/>
                    </a:lnTo>
                    <a:lnTo>
                      <a:pt x="83" y="18"/>
                    </a:lnTo>
                    <a:lnTo>
                      <a:pt x="80" y="19"/>
                    </a:lnTo>
                    <a:lnTo>
                      <a:pt x="77" y="22"/>
                    </a:lnTo>
                    <a:lnTo>
                      <a:pt x="78" y="25"/>
                    </a:lnTo>
                    <a:lnTo>
                      <a:pt x="84" y="31"/>
                    </a:lnTo>
                    <a:lnTo>
                      <a:pt x="90" y="32"/>
                    </a:lnTo>
                    <a:lnTo>
                      <a:pt x="93" y="32"/>
                    </a:lnTo>
                    <a:lnTo>
                      <a:pt x="98" y="33"/>
                    </a:lnTo>
                    <a:lnTo>
                      <a:pt x="104" y="32"/>
                    </a:lnTo>
                    <a:lnTo>
                      <a:pt x="107" y="31"/>
                    </a:lnTo>
                    <a:lnTo>
                      <a:pt x="108" y="27"/>
                    </a:lnTo>
                    <a:lnTo>
                      <a:pt x="110" y="26"/>
                    </a:lnTo>
                    <a:lnTo>
                      <a:pt x="108" y="26"/>
                    </a:lnTo>
                    <a:lnTo>
                      <a:pt x="107" y="23"/>
                    </a:lnTo>
                    <a:lnTo>
                      <a:pt x="112" y="21"/>
                    </a:lnTo>
                    <a:lnTo>
                      <a:pt x="116" y="18"/>
                    </a:lnTo>
                    <a:lnTo>
                      <a:pt x="112" y="17"/>
                    </a:lnTo>
                    <a:lnTo>
                      <a:pt x="110" y="17"/>
                    </a:lnTo>
                    <a:lnTo>
                      <a:pt x="107" y="15"/>
                    </a:lnTo>
                    <a:lnTo>
                      <a:pt x="104" y="15"/>
                    </a:lnTo>
                    <a:lnTo>
                      <a:pt x="92" y="10"/>
                    </a:lnTo>
                    <a:lnTo>
                      <a:pt x="84" y="12"/>
                    </a:lnTo>
                    <a:lnTo>
                      <a:pt x="82" y="12"/>
                    </a:lnTo>
                    <a:lnTo>
                      <a:pt x="78" y="10"/>
                    </a:lnTo>
                    <a:lnTo>
                      <a:pt x="76" y="9"/>
                    </a:lnTo>
                    <a:lnTo>
                      <a:pt x="70" y="6"/>
                    </a:lnTo>
                    <a:lnTo>
                      <a:pt x="65" y="4"/>
                    </a:lnTo>
                    <a:lnTo>
                      <a:pt x="61" y="4"/>
                    </a:lnTo>
                    <a:lnTo>
                      <a:pt x="64" y="6"/>
                    </a:lnTo>
                    <a:lnTo>
                      <a:pt x="58" y="5"/>
                    </a:lnTo>
                    <a:lnTo>
                      <a:pt x="56" y="7"/>
                    </a:lnTo>
                    <a:lnTo>
                      <a:pt x="56" y="12"/>
                    </a:lnTo>
                    <a:lnTo>
                      <a:pt x="55" y="14"/>
                    </a:lnTo>
                    <a:lnTo>
                      <a:pt x="57" y="16"/>
                    </a:lnTo>
                    <a:lnTo>
                      <a:pt x="55" y="17"/>
                    </a:lnTo>
                    <a:lnTo>
                      <a:pt x="52" y="17"/>
                    </a:lnTo>
                    <a:lnTo>
                      <a:pt x="49" y="15"/>
                    </a:lnTo>
                    <a:lnTo>
                      <a:pt x="49" y="12"/>
                    </a:lnTo>
                    <a:lnTo>
                      <a:pt x="43" y="12"/>
                    </a:lnTo>
                    <a:lnTo>
                      <a:pt x="42" y="10"/>
                    </a:lnTo>
                    <a:lnTo>
                      <a:pt x="41" y="8"/>
                    </a:lnTo>
                    <a:lnTo>
                      <a:pt x="30" y="4"/>
                    </a:lnTo>
                    <a:lnTo>
                      <a:pt x="3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3" name="Freeform 189">
                <a:extLst>
                  <a:ext uri="{FF2B5EF4-FFF2-40B4-BE49-F238E27FC236}">
                    <a16:creationId xmlns:a16="http://schemas.microsoft.com/office/drawing/2014/main" id="{6045414D-FF4C-445F-A755-65AFB10FE7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9" y="1544"/>
                <a:ext cx="51" cy="19"/>
              </a:xfrm>
              <a:custGeom>
                <a:avLst/>
                <a:gdLst>
                  <a:gd name="T0" fmla="*/ 3 w 51"/>
                  <a:gd name="T1" fmla="*/ 12 h 19"/>
                  <a:gd name="T2" fmla="*/ 0 w 51"/>
                  <a:gd name="T3" fmla="*/ 12 h 19"/>
                  <a:gd name="T4" fmla="*/ 2 w 51"/>
                  <a:gd name="T5" fmla="*/ 14 h 19"/>
                  <a:gd name="T6" fmla="*/ 6 w 51"/>
                  <a:gd name="T7" fmla="*/ 13 h 19"/>
                  <a:gd name="T8" fmla="*/ 11 w 51"/>
                  <a:gd name="T9" fmla="*/ 12 h 19"/>
                  <a:gd name="T10" fmla="*/ 17 w 51"/>
                  <a:gd name="T11" fmla="*/ 13 h 19"/>
                  <a:gd name="T12" fmla="*/ 26 w 51"/>
                  <a:gd name="T13" fmla="*/ 15 h 19"/>
                  <a:gd name="T14" fmla="*/ 41 w 51"/>
                  <a:gd name="T15" fmla="*/ 18 h 19"/>
                  <a:gd name="T16" fmla="*/ 46 w 51"/>
                  <a:gd name="T17" fmla="*/ 19 h 19"/>
                  <a:gd name="T18" fmla="*/ 49 w 51"/>
                  <a:gd name="T19" fmla="*/ 18 h 19"/>
                  <a:gd name="T20" fmla="*/ 51 w 51"/>
                  <a:gd name="T21" fmla="*/ 15 h 19"/>
                  <a:gd name="T22" fmla="*/ 51 w 51"/>
                  <a:gd name="T23" fmla="*/ 12 h 19"/>
                  <a:gd name="T24" fmla="*/ 50 w 51"/>
                  <a:gd name="T25" fmla="*/ 10 h 19"/>
                  <a:gd name="T26" fmla="*/ 46 w 51"/>
                  <a:gd name="T27" fmla="*/ 8 h 19"/>
                  <a:gd name="T28" fmla="*/ 38 w 51"/>
                  <a:gd name="T29" fmla="*/ 2 h 19"/>
                  <a:gd name="T30" fmla="*/ 30 w 51"/>
                  <a:gd name="T31" fmla="*/ 0 h 19"/>
                  <a:gd name="T32" fmla="*/ 25 w 51"/>
                  <a:gd name="T33" fmla="*/ 0 h 19"/>
                  <a:gd name="T34" fmla="*/ 21 w 51"/>
                  <a:gd name="T35" fmla="*/ 1 h 19"/>
                  <a:gd name="T36" fmla="*/ 19 w 51"/>
                  <a:gd name="T37" fmla="*/ 1 h 19"/>
                  <a:gd name="T38" fmla="*/ 16 w 51"/>
                  <a:gd name="T39" fmla="*/ 2 h 19"/>
                  <a:gd name="T40" fmla="*/ 13 w 51"/>
                  <a:gd name="T41" fmla="*/ 4 h 19"/>
                  <a:gd name="T42" fmla="*/ 12 w 51"/>
                  <a:gd name="T43" fmla="*/ 8 h 19"/>
                  <a:gd name="T44" fmla="*/ 10 w 51"/>
                  <a:gd name="T45" fmla="*/ 10 h 19"/>
                  <a:gd name="T46" fmla="*/ 7 w 51"/>
                  <a:gd name="T47" fmla="*/ 12 h 19"/>
                  <a:gd name="T48" fmla="*/ 3 w 51"/>
                  <a:gd name="T49" fmla="*/ 12 h 19"/>
                  <a:gd name="T50" fmla="*/ 3 w 51"/>
                  <a:gd name="T51" fmla="*/ 1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1" h="19">
                    <a:moveTo>
                      <a:pt x="3" y="12"/>
                    </a:moveTo>
                    <a:lnTo>
                      <a:pt x="0" y="12"/>
                    </a:lnTo>
                    <a:lnTo>
                      <a:pt x="2" y="14"/>
                    </a:lnTo>
                    <a:lnTo>
                      <a:pt x="6" y="13"/>
                    </a:lnTo>
                    <a:lnTo>
                      <a:pt x="11" y="12"/>
                    </a:lnTo>
                    <a:lnTo>
                      <a:pt x="17" y="13"/>
                    </a:lnTo>
                    <a:lnTo>
                      <a:pt x="26" y="15"/>
                    </a:lnTo>
                    <a:lnTo>
                      <a:pt x="41" y="18"/>
                    </a:lnTo>
                    <a:lnTo>
                      <a:pt x="46" y="19"/>
                    </a:lnTo>
                    <a:lnTo>
                      <a:pt x="49" y="18"/>
                    </a:lnTo>
                    <a:lnTo>
                      <a:pt x="51" y="15"/>
                    </a:lnTo>
                    <a:lnTo>
                      <a:pt x="51" y="12"/>
                    </a:lnTo>
                    <a:lnTo>
                      <a:pt x="50" y="10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30" y="0"/>
                    </a:lnTo>
                    <a:lnTo>
                      <a:pt x="25" y="0"/>
                    </a:lnTo>
                    <a:lnTo>
                      <a:pt x="21" y="1"/>
                    </a:lnTo>
                    <a:lnTo>
                      <a:pt x="19" y="1"/>
                    </a:lnTo>
                    <a:lnTo>
                      <a:pt x="16" y="2"/>
                    </a:lnTo>
                    <a:lnTo>
                      <a:pt x="13" y="4"/>
                    </a:lnTo>
                    <a:lnTo>
                      <a:pt x="12" y="8"/>
                    </a:lnTo>
                    <a:lnTo>
                      <a:pt x="10" y="10"/>
                    </a:lnTo>
                    <a:lnTo>
                      <a:pt x="7" y="12"/>
                    </a:lnTo>
                    <a:lnTo>
                      <a:pt x="3" y="12"/>
                    </a:lnTo>
                    <a:lnTo>
                      <a:pt x="3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4" name="Freeform 190">
                <a:extLst>
                  <a:ext uri="{FF2B5EF4-FFF2-40B4-BE49-F238E27FC236}">
                    <a16:creationId xmlns:a16="http://schemas.microsoft.com/office/drawing/2014/main" id="{EE97687D-690D-47F7-B999-C069179D7B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3" y="1533"/>
                <a:ext cx="14" cy="11"/>
              </a:xfrm>
              <a:custGeom>
                <a:avLst/>
                <a:gdLst>
                  <a:gd name="T0" fmla="*/ 5 w 14"/>
                  <a:gd name="T1" fmla="*/ 11 h 11"/>
                  <a:gd name="T2" fmla="*/ 9 w 14"/>
                  <a:gd name="T3" fmla="*/ 9 h 11"/>
                  <a:gd name="T4" fmla="*/ 13 w 14"/>
                  <a:gd name="T5" fmla="*/ 8 h 11"/>
                  <a:gd name="T6" fmla="*/ 14 w 14"/>
                  <a:gd name="T7" fmla="*/ 3 h 11"/>
                  <a:gd name="T8" fmla="*/ 11 w 14"/>
                  <a:gd name="T9" fmla="*/ 2 h 11"/>
                  <a:gd name="T10" fmla="*/ 8 w 14"/>
                  <a:gd name="T11" fmla="*/ 0 h 11"/>
                  <a:gd name="T12" fmla="*/ 3 w 14"/>
                  <a:gd name="T13" fmla="*/ 2 h 11"/>
                  <a:gd name="T14" fmla="*/ 0 w 14"/>
                  <a:gd name="T15" fmla="*/ 4 h 11"/>
                  <a:gd name="T16" fmla="*/ 0 w 14"/>
                  <a:gd name="T17" fmla="*/ 7 h 11"/>
                  <a:gd name="T18" fmla="*/ 3 w 14"/>
                  <a:gd name="T19" fmla="*/ 9 h 11"/>
                  <a:gd name="T20" fmla="*/ 5 w 14"/>
                  <a:gd name="T21" fmla="*/ 11 h 11"/>
                  <a:gd name="T22" fmla="*/ 5 w 14"/>
                  <a:gd name="T23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" h="11">
                    <a:moveTo>
                      <a:pt x="5" y="11"/>
                    </a:moveTo>
                    <a:lnTo>
                      <a:pt x="9" y="9"/>
                    </a:lnTo>
                    <a:lnTo>
                      <a:pt x="13" y="8"/>
                    </a:lnTo>
                    <a:lnTo>
                      <a:pt x="14" y="3"/>
                    </a:lnTo>
                    <a:lnTo>
                      <a:pt x="11" y="2"/>
                    </a:lnTo>
                    <a:lnTo>
                      <a:pt x="8" y="0"/>
                    </a:lnTo>
                    <a:lnTo>
                      <a:pt x="3" y="2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3" y="9"/>
                    </a:lnTo>
                    <a:lnTo>
                      <a:pt x="5" y="11"/>
                    </a:lnTo>
                    <a:lnTo>
                      <a:pt x="5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5" name="Freeform 191">
                <a:extLst>
                  <a:ext uri="{FF2B5EF4-FFF2-40B4-BE49-F238E27FC236}">
                    <a16:creationId xmlns:a16="http://schemas.microsoft.com/office/drawing/2014/main" id="{51AB13DD-1A3B-4021-BFBE-0AA1E5C22A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5" y="1498"/>
                <a:ext cx="66" cy="23"/>
              </a:xfrm>
              <a:custGeom>
                <a:avLst/>
                <a:gdLst>
                  <a:gd name="T0" fmla="*/ 42 w 66"/>
                  <a:gd name="T1" fmla="*/ 23 h 23"/>
                  <a:gd name="T2" fmla="*/ 49 w 66"/>
                  <a:gd name="T3" fmla="*/ 23 h 23"/>
                  <a:gd name="T4" fmla="*/ 55 w 66"/>
                  <a:gd name="T5" fmla="*/ 21 h 23"/>
                  <a:gd name="T6" fmla="*/ 60 w 66"/>
                  <a:gd name="T7" fmla="*/ 20 h 23"/>
                  <a:gd name="T8" fmla="*/ 63 w 66"/>
                  <a:gd name="T9" fmla="*/ 17 h 23"/>
                  <a:gd name="T10" fmla="*/ 65 w 66"/>
                  <a:gd name="T11" fmla="*/ 15 h 23"/>
                  <a:gd name="T12" fmla="*/ 66 w 66"/>
                  <a:gd name="T13" fmla="*/ 13 h 23"/>
                  <a:gd name="T14" fmla="*/ 63 w 66"/>
                  <a:gd name="T15" fmla="*/ 12 h 23"/>
                  <a:gd name="T16" fmla="*/ 61 w 66"/>
                  <a:gd name="T17" fmla="*/ 13 h 23"/>
                  <a:gd name="T18" fmla="*/ 58 w 66"/>
                  <a:gd name="T19" fmla="*/ 12 h 23"/>
                  <a:gd name="T20" fmla="*/ 55 w 66"/>
                  <a:gd name="T21" fmla="*/ 11 h 23"/>
                  <a:gd name="T22" fmla="*/ 44 w 66"/>
                  <a:gd name="T23" fmla="*/ 8 h 23"/>
                  <a:gd name="T24" fmla="*/ 41 w 66"/>
                  <a:gd name="T25" fmla="*/ 9 h 23"/>
                  <a:gd name="T26" fmla="*/ 39 w 66"/>
                  <a:gd name="T27" fmla="*/ 11 h 23"/>
                  <a:gd name="T28" fmla="*/ 35 w 66"/>
                  <a:gd name="T29" fmla="*/ 11 h 23"/>
                  <a:gd name="T30" fmla="*/ 33 w 66"/>
                  <a:gd name="T31" fmla="*/ 8 h 23"/>
                  <a:gd name="T32" fmla="*/ 34 w 66"/>
                  <a:gd name="T33" fmla="*/ 6 h 23"/>
                  <a:gd name="T34" fmla="*/ 31 w 66"/>
                  <a:gd name="T35" fmla="*/ 5 h 23"/>
                  <a:gd name="T36" fmla="*/ 28 w 66"/>
                  <a:gd name="T37" fmla="*/ 5 h 23"/>
                  <a:gd name="T38" fmla="*/ 19 w 66"/>
                  <a:gd name="T39" fmla="*/ 4 h 23"/>
                  <a:gd name="T40" fmla="*/ 17 w 66"/>
                  <a:gd name="T41" fmla="*/ 7 h 23"/>
                  <a:gd name="T42" fmla="*/ 14 w 66"/>
                  <a:gd name="T43" fmla="*/ 7 h 23"/>
                  <a:gd name="T44" fmla="*/ 11 w 66"/>
                  <a:gd name="T45" fmla="*/ 7 h 23"/>
                  <a:gd name="T46" fmla="*/ 8 w 66"/>
                  <a:gd name="T47" fmla="*/ 5 h 23"/>
                  <a:gd name="T48" fmla="*/ 9 w 66"/>
                  <a:gd name="T49" fmla="*/ 3 h 23"/>
                  <a:gd name="T50" fmla="*/ 7 w 66"/>
                  <a:gd name="T51" fmla="*/ 0 h 23"/>
                  <a:gd name="T52" fmla="*/ 3 w 66"/>
                  <a:gd name="T53" fmla="*/ 3 h 23"/>
                  <a:gd name="T54" fmla="*/ 0 w 66"/>
                  <a:gd name="T55" fmla="*/ 11 h 23"/>
                  <a:gd name="T56" fmla="*/ 3 w 66"/>
                  <a:gd name="T57" fmla="*/ 12 h 23"/>
                  <a:gd name="T58" fmla="*/ 9 w 66"/>
                  <a:gd name="T59" fmla="*/ 13 h 23"/>
                  <a:gd name="T60" fmla="*/ 15 w 66"/>
                  <a:gd name="T61" fmla="*/ 16 h 23"/>
                  <a:gd name="T62" fmla="*/ 17 w 66"/>
                  <a:gd name="T63" fmla="*/ 17 h 23"/>
                  <a:gd name="T64" fmla="*/ 20 w 66"/>
                  <a:gd name="T65" fmla="*/ 17 h 23"/>
                  <a:gd name="T66" fmla="*/ 28 w 66"/>
                  <a:gd name="T67" fmla="*/ 22 h 23"/>
                  <a:gd name="T68" fmla="*/ 34 w 66"/>
                  <a:gd name="T69" fmla="*/ 23 h 23"/>
                  <a:gd name="T70" fmla="*/ 42 w 66"/>
                  <a:gd name="T71" fmla="*/ 23 h 23"/>
                  <a:gd name="T72" fmla="*/ 42 w 66"/>
                  <a:gd name="T7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6" h="23">
                    <a:moveTo>
                      <a:pt x="42" y="23"/>
                    </a:moveTo>
                    <a:lnTo>
                      <a:pt x="49" y="23"/>
                    </a:lnTo>
                    <a:lnTo>
                      <a:pt x="55" y="21"/>
                    </a:lnTo>
                    <a:lnTo>
                      <a:pt x="60" y="20"/>
                    </a:lnTo>
                    <a:lnTo>
                      <a:pt x="63" y="17"/>
                    </a:lnTo>
                    <a:lnTo>
                      <a:pt x="65" y="15"/>
                    </a:lnTo>
                    <a:lnTo>
                      <a:pt x="66" y="13"/>
                    </a:lnTo>
                    <a:lnTo>
                      <a:pt x="63" y="12"/>
                    </a:lnTo>
                    <a:lnTo>
                      <a:pt x="61" y="13"/>
                    </a:lnTo>
                    <a:lnTo>
                      <a:pt x="58" y="12"/>
                    </a:lnTo>
                    <a:lnTo>
                      <a:pt x="55" y="11"/>
                    </a:lnTo>
                    <a:lnTo>
                      <a:pt x="44" y="8"/>
                    </a:lnTo>
                    <a:lnTo>
                      <a:pt x="41" y="9"/>
                    </a:lnTo>
                    <a:lnTo>
                      <a:pt x="39" y="11"/>
                    </a:lnTo>
                    <a:lnTo>
                      <a:pt x="35" y="11"/>
                    </a:lnTo>
                    <a:lnTo>
                      <a:pt x="33" y="8"/>
                    </a:lnTo>
                    <a:lnTo>
                      <a:pt x="34" y="6"/>
                    </a:lnTo>
                    <a:lnTo>
                      <a:pt x="31" y="5"/>
                    </a:lnTo>
                    <a:lnTo>
                      <a:pt x="28" y="5"/>
                    </a:lnTo>
                    <a:lnTo>
                      <a:pt x="19" y="4"/>
                    </a:lnTo>
                    <a:lnTo>
                      <a:pt x="17" y="7"/>
                    </a:lnTo>
                    <a:lnTo>
                      <a:pt x="14" y="7"/>
                    </a:lnTo>
                    <a:lnTo>
                      <a:pt x="11" y="7"/>
                    </a:lnTo>
                    <a:lnTo>
                      <a:pt x="8" y="5"/>
                    </a:lnTo>
                    <a:lnTo>
                      <a:pt x="9" y="3"/>
                    </a:lnTo>
                    <a:lnTo>
                      <a:pt x="7" y="0"/>
                    </a:lnTo>
                    <a:lnTo>
                      <a:pt x="3" y="3"/>
                    </a:lnTo>
                    <a:lnTo>
                      <a:pt x="0" y="11"/>
                    </a:lnTo>
                    <a:lnTo>
                      <a:pt x="3" y="12"/>
                    </a:lnTo>
                    <a:lnTo>
                      <a:pt x="9" y="13"/>
                    </a:lnTo>
                    <a:lnTo>
                      <a:pt x="15" y="16"/>
                    </a:lnTo>
                    <a:lnTo>
                      <a:pt x="17" y="17"/>
                    </a:lnTo>
                    <a:lnTo>
                      <a:pt x="20" y="17"/>
                    </a:lnTo>
                    <a:lnTo>
                      <a:pt x="28" y="22"/>
                    </a:lnTo>
                    <a:lnTo>
                      <a:pt x="34" y="23"/>
                    </a:lnTo>
                    <a:lnTo>
                      <a:pt x="42" y="23"/>
                    </a:lnTo>
                    <a:lnTo>
                      <a:pt x="42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6" name="Freeform 192">
                <a:extLst>
                  <a:ext uri="{FF2B5EF4-FFF2-40B4-BE49-F238E27FC236}">
                    <a16:creationId xmlns:a16="http://schemas.microsoft.com/office/drawing/2014/main" id="{04955075-257C-4633-948B-05D7169538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6" y="2863"/>
                <a:ext cx="56" cy="28"/>
              </a:xfrm>
              <a:custGeom>
                <a:avLst/>
                <a:gdLst>
                  <a:gd name="T0" fmla="*/ 34 w 56"/>
                  <a:gd name="T1" fmla="*/ 27 h 28"/>
                  <a:gd name="T2" fmla="*/ 35 w 56"/>
                  <a:gd name="T3" fmla="*/ 26 h 28"/>
                  <a:gd name="T4" fmla="*/ 38 w 56"/>
                  <a:gd name="T5" fmla="*/ 25 h 28"/>
                  <a:gd name="T6" fmla="*/ 40 w 56"/>
                  <a:gd name="T7" fmla="*/ 23 h 28"/>
                  <a:gd name="T8" fmla="*/ 43 w 56"/>
                  <a:gd name="T9" fmla="*/ 21 h 28"/>
                  <a:gd name="T10" fmla="*/ 44 w 56"/>
                  <a:gd name="T11" fmla="*/ 19 h 28"/>
                  <a:gd name="T12" fmla="*/ 49 w 56"/>
                  <a:gd name="T13" fmla="*/ 19 h 28"/>
                  <a:gd name="T14" fmla="*/ 52 w 56"/>
                  <a:gd name="T15" fmla="*/ 17 h 28"/>
                  <a:gd name="T16" fmla="*/ 51 w 56"/>
                  <a:gd name="T17" fmla="*/ 13 h 28"/>
                  <a:gd name="T18" fmla="*/ 52 w 56"/>
                  <a:gd name="T19" fmla="*/ 11 h 28"/>
                  <a:gd name="T20" fmla="*/ 54 w 56"/>
                  <a:gd name="T21" fmla="*/ 10 h 28"/>
                  <a:gd name="T22" fmla="*/ 56 w 56"/>
                  <a:gd name="T23" fmla="*/ 7 h 28"/>
                  <a:gd name="T24" fmla="*/ 55 w 56"/>
                  <a:gd name="T25" fmla="*/ 4 h 28"/>
                  <a:gd name="T26" fmla="*/ 55 w 56"/>
                  <a:gd name="T27" fmla="*/ 2 h 28"/>
                  <a:gd name="T28" fmla="*/ 52 w 56"/>
                  <a:gd name="T29" fmla="*/ 0 h 28"/>
                  <a:gd name="T30" fmla="*/ 49 w 56"/>
                  <a:gd name="T31" fmla="*/ 2 h 28"/>
                  <a:gd name="T32" fmla="*/ 47 w 56"/>
                  <a:gd name="T33" fmla="*/ 0 h 28"/>
                  <a:gd name="T34" fmla="*/ 44 w 56"/>
                  <a:gd name="T35" fmla="*/ 2 h 28"/>
                  <a:gd name="T36" fmla="*/ 46 w 56"/>
                  <a:gd name="T37" fmla="*/ 8 h 28"/>
                  <a:gd name="T38" fmla="*/ 45 w 56"/>
                  <a:gd name="T39" fmla="*/ 10 h 28"/>
                  <a:gd name="T40" fmla="*/ 41 w 56"/>
                  <a:gd name="T41" fmla="*/ 10 h 28"/>
                  <a:gd name="T42" fmla="*/ 39 w 56"/>
                  <a:gd name="T43" fmla="*/ 12 h 28"/>
                  <a:gd name="T44" fmla="*/ 35 w 56"/>
                  <a:gd name="T45" fmla="*/ 18 h 28"/>
                  <a:gd name="T46" fmla="*/ 32 w 56"/>
                  <a:gd name="T47" fmla="*/ 19 h 28"/>
                  <a:gd name="T48" fmla="*/ 30 w 56"/>
                  <a:gd name="T49" fmla="*/ 17 h 28"/>
                  <a:gd name="T50" fmla="*/ 27 w 56"/>
                  <a:gd name="T51" fmla="*/ 19 h 28"/>
                  <a:gd name="T52" fmla="*/ 24 w 56"/>
                  <a:gd name="T53" fmla="*/ 17 h 28"/>
                  <a:gd name="T54" fmla="*/ 23 w 56"/>
                  <a:gd name="T55" fmla="*/ 12 h 28"/>
                  <a:gd name="T56" fmla="*/ 22 w 56"/>
                  <a:gd name="T57" fmla="*/ 15 h 28"/>
                  <a:gd name="T58" fmla="*/ 22 w 56"/>
                  <a:gd name="T59" fmla="*/ 16 h 28"/>
                  <a:gd name="T60" fmla="*/ 21 w 56"/>
                  <a:gd name="T61" fmla="*/ 18 h 28"/>
                  <a:gd name="T62" fmla="*/ 19 w 56"/>
                  <a:gd name="T63" fmla="*/ 19 h 28"/>
                  <a:gd name="T64" fmla="*/ 17 w 56"/>
                  <a:gd name="T65" fmla="*/ 19 h 28"/>
                  <a:gd name="T66" fmla="*/ 17 w 56"/>
                  <a:gd name="T67" fmla="*/ 19 h 28"/>
                  <a:gd name="T68" fmla="*/ 13 w 56"/>
                  <a:gd name="T69" fmla="*/ 19 h 28"/>
                  <a:gd name="T70" fmla="*/ 11 w 56"/>
                  <a:gd name="T71" fmla="*/ 18 h 28"/>
                  <a:gd name="T72" fmla="*/ 5 w 56"/>
                  <a:gd name="T73" fmla="*/ 18 h 28"/>
                  <a:gd name="T74" fmla="*/ 0 w 56"/>
                  <a:gd name="T75" fmla="*/ 19 h 28"/>
                  <a:gd name="T76" fmla="*/ 2 w 56"/>
                  <a:gd name="T77" fmla="*/ 23 h 28"/>
                  <a:gd name="T78" fmla="*/ 5 w 56"/>
                  <a:gd name="T79" fmla="*/ 23 h 28"/>
                  <a:gd name="T80" fmla="*/ 10 w 56"/>
                  <a:gd name="T81" fmla="*/ 26 h 28"/>
                  <a:gd name="T82" fmla="*/ 12 w 56"/>
                  <a:gd name="T83" fmla="*/ 26 h 28"/>
                  <a:gd name="T84" fmla="*/ 15 w 56"/>
                  <a:gd name="T85" fmla="*/ 26 h 28"/>
                  <a:gd name="T86" fmla="*/ 18 w 56"/>
                  <a:gd name="T87" fmla="*/ 28 h 28"/>
                  <a:gd name="T88" fmla="*/ 28 w 56"/>
                  <a:gd name="T89" fmla="*/ 28 h 28"/>
                  <a:gd name="T90" fmla="*/ 30 w 56"/>
                  <a:gd name="T91" fmla="*/ 27 h 28"/>
                  <a:gd name="T92" fmla="*/ 34 w 56"/>
                  <a:gd name="T93" fmla="*/ 27 h 28"/>
                  <a:gd name="T94" fmla="*/ 34 w 56"/>
                  <a:gd name="T95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6" h="28">
                    <a:moveTo>
                      <a:pt x="34" y="27"/>
                    </a:moveTo>
                    <a:lnTo>
                      <a:pt x="35" y="26"/>
                    </a:lnTo>
                    <a:lnTo>
                      <a:pt x="38" y="25"/>
                    </a:lnTo>
                    <a:lnTo>
                      <a:pt x="40" y="23"/>
                    </a:lnTo>
                    <a:lnTo>
                      <a:pt x="43" y="21"/>
                    </a:lnTo>
                    <a:lnTo>
                      <a:pt x="44" y="19"/>
                    </a:lnTo>
                    <a:lnTo>
                      <a:pt x="49" y="19"/>
                    </a:lnTo>
                    <a:lnTo>
                      <a:pt x="52" y="17"/>
                    </a:lnTo>
                    <a:lnTo>
                      <a:pt x="51" y="13"/>
                    </a:lnTo>
                    <a:lnTo>
                      <a:pt x="52" y="11"/>
                    </a:lnTo>
                    <a:lnTo>
                      <a:pt x="54" y="10"/>
                    </a:lnTo>
                    <a:lnTo>
                      <a:pt x="56" y="7"/>
                    </a:lnTo>
                    <a:lnTo>
                      <a:pt x="55" y="4"/>
                    </a:lnTo>
                    <a:lnTo>
                      <a:pt x="55" y="2"/>
                    </a:lnTo>
                    <a:lnTo>
                      <a:pt x="52" y="0"/>
                    </a:lnTo>
                    <a:lnTo>
                      <a:pt x="49" y="2"/>
                    </a:lnTo>
                    <a:lnTo>
                      <a:pt x="47" y="0"/>
                    </a:lnTo>
                    <a:lnTo>
                      <a:pt x="44" y="2"/>
                    </a:lnTo>
                    <a:lnTo>
                      <a:pt x="46" y="8"/>
                    </a:lnTo>
                    <a:lnTo>
                      <a:pt x="45" y="10"/>
                    </a:lnTo>
                    <a:lnTo>
                      <a:pt x="41" y="10"/>
                    </a:lnTo>
                    <a:lnTo>
                      <a:pt x="39" y="12"/>
                    </a:lnTo>
                    <a:lnTo>
                      <a:pt x="35" y="18"/>
                    </a:lnTo>
                    <a:lnTo>
                      <a:pt x="32" y="19"/>
                    </a:lnTo>
                    <a:lnTo>
                      <a:pt x="30" y="17"/>
                    </a:lnTo>
                    <a:lnTo>
                      <a:pt x="27" y="19"/>
                    </a:lnTo>
                    <a:lnTo>
                      <a:pt x="24" y="17"/>
                    </a:lnTo>
                    <a:lnTo>
                      <a:pt x="23" y="12"/>
                    </a:lnTo>
                    <a:lnTo>
                      <a:pt x="22" y="15"/>
                    </a:lnTo>
                    <a:lnTo>
                      <a:pt x="22" y="16"/>
                    </a:lnTo>
                    <a:lnTo>
                      <a:pt x="21" y="18"/>
                    </a:lnTo>
                    <a:lnTo>
                      <a:pt x="19" y="19"/>
                    </a:lnTo>
                    <a:lnTo>
                      <a:pt x="17" y="19"/>
                    </a:lnTo>
                    <a:lnTo>
                      <a:pt x="17" y="19"/>
                    </a:lnTo>
                    <a:lnTo>
                      <a:pt x="13" y="19"/>
                    </a:lnTo>
                    <a:lnTo>
                      <a:pt x="11" y="18"/>
                    </a:lnTo>
                    <a:lnTo>
                      <a:pt x="5" y="18"/>
                    </a:lnTo>
                    <a:lnTo>
                      <a:pt x="0" y="19"/>
                    </a:lnTo>
                    <a:lnTo>
                      <a:pt x="2" y="23"/>
                    </a:lnTo>
                    <a:lnTo>
                      <a:pt x="5" y="23"/>
                    </a:lnTo>
                    <a:lnTo>
                      <a:pt x="10" y="26"/>
                    </a:lnTo>
                    <a:lnTo>
                      <a:pt x="12" y="26"/>
                    </a:lnTo>
                    <a:lnTo>
                      <a:pt x="15" y="26"/>
                    </a:lnTo>
                    <a:lnTo>
                      <a:pt x="18" y="28"/>
                    </a:lnTo>
                    <a:lnTo>
                      <a:pt x="28" y="28"/>
                    </a:lnTo>
                    <a:lnTo>
                      <a:pt x="30" y="27"/>
                    </a:lnTo>
                    <a:lnTo>
                      <a:pt x="34" y="27"/>
                    </a:lnTo>
                    <a:lnTo>
                      <a:pt x="34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7" name="Freeform 193">
                <a:extLst>
                  <a:ext uri="{FF2B5EF4-FFF2-40B4-BE49-F238E27FC236}">
                    <a16:creationId xmlns:a16="http://schemas.microsoft.com/office/drawing/2014/main" id="{563A6892-74EC-4EE3-AC92-6C1A94F6B3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8" y="2843"/>
                <a:ext cx="33" cy="28"/>
              </a:xfrm>
              <a:custGeom>
                <a:avLst/>
                <a:gdLst>
                  <a:gd name="T0" fmla="*/ 28 w 33"/>
                  <a:gd name="T1" fmla="*/ 15 h 28"/>
                  <a:gd name="T2" fmla="*/ 25 w 33"/>
                  <a:gd name="T3" fmla="*/ 13 h 28"/>
                  <a:gd name="T4" fmla="*/ 20 w 33"/>
                  <a:gd name="T5" fmla="*/ 9 h 28"/>
                  <a:gd name="T6" fmla="*/ 17 w 33"/>
                  <a:gd name="T7" fmla="*/ 6 h 28"/>
                  <a:gd name="T8" fmla="*/ 14 w 33"/>
                  <a:gd name="T9" fmla="*/ 5 h 28"/>
                  <a:gd name="T10" fmla="*/ 12 w 33"/>
                  <a:gd name="T11" fmla="*/ 3 h 28"/>
                  <a:gd name="T12" fmla="*/ 4 w 33"/>
                  <a:gd name="T13" fmla="*/ 0 h 28"/>
                  <a:gd name="T14" fmla="*/ 0 w 33"/>
                  <a:gd name="T15" fmla="*/ 0 h 28"/>
                  <a:gd name="T16" fmla="*/ 4 w 33"/>
                  <a:gd name="T17" fmla="*/ 1 h 28"/>
                  <a:gd name="T18" fmla="*/ 6 w 33"/>
                  <a:gd name="T19" fmla="*/ 2 h 28"/>
                  <a:gd name="T20" fmla="*/ 17 w 33"/>
                  <a:gd name="T21" fmla="*/ 10 h 28"/>
                  <a:gd name="T22" fmla="*/ 20 w 33"/>
                  <a:gd name="T23" fmla="*/ 11 h 28"/>
                  <a:gd name="T24" fmla="*/ 22 w 33"/>
                  <a:gd name="T25" fmla="*/ 12 h 28"/>
                  <a:gd name="T26" fmla="*/ 26 w 33"/>
                  <a:gd name="T27" fmla="*/ 18 h 28"/>
                  <a:gd name="T28" fmla="*/ 28 w 33"/>
                  <a:gd name="T29" fmla="*/ 20 h 28"/>
                  <a:gd name="T30" fmla="*/ 28 w 33"/>
                  <a:gd name="T31" fmla="*/ 26 h 28"/>
                  <a:gd name="T32" fmla="*/ 30 w 33"/>
                  <a:gd name="T33" fmla="*/ 28 h 28"/>
                  <a:gd name="T34" fmla="*/ 32 w 33"/>
                  <a:gd name="T35" fmla="*/ 27 h 28"/>
                  <a:gd name="T36" fmla="*/ 33 w 33"/>
                  <a:gd name="T37" fmla="*/ 21 h 28"/>
                  <a:gd name="T38" fmla="*/ 31 w 33"/>
                  <a:gd name="T39" fmla="*/ 18 h 28"/>
                  <a:gd name="T40" fmla="*/ 29 w 33"/>
                  <a:gd name="T41" fmla="*/ 16 h 28"/>
                  <a:gd name="T42" fmla="*/ 28 w 33"/>
                  <a:gd name="T43" fmla="*/ 15 h 28"/>
                  <a:gd name="T44" fmla="*/ 28 w 33"/>
                  <a:gd name="T45" fmla="*/ 1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3" h="28">
                    <a:moveTo>
                      <a:pt x="28" y="15"/>
                    </a:moveTo>
                    <a:lnTo>
                      <a:pt x="25" y="13"/>
                    </a:lnTo>
                    <a:lnTo>
                      <a:pt x="20" y="9"/>
                    </a:lnTo>
                    <a:lnTo>
                      <a:pt x="17" y="6"/>
                    </a:lnTo>
                    <a:lnTo>
                      <a:pt x="14" y="5"/>
                    </a:lnTo>
                    <a:lnTo>
                      <a:pt x="12" y="3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4" y="1"/>
                    </a:lnTo>
                    <a:lnTo>
                      <a:pt x="6" y="2"/>
                    </a:lnTo>
                    <a:lnTo>
                      <a:pt x="17" y="10"/>
                    </a:lnTo>
                    <a:lnTo>
                      <a:pt x="20" y="11"/>
                    </a:lnTo>
                    <a:lnTo>
                      <a:pt x="22" y="12"/>
                    </a:lnTo>
                    <a:lnTo>
                      <a:pt x="26" y="18"/>
                    </a:lnTo>
                    <a:lnTo>
                      <a:pt x="28" y="20"/>
                    </a:lnTo>
                    <a:lnTo>
                      <a:pt x="28" y="26"/>
                    </a:lnTo>
                    <a:lnTo>
                      <a:pt x="30" y="28"/>
                    </a:lnTo>
                    <a:lnTo>
                      <a:pt x="32" y="27"/>
                    </a:lnTo>
                    <a:lnTo>
                      <a:pt x="33" y="21"/>
                    </a:lnTo>
                    <a:lnTo>
                      <a:pt x="31" y="18"/>
                    </a:lnTo>
                    <a:lnTo>
                      <a:pt x="29" y="16"/>
                    </a:lnTo>
                    <a:lnTo>
                      <a:pt x="28" y="15"/>
                    </a:lnTo>
                    <a:lnTo>
                      <a:pt x="28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8" name="Freeform 194">
                <a:extLst>
                  <a:ext uri="{FF2B5EF4-FFF2-40B4-BE49-F238E27FC236}">
                    <a16:creationId xmlns:a16="http://schemas.microsoft.com/office/drawing/2014/main" id="{156E1A91-DE47-45D6-8A78-F9FF469DD8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3" y="3135"/>
                <a:ext cx="3" cy="2"/>
              </a:xfrm>
              <a:custGeom>
                <a:avLst/>
                <a:gdLst>
                  <a:gd name="T0" fmla="*/ 2 w 3"/>
                  <a:gd name="T1" fmla="*/ 2 h 2"/>
                  <a:gd name="T2" fmla="*/ 3 w 3"/>
                  <a:gd name="T3" fmla="*/ 1 h 2"/>
                  <a:gd name="T4" fmla="*/ 0 w 3"/>
                  <a:gd name="T5" fmla="*/ 0 h 2"/>
                  <a:gd name="T6" fmla="*/ 2 w 3"/>
                  <a:gd name="T7" fmla="*/ 2 h 2"/>
                  <a:gd name="T8" fmla="*/ 2 w 3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2" y="2"/>
                    </a:moveTo>
                    <a:lnTo>
                      <a:pt x="3" y="1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9" name="Freeform 195">
                <a:extLst>
                  <a:ext uri="{FF2B5EF4-FFF2-40B4-BE49-F238E27FC236}">
                    <a16:creationId xmlns:a16="http://schemas.microsoft.com/office/drawing/2014/main" id="{8E633E47-8754-45A8-AD07-8F55D531AE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9" y="3153"/>
                <a:ext cx="6" cy="13"/>
              </a:xfrm>
              <a:custGeom>
                <a:avLst/>
                <a:gdLst>
                  <a:gd name="T0" fmla="*/ 2 w 6"/>
                  <a:gd name="T1" fmla="*/ 13 h 13"/>
                  <a:gd name="T2" fmla="*/ 2 w 6"/>
                  <a:gd name="T3" fmla="*/ 11 h 13"/>
                  <a:gd name="T4" fmla="*/ 6 w 6"/>
                  <a:gd name="T5" fmla="*/ 3 h 13"/>
                  <a:gd name="T6" fmla="*/ 5 w 6"/>
                  <a:gd name="T7" fmla="*/ 0 h 13"/>
                  <a:gd name="T8" fmla="*/ 3 w 6"/>
                  <a:gd name="T9" fmla="*/ 3 h 13"/>
                  <a:gd name="T10" fmla="*/ 1 w 6"/>
                  <a:gd name="T11" fmla="*/ 5 h 13"/>
                  <a:gd name="T12" fmla="*/ 1 w 6"/>
                  <a:gd name="T13" fmla="*/ 8 h 13"/>
                  <a:gd name="T14" fmla="*/ 0 w 6"/>
                  <a:gd name="T15" fmla="*/ 10 h 13"/>
                  <a:gd name="T16" fmla="*/ 1 w 6"/>
                  <a:gd name="T17" fmla="*/ 13 h 13"/>
                  <a:gd name="T18" fmla="*/ 2 w 6"/>
                  <a:gd name="T19" fmla="*/ 13 h 13"/>
                  <a:gd name="T20" fmla="*/ 2 w 6"/>
                  <a:gd name="T21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13">
                    <a:moveTo>
                      <a:pt x="2" y="13"/>
                    </a:moveTo>
                    <a:lnTo>
                      <a:pt x="2" y="11"/>
                    </a:lnTo>
                    <a:lnTo>
                      <a:pt x="6" y="3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1" y="5"/>
                    </a:lnTo>
                    <a:lnTo>
                      <a:pt x="1" y="8"/>
                    </a:lnTo>
                    <a:lnTo>
                      <a:pt x="0" y="10"/>
                    </a:lnTo>
                    <a:lnTo>
                      <a:pt x="1" y="13"/>
                    </a:lnTo>
                    <a:lnTo>
                      <a:pt x="2" y="13"/>
                    </a:lnTo>
                    <a:lnTo>
                      <a:pt x="2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0" name="Freeform 196">
                <a:extLst>
                  <a:ext uri="{FF2B5EF4-FFF2-40B4-BE49-F238E27FC236}">
                    <a16:creationId xmlns:a16="http://schemas.microsoft.com/office/drawing/2014/main" id="{ADD8995A-D31D-4A16-A098-3AB6009120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6" y="3192"/>
                <a:ext cx="0" cy="3"/>
              </a:xfrm>
              <a:custGeom>
                <a:avLst/>
                <a:gdLst>
                  <a:gd name="T0" fmla="*/ 3 h 3"/>
                  <a:gd name="T1" fmla="*/ 3 h 3"/>
                  <a:gd name="T2" fmla="*/ 0 h 3"/>
                  <a:gd name="T3" fmla="*/ 3 h 3"/>
                  <a:gd name="T4" fmla="*/ 3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1" name="Freeform 197">
                <a:extLst>
                  <a:ext uri="{FF2B5EF4-FFF2-40B4-BE49-F238E27FC236}">
                    <a16:creationId xmlns:a16="http://schemas.microsoft.com/office/drawing/2014/main" id="{ED3661A8-8A6D-4AE5-A95C-CBD18C1B0A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3" y="2917"/>
                <a:ext cx="3" cy="4"/>
              </a:xfrm>
              <a:custGeom>
                <a:avLst/>
                <a:gdLst>
                  <a:gd name="T0" fmla="*/ 0 w 3"/>
                  <a:gd name="T1" fmla="*/ 1 h 4"/>
                  <a:gd name="T2" fmla="*/ 2 w 3"/>
                  <a:gd name="T3" fmla="*/ 0 h 4"/>
                  <a:gd name="T4" fmla="*/ 3 w 3"/>
                  <a:gd name="T5" fmla="*/ 4 h 4"/>
                  <a:gd name="T6" fmla="*/ 1 w 3"/>
                  <a:gd name="T7" fmla="*/ 4 h 4"/>
                  <a:gd name="T8" fmla="*/ 0 w 3"/>
                  <a:gd name="T9" fmla="*/ 1 h 4"/>
                  <a:gd name="T10" fmla="*/ 0 w 3"/>
                  <a:gd name="T1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4">
                    <a:moveTo>
                      <a:pt x="0" y="1"/>
                    </a:moveTo>
                    <a:lnTo>
                      <a:pt x="2" y="0"/>
                    </a:lnTo>
                    <a:lnTo>
                      <a:pt x="3" y="4"/>
                    </a:lnTo>
                    <a:lnTo>
                      <a:pt x="1" y="4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2" name="Freeform 198">
                <a:extLst>
                  <a:ext uri="{FF2B5EF4-FFF2-40B4-BE49-F238E27FC236}">
                    <a16:creationId xmlns:a16="http://schemas.microsoft.com/office/drawing/2014/main" id="{C875B250-692B-4F6D-A8B9-275B051351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5" y="1978"/>
                <a:ext cx="41" cy="151"/>
              </a:xfrm>
              <a:custGeom>
                <a:avLst/>
                <a:gdLst>
                  <a:gd name="T0" fmla="*/ 0 w 41"/>
                  <a:gd name="T1" fmla="*/ 36 h 151"/>
                  <a:gd name="T2" fmla="*/ 0 w 41"/>
                  <a:gd name="T3" fmla="*/ 45 h 151"/>
                  <a:gd name="T4" fmla="*/ 2 w 41"/>
                  <a:gd name="T5" fmla="*/ 50 h 151"/>
                  <a:gd name="T6" fmla="*/ 8 w 41"/>
                  <a:gd name="T7" fmla="*/ 58 h 151"/>
                  <a:gd name="T8" fmla="*/ 6 w 41"/>
                  <a:gd name="T9" fmla="*/ 64 h 151"/>
                  <a:gd name="T10" fmla="*/ 7 w 41"/>
                  <a:gd name="T11" fmla="*/ 77 h 151"/>
                  <a:gd name="T12" fmla="*/ 4 w 41"/>
                  <a:gd name="T13" fmla="*/ 97 h 151"/>
                  <a:gd name="T14" fmla="*/ 3 w 41"/>
                  <a:gd name="T15" fmla="*/ 106 h 151"/>
                  <a:gd name="T16" fmla="*/ 7 w 41"/>
                  <a:gd name="T17" fmla="*/ 114 h 151"/>
                  <a:gd name="T18" fmla="*/ 4 w 41"/>
                  <a:gd name="T19" fmla="*/ 122 h 151"/>
                  <a:gd name="T20" fmla="*/ 4 w 41"/>
                  <a:gd name="T21" fmla="*/ 127 h 151"/>
                  <a:gd name="T22" fmla="*/ 4 w 41"/>
                  <a:gd name="T23" fmla="*/ 132 h 151"/>
                  <a:gd name="T24" fmla="*/ 2 w 41"/>
                  <a:gd name="T25" fmla="*/ 141 h 151"/>
                  <a:gd name="T26" fmla="*/ 4 w 41"/>
                  <a:gd name="T27" fmla="*/ 151 h 151"/>
                  <a:gd name="T28" fmla="*/ 8 w 41"/>
                  <a:gd name="T29" fmla="*/ 145 h 151"/>
                  <a:gd name="T30" fmla="*/ 12 w 41"/>
                  <a:gd name="T31" fmla="*/ 137 h 151"/>
                  <a:gd name="T32" fmla="*/ 20 w 41"/>
                  <a:gd name="T33" fmla="*/ 140 h 151"/>
                  <a:gd name="T34" fmla="*/ 24 w 41"/>
                  <a:gd name="T35" fmla="*/ 148 h 151"/>
                  <a:gd name="T36" fmla="*/ 26 w 41"/>
                  <a:gd name="T37" fmla="*/ 142 h 151"/>
                  <a:gd name="T38" fmla="*/ 23 w 41"/>
                  <a:gd name="T39" fmla="*/ 136 h 151"/>
                  <a:gd name="T40" fmla="*/ 18 w 41"/>
                  <a:gd name="T41" fmla="*/ 128 h 151"/>
                  <a:gd name="T42" fmla="*/ 11 w 41"/>
                  <a:gd name="T43" fmla="*/ 119 h 151"/>
                  <a:gd name="T44" fmla="*/ 17 w 41"/>
                  <a:gd name="T45" fmla="*/ 100 h 151"/>
                  <a:gd name="T46" fmla="*/ 19 w 41"/>
                  <a:gd name="T47" fmla="*/ 93 h 151"/>
                  <a:gd name="T48" fmla="*/ 23 w 41"/>
                  <a:gd name="T49" fmla="*/ 92 h 151"/>
                  <a:gd name="T50" fmla="*/ 32 w 41"/>
                  <a:gd name="T51" fmla="*/ 92 h 151"/>
                  <a:gd name="T52" fmla="*/ 40 w 41"/>
                  <a:gd name="T53" fmla="*/ 99 h 151"/>
                  <a:gd name="T54" fmla="*/ 41 w 41"/>
                  <a:gd name="T55" fmla="*/ 99 h 151"/>
                  <a:gd name="T56" fmla="*/ 36 w 41"/>
                  <a:gd name="T57" fmla="*/ 94 h 151"/>
                  <a:gd name="T58" fmla="*/ 28 w 41"/>
                  <a:gd name="T59" fmla="*/ 74 h 151"/>
                  <a:gd name="T60" fmla="*/ 23 w 41"/>
                  <a:gd name="T61" fmla="*/ 56 h 151"/>
                  <a:gd name="T62" fmla="*/ 21 w 41"/>
                  <a:gd name="T63" fmla="*/ 47 h 151"/>
                  <a:gd name="T64" fmla="*/ 19 w 41"/>
                  <a:gd name="T65" fmla="*/ 41 h 151"/>
                  <a:gd name="T66" fmla="*/ 20 w 41"/>
                  <a:gd name="T67" fmla="*/ 36 h 151"/>
                  <a:gd name="T68" fmla="*/ 21 w 41"/>
                  <a:gd name="T69" fmla="*/ 36 h 151"/>
                  <a:gd name="T70" fmla="*/ 21 w 41"/>
                  <a:gd name="T71" fmla="*/ 28 h 151"/>
                  <a:gd name="T72" fmla="*/ 19 w 41"/>
                  <a:gd name="T73" fmla="*/ 19 h 151"/>
                  <a:gd name="T74" fmla="*/ 23 w 41"/>
                  <a:gd name="T75" fmla="*/ 28 h 151"/>
                  <a:gd name="T76" fmla="*/ 21 w 41"/>
                  <a:gd name="T77" fmla="*/ 20 h 151"/>
                  <a:gd name="T78" fmla="*/ 17 w 41"/>
                  <a:gd name="T79" fmla="*/ 8 h 151"/>
                  <a:gd name="T80" fmla="*/ 16 w 41"/>
                  <a:gd name="T81" fmla="*/ 0 h 151"/>
                  <a:gd name="T82" fmla="*/ 10 w 41"/>
                  <a:gd name="T83" fmla="*/ 2 h 151"/>
                  <a:gd name="T84" fmla="*/ 12 w 41"/>
                  <a:gd name="T85" fmla="*/ 6 h 151"/>
                  <a:gd name="T86" fmla="*/ 11 w 41"/>
                  <a:gd name="T87" fmla="*/ 14 h 151"/>
                  <a:gd name="T88" fmla="*/ 9 w 41"/>
                  <a:gd name="T89" fmla="*/ 19 h 151"/>
                  <a:gd name="T90" fmla="*/ 2 w 41"/>
                  <a:gd name="T91" fmla="*/ 17 h 151"/>
                  <a:gd name="T92" fmla="*/ 3 w 41"/>
                  <a:gd name="T93" fmla="*/ 25 h 151"/>
                  <a:gd name="T94" fmla="*/ 2 w 41"/>
                  <a:gd name="T95" fmla="*/ 33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1" h="151">
                    <a:moveTo>
                      <a:pt x="2" y="33"/>
                    </a:moveTo>
                    <a:lnTo>
                      <a:pt x="0" y="36"/>
                    </a:lnTo>
                    <a:lnTo>
                      <a:pt x="0" y="39"/>
                    </a:lnTo>
                    <a:lnTo>
                      <a:pt x="0" y="45"/>
                    </a:lnTo>
                    <a:lnTo>
                      <a:pt x="2" y="48"/>
                    </a:lnTo>
                    <a:lnTo>
                      <a:pt x="2" y="50"/>
                    </a:lnTo>
                    <a:lnTo>
                      <a:pt x="4" y="53"/>
                    </a:lnTo>
                    <a:lnTo>
                      <a:pt x="8" y="58"/>
                    </a:lnTo>
                    <a:lnTo>
                      <a:pt x="8" y="60"/>
                    </a:lnTo>
                    <a:lnTo>
                      <a:pt x="6" y="64"/>
                    </a:lnTo>
                    <a:lnTo>
                      <a:pt x="4" y="68"/>
                    </a:lnTo>
                    <a:lnTo>
                      <a:pt x="7" y="77"/>
                    </a:lnTo>
                    <a:lnTo>
                      <a:pt x="6" y="88"/>
                    </a:lnTo>
                    <a:lnTo>
                      <a:pt x="4" y="97"/>
                    </a:lnTo>
                    <a:lnTo>
                      <a:pt x="2" y="102"/>
                    </a:lnTo>
                    <a:lnTo>
                      <a:pt x="3" y="106"/>
                    </a:lnTo>
                    <a:lnTo>
                      <a:pt x="6" y="108"/>
                    </a:lnTo>
                    <a:lnTo>
                      <a:pt x="7" y="114"/>
                    </a:lnTo>
                    <a:lnTo>
                      <a:pt x="7" y="116"/>
                    </a:lnTo>
                    <a:lnTo>
                      <a:pt x="4" y="122"/>
                    </a:lnTo>
                    <a:lnTo>
                      <a:pt x="3" y="124"/>
                    </a:lnTo>
                    <a:lnTo>
                      <a:pt x="4" y="127"/>
                    </a:lnTo>
                    <a:lnTo>
                      <a:pt x="4" y="130"/>
                    </a:lnTo>
                    <a:lnTo>
                      <a:pt x="4" y="132"/>
                    </a:lnTo>
                    <a:lnTo>
                      <a:pt x="2" y="137"/>
                    </a:lnTo>
                    <a:lnTo>
                      <a:pt x="2" y="141"/>
                    </a:lnTo>
                    <a:lnTo>
                      <a:pt x="3" y="149"/>
                    </a:lnTo>
                    <a:lnTo>
                      <a:pt x="4" y="151"/>
                    </a:lnTo>
                    <a:lnTo>
                      <a:pt x="7" y="148"/>
                    </a:lnTo>
                    <a:lnTo>
                      <a:pt x="8" y="145"/>
                    </a:lnTo>
                    <a:lnTo>
                      <a:pt x="10" y="140"/>
                    </a:lnTo>
                    <a:lnTo>
                      <a:pt x="12" y="137"/>
                    </a:lnTo>
                    <a:lnTo>
                      <a:pt x="16" y="139"/>
                    </a:lnTo>
                    <a:lnTo>
                      <a:pt x="20" y="140"/>
                    </a:lnTo>
                    <a:lnTo>
                      <a:pt x="23" y="142"/>
                    </a:lnTo>
                    <a:lnTo>
                      <a:pt x="24" y="148"/>
                    </a:lnTo>
                    <a:lnTo>
                      <a:pt x="25" y="145"/>
                    </a:lnTo>
                    <a:lnTo>
                      <a:pt x="26" y="142"/>
                    </a:lnTo>
                    <a:lnTo>
                      <a:pt x="25" y="136"/>
                    </a:lnTo>
                    <a:lnTo>
                      <a:pt x="23" y="136"/>
                    </a:lnTo>
                    <a:lnTo>
                      <a:pt x="19" y="136"/>
                    </a:lnTo>
                    <a:lnTo>
                      <a:pt x="18" y="128"/>
                    </a:lnTo>
                    <a:lnTo>
                      <a:pt x="12" y="123"/>
                    </a:lnTo>
                    <a:lnTo>
                      <a:pt x="11" y="119"/>
                    </a:lnTo>
                    <a:lnTo>
                      <a:pt x="12" y="114"/>
                    </a:lnTo>
                    <a:lnTo>
                      <a:pt x="17" y="100"/>
                    </a:lnTo>
                    <a:lnTo>
                      <a:pt x="18" y="94"/>
                    </a:lnTo>
                    <a:lnTo>
                      <a:pt x="19" y="93"/>
                    </a:lnTo>
                    <a:lnTo>
                      <a:pt x="26" y="91"/>
                    </a:lnTo>
                    <a:lnTo>
                      <a:pt x="23" y="92"/>
                    </a:lnTo>
                    <a:lnTo>
                      <a:pt x="26" y="91"/>
                    </a:lnTo>
                    <a:lnTo>
                      <a:pt x="32" y="92"/>
                    </a:lnTo>
                    <a:lnTo>
                      <a:pt x="34" y="94"/>
                    </a:lnTo>
                    <a:lnTo>
                      <a:pt x="40" y="99"/>
                    </a:lnTo>
                    <a:lnTo>
                      <a:pt x="41" y="102"/>
                    </a:lnTo>
                    <a:lnTo>
                      <a:pt x="41" y="99"/>
                    </a:lnTo>
                    <a:lnTo>
                      <a:pt x="38" y="98"/>
                    </a:lnTo>
                    <a:lnTo>
                      <a:pt x="36" y="94"/>
                    </a:lnTo>
                    <a:lnTo>
                      <a:pt x="32" y="80"/>
                    </a:lnTo>
                    <a:lnTo>
                      <a:pt x="28" y="74"/>
                    </a:lnTo>
                    <a:lnTo>
                      <a:pt x="26" y="58"/>
                    </a:lnTo>
                    <a:lnTo>
                      <a:pt x="23" y="56"/>
                    </a:lnTo>
                    <a:lnTo>
                      <a:pt x="24" y="53"/>
                    </a:lnTo>
                    <a:lnTo>
                      <a:pt x="21" y="47"/>
                    </a:lnTo>
                    <a:lnTo>
                      <a:pt x="20" y="46"/>
                    </a:lnTo>
                    <a:lnTo>
                      <a:pt x="19" y="41"/>
                    </a:lnTo>
                    <a:lnTo>
                      <a:pt x="20" y="38"/>
                    </a:lnTo>
                    <a:lnTo>
                      <a:pt x="20" y="36"/>
                    </a:lnTo>
                    <a:lnTo>
                      <a:pt x="21" y="32"/>
                    </a:lnTo>
                    <a:lnTo>
                      <a:pt x="21" y="36"/>
                    </a:lnTo>
                    <a:lnTo>
                      <a:pt x="23" y="30"/>
                    </a:lnTo>
                    <a:lnTo>
                      <a:pt x="21" y="28"/>
                    </a:lnTo>
                    <a:lnTo>
                      <a:pt x="19" y="24"/>
                    </a:lnTo>
                    <a:lnTo>
                      <a:pt x="19" y="19"/>
                    </a:lnTo>
                    <a:lnTo>
                      <a:pt x="21" y="22"/>
                    </a:lnTo>
                    <a:lnTo>
                      <a:pt x="23" y="28"/>
                    </a:lnTo>
                    <a:lnTo>
                      <a:pt x="21" y="22"/>
                    </a:lnTo>
                    <a:lnTo>
                      <a:pt x="21" y="20"/>
                    </a:lnTo>
                    <a:lnTo>
                      <a:pt x="18" y="14"/>
                    </a:lnTo>
                    <a:lnTo>
                      <a:pt x="17" y="8"/>
                    </a:lnTo>
                    <a:lnTo>
                      <a:pt x="17" y="3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11" y="4"/>
                    </a:lnTo>
                    <a:lnTo>
                      <a:pt x="12" y="6"/>
                    </a:lnTo>
                    <a:lnTo>
                      <a:pt x="14" y="10"/>
                    </a:lnTo>
                    <a:lnTo>
                      <a:pt x="11" y="14"/>
                    </a:lnTo>
                    <a:lnTo>
                      <a:pt x="11" y="17"/>
                    </a:lnTo>
                    <a:lnTo>
                      <a:pt x="9" y="19"/>
                    </a:lnTo>
                    <a:lnTo>
                      <a:pt x="8" y="15"/>
                    </a:lnTo>
                    <a:lnTo>
                      <a:pt x="2" y="17"/>
                    </a:lnTo>
                    <a:lnTo>
                      <a:pt x="2" y="22"/>
                    </a:lnTo>
                    <a:lnTo>
                      <a:pt x="3" y="25"/>
                    </a:lnTo>
                    <a:lnTo>
                      <a:pt x="2" y="28"/>
                    </a:lnTo>
                    <a:lnTo>
                      <a:pt x="2" y="33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3" name="Freeform 199">
                <a:extLst>
                  <a:ext uri="{FF2B5EF4-FFF2-40B4-BE49-F238E27FC236}">
                    <a16:creationId xmlns:a16="http://schemas.microsoft.com/office/drawing/2014/main" id="{BD78BE68-2796-4291-B022-AA8D543173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2" y="1643"/>
                <a:ext cx="22" cy="12"/>
              </a:xfrm>
              <a:custGeom>
                <a:avLst/>
                <a:gdLst>
                  <a:gd name="T0" fmla="*/ 9 w 22"/>
                  <a:gd name="T1" fmla="*/ 0 h 12"/>
                  <a:gd name="T2" fmla="*/ 7 w 22"/>
                  <a:gd name="T3" fmla="*/ 0 h 12"/>
                  <a:gd name="T4" fmla="*/ 5 w 22"/>
                  <a:gd name="T5" fmla="*/ 0 h 12"/>
                  <a:gd name="T6" fmla="*/ 2 w 22"/>
                  <a:gd name="T7" fmla="*/ 3 h 12"/>
                  <a:gd name="T8" fmla="*/ 0 w 22"/>
                  <a:gd name="T9" fmla="*/ 5 h 12"/>
                  <a:gd name="T10" fmla="*/ 5 w 22"/>
                  <a:gd name="T11" fmla="*/ 8 h 12"/>
                  <a:gd name="T12" fmla="*/ 8 w 22"/>
                  <a:gd name="T13" fmla="*/ 9 h 12"/>
                  <a:gd name="T14" fmla="*/ 13 w 22"/>
                  <a:gd name="T15" fmla="*/ 10 h 12"/>
                  <a:gd name="T16" fmla="*/ 19 w 22"/>
                  <a:gd name="T17" fmla="*/ 12 h 12"/>
                  <a:gd name="T18" fmla="*/ 22 w 22"/>
                  <a:gd name="T19" fmla="*/ 6 h 12"/>
                  <a:gd name="T20" fmla="*/ 20 w 22"/>
                  <a:gd name="T21" fmla="*/ 3 h 12"/>
                  <a:gd name="T22" fmla="*/ 17 w 22"/>
                  <a:gd name="T23" fmla="*/ 3 h 12"/>
                  <a:gd name="T24" fmla="*/ 9 w 22"/>
                  <a:gd name="T25" fmla="*/ 0 h 12"/>
                  <a:gd name="T26" fmla="*/ 9 w 22"/>
                  <a:gd name="T2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" h="12">
                    <a:moveTo>
                      <a:pt x="9" y="0"/>
                    </a:moveTo>
                    <a:lnTo>
                      <a:pt x="7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5" y="8"/>
                    </a:lnTo>
                    <a:lnTo>
                      <a:pt x="8" y="9"/>
                    </a:lnTo>
                    <a:lnTo>
                      <a:pt x="13" y="10"/>
                    </a:lnTo>
                    <a:lnTo>
                      <a:pt x="19" y="12"/>
                    </a:lnTo>
                    <a:lnTo>
                      <a:pt x="22" y="6"/>
                    </a:lnTo>
                    <a:lnTo>
                      <a:pt x="20" y="3"/>
                    </a:lnTo>
                    <a:lnTo>
                      <a:pt x="17" y="3"/>
                    </a:lnTo>
                    <a:lnTo>
                      <a:pt x="9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4" name="Freeform 200">
                <a:extLst>
                  <a:ext uri="{FF2B5EF4-FFF2-40B4-BE49-F238E27FC236}">
                    <a16:creationId xmlns:a16="http://schemas.microsoft.com/office/drawing/2014/main" id="{B8C6FD65-65B1-4FDF-9A99-8DE7B88B60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" y="1604"/>
                <a:ext cx="53" cy="19"/>
              </a:xfrm>
              <a:custGeom>
                <a:avLst/>
                <a:gdLst>
                  <a:gd name="T0" fmla="*/ 19 w 53"/>
                  <a:gd name="T1" fmla="*/ 15 h 19"/>
                  <a:gd name="T2" fmla="*/ 24 w 53"/>
                  <a:gd name="T3" fmla="*/ 15 h 19"/>
                  <a:gd name="T4" fmla="*/ 26 w 53"/>
                  <a:gd name="T5" fmla="*/ 18 h 19"/>
                  <a:gd name="T6" fmla="*/ 30 w 53"/>
                  <a:gd name="T7" fmla="*/ 17 h 19"/>
                  <a:gd name="T8" fmla="*/ 39 w 53"/>
                  <a:gd name="T9" fmla="*/ 15 h 19"/>
                  <a:gd name="T10" fmla="*/ 42 w 53"/>
                  <a:gd name="T11" fmla="*/ 14 h 19"/>
                  <a:gd name="T12" fmla="*/ 48 w 53"/>
                  <a:gd name="T13" fmla="*/ 13 h 19"/>
                  <a:gd name="T14" fmla="*/ 51 w 53"/>
                  <a:gd name="T15" fmla="*/ 13 h 19"/>
                  <a:gd name="T16" fmla="*/ 53 w 53"/>
                  <a:gd name="T17" fmla="*/ 11 h 19"/>
                  <a:gd name="T18" fmla="*/ 53 w 53"/>
                  <a:gd name="T19" fmla="*/ 8 h 19"/>
                  <a:gd name="T20" fmla="*/ 51 w 53"/>
                  <a:gd name="T21" fmla="*/ 6 h 19"/>
                  <a:gd name="T22" fmla="*/ 45 w 53"/>
                  <a:gd name="T23" fmla="*/ 3 h 19"/>
                  <a:gd name="T24" fmla="*/ 42 w 53"/>
                  <a:gd name="T25" fmla="*/ 1 h 19"/>
                  <a:gd name="T26" fmla="*/ 34 w 53"/>
                  <a:gd name="T27" fmla="*/ 0 h 19"/>
                  <a:gd name="T28" fmla="*/ 27 w 53"/>
                  <a:gd name="T29" fmla="*/ 1 h 19"/>
                  <a:gd name="T30" fmla="*/ 23 w 53"/>
                  <a:gd name="T31" fmla="*/ 1 h 19"/>
                  <a:gd name="T32" fmla="*/ 14 w 53"/>
                  <a:gd name="T33" fmla="*/ 3 h 19"/>
                  <a:gd name="T34" fmla="*/ 9 w 53"/>
                  <a:gd name="T35" fmla="*/ 8 h 19"/>
                  <a:gd name="T36" fmla="*/ 6 w 53"/>
                  <a:gd name="T37" fmla="*/ 9 h 19"/>
                  <a:gd name="T38" fmla="*/ 0 w 53"/>
                  <a:gd name="T39" fmla="*/ 13 h 19"/>
                  <a:gd name="T40" fmla="*/ 4 w 53"/>
                  <a:gd name="T41" fmla="*/ 19 h 19"/>
                  <a:gd name="T42" fmla="*/ 8 w 53"/>
                  <a:gd name="T43" fmla="*/ 18 h 19"/>
                  <a:gd name="T44" fmla="*/ 14 w 53"/>
                  <a:gd name="T45" fmla="*/ 18 h 19"/>
                  <a:gd name="T46" fmla="*/ 19 w 53"/>
                  <a:gd name="T47" fmla="*/ 15 h 19"/>
                  <a:gd name="T48" fmla="*/ 19 w 53"/>
                  <a:gd name="T49" fmla="*/ 1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3" h="19">
                    <a:moveTo>
                      <a:pt x="19" y="15"/>
                    </a:moveTo>
                    <a:lnTo>
                      <a:pt x="24" y="15"/>
                    </a:lnTo>
                    <a:lnTo>
                      <a:pt x="26" y="18"/>
                    </a:lnTo>
                    <a:lnTo>
                      <a:pt x="30" y="17"/>
                    </a:lnTo>
                    <a:lnTo>
                      <a:pt x="39" y="15"/>
                    </a:lnTo>
                    <a:lnTo>
                      <a:pt x="42" y="14"/>
                    </a:lnTo>
                    <a:lnTo>
                      <a:pt x="48" y="13"/>
                    </a:lnTo>
                    <a:lnTo>
                      <a:pt x="51" y="13"/>
                    </a:lnTo>
                    <a:lnTo>
                      <a:pt x="53" y="11"/>
                    </a:lnTo>
                    <a:lnTo>
                      <a:pt x="53" y="8"/>
                    </a:lnTo>
                    <a:lnTo>
                      <a:pt x="51" y="6"/>
                    </a:lnTo>
                    <a:lnTo>
                      <a:pt x="45" y="3"/>
                    </a:lnTo>
                    <a:lnTo>
                      <a:pt x="42" y="1"/>
                    </a:lnTo>
                    <a:lnTo>
                      <a:pt x="34" y="0"/>
                    </a:lnTo>
                    <a:lnTo>
                      <a:pt x="27" y="1"/>
                    </a:lnTo>
                    <a:lnTo>
                      <a:pt x="23" y="1"/>
                    </a:lnTo>
                    <a:lnTo>
                      <a:pt x="14" y="3"/>
                    </a:lnTo>
                    <a:lnTo>
                      <a:pt x="9" y="8"/>
                    </a:lnTo>
                    <a:lnTo>
                      <a:pt x="6" y="9"/>
                    </a:lnTo>
                    <a:lnTo>
                      <a:pt x="0" y="13"/>
                    </a:lnTo>
                    <a:lnTo>
                      <a:pt x="4" y="19"/>
                    </a:lnTo>
                    <a:lnTo>
                      <a:pt x="8" y="18"/>
                    </a:lnTo>
                    <a:lnTo>
                      <a:pt x="14" y="18"/>
                    </a:lnTo>
                    <a:lnTo>
                      <a:pt x="19" y="15"/>
                    </a:lnTo>
                    <a:lnTo>
                      <a:pt x="19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5" name="Freeform 201">
                <a:extLst>
                  <a:ext uri="{FF2B5EF4-FFF2-40B4-BE49-F238E27FC236}">
                    <a16:creationId xmlns:a16="http://schemas.microsoft.com/office/drawing/2014/main" id="{266E7798-5CDE-493F-A740-699A1D4A56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5" y="3392"/>
                <a:ext cx="106" cy="103"/>
              </a:xfrm>
              <a:custGeom>
                <a:avLst/>
                <a:gdLst>
                  <a:gd name="T0" fmla="*/ 18 w 106"/>
                  <a:gd name="T1" fmla="*/ 68 h 103"/>
                  <a:gd name="T2" fmla="*/ 12 w 106"/>
                  <a:gd name="T3" fmla="*/ 74 h 103"/>
                  <a:gd name="T4" fmla="*/ 8 w 106"/>
                  <a:gd name="T5" fmla="*/ 77 h 103"/>
                  <a:gd name="T6" fmla="*/ 9 w 106"/>
                  <a:gd name="T7" fmla="*/ 82 h 103"/>
                  <a:gd name="T8" fmla="*/ 3 w 106"/>
                  <a:gd name="T9" fmla="*/ 82 h 103"/>
                  <a:gd name="T10" fmla="*/ 3 w 106"/>
                  <a:gd name="T11" fmla="*/ 85 h 103"/>
                  <a:gd name="T12" fmla="*/ 3 w 106"/>
                  <a:gd name="T13" fmla="*/ 87 h 103"/>
                  <a:gd name="T14" fmla="*/ 1 w 106"/>
                  <a:gd name="T15" fmla="*/ 88 h 103"/>
                  <a:gd name="T16" fmla="*/ 0 w 106"/>
                  <a:gd name="T17" fmla="*/ 91 h 103"/>
                  <a:gd name="T18" fmla="*/ 1 w 106"/>
                  <a:gd name="T19" fmla="*/ 93 h 103"/>
                  <a:gd name="T20" fmla="*/ 2 w 106"/>
                  <a:gd name="T21" fmla="*/ 95 h 103"/>
                  <a:gd name="T22" fmla="*/ 12 w 106"/>
                  <a:gd name="T23" fmla="*/ 95 h 103"/>
                  <a:gd name="T24" fmla="*/ 17 w 106"/>
                  <a:gd name="T25" fmla="*/ 98 h 103"/>
                  <a:gd name="T26" fmla="*/ 25 w 106"/>
                  <a:gd name="T27" fmla="*/ 99 h 103"/>
                  <a:gd name="T28" fmla="*/ 28 w 106"/>
                  <a:gd name="T29" fmla="*/ 102 h 103"/>
                  <a:gd name="T30" fmla="*/ 33 w 106"/>
                  <a:gd name="T31" fmla="*/ 103 h 103"/>
                  <a:gd name="T32" fmla="*/ 43 w 106"/>
                  <a:gd name="T33" fmla="*/ 101 h 103"/>
                  <a:gd name="T34" fmla="*/ 47 w 106"/>
                  <a:gd name="T35" fmla="*/ 96 h 103"/>
                  <a:gd name="T36" fmla="*/ 55 w 106"/>
                  <a:gd name="T37" fmla="*/ 90 h 103"/>
                  <a:gd name="T38" fmla="*/ 59 w 106"/>
                  <a:gd name="T39" fmla="*/ 82 h 103"/>
                  <a:gd name="T40" fmla="*/ 63 w 106"/>
                  <a:gd name="T41" fmla="*/ 73 h 103"/>
                  <a:gd name="T42" fmla="*/ 63 w 106"/>
                  <a:gd name="T43" fmla="*/ 68 h 103"/>
                  <a:gd name="T44" fmla="*/ 70 w 106"/>
                  <a:gd name="T45" fmla="*/ 60 h 103"/>
                  <a:gd name="T46" fmla="*/ 90 w 106"/>
                  <a:gd name="T47" fmla="*/ 54 h 103"/>
                  <a:gd name="T48" fmla="*/ 86 w 106"/>
                  <a:gd name="T49" fmla="*/ 51 h 103"/>
                  <a:gd name="T50" fmla="*/ 85 w 106"/>
                  <a:gd name="T51" fmla="*/ 46 h 103"/>
                  <a:gd name="T52" fmla="*/ 89 w 106"/>
                  <a:gd name="T53" fmla="*/ 42 h 103"/>
                  <a:gd name="T54" fmla="*/ 96 w 106"/>
                  <a:gd name="T55" fmla="*/ 33 h 103"/>
                  <a:gd name="T56" fmla="*/ 102 w 106"/>
                  <a:gd name="T57" fmla="*/ 27 h 103"/>
                  <a:gd name="T58" fmla="*/ 106 w 106"/>
                  <a:gd name="T59" fmla="*/ 21 h 103"/>
                  <a:gd name="T60" fmla="*/ 103 w 106"/>
                  <a:gd name="T61" fmla="*/ 16 h 103"/>
                  <a:gd name="T62" fmla="*/ 103 w 106"/>
                  <a:gd name="T63" fmla="*/ 13 h 103"/>
                  <a:gd name="T64" fmla="*/ 105 w 106"/>
                  <a:gd name="T65" fmla="*/ 11 h 103"/>
                  <a:gd name="T66" fmla="*/ 103 w 106"/>
                  <a:gd name="T67" fmla="*/ 9 h 103"/>
                  <a:gd name="T68" fmla="*/ 99 w 106"/>
                  <a:gd name="T69" fmla="*/ 12 h 103"/>
                  <a:gd name="T70" fmla="*/ 99 w 106"/>
                  <a:gd name="T71" fmla="*/ 9 h 103"/>
                  <a:gd name="T72" fmla="*/ 97 w 106"/>
                  <a:gd name="T73" fmla="*/ 9 h 103"/>
                  <a:gd name="T74" fmla="*/ 90 w 106"/>
                  <a:gd name="T75" fmla="*/ 12 h 103"/>
                  <a:gd name="T76" fmla="*/ 89 w 106"/>
                  <a:gd name="T77" fmla="*/ 8 h 103"/>
                  <a:gd name="T78" fmla="*/ 86 w 106"/>
                  <a:gd name="T79" fmla="*/ 5 h 103"/>
                  <a:gd name="T80" fmla="*/ 86 w 106"/>
                  <a:gd name="T81" fmla="*/ 0 h 103"/>
                  <a:gd name="T82" fmla="*/ 81 w 106"/>
                  <a:gd name="T83" fmla="*/ 2 h 103"/>
                  <a:gd name="T84" fmla="*/ 77 w 106"/>
                  <a:gd name="T85" fmla="*/ 7 h 103"/>
                  <a:gd name="T86" fmla="*/ 75 w 106"/>
                  <a:gd name="T87" fmla="*/ 17 h 103"/>
                  <a:gd name="T88" fmla="*/ 68 w 106"/>
                  <a:gd name="T89" fmla="*/ 21 h 103"/>
                  <a:gd name="T90" fmla="*/ 64 w 106"/>
                  <a:gd name="T91" fmla="*/ 33 h 103"/>
                  <a:gd name="T92" fmla="*/ 61 w 106"/>
                  <a:gd name="T93" fmla="*/ 36 h 103"/>
                  <a:gd name="T94" fmla="*/ 56 w 106"/>
                  <a:gd name="T95" fmla="*/ 41 h 103"/>
                  <a:gd name="T96" fmla="*/ 51 w 106"/>
                  <a:gd name="T97" fmla="*/ 45 h 103"/>
                  <a:gd name="T98" fmla="*/ 43 w 106"/>
                  <a:gd name="T99" fmla="*/ 51 h 103"/>
                  <a:gd name="T100" fmla="*/ 31 w 106"/>
                  <a:gd name="T101" fmla="*/ 56 h 103"/>
                  <a:gd name="T102" fmla="*/ 24 w 106"/>
                  <a:gd name="T103" fmla="*/ 61 h 103"/>
                  <a:gd name="T104" fmla="*/ 19 w 106"/>
                  <a:gd name="T105" fmla="*/ 65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" h="103">
                    <a:moveTo>
                      <a:pt x="19" y="65"/>
                    </a:moveTo>
                    <a:lnTo>
                      <a:pt x="18" y="68"/>
                    </a:lnTo>
                    <a:lnTo>
                      <a:pt x="16" y="69"/>
                    </a:lnTo>
                    <a:lnTo>
                      <a:pt x="12" y="74"/>
                    </a:lnTo>
                    <a:lnTo>
                      <a:pt x="9" y="73"/>
                    </a:lnTo>
                    <a:lnTo>
                      <a:pt x="8" y="77"/>
                    </a:lnTo>
                    <a:lnTo>
                      <a:pt x="7" y="79"/>
                    </a:lnTo>
                    <a:lnTo>
                      <a:pt x="9" y="82"/>
                    </a:lnTo>
                    <a:lnTo>
                      <a:pt x="5" y="80"/>
                    </a:lnTo>
                    <a:lnTo>
                      <a:pt x="3" y="82"/>
                    </a:lnTo>
                    <a:lnTo>
                      <a:pt x="5" y="84"/>
                    </a:lnTo>
                    <a:lnTo>
                      <a:pt x="3" y="85"/>
                    </a:lnTo>
                    <a:lnTo>
                      <a:pt x="5" y="85"/>
                    </a:lnTo>
                    <a:lnTo>
                      <a:pt x="3" y="87"/>
                    </a:lnTo>
                    <a:lnTo>
                      <a:pt x="5" y="87"/>
                    </a:lnTo>
                    <a:lnTo>
                      <a:pt x="1" y="88"/>
                    </a:lnTo>
                    <a:lnTo>
                      <a:pt x="0" y="91"/>
                    </a:lnTo>
                    <a:lnTo>
                      <a:pt x="0" y="91"/>
                    </a:lnTo>
                    <a:lnTo>
                      <a:pt x="2" y="90"/>
                    </a:lnTo>
                    <a:lnTo>
                      <a:pt x="1" y="93"/>
                    </a:lnTo>
                    <a:lnTo>
                      <a:pt x="3" y="93"/>
                    </a:lnTo>
                    <a:lnTo>
                      <a:pt x="2" y="95"/>
                    </a:lnTo>
                    <a:lnTo>
                      <a:pt x="10" y="96"/>
                    </a:lnTo>
                    <a:lnTo>
                      <a:pt x="12" y="95"/>
                    </a:lnTo>
                    <a:lnTo>
                      <a:pt x="16" y="95"/>
                    </a:lnTo>
                    <a:lnTo>
                      <a:pt x="17" y="98"/>
                    </a:lnTo>
                    <a:lnTo>
                      <a:pt x="21" y="97"/>
                    </a:lnTo>
                    <a:lnTo>
                      <a:pt x="25" y="99"/>
                    </a:lnTo>
                    <a:lnTo>
                      <a:pt x="25" y="102"/>
                    </a:lnTo>
                    <a:lnTo>
                      <a:pt x="28" y="102"/>
                    </a:lnTo>
                    <a:lnTo>
                      <a:pt x="30" y="102"/>
                    </a:lnTo>
                    <a:lnTo>
                      <a:pt x="33" y="103"/>
                    </a:lnTo>
                    <a:lnTo>
                      <a:pt x="38" y="103"/>
                    </a:lnTo>
                    <a:lnTo>
                      <a:pt x="43" y="101"/>
                    </a:lnTo>
                    <a:lnTo>
                      <a:pt x="45" y="98"/>
                    </a:lnTo>
                    <a:lnTo>
                      <a:pt x="47" y="96"/>
                    </a:lnTo>
                    <a:lnTo>
                      <a:pt x="52" y="90"/>
                    </a:lnTo>
                    <a:lnTo>
                      <a:pt x="55" y="90"/>
                    </a:lnTo>
                    <a:lnTo>
                      <a:pt x="56" y="87"/>
                    </a:lnTo>
                    <a:lnTo>
                      <a:pt x="59" y="82"/>
                    </a:lnTo>
                    <a:lnTo>
                      <a:pt x="60" y="79"/>
                    </a:lnTo>
                    <a:lnTo>
                      <a:pt x="63" y="73"/>
                    </a:lnTo>
                    <a:lnTo>
                      <a:pt x="64" y="71"/>
                    </a:lnTo>
                    <a:lnTo>
                      <a:pt x="63" y="68"/>
                    </a:lnTo>
                    <a:lnTo>
                      <a:pt x="65" y="63"/>
                    </a:lnTo>
                    <a:lnTo>
                      <a:pt x="70" y="60"/>
                    </a:lnTo>
                    <a:lnTo>
                      <a:pt x="80" y="55"/>
                    </a:lnTo>
                    <a:lnTo>
                      <a:pt x="90" y="54"/>
                    </a:lnTo>
                    <a:lnTo>
                      <a:pt x="88" y="52"/>
                    </a:lnTo>
                    <a:lnTo>
                      <a:pt x="86" y="51"/>
                    </a:lnTo>
                    <a:lnTo>
                      <a:pt x="85" y="47"/>
                    </a:lnTo>
                    <a:lnTo>
                      <a:pt x="85" y="46"/>
                    </a:lnTo>
                    <a:lnTo>
                      <a:pt x="87" y="44"/>
                    </a:lnTo>
                    <a:lnTo>
                      <a:pt x="89" y="42"/>
                    </a:lnTo>
                    <a:lnTo>
                      <a:pt x="93" y="39"/>
                    </a:lnTo>
                    <a:lnTo>
                      <a:pt x="96" y="33"/>
                    </a:lnTo>
                    <a:lnTo>
                      <a:pt x="102" y="27"/>
                    </a:lnTo>
                    <a:lnTo>
                      <a:pt x="102" y="27"/>
                    </a:lnTo>
                    <a:lnTo>
                      <a:pt x="104" y="24"/>
                    </a:lnTo>
                    <a:lnTo>
                      <a:pt x="106" y="21"/>
                    </a:lnTo>
                    <a:lnTo>
                      <a:pt x="105" y="18"/>
                    </a:lnTo>
                    <a:lnTo>
                      <a:pt x="103" y="16"/>
                    </a:lnTo>
                    <a:lnTo>
                      <a:pt x="105" y="12"/>
                    </a:lnTo>
                    <a:lnTo>
                      <a:pt x="103" y="13"/>
                    </a:lnTo>
                    <a:lnTo>
                      <a:pt x="103" y="12"/>
                    </a:lnTo>
                    <a:lnTo>
                      <a:pt x="105" y="11"/>
                    </a:lnTo>
                    <a:lnTo>
                      <a:pt x="106" y="9"/>
                    </a:lnTo>
                    <a:lnTo>
                      <a:pt x="103" y="9"/>
                    </a:lnTo>
                    <a:lnTo>
                      <a:pt x="103" y="11"/>
                    </a:lnTo>
                    <a:lnTo>
                      <a:pt x="99" y="12"/>
                    </a:lnTo>
                    <a:lnTo>
                      <a:pt x="101" y="12"/>
                    </a:lnTo>
                    <a:lnTo>
                      <a:pt x="99" y="9"/>
                    </a:lnTo>
                    <a:lnTo>
                      <a:pt x="103" y="7"/>
                    </a:lnTo>
                    <a:lnTo>
                      <a:pt x="97" y="9"/>
                    </a:lnTo>
                    <a:lnTo>
                      <a:pt x="93" y="12"/>
                    </a:lnTo>
                    <a:lnTo>
                      <a:pt x="90" y="12"/>
                    </a:lnTo>
                    <a:lnTo>
                      <a:pt x="89" y="10"/>
                    </a:lnTo>
                    <a:lnTo>
                      <a:pt x="89" y="8"/>
                    </a:lnTo>
                    <a:lnTo>
                      <a:pt x="89" y="4"/>
                    </a:lnTo>
                    <a:lnTo>
                      <a:pt x="86" y="5"/>
                    </a:lnTo>
                    <a:lnTo>
                      <a:pt x="85" y="3"/>
                    </a:lnTo>
                    <a:lnTo>
                      <a:pt x="86" y="0"/>
                    </a:lnTo>
                    <a:lnTo>
                      <a:pt x="84" y="2"/>
                    </a:lnTo>
                    <a:lnTo>
                      <a:pt x="81" y="2"/>
                    </a:lnTo>
                    <a:lnTo>
                      <a:pt x="78" y="4"/>
                    </a:lnTo>
                    <a:lnTo>
                      <a:pt x="77" y="7"/>
                    </a:lnTo>
                    <a:lnTo>
                      <a:pt x="77" y="12"/>
                    </a:lnTo>
                    <a:lnTo>
                      <a:pt x="75" y="17"/>
                    </a:lnTo>
                    <a:lnTo>
                      <a:pt x="72" y="19"/>
                    </a:lnTo>
                    <a:lnTo>
                      <a:pt x="68" y="21"/>
                    </a:lnTo>
                    <a:lnTo>
                      <a:pt x="65" y="29"/>
                    </a:lnTo>
                    <a:lnTo>
                      <a:pt x="64" y="33"/>
                    </a:lnTo>
                    <a:lnTo>
                      <a:pt x="63" y="34"/>
                    </a:lnTo>
                    <a:lnTo>
                      <a:pt x="61" y="36"/>
                    </a:lnTo>
                    <a:lnTo>
                      <a:pt x="59" y="39"/>
                    </a:lnTo>
                    <a:lnTo>
                      <a:pt x="56" y="41"/>
                    </a:lnTo>
                    <a:lnTo>
                      <a:pt x="53" y="42"/>
                    </a:lnTo>
                    <a:lnTo>
                      <a:pt x="51" y="45"/>
                    </a:lnTo>
                    <a:lnTo>
                      <a:pt x="45" y="48"/>
                    </a:lnTo>
                    <a:lnTo>
                      <a:pt x="43" y="51"/>
                    </a:lnTo>
                    <a:lnTo>
                      <a:pt x="39" y="52"/>
                    </a:lnTo>
                    <a:lnTo>
                      <a:pt x="31" y="56"/>
                    </a:lnTo>
                    <a:lnTo>
                      <a:pt x="26" y="57"/>
                    </a:lnTo>
                    <a:lnTo>
                      <a:pt x="24" y="61"/>
                    </a:lnTo>
                    <a:lnTo>
                      <a:pt x="21" y="63"/>
                    </a:lnTo>
                    <a:lnTo>
                      <a:pt x="19" y="65"/>
                    </a:lnTo>
                    <a:lnTo>
                      <a:pt x="19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6" name="Freeform 202">
                <a:extLst>
                  <a:ext uri="{FF2B5EF4-FFF2-40B4-BE49-F238E27FC236}">
                    <a16:creationId xmlns:a16="http://schemas.microsoft.com/office/drawing/2014/main" id="{425D45A4-69E9-4BB7-8B86-3D08A28284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0" y="3297"/>
                <a:ext cx="80" cy="113"/>
              </a:xfrm>
              <a:custGeom>
                <a:avLst/>
                <a:gdLst>
                  <a:gd name="T0" fmla="*/ 27 w 80"/>
                  <a:gd name="T1" fmla="*/ 37 h 113"/>
                  <a:gd name="T2" fmla="*/ 28 w 80"/>
                  <a:gd name="T3" fmla="*/ 34 h 113"/>
                  <a:gd name="T4" fmla="*/ 28 w 80"/>
                  <a:gd name="T5" fmla="*/ 30 h 113"/>
                  <a:gd name="T6" fmla="*/ 26 w 80"/>
                  <a:gd name="T7" fmla="*/ 26 h 113"/>
                  <a:gd name="T8" fmla="*/ 25 w 80"/>
                  <a:gd name="T9" fmla="*/ 21 h 113"/>
                  <a:gd name="T10" fmla="*/ 22 w 80"/>
                  <a:gd name="T11" fmla="*/ 13 h 113"/>
                  <a:gd name="T12" fmla="*/ 17 w 80"/>
                  <a:gd name="T13" fmla="*/ 10 h 113"/>
                  <a:gd name="T14" fmla="*/ 11 w 80"/>
                  <a:gd name="T15" fmla="*/ 8 h 113"/>
                  <a:gd name="T16" fmla="*/ 3 w 80"/>
                  <a:gd name="T17" fmla="*/ 1 h 113"/>
                  <a:gd name="T18" fmla="*/ 5 w 80"/>
                  <a:gd name="T19" fmla="*/ 8 h 113"/>
                  <a:gd name="T20" fmla="*/ 9 w 80"/>
                  <a:gd name="T21" fmla="*/ 17 h 113"/>
                  <a:gd name="T22" fmla="*/ 9 w 80"/>
                  <a:gd name="T23" fmla="*/ 17 h 113"/>
                  <a:gd name="T24" fmla="*/ 17 w 80"/>
                  <a:gd name="T25" fmla="*/ 26 h 113"/>
                  <a:gd name="T26" fmla="*/ 22 w 80"/>
                  <a:gd name="T27" fmla="*/ 26 h 113"/>
                  <a:gd name="T28" fmla="*/ 21 w 80"/>
                  <a:gd name="T29" fmla="*/ 29 h 113"/>
                  <a:gd name="T30" fmla="*/ 20 w 80"/>
                  <a:gd name="T31" fmla="*/ 30 h 113"/>
                  <a:gd name="T32" fmla="*/ 24 w 80"/>
                  <a:gd name="T33" fmla="*/ 37 h 113"/>
                  <a:gd name="T34" fmla="*/ 27 w 80"/>
                  <a:gd name="T35" fmla="*/ 43 h 113"/>
                  <a:gd name="T36" fmla="*/ 28 w 80"/>
                  <a:gd name="T37" fmla="*/ 47 h 113"/>
                  <a:gd name="T38" fmla="*/ 28 w 80"/>
                  <a:gd name="T39" fmla="*/ 53 h 113"/>
                  <a:gd name="T40" fmla="*/ 26 w 80"/>
                  <a:gd name="T41" fmla="*/ 62 h 113"/>
                  <a:gd name="T42" fmla="*/ 25 w 80"/>
                  <a:gd name="T43" fmla="*/ 69 h 113"/>
                  <a:gd name="T44" fmla="*/ 18 w 80"/>
                  <a:gd name="T45" fmla="*/ 72 h 113"/>
                  <a:gd name="T46" fmla="*/ 14 w 80"/>
                  <a:gd name="T47" fmla="*/ 77 h 113"/>
                  <a:gd name="T48" fmla="*/ 18 w 80"/>
                  <a:gd name="T49" fmla="*/ 80 h 113"/>
                  <a:gd name="T50" fmla="*/ 24 w 80"/>
                  <a:gd name="T51" fmla="*/ 83 h 113"/>
                  <a:gd name="T52" fmla="*/ 29 w 80"/>
                  <a:gd name="T53" fmla="*/ 86 h 113"/>
                  <a:gd name="T54" fmla="*/ 34 w 80"/>
                  <a:gd name="T55" fmla="*/ 90 h 113"/>
                  <a:gd name="T56" fmla="*/ 34 w 80"/>
                  <a:gd name="T57" fmla="*/ 98 h 113"/>
                  <a:gd name="T58" fmla="*/ 29 w 80"/>
                  <a:gd name="T59" fmla="*/ 104 h 113"/>
                  <a:gd name="T60" fmla="*/ 27 w 80"/>
                  <a:gd name="T61" fmla="*/ 107 h 113"/>
                  <a:gd name="T62" fmla="*/ 29 w 80"/>
                  <a:gd name="T63" fmla="*/ 111 h 113"/>
                  <a:gd name="T64" fmla="*/ 34 w 80"/>
                  <a:gd name="T65" fmla="*/ 112 h 113"/>
                  <a:gd name="T66" fmla="*/ 43 w 80"/>
                  <a:gd name="T67" fmla="*/ 109 h 113"/>
                  <a:gd name="T68" fmla="*/ 48 w 80"/>
                  <a:gd name="T69" fmla="*/ 100 h 113"/>
                  <a:gd name="T70" fmla="*/ 52 w 80"/>
                  <a:gd name="T71" fmla="*/ 96 h 113"/>
                  <a:gd name="T72" fmla="*/ 56 w 80"/>
                  <a:gd name="T73" fmla="*/ 90 h 113"/>
                  <a:gd name="T74" fmla="*/ 56 w 80"/>
                  <a:gd name="T75" fmla="*/ 78 h 113"/>
                  <a:gd name="T76" fmla="*/ 61 w 80"/>
                  <a:gd name="T77" fmla="*/ 73 h 113"/>
                  <a:gd name="T78" fmla="*/ 69 w 80"/>
                  <a:gd name="T79" fmla="*/ 72 h 113"/>
                  <a:gd name="T80" fmla="*/ 71 w 80"/>
                  <a:gd name="T81" fmla="*/ 71 h 113"/>
                  <a:gd name="T82" fmla="*/ 73 w 80"/>
                  <a:gd name="T83" fmla="*/ 66 h 113"/>
                  <a:gd name="T84" fmla="*/ 77 w 80"/>
                  <a:gd name="T85" fmla="*/ 61 h 113"/>
                  <a:gd name="T86" fmla="*/ 78 w 80"/>
                  <a:gd name="T87" fmla="*/ 52 h 113"/>
                  <a:gd name="T88" fmla="*/ 74 w 80"/>
                  <a:gd name="T89" fmla="*/ 48 h 113"/>
                  <a:gd name="T90" fmla="*/ 67 w 80"/>
                  <a:gd name="T91" fmla="*/ 54 h 113"/>
                  <a:gd name="T92" fmla="*/ 60 w 80"/>
                  <a:gd name="T93" fmla="*/ 55 h 113"/>
                  <a:gd name="T94" fmla="*/ 47 w 80"/>
                  <a:gd name="T95" fmla="*/ 51 h 113"/>
                  <a:gd name="T96" fmla="*/ 44 w 80"/>
                  <a:gd name="T97" fmla="*/ 46 h 113"/>
                  <a:gd name="T98" fmla="*/ 44 w 80"/>
                  <a:gd name="T99" fmla="*/ 40 h 113"/>
                  <a:gd name="T100" fmla="*/ 41 w 80"/>
                  <a:gd name="T101" fmla="*/ 35 h 113"/>
                  <a:gd name="T102" fmla="*/ 37 w 80"/>
                  <a:gd name="T103" fmla="*/ 36 h 113"/>
                  <a:gd name="T104" fmla="*/ 36 w 80"/>
                  <a:gd name="T105" fmla="*/ 43 h 113"/>
                  <a:gd name="T106" fmla="*/ 30 w 80"/>
                  <a:gd name="T107" fmla="*/ 38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0" h="113">
                    <a:moveTo>
                      <a:pt x="30" y="38"/>
                    </a:moveTo>
                    <a:lnTo>
                      <a:pt x="27" y="37"/>
                    </a:lnTo>
                    <a:lnTo>
                      <a:pt x="28" y="36"/>
                    </a:lnTo>
                    <a:lnTo>
                      <a:pt x="28" y="34"/>
                    </a:lnTo>
                    <a:lnTo>
                      <a:pt x="28" y="34"/>
                    </a:lnTo>
                    <a:lnTo>
                      <a:pt x="28" y="30"/>
                    </a:lnTo>
                    <a:lnTo>
                      <a:pt x="28" y="28"/>
                    </a:lnTo>
                    <a:lnTo>
                      <a:pt x="26" y="26"/>
                    </a:lnTo>
                    <a:lnTo>
                      <a:pt x="22" y="20"/>
                    </a:lnTo>
                    <a:lnTo>
                      <a:pt x="25" y="21"/>
                    </a:lnTo>
                    <a:lnTo>
                      <a:pt x="24" y="17"/>
                    </a:lnTo>
                    <a:lnTo>
                      <a:pt x="22" y="13"/>
                    </a:lnTo>
                    <a:lnTo>
                      <a:pt x="20" y="12"/>
                    </a:lnTo>
                    <a:lnTo>
                      <a:pt x="17" y="10"/>
                    </a:lnTo>
                    <a:lnTo>
                      <a:pt x="14" y="9"/>
                    </a:lnTo>
                    <a:lnTo>
                      <a:pt x="11" y="8"/>
                    </a:lnTo>
                    <a:lnTo>
                      <a:pt x="7" y="5"/>
                    </a:lnTo>
                    <a:lnTo>
                      <a:pt x="3" y="1"/>
                    </a:lnTo>
                    <a:lnTo>
                      <a:pt x="0" y="0"/>
                    </a:lnTo>
                    <a:lnTo>
                      <a:pt x="5" y="8"/>
                    </a:lnTo>
                    <a:lnTo>
                      <a:pt x="7" y="13"/>
                    </a:lnTo>
                    <a:lnTo>
                      <a:pt x="9" y="17"/>
                    </a:lnTo>
                    <a:lnTo>
                      <a:pt x="11" y="13"/>
                    </a:lnTo>
                    <a:lnTo>
                      <a:pt x="9" y="17"/>
                    </a:lnTo>
                    <a:lnTo>
                      <a:pt x="17" y="28"/>
                    </a:lnTo>
                    <a:lnTo>
                      <a:pt x="17" y="26"/>
                    </a:lnTo>
                    <a:lnTo>
                      <a:pt x="20" y="27"/>
                    </a:lnTo>
                    <a:lnTo>
                      <a:pt x="22" y="26"/>
                    </a:lnTo>
                    <a:lnTo>
                      <a:pt x="24" y="28"/>
                    </a:lnTo>
                    <a:lnTo>
                      <a:pt x="21" y="29"/>
                    </a:lnTo>
                    <a:lnTo>
                      <a:pt x="24" y="31"/>
                    </a:lnTo>
                    <a:lnTo>
                      <a:pt x="20" y="30"/>
                    </a:lnTo>
                    <a:lnTo>
                      <a:pt x="20" y="31"/>
                    </a:lnTo>
                    <a:lnTo>
                      <a:pt x="24" y="37"/>
                    </a:lnTo>
                    <a:lnTo>
                      <a:pt x="29" y="39"/>
                    </a:lnTo>
                    <a:lnTo>
                      <a:pt x="27" y="43"/>
                    </a:lnTo>
                    <a:lnTo>
                      <a:pt x="28" y="45"/>
                    </a:lnTo>
                    <a:lnTo>
                      <a:pt x="28" y="47"/>
                    </a:lnTo>
                    <a:lnTo>
                      <a:pt x="28" y="51"/>
                    </a:lnTo>
                    <a:lnTo>
                      <a:pt x="28" y="53"/>
                    </a:lnTo>
                    <a:lnTo>
                      <a:pt x="28" y="55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5" y="69"/>
                    </a:lnTo>
                    <a:lnTo>
                      <a:pt x="22" y="71"/>
                    </a:lnTo>
                    <a:lnTo>
                      <a:pt x="18" y="72"/>
                    </a:lnTo>
                    <a:lnTo>
                      <a:pt x="14" y="73"/>
                    </a:lnTo>
                    <a:lnTo>
                      <a:pt x="14" y="77"/>
                    </a:lnTo>
                    <a:lnTo>
                      <a:pt x="16" y="79"/>
                    </a:lnTo>
                    <a:lnTo>
                      <a:pt x="18" y="80"/>
                    </a:lnTo>
                    <a:lnTo>
                      <a:pt x="21" y="81"/>
                    </a:lnTo>
                    <a:lnTo>
                      <a:pt x="24" y="83"/>
                    </a:lnTo>
                    <a:lnTo>
                      <a:pt x="26" y="85"/>
                    </a:lnTo>
                    <a:lnTo>
                      <a:pt x="29" y="86"/>
                    </a:lnTo>
                    <a:lnTo>
                      <a:pt x="31" y="87"/>
                    </a:lnTo>
                    <a:lnTo>
                      <a:pt x="34" y="90"/>
                    </a:lnTo>
                    <a:lnTo>
                      <a:pt x="35" y="91"/>
                    </a:lnTo>
                    <a:lnTo>
                      <a:pt x="34" y="98"/>
                    </a:lnTo>
                    <a:lnTo>
                      <a:pt x="31" y="102"/>
                    </a:lnTo>
                    <a:lnTo>
                      <a:pt x="29" y="104"/>
                    </a:lnTo>
                    <a:lnTo>
                      <a:pt x="29" y="105"/>
                    </a:lnTo>
                    <a:lnTo>
                      <a:pt x="27" y="107"/>
                    </a:lnTo>
                    <a:lnTo>
                      <a:pt x="28" y="107"/>
                    </a:lnTo>
                    <a:lnTo>
                      <a:pt x="29" y="111"/>
                    </a:lnTo>
                    <a:lnTo>
                      <a:pt x="33" y="109"/>
                    </a:lnTo>
                    <a:lnTo>
                      <a:pt x="34" y="112"/>
                    </a:lnTo>
                    <a:lnTo>
                      <a:pt x="36" y="113"/>
                    </a:lnTo>
                    <a:lnTo>
                      <a:pt x="43" y="109"/>
                    </a:lnTo>
                    <a:lnTo>
                      <a:pt x="45" y="106"/>
                    </a:lnTo>
                    <a:lnTo>
                      <a:pt x="48" y="100"/>
                    </a:lnTo>
                    <a:lnTo>
                      <a:pt x="48" y="99"/>
                    </a:lnTo>
                    <a:lnTo>
                      <a:pt x="52" y="96"/>
                    </a:lnTo>
                    <a:lnTo>
                      <a:pt x="54" y="92"/>
                    </a:lnTo>
                    <a:lnTo>
                      <a:pt x="56" y="90"/>
                    </a:lnTo>
                    <a:lnTo>
                      <a:pt x="59" y="83"/>
                    </a:lnTo>
                    <a:lnTo>
                      <a:pt x="56" y="78"/>
                    </a:lnTo>
                    <a:lnTo>
                      <a:pt x="59" y="75"/>
                    </a:lnTo>
                    <a:lnTo>
                      <a:pt x="61" y="73"/>
                    </a:lnTo>
                    <a:lnTo>
                      <a:pt x="64" y="72"/>
                    </a:lnTo>
                    <a:lnTo>
                      <a:pt x="69" y="72"/>
                    </a:lnTo>
                    <a:lnTo>
                      <a:pt x="71" y="74"/>
                    </a:lnTo>
                    <a:lnTo>
                      <a:pt x="71" y="71"/>
                    </a:lnTo>
                    <a:lnTo>
                      <a:pt x="71" y="66"/>
                    </a:lnTo>
                    <a:lnTo>
                      <a:pt x="73" y="66"/>
                    </a:lnTo>
                    <a:lnTo>
                      <a:pt x="76" y="63"/>
                    </a:lnTo>
                    <a:lnTo>
                      <a:pt x="77" y="61"/>
                    </a:lnTo>
                    <a:lnTo>
                      <a:pt x="77" y="55"/>
                    </a:lnTo>
                    <a:lnTo>
                      <a:pt x="78" y="52"/>
                    </a:lnTo>
                    <a:lnTo>
                      <a:pt x="80" y="49"/>
                    </a:lnTo>
                    <a:lnTo>
                      <a:pt x="74" y="48"/>
                    </a:lnTo>
                    <a:lnTo>
                      <a:pt x="69" y="51"/>
                    </a:lnTo>
                    <a:lnTo>
                      <a:pt x="67" y="54"/>
                    </a:lnTo>
                    <a:lnTo>
                      <a:pt x="63" y="55"/>
                    </a:lnTo>
                    <a:lnTo>
                      <a:pt x="60" y="55"/>
                    </a:lnTo>
                    <a:lnTo>
                      <a:pt x="50" y="51"/>
                    </a:lnTo>
                    <a:lnTo>
                      <a:pt x="47" y="51"/>
                    </a:lnTo>
                    <a:lnTo>
                      <a:pt x="45" y="48"/>
                    </a:lnTo>
                    <a:lnTo>
                      <a:pt x="44" y="46"/>
                    </a:lnTo>
                    <a:lnTo>
                      <a:pt x="43" y="43"/>
                    </a:lnTo>
                    <a:lnTo>
                      <a:pt x="44" y="40"/>
                    </a:lnTo>
                    <a:lnTo>
                      <a:pt x="43" y="38"/>
                    </a:lnTo>
                    <a:lnTo>
                      <a:pt x="41" y="35"/>
                    </a:lnTo>
                    <a:lnTo>
                      <a:pt x="37" y="34"/>
                    </a:lnTo>
                    <a:lnTo>
                      <a:pt x="37" y="36"/>
                    </a:lnTo>
                    <a:lnTo>
                      <a:pt x="38" y="42"/>
                    </a:lnTo>
                    <a:lnTo>
                      <a:pt x="36" y="43"/>
                    </a:lnTo>
                    <a:lnTo>
                      <a:pt x="33" y="38"/>
                    </a:lnTo>
                    <a:lnTo>
                      <a:pt x="30" y="38"/>
                    </a:lnTo>
                    <a:lnTo>
                      <a:pt x="3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7" name="Freeform 203">
                <a:extLst>
                  <a:ext uri="{FF2B5EF4-FFF2-40B4-BE49-F238E27FC236}">
                    <a16:creationId xmlns:a16="http://schemas.microsoft.com/office/drawing/2014/main" id="{E2D45C62-977E-4D27-9E96-1D9F4B927E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1" y="1740"/>
                <a:ext cx="94" cy="62"/>
              </a:xfrm>
              <a:custGeom>
                <a:avLst/>
                <a:gdLst>
                  <a:gd name="T0" fmla="*/ 52 w 94"/>
                  <a:gd name="T1" fmla="*/ 19 h 62"/>
                  <a:gd name="T2" fmla="*/ 56 w 94"/>
                  <a:gd name="T3" fmla="*/ 22 h 62"/>
                  <a:gd name="T4" fmla="*/ 63 w 94"/>
                  <a:gd name="T5" fmla="*/ 26 h 62"/>
                  <a:gd name="T6" fmla="*/ 69 w 94"/>
                  <a:gd name="T7" fmla="*/ 27 h 62"/>
                  <a:gd name="T8" fmla="*/ 74 w 94"/>
                  <a:gd name="T9" fmla="*/ 35 h 62"/>
                  <a:gd name="T10" fmla="*/ 73 w 94"/>
                  <a:gd name="T11" fmla="*/ 43 h 62"/>
                  <a:gd name="T12" fmla="*/ 79 w 94"/>
                  <a:gd name="T13" fmla="*/ 40 h 62"/>
                  <a:gd name="T14" fmla="*/ 87 w 94"/>
                  <a:gd name="T15" fmla="*/ 40 h 62"/>
                  <a:gd name="T16" fmla="*/ 89 w 94"/>
                  <a:gd name="T17" fmla="*/ 45 h 62"/>
                  <a:gd name="T18" fmla="*/ 94 w 94"/>
                  <a:gd name="T19" fmla="*/ 48 h 62"/>
                  <a:gd name="T20" fmla="*/ 84 w 94"/>
                  <a:gd name="T21" fmla="*/ 54 h 62"/>
                  <a:gd name="T22" fmla="*/ 72 w 94"/>
                  <a:gd name="T23" fmla="*/ 50 h 62"/>
                  <a:gd name="T24" fmla="*/ 67 w 94"/>
                  <a:gd name="T25" fmla="*/ 49 h 62"/>
                  <a:gd name="T26" fmla="*/ 65 w 94"/>
                  <a:gd name="T27" fmla="*/ 44 h 62"/>
                  <a:gd name="T28" fmla="*/ 56 w 94"/>
                  <a:gd name="T29" fmla="*/ 41 h 62"/>
                  <a:gd name="T30" fmla="*/ 54 w 94"/>
                  <a:gd name="T31" fmla="*/ 39 h 62"/>
                  <a:gd name="T32" fmla="*/ 48 w 94"/>
                  <a:gd name="T33" fmla="*/ 41 h 62"/>
                  <a:gd name="T34" fmla="*/ 47 w 94"/>
                  <a:gd name="T35" fmla="*/ 47 h 62"/>
                  <a:gd name="T36" fmla="*/ 42 w 94"/>
                  <a:gd name="T37" fmla="*/ 52 h 62"/>
                  <a:gd name="T38" fmla="*/ 37 w 94"/>
                  <a:gd name="T39" fmla="*/ 54 h 62"/>
                  <a:gd name="T40" fmla="*/ 30 w 94"/>
                  <a:gd name="T41" fmla="*/ 60 h 62"/>
                  <a:gd name="T42" fmla="*/ 25 w 94"/>
                  <a:gd name="T43" fmla="*/ 62 h 62"/>
                  <a:gd name="T44" fmla="*/ 21 w 94"/>
                  <a:gd name="T45" fmla="*/ 58 h 62"/>
                  <a:gd name="T46" fmla="*/ 21 w 94"/>
                  <a:gd name="T47" fmla="*/ 50 h 62"/>
                  <a:gd name="T48" fmla="*/ 19 w 94"/>
                  <a:gd name="T49" fmla="*/ 48 h 62"/>
                  <a:gd name="T50" fmla="*/ 13 w 94"/>
                  <a:gd name="T51" fmla="*/ 50 h 62"/>
                  <a:gd name="T52" fmla="*/ 5 w 94"/>
                  <a:gd name="T53" fmla="*/ 52 h 62"/>
                  <a:gd name="T54" fmla="*/ 0 w 94"/>
                  <a:gd name="T55" fmla="*/ 52 h 62"/>
                  <a:gd name="T56" fmla="*/ 3 w 94"/>
                  <a:gd name="T57" fmla="*/ 46 h 62"/>
                  <a:gd name="T58" fmla="*/ 11 w 94"/>
                  <a:gd name="T59" fmla="*/ 41 h 62"/>
                  <a:gd name="T60" fmla="*/ 11 w 94"/>
                  <a:gd name="T61" fmla="*/ 36 h 62"/>
                  <a:gd name="T62" fmla="*/ 14 w 94"/>
                  <a:gd name="T63" fmla="*/ 22 h 62"/>
                  <a:gd name="T64" fmla="*/ 14 w 94"/>
                  <a:gd name="T65" fmla="*/ 17 h 62"/>
                  <a:gd name="T66" fmla="*/ 14 w 94"/>
                  <a:gd name="T67" fmla="*/ 9 h 62"/>
                  <a:gd name="T68" fmla="*/ 19 w 94"/>
                  <a:gd name="T69" fmla="*/ 1 h 62"/>
                  <a:gd name="T70" fmla="*/ 27 w 94"/>
                  <a:gd name="T71" fmla="*/ 4 h 62"/>
                  <a:gd name="T72" fmla="*/ 27 w 94"/>
                  <a:gd name="T73" fmla="*/ 10 h 62"/>
                  <a:gd name="T74" fmla="*/ 30 w 94"/>
                  <a:gd name="T75" fmla="*/ 14 h 62"/>
                  <a:gd name="T76" fmla="*/ 35 w 94"/>
                  <a:gd name="T77" fmla="*/ 11 h 62"/>
                  <a:gd name="T78" fmla="*/ 42 w 94"/>
                  <a:gd name="T79" fmla="*/ 15 h 62"/>
                  <a:gd name="T80" fmla="*/ 50 w 94"/>
                  <a:gd name="T81" fmla="*/ 17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4" h="62">
                    <a:moveTo>
                      <a:pt x="50" y="17"/>
                    </a:moveTo>
                    <a:lnTo>
                      <a:pt x="52" y="19"/>
                    </a:lnTo>
                    <a:lnTo>
                      <a:pt x="54" y="21"/>
                    </a:lnTo>
                    <a:lnTo>
                      <a:pt x="56" y="22"/>
                    </a:lnTo>
                    <a:lnTo>
                      <a:pt x="61" y="26"/>
                    </a:lnTo>
                    <a:lnTo>
                      <a:pt x="63" y="26"/>
                    </a:lnTo>
                    <a:lnTo>
                      <a:pt x="67" y="26"/>
                    </a:lnTo>
                    <a:lnTo>
                      <a:pt x="69" y="27"/>
                    </a:lnTo>
                    <a:lnTo>
                      <a:pt x="74" y="31"/>
                    </a:lnTo>
                    <a:lnTo>
                      <a:pt x="74" y="35"/>
                    </a:lnTo>
                    <a:lnTo>
                      <a:pt x="76" y="39"/>
                    </a:lnTo>
                    <a:lnTo>
                      <a:pt x="73" y="43"/>
                    </a:lnTo>
                    <a:lnTo>
                      <a:pt x="76" y="41"/>
                    </a:lnTo>
                    <a:lnTo>
                      <a:pt x="79" y="40"/>
                    </a:lnTo>
                    <a:lnTo>
                      <a:pt x="85" y="43"/>
                    </a:lnTo>
                    <a:lnTo>
                      <a:pt x="87" y="40"/>
                    </a:lnTo>
                    <a:lnTo>
                      <a:pt x="90" y="43"/>
                    </a:lnTo>
                    <a:lnTo>
                      <a:pt x="89" y="45"/>
                    </a:lnTo>
                    <a:lnTo>
                      <a:pt x="91" y="46"/>
                    </a:lnTo>
                    <a:lnTo>
                      <a:pt x="94" y="48"/>
                    </a:lnTo>
                    <a:lnTo>
                      <a:pt x="91" y="49"/>
                    </a:lnTo>
                    <a:lnTo>
                      <a:pt x="84" y="54"/>
                    </a:lnTo>
                    <a:lnTo>
                      <a:pt x="78" y="52"/>
                    </a:lnTo>
                    <a:lnTo>
                      <a:pt x="72" y="50"/>
                    </a:lnTo>
                    <a:lnTo>
                      <a:pt x="70" y="49"/>
                    </a:lnTo>
                    <a:lnTo>
                      <a:pt x="67" y="49"/>
                    </a:lnTo>
                    <a:lnTo>
                      <a:pt x="64" y="49"/>
                    </a:lnTo>
                    <a:lnTo>
                      <a:pt x="65" y="44"/>
                    </a:lnTo>
                    <a:lnTo>
                      <a:pt x="60" y="43"/>
                    </a:lnTo>
                    <a:lnTo>
                      <a:pt x="56" y="41"/>
                    </a:lnTo>
                    <a:lnTo>
                      <a:pt x="56" y="38"/>
                    </a:lnTo>
                    <a:lnTo>
                      <a:pt x="54" y="39"/>
                    </a:lnTo>
                    <a:lnTo>
                      <a:pt x="51" y="39"/>
                    </a:lnTo>
                    <a:lnTo>
                      <a:pt x="48" y="41"/>
                    </a:lnTo>
                    <a:lnTo>
                      <a:pt x="48" y="45"/>
                    </a:lnTo>
                    <a:lnTo>
                      <a:pt x="47" y="47"/>
                    </a:lnTo>
                    <a:lnTo>
                      <a:pt x="45" y="48"/>
                    </a:lnTo>
                    <a:lnTo>
                      <a:pt x="42" y="52"/>
                    </a:lnTo>
                    <a:lnTo>
                      <a:pt x="39" y="52"/>
                    </a:lnTo>
                    <a:lnTo>
                      <a:pt x="37" y="54"/>
                    </a:lnTo>
                    <a:lnTo>
                      <a:pt x="36" y="56"/>
                    </a:lnTo>
                    <a:lnTo>
                      <a:pt x="30" y="60"/>
                    </a:lnTo>
                    <a:lnTo>
                      <a:pt x="28" y="61"/>
                    </a:lnTo>
                    <a:lnTo>
                      <a:pt x="25" y="62"/>
                    </a:lnTo>
                    <a:lnTo>
                      <a:pt x="22" y="61"/>
                    </a:lnTo>
                    <a:lnTo>
                      <a:pt x="21" y="58"/>
                    </a:lnTo>
                    <a:lnTo>
                      <a:pt x="21" y="56"/>
                    </a:lnTo>
                    <a:lnTo>
                      <a:pt x="21" y="50"/>
                    </a:lnTo>
                    <a:lnTo>
                      <a:pt x="20" y="47"/>
                    </a:lnTo>
                    <a:lnTo>
                      <a:pt x="19" y="48"/>
                    </a:lnTo>
                    <a:lnTo>
                      <a:pt x="16" y="49"/>
                    </a:lnTo>
                    <a:lnTo>
                      <a:pt x="13" y="50"/>
                    </a:lnTo>
                    <a:lnTo>
                      <a:pt x="8" y="49"/>
                    </a:lnTo>
                    <a:lnTo>
                      <a:pt x="5" y="52"/>
                    </a:lnTo>
                    <a:lnTo>
                      <a:pt x="3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3" y="46"/>
                    </a:lnTo>
                    <a:lnTo>
                      <a:pt x="5" y="44"/>
                    </a:lnTo>
                    <a:lnTo>
                      <a:pt x="11" y="41"/>
                    </a:lnTo>
                    <a:lnTo>
                      <a:pt x="13" y="39"/>
                    </a:lnTo>
                    <a:lnTo>
                      <a:pt x="11" y="36"/>
                    </a:lnTo>
                    <a:lnTo>
                      <a:pt x="11" y="28"/>
                    </a:lnTo>
                    <a:lnTo>
                      <a:pt x="14" y="22"/>
                    </a:lnTo>
                    <a:lnTo>
                      <a:pt x="13" y="20"/>
                    </a:lnTo>
                    <a:lnTo>
                      <a:pt x="14" y="17"/>
                    </a:lnTo>
                    <a:lnTo>
                      <a:pt x="13" y="14"/>
                    </a:lnTo>
                    <a:lnTo>
                      <a:pt x="14" y="9"/>
                    </a:lnTo>
                    <a:lnTo>
                      <a:pt x="17" y="4"/>
                    </a:lnTo>
                    <a:lnTo>
                      <a:pt x="19" y="1"/>
                    </a:lnTo>
                    <a:lnTo>
                      <a:pt x="22" y="0"/>
                    </a:lnTo>
                    <a:lnTo>
                      <a:pt x="27" y="4"/>
                    </a:lnTo>
                    <a:lnTo>
                      <a:pt x="29" y="6"/>
                    </a:lnTo>
                    <a:lnTo>
                      <a:pt x="27" y="10"/>
                    </a:lnTo>
                    <a:lnTo>
                      <a:pt x="29" y="12"/>
                    </a:lnTo>
                    <a:lnTo>
                      <a:pt x="30" y="14"/>
                    </a:lnTo>
                    <a:lnTo>
                      <a:pt x="34" y="13"/>
                    </a:lnTo>
                    <a:lnTo>
                      <a:pt x="35" y="11"/>
                    </a:lnTo>
                    <a:lnTo>
                      <a:pt x="40" y="12"/>
                    </a:lnTo>
                    <a:lnTo>
                      <a:pt x="42" y="15"/>
                    </a:lnTo>
                    <a:lnTo>
                      <a:pt x="46" y="17"/>
                    </a:lnTo>
                    <a:lnTo>
                      <a:pt x="50" y="17"/>
                    </a:lnTo>
                    <a:lnTo>
                      <a:pt x="50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8" name="Freeform 204">
                <a:extLst>
                  <a:ext uri="{FF2B5EF4-FFF2-40B4-BE49-F238E27FC236}">
                    <a16:creationId xmlns:a16="http://schemas.microsoft.com/office/drawing/2014/main" id="{77B46D1F-07FF-4500-94D6-1AF3B6AE3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7" y="2670"/>
                <a:ext cx="29" cy="55"/>
              </a:xfrm>
              <a:custGeom>
                <a:avLst/>
                <a:gdLst>
                  <a:gd name="T0" fmla="*/ 11 w 29"/>
                  <a:gd name="T1" fmla="*/ 55 h 55"/>
                  <a:gd name="T2" fmla="*/ 14 w 29"/>
                  <a:gd name="T3" fmla="*/ 52 h 55"/>
                  <a:gd name="T4" fmla="*/ 18 w 29"/>
                  <a:gd name="T5" fmla="*/ 51 h 55"/>
                  <a:gd name="T6" fmla="*/ 21 w 29"/>
                  <a:gd name="T7" fmla="*/ 51 h 55"/>
                  <a:gd name="T8" fmla="*/ 27 w 29"/>
                  <a:gd name="T9" fmla="*/ 47 h 55"/>
                  <a:gd name="T10" fmla="*/ 29 w 29"/>
                  <a:gd name="T11" fmla="*/ 41 h 55"/>
                  <a:gd name="T12" fmla="*/ 29 w 29"/>
                  <a:gd name="T13" fmla="*/ 35 h 55"/>
                  <a:gd name="T14" fmla="*/ 28 w 29"/>
                  <a:gd name="T15" fmla="*/ 33 h 55"/>
                  <a:gd name="T16" fmla="*/ 28 w 29"/>
                  <a:gd name="T17" fmla="*/ 33 h 55"/>
                  <a:gd name="T18" fmla="*/ 27 w 29"/>
                  <a:gd name="T19" fmla="*/ 30 h 55"/>
                  <a:gd name="T20" fmla="*/ 24 w 29"/>
                  <a:gd name="T21" fmla="*/ 26 h 55"/>
                  <a:gd name="T22" fmla="*/ 22 w 29"/>
                  <a:gd name="T23" fmla="*/ 22 h 55"/>
                  <a:gd name="T24" fmla="*/ 20 w 29"/>
                  <a:gd name="T25" fmla="*/ 19 h 55"/>
                  <a:gd name="T26" fmla="*/ 18 w 29"/>
                  <a:gd name="T27" fmla="*/ 13 h 55"/>
                  <a:gd name="T28" fmla="*/ 15 w 29"/>
                  <a:gd name="T29" fmla="*/ 11 h 55"/>
                  <a:gd name="T30" fmla="*/ 12 w 29"/>
                  <a:gd name="T31" fmla="*/ 6 h 55"/>
                  <a:gd name="T32" fmla="*/ 4 w 29"/>
                  <a:gd name="T33" fmla="*/ 0 h 55"/>
                  <a:gd name="T34" fmla="*/ 3 w 29"/>
                  <a:gd name="T35" fmla="*/ 3 h 55"/>
                  <a:gd name="T36" fmla="*/ 6 w 29"/>
                  <a:gd name="T37" fmla="*/ 4 h 55"/>
                  <a:gd name="T38" fmla="*/ 9 w 29"/>
                  <a:gd name="T39" fmla="*/ 5 h 55"/>
                  <a:gd name="T40" fmla="*/ 9 w 29"/>
                  <a:gd name="T41" fmla="*/ 5 h 55"/>
                  <a:gd name="T42" fmla="*/ 6 w 29"/>
                  <a:gd name="T43" fmla="*/ 5 h 55"/>
                  <a:gd name="T44" fmla="*/ 4 w 29"/>
                  <a:gd name="T45" fmla="*/ 7 h 55"/>
                  <a:gd name="T46" fmla="*/ 4 w 29"/>
                  <a:gd name="T47" fmla="*/ 9 h 55"/>
                  <a:gd name="T48" fmla="*/ 2 w 29"/>
                  <a:gd name="T49" fmla="*/ 13 h 55"/>
                  <a:gd name="T50" fmla="*/ 3 w 29"/>
                  <a:gd name="T51" fmla="*/ 15 h 55"/>
                  <a:gd name="T52" fmla="*/ 2 w 29"/>
                  <a:gd name="T53" fmla="*/ 20 h 55"/>
                  <a:gd name="T54" fmla="*/ 1 w 29"/>
                  <a:gd name="T55" fmla="*/ 23 h 55"/>
                  <a:gd name="T56" fmla="*/ 1 w 29"/>
                  <a:gd name="T57" fmla="*/ 26 h 55"/>
                  <a:gd name="T58" fmla="*/ 0 w 29"/>
                  <a:gd name="T59" fmla="*/ 23 h 55"/>
                  <a:gd name="T60" fmla="*/ 0 w 29"/>
                  <a:gd name="T61" fmla="*/ 29 h 55"/>
                  <a:gd name="T62" fmla="*/ 1 w 29"/>
                  <a:gd name="T63" fmla="*/ 33 h 55"/>
                  <a:gd name="T64" fmla="*/ 1 w 29"/>
                  <a:gd name="T65" fmla="*/ 38 h 55"/>
                  <a:gd name="T66" fmla="*/ 1 w 29"/>
                  <a:gd name="T67" fmla="*/ 41 h 55"/>
                  <a:gd name="T68" fmla="*/ 3 w 29"/>
                  <a:gd name="T69" fmla="*/ 46 h 55"/>
                  <a:gd name="T70" fmla="*/ 3 w 29"/>
                  <a:gd name="T71" fmla="*/ 48 h 55"/>
                  <a:gd name="T72" fmla="*/ 5 w 29"/>
                  <a:gd name="T73" fmla="*/ 52 h 55"/>
                  <a:gd name="T74" fmla="*/ 9 w 29"/>
                  <a:gd name="T75" fmla="*/ 5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9" h="55">
                    <a:moveTo>
                      <a:pt x="9" y="54"/>
                    </a:moveTo>
                    <a:lnTo>
                      <a:pt x="11" y="55"/>
                    </a:lnTo>
                    <a:lnTo>
                      <a:pt x="13" y="54"/>
                    </a:lnTo>
                    <a:lnTo>
                      <a:pt x="14" y="52"/>
                    </a:lnTo>
                    <a:lnTo>
                      <a:pt x="17" y="51"/>
                    </a:lnTo>
                    <a:lnTo>
                      <a:pt x="18" y="51"/>
                    </a:lnTo>
                    <a:lnTo>
                      <a:pt x="21" y="51"/>
                    </a:lnTo>
                    <a:lnTo>
                      <a:pt x="21" y="51"/>
                    </a:lnTo>
                    <a:lnTo>
                      <a:pt x="27" y="47"/>
                    </a:lnTo>
                    <a:lnTo>
                      <a:pt x="27" y="47"/>
                    </a:lnTo>
                    <a:lnTo>
                      <a:pt x="28" y="43"/>
                    </a:lnTo>
                    <a:lnTo>
                      <a:pt x="29" y="41"/>
                    </a:lnTo>
                    <a:lnTo>
                      <a:pt x="29" y="39"/>
                    </a:lnTo>
                    <a:lnTo>
                      <a:pt x="29" y="35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8" y="32"/>
                    </a:lnTo>
                    <a:lnTo>
                      <a:pt x="27" y="30"/>
                    </a:lnTo>
                    <a:lnTo>
                      <a:pt x="27" y="30"/>
                    </a:lnTo>
                    <a:lnTo>
                      <a:pt x="24" y="26"/>
                    </a:lnTo>
                    <a:lnTo>
                      <a:pt x="23" y="25"/>
                    </a:lnTo>
                    <a:lnTo>
                      <a:pt x="22" y="22"/>
                    </a:lnTo>
                    <a:lnTo>
                      <a:pt x="20" y="20"/>
                    </a:lnTo>
                    <a:lnTo>
                      <a:pt x="20" y="19"/>
                    </a:lnTo>
                    <a:lnTo>
                      <a:pt x="19" y="16"/>
                    </a:lnTo>
                    <a:lnTo>
                      <a:pt x="18" y="13"/>
                    </a:lnTo>
                    <a:lnTo>
                      <a:pt x="15" y="13"/>
                    </a:lnTo>
                    <a:lnTo>
                      <a:pt x="15" y="11"/>
                    </a:lnTo>
                    <a:lnTo>
                      <a:pt x="14" y="8"/>
                    </a:lnTo>
                    <a:lnTo>
                      <a:pt x="12" y="6"/>
                    </a:lnTo>
                    <a:lnTo>
                      <a:pt x="6" y="3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0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6" y="5"/>
                    </a:lnTo>
                    <a:lnTo>
                      <a:pt x="4" y="4"/>
                    </a:lnTo>
                    <a:lnTo>
                      <a:pt x="4" y="7"/>
                    </a:lnTo>
                    <a:lnTo>
                      <a:pt x="5" y="9"/>
                    </a:lnTo>
                    <a:lnTo>
                      <a:pt x="4" y="9"/>
                    </a:lnTo>
                    <a:lnTo>
                      <a:pt x="3" y="12"/>
                    </a:lnTo>
                    <a:lnTo>
                      <a:pt x="2" y="13"/>
                    </a:lnTo>
                    <a:lnTo>
                      <a:pt x="2" y="15"/>
                    </a:lnTo>
                    <a:lnTo>
                      <a:pt x="3" y="15"/>
                    </a:lnTo>
                    <a:lnTo>
                      <a:pt x="2" y="19"/>
                    </a:lnTo>
                    <a:lnTo>
                      <a:pt x="2" y="20"/>
                    </a:lnTo>
                    <a:lnTo>
                      <a:pt x="1" y="22"/>
                    </a:lnTo>
                    <a:lnTo>
                      <a:pt x="1" y="23"/>
                    </a:lnTo>
                    <a:lnTo>
                      <a:pt x="1" y="25"/>
                    </a:lnTo>
                    <a:lnTo>
                      <a:pt x="1" y="26"/>
                    </a:lnTo>
                    <a:lnTo>
                      <a:pt x="0" y="26"/>
                    </a:lnTo>
                    <a:lnTo>
                      <a:pt x="0" y="23"/>
                    </a:lnTo>
                    <a:lnTo>
                      <a:pt x="0" y="26"/>
                    </a:lnTo>
                    <a:lnTo>
                      <a:pt x="0" y="29"/>
                    </a:lnTo>
                    <a:lnTo>
                      <a:pt x="1" y="31"/>
                    </a:lnTo>
                    <a:lnTo>
                      <a:pt x="1" y="33"/>
                    </a:lnTo>
                    <a:lnTo>
                      <a:pt x="1" y="35"/>
                    </a:lnTo>
                    <a:lnTo>
                      <a:pt x="1" y="38"/>
                    </a:lnTo>
                    <a:lnTo>
                      <a:pt x="2" y="40"/>
                    </a:lnTo>
                    <a:lnTo>
                      <a:pt x="1" y="41"/>
                    </a:lnTo>
                    <a:lnTo>
                      <a:pt x="2" y="43"/>
                    </a:lnTo>
                    <a:lnTo>
                      <a:pt x="3" y="46"/>
                    </a:lnTo>
                    <a:lnTo>
                      <a:pt x="3" y="47"/>
                    </a:lnTo>
                    <a:lnTo>
                      <a:pt x="3" y="48"/>
                    </a:lnTo>
                    <a:lnTo>
                      <a:pt x="4" y="50"/>
                    </a:lnTo>
                    <a:lnTo>
                      <a:pt x="5" y="52"/>
                    </a:lnTo>
                    <a:lnTo>
                      <a:pt x="9" y="54"/>
                    </a:lnTo>
                    <a:lnTo>
                      <a:pt x="9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9" name="Freeform 205">
                <a:extLst>
                  <a:ext uri="{FF2B5EF4-FFF2-40B4-BE49-F238E27FC236}">
                    <a16:creationId xmlns:a16="http://schemas.microsoft.com/office/drawing/2014/main" id="{E8F804E6-8A12-4E24-ABEA-07499C84A6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8" y="2132"/>
                <a:ext cx="10" cy="23"/>
              </a:xfrm>
              <a:custGeom>
                <a:avLst/>
                <a:gdLst>
                  <a:gd name="T0" fmla="*/ 4 w 10"/>
                  <a:gd name="T1" fmla="*/ 3 h 23"/>
                  <a:gd name="T2" fmla="*/ 5 w 10"/>
                  <a:gd name="T3" fmla="*/ 3 h 23"/>
                  <a:gd name="T4" fmla="*/ 6 w 10"/>
                  <a:gd name="T5" fmla="*/ 3 h 23"/>
                  <a:gd name="T6" fmla="*/ 8 w 10"/>
                  <a:gd name="T7" fmla="*/ 3 h 23"/>
                  <a:gd name="T8" fmla="*/ 9 w 10"/>
                  <a:gd name="T9" fmla="*/ 6 h 23"/>
                  <a:gd name="T10" fmla="*/ 9 w 10"/>
                  <a:gd name="T11" fmla="*/ 8 h 23"/>
                  <a:gd name="T12" fmla="*/ 9 w 10"/>
                  <a:gd name="T13" fmla="*/ 7 h 23"/>
                  <a:gd name="T14" fmla="*/ 9 w 10"/>
                  <a:gd name="T15" fmla="*/ 6 h 23"/>
                  <a:gd name="T16" fmla="*/ 9 w 10"/>
                  <a:gd name="T17" fmla="*/ 4 h 23"/>
                  <a:gd name="T18" fmla="*/ 10 w 10"/>
                  <a:gd name="T19" fmla="*/ 4 h 23"/>
                  <a:gd name="T20" fmla="*/ 10 w 10"/>
                  <a:gd name="T21" fmla="*/ 7 h 23"/>
                  <a:gd name="T22" fmla="*/ 10 w 10"/>
                  <a:gd name="T23" fmla="*/ 12 h 23"/>
                  <a:gd name="T24" fmla="*/ 9 w 10"/>
                  <a:gd name="T25" fmla="*/ 14 h 23"/>
                  <a:gd name="T26" fmla="*/ 8 w 10"/>
                  <a:gd name="T27" fmla="*/ 16 h 23"/>
                  <a:gd name="T28" fmla="*/ 6 w 10"/>
                  <a:gd name="T29" fmla="*/ 17 h 23"/>
                  <a:gd name="T30" fmla="*/ 6 w 10"/>
                  <a:gd name="T31" fmla="*/ 16 h 23"/>
                  <a:gd name="T32" fmla="*/ 6 w 10"/>
                  <a:gd name="T33" fmla="*/ 19 h 23"/>
                  <a:gd name="T34" fmla="*/ 8 w 10"/>
                  <a:gd name="T35" fmla="*/ 22 h 23"/>
                  <a:gd name="T36" fmla="*/ 6 w 10"/>
                  <a:gd name="T37" fmla="*/ 20 h 23"/>
                  <a:gd name="T38" fmla="*/ 5 w 10"/>
                  <a:gd name="T39" fmla="*/ 21 h 23"/>
                  <a:gd name="T40" fmla="*/ 4 w 10"/>
                  <a:gd name="T41" fmla="*/ 21 h 23"/>
                  <a:gd name="T42" fmla="*/ 4 w 10"/>
                  <a:gd name="T43" fmla="*/ 22 h 23"/>
                  <a:gd name="T44" fmla="*/ 2 w 10"/>
                  <a:gd name="T45" fmla="*/ 23 h 23"/>
                  <a:gd name="T46" fmla="*/ 1 w 10"/>
                  <a:gd name="T47" fmla="*/ 21 h 23"/>
                  <a:gd name="T48" fmla="*/ 1 w 10"/>
                  <a:gd name="T49" fmla="*/ 20 h 23"/>
                  <a:gd name="T50" fmla="*/ 1 w 10"/>
                  <a:gd name="T51" fmla="*/ 19 h 23"/>
                  <a:gd name="T52" fmla="*/ 0 w 10"/>
                  <a:gd name="T53" fmla="*/ 19 h 23"/>
                  <a:gd name="T54" fmla="*/ 0 w 10"/>
                  <a:gd name="T55" fmla="*/ 17 h 23"/>
                  <a:gd name="T56" fmla="*/ 1 w 10"/>
                  <a:gd name="T57" fmla="*/ 19 h 23"/>
                  <a:gd name="T58" fmla="*/ 2 w 10"/>
                  <a:gd name="T59" fmla="*/ 19 h 23"/>
                  <a:gd name="T60" fmla="*/ 3 w 10"/>
                  <a:gd name="T61" fmla="*/ 20 h 23"/>
                  <a:gd name="T62" fmla="*/ 3 w 10"/>
                  <a:gd name="T63" fmla="*/ 17 h 23"/>
                  <a:gd name="T64" fmla="*/ 2 w 10"/>
                  <a:gd name="T65" fmla="*/ 16 h 23"/>
                  <a:gd name="T66" fmla="*/ 1 w 10"/>
                  <a:gd name="T67" fmla="*/ 17 h 23"/>
                  <a:gd name="T68" fmla="*/ 1 w 10"/>
                  <a:gd name="T69" fmla="*/ 15 h 23"/>
                  <a:gd name="T70" fmla="*/ 2 w 10"/>
                  <a:gd name="T71" fmla="*/ 14 h 23"/>
                  <a:gd name="T72" fmla="*/ 2 w 10"/>
                  <a:gd name="T73" fmla="*/ 13 h 23"/>
                  <a:gd name="T74" fmla="*/ 3 w 10"/>
                  <a:gd name="T75" fmla="*/ 13 h 23"/>
                  <a:gd name="T76" fmla="*/ 3 w 10"/>
                  <a:gd name="T77" fmla="*/ 12 h 23"/>
                  <a:gd name="T78" fmla="*/ 2 w 10"/>
                  <a:gd name="T79" fmla="*/ 13 h 23"/>
                  <a:gd name="T80" fmla="*/ 1 w 10"/>
                  <a:gd name="T81" fmla="*/ 13 h 23"/>
                  <a:gd name="T82" fmla="*/ 0 w 10"/>
                  <a:gd name="T83" fmla="*/ 12 h 23"/>
                  <a:gd name="T84" fmla="*/ 1 w 10"/>
                  <a:gd name="T85" fmla="*/ 12 h 23"/>
                  <a:gd name="T86" fmla="*/ 2 w 10"/>
                  <a:gd name="T87" fmla="*/ 11 h 23"/>
                  <a:gd name="T88" fmla="*/ 1 w 10"/>
                  <a:gd name="T89" fmla="*/ 10 h 23"/>
                  <a:gd name="T90" fmla="*/ 1 w 10"/>
                  <a:gd name="T91" fmla="*/ 8 h 23"/>
                  <a:gd name="T92" fmla="*/ 1 w 10"/>
                  <a:gd name="T93" fmla="*/ 7 h 23"/>
                  <a:gd name="T94" fmla="*/ 1 w 10"/>
                  <a:gd name="T95" fmla="*/ 6 h 23"/>
                  <a:gd name="T96" fmla="*/ 1 w 10"/>
                  <a:gd name="T97" fmla="*/ 5 h 23"/>
                  <a:gd name="T98" fmla="*/ 2 w 10"/>
                  <a:gd name="T99" fmla="*/ 4 h 23"/>
                  <a:gd name="T100" fmla="*/ 3 w 10"/>
                  <a:gd name="T101" fmla="*/ 3 h 23"/>
                  <a:gd name="T102" fmla="*/ 4 w 10"/>
                  <a:gd name="T103" fmla="*/ 3 h 23"/>
                  <a:gd name="T104" fmla="*/ 3 w 10"/>
                  <a:gd name="T105" fmla="*/ 2 h 23"/>
                  <a:gd name="T106" fmla="*/ 3 w 10"/>
                  <a:gd name="T10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" h="23">
                    <a:moveTo>
                      <a:pt x="4" y="0"/>
                    </a:moveTo>
                    <a:lnTo>
                      <a:pt x="4" y="0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9" y="3"/>
                    </a:lnTo>
                    <a:lnTo>
                      <a:pt x="9" y="6"/>
                    </a:lnTo>
                    <a:lnTo>
                      <a:pt x="8" y="6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9" y="8"/>
                    </a:lnTo>
                    <a:lnTo>
                      <a:pt x="9" y="8"/>
                    </a:lnTo>
                    <a:lnTo>
                      <a:pt x="9" y="8"/>
                    </a:lnTo>
                    <a:lnTo>
                      <a:pt x="9" y="8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5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7"/>
                    </a:lnTo>
                    <a:lnTo>
                      <a:pt x="10" y="7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5"/>
                    </a:lnTo>
                    <a:lnTo>
                      <a:pt x="8" y="15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7"/>
                    </a:lnTo>
                    <a:lnTo>
                      <a:pt x="8" y="17"/>
                    </a:lnTo>
                    <a:lnTo>
                      <a:pt x="6" y="17"/>
                    </a:lnTo>
                    <a:lnTo>
                      <a:pt x="6" y="17"/>
                    </a:lnTo>
                    <a:lnTo>
                      <a:pt x="6" y="17"/>
                    </a:lnTo>
                    <a:lnTo>
                      <a:pt x="6" y="17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7"/>
                    </a:lnTo>
                    <a:lnTo>
                      <a:pt x="6" y="17"/>
                    </a:lnTo>
                    <a:lnTo>
                      <a:pt x="6" y="19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1"/>
                    </a:lnTo>
                    <a:lnTo>
                      <a:pt x="8" y="22"/>
                    </a:lnTo>
                    <a:lnTo>
                      <a:pt x="6" y="22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6" y="20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5" y="20"/>
                    </a:lnTo>
                    <a:lnTo>
                      <a:pt x="4" y="20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1" y="23"/>
                    </a:lnTo>
                    <a:lnTo>
                      <a:pt x="1" y="22"/>
                    </a:lnTo>
                    <a:lnTo>
                      <a:pt x="1" y="21"/>
                    </a:lnTo>
                    <a:lnTo>
                      <a:pt x="1" y="21"/>
                    </a:lnTo>
                    <a:lnTo>
                      <a:pt x="1" y="21"/>
                    </a:lnTo>
                    <a:lnTo>
                      <a:pt x="1" y="20"/>
                    </a:lnTo>
                    <a:lnTo>
                      <a:pt x="1" y="20"/>
                    </a:lnTo>
                    <a:lnTo>
                      <a:pt x="1" y="20"/>
                    </a:lnTo>
                    <a:lnTo>
                      <a:pt x="1" y="20"/>
                    </a:lnTo>
                    <a:lnTo>
                      <a:pt x="1" y="19"/>
                    </a:lnTo>
                    <a:lnTo>
                      <a:pt x="1" y="19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19"/>
                    </a:lnTo>
                    <a:lnTo>
                      <a:pt x="1" y="19"/>
                    </a:lnTo>
                    <a:lnTo>
                      <a:pt x="2" y="19"/>
                    </a:lnTo>
                    <a:lnTo>
                      <a:pt x="2" y="19"/>
                    </a:lnTo>
                    <a:lnTo>
                      <a:pt x="2" y="19"/>
                    </a:lnTo>
                    <a:lnTo>
                      <a:pt x="2" y="19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3" y="20"/>
                    </a:lnTo>
                    <a:lnTo>
                      <a:pt x="3" y="20"/>
                    </a:lnTo>
                    <a:lnTo>
                      <a:pt x="3" y="19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3" y="16"/>
                    </a:lnTo>
                    <a:lnTo>
                      <a:pt x="3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7"/>
                    </a:lnTo>
                    <a:lnTo>
                      <a:pt x="1" y="17"/>
                    </a:lnTo>
                    <a:lnTo>
                      <a:pt x="1" y="16"/>
                    </a:lnTo>
                    <a:lnTo>
                      <a:pt x="1" y="16"/>
                    </a:lnTo>
                    <a:lnTo>
                      <a:pt x="1" y="15"/>
                    </a:lnTo>
                    <a:lnTo>
                      <a:pt x="1" y="15"/>
                    </a:lnTo>
                    <a:lnTo>
                      <a:pt x="1" y="15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3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1" y="10"/>
                    </a:lnTo>
                    <a:lnTo>
                      <a:pt x="1" y="10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1" y="7"/>
                    </a:lnTo>
                    <a:lnTo>
                      <a:pt x="1" y="7"/>
                    </a:lnTo>
                    <a:lnTo>
                      <a:pt x="1" y="7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2" y="5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</p:grpSp>
        <p:sp>
          <p:nvSpPr>
            <p:cNvPr id="7" name="Freeform 207">
              <a:extLst>
                <a:ext uri="{FF2B5EF4-FFF2-40B4-BE49-F238E27FC236}">
                  <a16:creationId xmlns:a16="http://schemas.microsoft.com/office/drawing/2014/main" id="{09FB67DB-EA93-4577-A443-38479F2DB9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1275" y="2009775"/>
              <a:ext cx="671512" cy="342900"/>
            </a:xfrm>
            <a:custGeom>
              <a:avLst/>
              <a:gdLst>
                <a:gd name="T0" fmla="*/ 381 w 423"/>
                <a:gd name="T1" fmla="*/ 10 h 216"/>
                <a:gd name="T2" fmla="*/ 322 w 423"/>
                <a:gd name="T3" fmla="*/ 16 h 216"/>
                <a:gd name="T4" fmla="*/ 317 w 423"/>
                <a:gd name="T5" fmla="*/ 5 h 216"/>
                <a:gd name="T6" fmla="*/ 267 w 423"/>
                <a:gd name="T7" fmla="*/ 1 h 216"/>
                <a:gd name="T8" fmla="*/ 230 w 423"/>
                <a:gd name="T9" fmla="*/ 2 h 216"/>
                <a:gd name="T10" fmla="*/ 215 w 423"/>
                <a:gd name="T11" fmla="*/ 22 h 216"/>
                <a:gd name="T12" fmla="*/ 162 w 423"/>
                <a:gd name="T13" fmla="*/ 6 h 216"/>
                <a:gd name="T14" fmla="*/ 151 w 423"/>
                <a:gd name="T15" fmla="*/ 10 h 216"/>
                <a:gd name="T16" fmla="*/ 133 w 423"/>
                <a:gd name="T17" fmla="*/ 22 h 216"/>
                <a:gd name="T18" fmla="*/ 164 w 423"/>
                <a:gd name="T19" fmla="*/ 40 h 216"/>
                <a:gd name="T20" fmla="*/ 127 w 423"/>
                <a:gd name="T21" fmla="*/ 35 h 216"/>
                <a:gd name="T22" fmla="*/ 87 w 423"/>
                <a:gd name="T23" fmla="*/ 28 h 216"/>
                <a:gd name="T24" fmla="*/ 86 w 423"/>
                <a:gd name="T25" fmla="*/ 40 h 216"/>
                <a:gd name="T26" fmla="*/ 37 w 423"/>
                <a:gd name="T27" fmla="*/ 40 h 216"/>
                <a:gd name="T28" fmla="*/ 15 w 423"/>
                <a:gd name="T29" fmla="*/ 50 h 216"/>
                <a:gd name="T30" fmla="*/ 42 w 423"/>
                <a:gd name="T31" fmla="*/ 52 h 216"/>
                <a:gd name="T32" fmla="*/ 35 w 423"/>
                <a:gd name="T33" fmla="*/ 62 h 216"/>
                <a:gd name="T34" fmla="*/ 60 w 423"/>
                <a:gd name="T35" fmla="*/ 68 h 216"/>
                <a:gd name="T36" fmla="*/ 66 w 423"/>
                <a:gd name="T37" fmla="*/ 70 h 216"/>
                <a:gd name="T38" fmla="*/ 73 w 423"/>
                <a:gd name="T39" fmla="*/ 75 h 216"/>
                <a:gd name="T40" fmla="*/ 121 w 423"/>
                <a:gd name="T41" fmla="*/ 67 h 216"/>
                <a:gd name="T42" fmla="*/ 85 w 423"/>
                <a:gd name="T43" fmla="*/ 84 h 216"/>
                <a:gd name="T44" fmla="*/ 133 w 423"/>
                <a:gd name="T45" fmla="*/ 77 h 216"/>
                <a:gd name="T46" fmla="*/ 156 w 423"/>
                <a:gd name="T47" fmla="*/ 79 h 216"/>
                <a:gd name="T48" fmla="*/ 202 w 423"/>
                <a:gd name="T49" fmla="*/ 57 h 216"/>
                <a:gd name="T50" fmla="*/ 211 w 423"/>
                <a:gd name="T51" fmla="*/ 75 h 216"/>
                <a:gd name="T52" fmla="*/ 182 w 423"/>
                <a:gd name="T53" fmla="*/ 84 h 216"/>
                <a:gd name="T54" fmla="*/ 129 w 423"/>
                <a:gd name="T55" fmla="*/ 99 h 216"/>
                <a:gd name="T56" fmla="*/ 150 w 423"/>
                <a:gd name="T57" fmla="*/ 115 h 216"/>
                <a:gd name="T58" fmla="*/ 88 w 423"/>
                <a:gd name="T59" fmla="*/ 93 h 216"/>
                <a:gd name="T60" fmla="*/ 83 w 423"/>
                <a:gd name="T61" fmla="*/ 111 h 216"/>
                <a:gd name="T62" fmla="*/ 105 w 423"/>
                <a:gd name="T63" fmla="*/ 134 h 216"/>
                <a:gd name="T64" fmla="*/ 127 w 423"/>
                <a:gd name="T65" fmla="*/ 142 h 216"/>
                <a:gd name="T66" fmla="*/ 78 w 423"/>
                <a:gd name="T67" fmla="*/ 138 h 216"/>
                <a:gd name="T68" fmla="*/ 79 w 423"/>
                <a:gd name="T69" fmla="*/ 161 h 216"/>
                <a:gd name="T70" fmla="*/ 99 w 423"/>
                <a:gd name="T71" fmla="*/ 161 h 216"/>
                <a:gd name="T72" fmla="*/ 95 w 423"/>
                <a:gd name="T73" fmla="*/ 176 h 216"/>
                <a:gd name="T74" fmla="*/ 58 w 423"/>
                <a:gd name="T75" fmla="*/ 167 h 216"/>
                <a:gd name="T76" fmla="*/ 58 w 423"/>
                <a:gd name="T77" fmla="*/ 188 h 216"/>
                <a:gd name="T78" fmla="*/ 48 w 423"/>
                <a:gd name="T79" fmla="*/ 204 h 216"/>
                <a:gd name="T80" fmla="*/ 83 w 423"/>
                <a:gd name="T81" fmla="*/ 211 h 216"/>
                <a:gd name="T82" fmla="*/ 119 w 423"/>
                <a:gd name="T83" fmla="*/ 209 h 216"/>
                <a:gd name="T84" fmla="*/ 144 w 423"/>
                <a:gd name="T85" fmla="*/ 207 h 216"/>
                <a:gd name="T86" fmla="*/ 190 w 423"/>
                <a:gd name="T87" fmla="*/ 203 h 216"/>
                <a:gd name="T88" fmla="*/ 161 w 423"/>
                <a:gd name="T89" fmla="*/ 186 h 216"/>
                <a:gd name="T90" fmla="*/ 152 w 423"/>
                <a:gd name="T91" fmla="*/ 183 h 216"/>
                <a:gd name="T92" fmla="*/ 190 w 423"/>
                <a:gd name="T93" fmla="*/ 164 h 216"/>
                <a:gd name="T94" fmla="*/ 224 w 423"/>
                <a:gd name="T95" fmla="*/ 156 h 216"/>
                <a:gd name="T96" fmla="*/ 229 w 423"/>
                <a:gd name="T97" fmla="*/ 136 h 216"/>
                <a:gd name="T98" fmla="*/ 194 w 423"/>
                <a:gd name="T99" fmla="*/ 132 h 216"/>
                <a:gd name="T100" fmla="*/ 199 w 423"/>
                <a:gd name="T101" fmla="*/ 128 h 216"/>
                <a:gd name="T102" fmla="*/ 239 w 423"/>
                <a:gd name="T103" fmla="*/ 132 h 216"/>
                <a:gd name="T104" fmla="*/ 203 w 423"/>
                <a:gd name="T105" fmla="*/ 121 h 216"/>
                <a:gd name="T106" fmla="*/ 235 w 423"/>
                <a:gd name="T107" fmla="*/ 119 h 216"/>
                <a:gd name="T108" fmla="*/ 252 w 423"/>
                <a:gd name="T109" fmla="*/ 108 h 216"/>
                <a:gd name="T110" fmla="*/ 292 w 423"/>
                <a:gd name="T111" fmla="*/ 100 h 216"/>
                <a:gd name="T112" fmla="*/ 299 w 423"/>
                <a:gd name="T113" fmla="*/ 93 h 216"/>
                <a:gd name="T114" fmla="*/ 339 w 423"/>
                <a:gd name="T115" fmla="*/ 72 h 216"/>
                <a:gd name="T116" fmla="*/ 350 w 423"/>
                <a:gd name="T117" fmla="*/ 57 h 216"/>
                <a:gd name="T118" fmla="*/ 305 w 423"/>
                <a:gd name="T119" fmla="*/ 64 h 216"/>
                <a:gd name="T120" fmla="*/ 323 w 423"/>
                <a:gd name="T121" fmla="*/ 53 h 216"/>
                <a:gd name="T122" fmla="*/ 360 w 423"/>
                <a:gd name="T123" fmla="*/ 49 h 216"/>
                <a:gd name="T124" fmla="*/ 408 w 423"/>
                <a:gd name="T125" fmla="*/ 3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3" h="216">
                  <a:moveTo>
                    <a:pt x="421" y="25"/>
                  </a:moveTo>
                  <a:lnTo>
                    <a:pt x="419" y="23"/>
                  </a:lnTo>
                  <a:lnTo>
                    <a:pt x="416" y="22"/>
                  </a:lnTo>
                  <a:lnTo>
                    <a:pt x="415" y="22"/>
                  </a:lnTo>
                  <a:lnTo>
                    <a:pt x="411" y="22"/>
                  </a:lnTo>
                  <a:lnTo>
                    <a:pt x="409" y="22"/>
                  </a:lnTo>
                  <a:lnTo>
                    <a:pt x="406" y="22"/>
                  </a:lnTo>
                  <a:lnTo>
                    <a:pt x="402" y="21"/>
                  </a:lnTo>
                  <a:lnTo>
                    <a:pt x="400" y="21"/>
                  </a:lnTo>
                  <a:lnTo>
                    <a:pt x="397" y="22"/>
                  </a:lnTo>
                  <a:lnTo>
                    <a:pt x="394" y="23"/>
                  </a:lnTo>
                  <a:lnTo>
                    <a:pt x="391" y="23"/>
                  </a:lnTo>
                  <a:lnTo>
                    <a:pt x="394" y="23"/>
                  </a:lnTo>
                  <a:lnTo>
                    <a:pt x="395" y="19"/>
                  </a:lnTo>
                  <a:lnTo>
                    <a:pt x="392" y="18"/>
                  </a:lnTo>
                  <a:lnTo>
                    <a:pt x="390" y="15"/>
                  </a:lnTo>
                  <a:lnTo>
                    <a:pt x="386" y="14"/>
                  </a:lnTo>
                  <a:lnTo>
                    <a:pt x="390" y="13"/>
                  </a:lnTo>
                  <a:lnTo>
                    <a:pt x="390" y="10"/>
                  </a:lnTo>
                  <a:lnTo>
                    <a:pt x="386" y="9"/>
                  </a:lnTo>
                  <a:lnTo>
                    <a:pt x="383" y="9"/>
                  </a:lnTo>
                  <a:lnTo>
                    <a:pt x="381" y="10"/>
                  </a:lnTo>
                  <a:lnTo>
                    <a:pt x="377" y="12"/>
                  </a:lnTo>
                  <a:lnTo>
                    <a:pt x="375" y="12"/>
                  </a:lnTo>
                  <a:lnTo>
                    <a:pt x="372" y="10"/>
                  </a:lnTo>
                  <a:lnTo>
                    <a:pt x="369" y="9"/>
                  </a:lnTo>
                  <a:lnTo>
                    <a:pt x="373" y="8"/>
                  </a:lnTo>
                  <a:lnTo>
                    <a:pt x="369" y="7"/>
                  </a:lnTo>
                  <a:lnTo>
                    <a:pt x="366" y="8"/>
                  </a:lnTo>
                  <a:lnTo>
                    <a:pt x="364" y="10"/>
                  </a:lnTo>
                  <a:lnTo>
                    <a:pt x="361" y="12"/>
                  </a:lnTo>
                  <a:lnTo>
                    <a:pt x="358" y="9"/>
                  </a:lnTo>
                  <a:lnTo>
                    <a:pt x="356" y="10"/>
                  </a:lnTo>
                  <a:lnTo>
                    <a:pt x="352" y="10"/>
                  </a:lnTo>
                  <a:lnTo>
                    <a:pt x="350" y="12"/>
                  </a:lnTo>
                  <a:lnTo>
                    <a:pt x="347" y="13"/>
                  </a:lnTo>
                  <a:lnTo>
                    <a:pt x="344" y="14"/>
                  </a:lnTo>
                  <a:lnTo>
                    <a:pt x="342" y="14"/>
                  </a:lnTo>
                  <a:lnTo>
                    <a:pt x="339" y="15"/>
                  </a:lnTo>
                  <a:lnTo>
                    <a:pt x="335" y="16"/>
                  </a:lnTo>
                  <a:lnTo>
                    <a:pt x="333" y="16"/>
                  </a:lnTo>
                  <a:lnTo>
                    <a:pt x="327" y="16"/>
                  </a:lnTo>
                  <a:lnTo>
                    <a:pt x="324" y="16"/>
                  </a:lnTo>
                  <a:lnTo>
                    <a:pt x="322" y="16"/>
                  </a:lnTo>
                  <a:lnTo>
                    <a:pt x="318" y="17"/>
                  </a:lnTo>
                  <a:lnTo>
                    <a:pt x="321" y="15"/>
                  </a:lnTo>
                  <a:lnTo>
                    <a:pt x="324" y="15"/>
                  </a:lnTo>
                  <a:lnTo>
                    <a:pt x="326" y="14"/>
                  </a:lnTo>
                  <a:lnTo>
                    <a:pt x="330" y="14"/>
                  </a:lnTo>
                  <a:lnTo>
                    <a:pt x="333" y="13"/>
                  </a:lnTo>
                  <a:lnTo>
                    <a:pt x="335" y="13"/>
                  </a:lnTo>
                  <a:lnTo>
                    <a:pt x="339" y="12"/>
                  </a:lnTo>
                  <a:lnTo>
                    <a:pt x="341" y="12"/>
                  </a:lnTo>
                  <a:lnTo>
                    <a:pt x="348" y="9"/>
                  </a:lnTo>
                  <a:lnTo>
                    <a:pt x="349" y="7"/>
                  </a:lnTo>
                  <a:lnTo>
                    <a:pt x="347" y="6"/>
                  </a:lnTo>
                  <a:lnTo>
                    <a:pt x="343" y="6"/>
                  </a:lnTo>
                  <a:lnTo>
                    <a:pt x="341" y="6"/>
                  </a:lnTo>
                  <a:lnTo>
                    <a:pt x="338" y="6"/>
                  </a:lnTo>
                  <a:lnTo>
                    <a:pt x="335" y="6"/>
                  </a:lnTo>
                  <a:lnTo>
                    <a:pt x="332" y="6"/>
                  </a:lnTo>
                  <a:lnTo>
                    <a:pt x="329" y="6"/>
                  </a:lnTo>
                  <a:lnTo>
                    <a:pt x="326" y="7"/>
                  </a:lnTo>
                  <a:lnTo>
                    <a:pt x="323" y="5"/>
                  </a:lnTo>
                  <a:lnTo>
                    <a:pt x="321" y="4"/>
                  </a:lnTo>
                  <a:lnTo>
                    <a:pt x="317" y="5"/>
                  </a:lnTo>
                  <a:lnTo>
                    <a:pt x="315" y="5"/>
                  </a:lnTo>
                  <a:lnTo>
                    <a:pt x="312" y="4"/>
                  </a:lnTo>
                  <a:lnTo>
                    <a:pt x="306" y="5"/>
                  </a:lnTo>
                  <a:lnTo>
                    <a:pt x="303" y="2"/>
                  </a:lnTo>
                  <a:lnTo>
                    <a:pt x="299" y="0"/>
                  </a:lnTo>
                  <a:lnTo>
                    <a:pt x="293" y="0"/>
                  </a:lnTo>
                  <a:lnTo>
                    <a:pt x="291" y="1"/>
                  </a:lnTo>
                  <a:lnTo>
                    <a:pt x="288" y="1"/>
                  </a:lnTo>
                  <a:lnTo>
                    <a:pt x="284" y="1"/>
                  </a:lnTo>
                  <a:lnTo>
                    <a:pt x="282" y="2"/>
                  </a:lnTo>
                  <a:lnTo>
                    <a:pt x="279" y="4"/>
                  </a:lnTo>
                  <a:lnTo>
                    <a:pt x="282" y="6"/>
                  </a:lnTo>
                  <a:lnTo>
                    <a:pt x="286" y="7"/>
                  </a:lnTo>
                  <a:lnTo>
                    <a:pt x="288" y="8"/>
                  </a:lnTo>
                  <a:lnTo>
                    <a:pt x="284" y="8"/>
                  </a:lnTo>
                  <a:lnTo>
                    <a:pt x="282" y="7"/>
                  </a:lnTo>
                  <a:lnTo>
                    <a:pt x="279" y="7"/>
                  </a:lnTo>
                  <a:lnTo>
                    <a:pt x="275" y="5"/>
                  </a:lnTo>
                  <a:lnTo>
                    <a:pt x="277" y="1"/>
                  </a:lnTo>
                  <a:lnTo>
                    <a:pt x="273" y="1"/>
                  </a:lnTo>
                  <a:lnTo>
                    <a:pt x="270" y="1"/>
                  </a:lnTo>
                  <a:lnTo>
                    <a:pt x="267" y="1"/>
                  </a:lnTo>
                  <a:lnTo>
                    <a:pt x="264" y="1"/>
                  </a:lnTo>
                  <a:lnTo>
                    <a:pt x="262" y="1"/>
                  </a:lnTo>
                  <a:lnTo>
                    <a:pt x="258" y="2"/>
                  </a:lnTo>
                  <a:lnTo>
                    <a:pt x="255" y="4"/>
                  </a:lnTo>
                  <a:lnTo>
                    <a:pt x="253" y="5"/>
                  </a:lnTo>
                  <a:lnTo>
                    <a:pt x="249" y="6"/>
                  </a:lnTo>
                  <a:lnTo>
                    <a:pt x="253" y="8"/>
                  </a:lnTo>
                  <a:lnTo>
                    <a:pt x="255" y="10"/>
                  </a:lnTo>
                  <a:lnTo>
                    <a:pt x="258" y="12"/>
                  </a:lnTo>
                  <a:lnTo>
                    <a:pt x="264" y="14"/>
                  </a:lnTo>
                  <a:lnTo>
                    <a:pt x="261" y="14"/>
                  </a:lnTo>
                  <a:lnTo>
                    <a:pt x="258" y="13"/>
                  </a:lnTo>
                  <a:lnTo>
                    <a:pt x="255" y="13"/>
                  </a:lnTo>
                  <a:lnTo>
                    <a:pt x="253" y="12"/>
                  </a:lnTo>
                  <a:lnTo>
                    <a:pt x="249" y="10"/>
                  </a:lnTo>
                  <a:lnTo>
                    <a:pt x="247" y="9"/>
                  </a:lnTo>
                  <a:lnTo>
                    <a:pt x="245" y="7"/>
                  </a:lnTo>
                  <a:lnTo>
                    <a:pt x="241" y="5"/>
                  </a:lnTo>
                  <a:lnTo>
                    <a:pt x="239" y="4"/>
                  </a:lnTo>
                  <a:lnTo>
                    <a:pt x="236" y="4"/>
                  </a:lnTo>
                  <a:lnTo>
                    <a:pt x="232" y="2"/>
                  </a:lnTo>
                  <a:lnTo>
                    <a:pt x="230" y="2"/>
                  </a:lnTo>
                  <a:lnTo>
                    <a:pt x="228" y="4"/>
                  </a:lnTo>
                  <a:lnTo>
                    <a:pt x="226" y="4"/>
                  </a:lnTo>
                  <a:lnTo>
                    <a:pt x="215" y="2"/>
                  </a:lnTo>
                  <a:lnTo>
                    <a:pt x="213" y="2"/>
                  </a:lnTo>
                  <a:lnTo>
                    <a:pt x="210" y="4"/>
                  </a:lnTo>
                  <a:lnTo>
                    <a:pt x="206" y="4"/>
                  </a:lnTo>
                  <a:lnTo>
                    <a:pt x="201" y="4"/>
                  </a:lnTo>
                  <a:lnTo>
                    <a:pt x="197" y="6"/>
                  </a:lnTo>
                  <a:lnTo>
                    <a:pt x="201" y="7"/>
                  </a:lnTo>
                  <a:lnTo>
                    <a:pt x="203" y="7"/>
                  </a:lnTo>
                  <a:lnTo>
                    <a:pt x="206" y="9"/>
                  </a:lnTo>
                  <a:lnTo>
                    <a:pt x="210" y="12"/>
                  </a:lnTo>
                  <a:lnTo>
                    <a:pt x="212" y="12"/>
                  </a:lnTo>
                  <a:lnTo>
                    <a:pt x="215" y="12"/>
                  </a:lnTo>
                  <a:lnTo>
                    <a:pt x="212" y="14"/>
                  </a:lnTo>
                  <a:lnTo>
                    <a:pt x="215" y="15"/>
                  </a:lnTo>
                  <a:lnTo>
                    <a:pt x="218" y="16"/>
                  </a:lnTo>
                  <a:lnTo>
                    <a:pt x="221" y="17"/>
                  </a:lnTo>
                  <a:lnTo>
                    <a:pt x="223" y="18"/>
                  </a:lnTo>
                  <a:lnTo>
                    <a:pt x="221" y="18"/>
                  </a:lnTo>
                  <a:lnTo>
                    <a:pt x="218" y="21"/>
                  </a:lnTo>
                  <a:lnTo>
                    <a:pt x="215" y="22"/>
                  </a:lnTo>
                  <a:lnTo>
                    <a:pt x="212" y="23"/>
                  </a:lnTo>
                  <a:lnTo>
                    <a:pt x="214" y="21"/>
                  </a:lnTo>
                  <a:lnTo>
                    <a:pt x="216" y="18"/>
                  </a:lnTo>
                  <a:lnTo>
                    <a:pt x="213" y="17"/>
                  </a:lnTo>
                  <a:lnTo>
                    <a:pt x="211" y="16"/>
                  </a:lnTo>
                  <a:lnTo>
                    <a:pt x="207" y="16"/>
                  </a:lnTo>
                  <a:lnTo>
                    <a:pt x="205" y="14"/>
                  </a:lnTo>
                  <a:lnTo>
                    <a:pt x="202" y="12"/>
                  </a:lnTo>
                  <a:lnTo>
                    <a:pt x="199" y="9"/>
                  </a:lnTo>
                  <a:lnTo>
                    <a:pt x="196" y="9"/>
                  </a:lnTo>
                  <a:lnTo>
                    <a:pt x="194" y="8"/>
                  </a:lnTo>
                  <a:lnTo>
                    <a:pt x="190" y="7"/>
                  </a:lnTo>
                  <a:lnTo>
                    <a:pt x="187" y="9"/>
                  </a:lnTo>
                  <a:lnTo>
                    <a:pt x="185" y="8"/>
                  </a:lnTo>
                  <a:lnTo>
                    <a:pt x="182" y="6"/>
                  </a:lnTo>
                  <a:lnTo>
                    <a:pt x="179" y="7"/>
                  </a:lnTo>
                  <a:lnTo>
                    <a:pt x="176" y="8"/>
                  </a:lnTo>
                  <a:lnTo>
                    <a:pt x="175" y="6"/>
                  </a:lnTo>
                  <a:lnTo>
                    <a:pt x="171" y="5"/>
                  </a:lnTo>
                  <a:lnTo>
                    <a:pt x="169" y="6"/>
                  </a:lnTo>
                  <a:lnTo>
                    <a:pt x="165" y="6"/>
                  </a:lnTo>
                  <a:lnTo>
                    <a:pt x="162" y="6"/>
                  </a:lnTo>
                  <a:lnTo>
                    <a:pt x="159" y="7"/>
                  </a:lnTo>
                  <a:lnTo>
                    <a:pt x="161" y="9"/>
                  </a:lnTo>
                  <a:lnTo>
                    <a:pt x="164" y="9"/>
                  </a:lnTo>
                  <a:lnTo>
                    <a:pt x="168" y="10"/>
                  </a:lnTo>
                  <a:lnTo>
                    <a:pt x="164" y="10"/>
                  </a:lnTo>
                  <a:lnTo>
                    <a:pt x="168" y="14"/>
                  </a:lnTo>
                  <a:lnTo>
                    <a:pt x="170" y="14"/>
                  </a:lnTo>
                  <a:lnTo>
                    <a:pt x="173" y="15"/>
                  </a:lnTo>
                  <a:lnTo>
                    <a:pt x="177" y="15"/>
                  </a:lnTo>
                  <a:lnTo>
                    <a:pt x="179" y="15"/>
                  </a:lnTo>
                  <a:lnTo>
                    <a:pt x="182" y="15"/>
                  </a:lnTo>
                  <a:lnTo>
                    <a:pt x="180" y="16"/>
                  </a:lnTo>
                  <a:lnTo>
                    <a:pt x="177" y="15"/>
                  </a:lnTo>
                  <a:lnTo>
                    <a:pt x="175" y="16"/>
                  </a:lnTo>
                  <a:lnTo>
                    <a:pt x="171" y="15"/>
                  </a:lnTo>
                  <a:lnTo>
                    <a:pt x="168" y="15"/>
                  </a:lnTo>
                  <a:lnTo>
                    <a:pt x="164" y="14"/>
                  </a:lnTo>
                  <a:lnTo>
                    <a:pt x="162" y="15"/>
                  </a:lnTo>
                  <a:lnTo>
                    <a:pt x="159" y="13"/>
                  </a:lnTo>
                  <a:lnTo>
                    <a:pt x="156" y="12"/>
                  </a:lnTo>
                  <a:lnTo>
                    <a:pt x="153" y="10"/>
                  </a:lnTo>
                  <a:lnTo>
                    <a:pt x="151" y="10"/>
                  </a:lnTo>
                  <a:lnTo>
                    <a:pt x="147" y="10"/>
                  </a:lnTo>
                  <a:lnTo>
                    <a:pt x="144" y="10"/>
                  </a:lnTo>
                  <a:lnTo>
                    <a:pt x="144" y="13"/>
                  </a:lnTo>
                  <a:lnTo>
                    <a:pt x="147" y="14"/>
                  </a:lnTo>
                  <a:lnTo>
                    <a:pt x="150" y="16"/>
                  </a:lnTo>
                  <a:lnTo>
                    <a:pt x="153" y="18"/>
                  </a:lnTo>
                  <a:lnTo>
                    <a:pt x="150" y="19"/>
                  </a:lnTo>
                  <a:lnTo>
                    <a:pt x="147" y="18"/>
                  </a:lnTo>
                  <a:lnTo>
                    <a:pt x="144" y="17"/>
                  </a:lnTo>
                  <a:lnTo>
                    <a:pt x="141" y="16"/>
                  </a:lnTo>
                  <a:lnTo>
                    <a:pt x="138" y="16"/>
                  </a:lnTo>
                  <a:lnTo>
                    <a:pt x="135" y="15"/>
                  </a:lnTo>
                  <a:lnTo>
                    <a:pt x="133" y="16"/>
                  </a:lnTo>
                  <a:lnTo>
                    <a:pt x="132" y="18"/>
                  </a:lnTo>
                  <a:lnTo>
                    <a:pt x="135" y="19"/>
                  </a:lnTo>
                  <a:lnTo>
                    <a:pt x="137" y="21"/>
                  </a:lnTo>
                  <a:lnTo>
                    <a:pt x="141" y="21"/>
                  </a:lnTo>
                  <a:lnTo>
                    <a:pt x="143" y="22"/>
                  </a:lnTo>
                  <a:lnTo>
                    <a:pt x="141" y="22"/>
                  </a:lnTo>
                  <a:lnTo>
                    <a:pt x="139" y="22"/>
                  </a:lnTo>
                  <a:lnTo>
                    <a:pt x="136" y="21"/>
                  </a:lnTo>
                  <a:lnTo>
                    <a:pt x="133" y="22"/>
                  </a:lnTo>
                  <a:lnTo>
                    <a:pt x="130" y="21"/>
                  </a:lnTo>
                  <a:lnTo>
                    <a:pt x="127" y="23"/>
                  </a:lnTo>
                  <a:lnTo>
                    <a:pt x="127" y="26"/>
                  </a:lnTo>
                  <a:lnTo>
                    <a:pt x="130" y="27"/>
                  </a:lnTo>
                  <a:lnTo>
                    <a:pt x="133" y="28"/>
                  </a:lnTo>
                  <a:lnTo>
                    <a:pt x="136" y="30"/>
                  </a:lnTo>
                  <a:lnTo>
                    <a:pt x="138" y="31"/>
                  </a:lnTo>
                  <a:lnTo>
                    <a:pt x="142" y="32"/>
                  </a:lnTo>
                  <a:lnTo>
                    <a:pt x="144" y="32"/>
                  </a:lnTo>
                  <a:lnTo>
                    <a:pt x="147" y="33"/>
                  </a:lnTo>
                  <a:lnTo>
                    <a:pt x="150" y="34"/>
                  </a:lnTo>
                  <a:lnTo>
                    <a:pt x="153" y="35"/>
                  </a:lnTo>
                  <a:lnTo>
                    <a:pt x="155" y="36"/>
                  </a:lnTo>
                  <a:lnTo>
                    <a:pt x="159" y="36"/>
                  </a:lnTo>
                  <a:lnTo>
                    <a:pt x="161" y="36"/>
                  </a:lnTo>
                  <a:lnTo>
                    <a:pt x="164" y="39"/>
                  </a:lnTo>
                  <a:lnTo>
                    <a:pt x="168" y="40"/>
                  </a:lnTo>
                  <a:lnTo>
                    <a:pt x="170" y="41"/>
                  </a:lnTo>
                  <a:lnTo>
                    <a:pt x="173" y="44"/>
                  </a:lnTo>
                  <a:lnTo>
                    <a:pt x="170" y="44"/>
                  </a:lnTo>
                  <a:lnTo>
                    <a:pt x="167" y="42"/>
                  </a:lnTo>
                  <a:lnTo>
                    <a:pt x="164" y="40"/>
                  </a:lnTo>
                  <a:lnTo>
                    <a:pt x="161" y="39"/>
                  </a:lnTo>
                  <a:lnTo>
                    <a:pt x="159" y="39"/>
                  </a:lnTo>
                  <a:lnTo>
                    <a:pt x="155" y="39"/>
                  </a:lnTo>
                  <a:lnTo>
                    <a:pt x="153" y="36"/>
                  </a:lnTo>
                  <a:lnTo>
                    <a:pt x="151" y="36"/>
                  </a:lnTo>
                  <a:lnTo>
                    <a:pt x="147" y="35"/>
                  </a:lnTo>
                  <a:lnTo>
                    <a:pt x="142" y="34"/>
                  </a:lnTo>
                  <a:lnTo>
                    <a:pt x="139" y="33"/>
                  </a:lnTo>
                  <a:lnTo>
                    <a:pt x="136" y="32"/>
                  </a:lnTo>
                  <a:lnTo>
                    <a:pt x="134" y="32"/>
                  </a:lnTo>
                  <a:lnTo>
                    <a:pt x="130" y="30"/>
                  </a:lnTo>
                  <a:lnTo>
                    <a:pt x="128" y="28"/>
                  </a:lnTo>
                  <a:lnTo>
                    <a:pt x="125" y="28"/>
                  </a:lnTo>
                  <a:lnTo>
                    <a:pt x="122" y="31"/>
                  </a:lnTo>
                  <a:lnTo>
                    <a:pt x="125" y="32"/>
                  </a:lnTo>
                  <a:lnTo>
                    <a:pt x="127" y="35"/>
                  </a:lnTo>
                  <a:lnTo>
                    <a:pt x="130" y="35"/>
                  </a:lnTo>
                  <a:lnTo>
                    <a:pt x="133" y="35"/>
                  </a:lnTo>
                  <a:lnTo>
                    <a:pt x="136" y="36"/>
                  </a:lnTo>
                  <a:lnTo>
                    <a:pt x="134" y="36"/>
                  </a:lnTo>
                  <a:lnTo>
                    <a:pt x="130" y="35"/>
                  </a:lnTo>
                  <a:lnTo>
                    <a:pt x="127" y="35"/>
                  </a:lnTo>
                  <a:lnTo>
                    <a:pt x="125" y="35"/>
                  </a:lnTo>
                  <a:lnTo>
                    <a:pt x="121" y="35"/>
                  </a:lnTo>
                  <a:lnTo>
                    <a:pt x="121" y="32"/>
                  </a:lnTo>
                  <a:lnTo>
                    <a:pt x="119" y="31"/>
                  </a:lnTo>
                  <a:lnTo>
                    <a:pt x="117" y="28"/>
                  </a:lnTo>
                  <a:lnTo>
                    <a:pt x="113" y="27"/>
                  </a:lnTo>
                  <a:lnTo>
                    <a:pt x="111" y="26"/>
                  </a:lnTo>
                  <a:lnTo>
                    <a:pt x="109" y="25"/>
                  </a:lnTo>
                  <a:lnTo>
                    <a:pt x="105" y="26"/>
                  </a:lnTo>
                  <a:lnTo>
                    <a:pt x="102" y="25"/>
                  </a:lnTo>
                  <a:lnTo>
                    <a:pt x="99" y="24"/>
                  </a:lnTo>
                  <a:lnTo>
                    <a:pt x="96" y="23"/>
                  </a:lnTo>
                  <a:lnTo>
                    <a:pt x="99" y="23"/>
                  </a:lnTo>
                  <a:lnTo>
                    <a:pt x="100" y="23"/>
                  </a:lnTo>
                  <a:lnTo>
                    <a:pt x="96" y="22"/>
                  </a:lnTo>
                  <a:lnTo>
                    <a:pt x="93" y="22"/>
                  </a:lnTo>
                  <a:lnTo>
                    <a:pt x="91" y="22"/>
                  </a:lnTo>
                  <a:lnTo>
                    <a:pt x="87" y="23"/>
                  </a:lnTo>
                  <a:lnTo>
                    <a:pt x="84" y="24"/>
                  </a:lnTo>
                  <a:lnTo>
                    <a:pt x="87" y="26"/>
                  </a:lnTo>
                  <a:lnTo>
                    <a:pt x="90" y="28"/>
                  </a:lnTo>
                  <a:lnTo>
                    <a:pt x="87" y="28"/>
                  </a:lnTo>
                  <a:lnTo>
                    <a:pt x="84" y="30"/>
                  </a:lnTo>
                  <a:lnTo>
                    <a:pt x="82" y="30"/>
                  </a:lnTo>
                  <a:lnTo>
                    <a:pt x="78" y="31"/>
                  </a:lnTo>
                  <a:lnTo>
                    <a:pt x="75" y="31"/>
                  </a:lnTo>
                  <a:lnTo>
                    <a:pt x="73" y="31"/>
                  </a:lnTo>
                  <a:lnTo>
                    <a:pt x="69" y="32"/>
                  </a:lnTo>
                  <a:lnTo>
                    <a:pt x="73" y="34"/>
                  </a:lnTo>
                  <a:lnTo>
                    <a:pt x="75" y="34"/>
                  </a:lnTo>
                  <a:lnTo>
                    <a:pt x="77" y="34"/>
                  </a:lnTo>
                  <a:lnTo>
                    <a:pt x="81" y="35"/>
                  </a:lnTo>
                  <a:lnTo>
                    <a:pt x="83" y="36"/>
                  </a:lnTo>
                  <a:lnTo>
                    <a:pt x="86" y="36"/>
                  </a:lnTo>
                  <a:lnTo>
                    <a:pt x="92" y="36"/>
                  </a:lnTo>
                  <a:lnTo>
                    <a:pt x="95" y="38"/>
                  </a:lnTo>
                  <a:lnTo>
                    <a:pt x="98" y="39"/>
                  </a:lnTo>
                  <a:lnTo>
                    <a:pt x="98" y="41"/>
                  </a:lnTo>
                  <a:lnTo>
                    <a:pt x="96" y="39"/>
                  </a:lnTo>
                  <a:lnTo>
                    <a:pt x="94" y="39"/>
                  </a:lnTo>
                  <a:lnTo>
                    <a:pt x="95" y="41"/>
                  </a:lnTo>
                  <a:lnTo>
                    <a:pt x="93" y="39"/>
                  </a:lnTo>
                  <a:lnTo>
                    <a:pt x="90" y="38"/>
                  </a:lnTo>
                  <a:lnTo>
                    <a:pt x="86" y="40"/>
                  </a:lnTo>
                  <a:lnTo>
                    <a:pt x="90" y="42"/>
                  </a:lnTo>
                  <a:lnTo>
                    <a:pt x="86" y="41"/>
                  </a:lnTo>
                  <a:lnTo>
                    <a:pt x="84" y="39"/>
                  </a:lnTo>
                  <a:lnTo>
                    <a:pt x="81" y="38"/>
                  </a:lnTo>
                  <a:lnTo>
                    <a:pt x="78" y="36"/>
                  </a:lnTo>
                  <a:lnTo>
                    <a:pt x="75" y="36"/>
                  </a:lnTo>
                  <a:lnTo>
                    <a:pt x="71" y="36"/>
                  </a:lnTo>
                  <a:lnTo>
                    <a:pt x="69" y="39"/>
                  </a:lnTo>
                  <a:lnTo>
                    <a:pt x="66" y="40"/>
                  </a:lnTo>
                  <a:lnTo>
                    <a:pt x="69" y="41"/>
                  </a:lnTo>
                  <a:lnTo>
                    <a:pt x="66" y="40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1" y="35"/>
                  </a:lnTo>
                  <a:lnTo>
                    <a:pt x="58" y="35"/>
                  </a:lnTo>
                  <a:lnTo>
                    <a:pt x="56" y="35"/>
                  </a:lnTo>
                  <a:lnTo>
                    <a:pt x="52" y="35"/>
                  </a:lnTo>
                  <a:lnTo>
                    <a:pt x="50" y="35"/>
                  </a:lnTo>
                  <a:lnTo>
                    <a:pt x="47" y="35"/>
                  </a:lnTo>
                  <a:lnTo>
                    <a:pt x="44" y="36"/>
                  </a:lnTo>
                  <a:lnTo>
                    <a:pt x="41" y="38"/>
                  </a:lnTo>
                  <a:lnTo>
                    <a:pt x="37" y="40"/>
                  </a:lnTo>
                  <a:lnTo>
                    <a:pt x="35" y="41"/>
                  </a:lnTo>
                  <a:lnTo>
                    <a:pt x="37" y="42"/>
                  </a:lnTo>
                  <a:lnTo>
                    <a:pt x="35" y="44"/>
                  </a:lnTo>
                  <a:lnTo>
                    <a:pt x="32" y="43"/>
                  </a:lnTo>
                  <a:lnTo>
                    <a:pt x="30" y="41"/>
                  </a:lnTo>
                  <a:lnTo>
                    <a:pt x="26" y="42"/>
                  </a:lnTo>
                  <a:lnTo>
                    <a:pt x="25" y="41"/>
                  </a:lnTo>
                  <a:lnTo>
                    <a:pt x="22" y="41"/>
                  </a:lnTo>
                  <a:lnTo>
                    <a:pt x="19" y="42"/>
                  </a:lnTo>
                  <a:lnTo>
                    <a:pt x="17" y="43"/>
                  </a:lnTo>
                  <a:lnTo>
                    <a:pt x="14" y="43"/>
                  </a:lnTo>
                  <a:lnTo>
                    <a:pt x="11" y="45"/>
                  </a:lnTo>
                  <a:lnTo>
                    <a:pt x="8" y="45"/>
                  </a:lnTo>
                  <a:lnTo>
                    <a:pt x="5" y="45"/>
                  </a:lnTo>
                  <a:lnTo>
                    <a:pt x="2" y="49"/>
                  </a:lnTo>
                  <a:lnTo>
                    <a:pt x="0" y="50"/>
                  </a:lnTo>
                  <a:lnTo>
                    <a:pt x="0" y="51"/>
                  </a:lnTo>
                  <a:lnTo>
                    <a:pt x="4" y="51"/>
                  </a:lnTo>
                  <a:lnTo>
                    <a:pt x="6" y="53"/>
                  </a:lnTo>
                  <a:lnTo>
                    <a:pt x="9" y="53"/>
                  </a:lnTo>
                  <a:lnTo>
                    <a:pt x="11" y="53"/>
                  </a:lnTo>
                  <a:lnTo>
                    <a:pt x="15" y="50"/>
                  </a:lnTo>
                  <a:lnTo>
                    <a:pt x="17" y="49"/>
                  </a:lnTo>
                  <a:lnTo>
                    <a:pt x="21" y="49"/>
                  </a:lnTo>
                  <a:lnTo>
                    <a:pt x="24" y="49"/>
                  </a:lnTo>
                  <a:lnTo>
                    <a:pt x="26" y="50"/>
                  </a:lnTo>
                  <a:lnTo>
                    <a:pt x="28" y="50"/>
                  </a:lnTo>
                  <a:lnTo>
                    <a:pt x="32" y="51"/>
                  </a:lnTo>
                  <a:lnTo>
                    <a:pt x="28" y="51"/>
                  </a:lnTo>
                  <a:lnTo>
                    <a:pt x="26" y="52"/>
                  </a:lnTo>
                  <a:lnTo>
                    <a:pt x="24" y="52"/>
                  </a:lnTo>
                  <a:lnTo>
                    <a:pt x="21" y="53"/>
                  </a:lnTo>
                  <a:lnTo>
                    <a:pt x="17" y="55"/>
                  </a:lnTo>
                  <a:lnTo>
                    <a:pt x="15" y="57"/>
                  </a:lnTo>
                  <a:lnTo>
                    <a:pt x="17" y="57"/>
                  </a:lnTo>
                  <a:lnTo>
                    <a:pt x="21" y="59"/>
                  </a:lnTo>
                  <a:lnTo>
                    <a:pt x="24" y="58"/>
                  </a:lnTo>
                  <a:lnTo>
                    <a:pt x="26" y="57"/>
                  </a:lnTo>
                  <a:lnTo>
                    <a:pt x="27" y="57"/>
                  </a:lnTo>
                  <a:lnTo>
                    <a:pt x="31" y="56"/>
                  </a:lnTo>
                  <a:lnTo>
                    <a:pt x="33" y="55"/>
                  </a:lnTo>
                  <a:lnTo>
                    <a:pt x="36" y="55"/>
                  </a:lnTo>
                  <a:lnTo>
                    <a:pt x="39" y="53"/>
                  </a:lnTo>
                  <a:lnTo>
                    <a:pt x="42" y="52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0" y="52"/>
                  </a:lnTo>
                  <a:lnTo>
                    <a:pt x="53" y="52"/>
                  </a:lnTo>
                  <a:lnTo>
                    <a:pt x="57" y="53"/>
                  </a:lnTo>
                  <a:lnTo>
                    <a:pt x="59" y="53"/>
                  </a:lnTo>
                  <a:lnTo>
                    <a:pt x="61" y="55"/>
                  </a:lnTo>
                  <a:lnTo>
                    <a:pt x="59" y="53"/>
                  </a:lnTo>
                  <a:lnTo>
                    <a:pt x="57" y="53"/>
                  </a:lnTo>
                  <a:lnTo>
                    <a:pt x="53" y="53"/>
                  </a:lnTo>
                  <a:lnTo>
                    <a:pt x="50" y="53"/>
                  </a:lnTo>
                  <a:lnTo>
                    <a:pt x="48" y="53"/>
                  </a:lnTo>
                  <a:lnTo>
                    <a:pt x="44" y="53"/>
                  </a:lnTo>
                  <a:lnTo>
                    <a:pt x="41" y="56"/>
                  </a:lnTo>
                  <a:lnTo>
                    <a:pt x="39" y="56"/>
                  </a:lnTo>
                  <a:lnTo>
                    <a:pt x="35" y="58"/>
                  </a:lnTo>
                  <a:lnTo>
                    <a:pt x="32" y="58"/>
                  </a:lnTo>
                  <a:lnTo>
                    <a:pt x="30" y="59"/>
                  </a:lnTo>
                  <a:lnTo>
                    <a:pt x="27" y="60"/>
                  </a:lnTo>
                  <a:lnTo>
                    <a:pt x="30" y="61"/>
                  </a:lnTo>
                  <a:lnTo>
                    <a:pt x="33" y="61"/>
                  </a:lnTo>
                  <a:lnTo>
                    <a:pt x="35" y="62"/>
                  </a:lnTo>
                  <a:lnTo>
                    <a:pt x="39" y="62"/>
                  </a:lnTo>
                  <a:lnTo>
                    <a:pt x="41" y="62"/>
                  </a:lnTo>
                  <a:lnTo>
                    <a:pt x="37" y="62"/>
                  </a:lnTo>
                  <a:lnTo>
                    <a:pt x="35" y="64"/>
                  </a:lnTo>
                  <a:lnTo>
                    <a:pt x="32" y="64"/>
                  </a:lnTo>
                  <a:lnTo>
                    <a:pt x="30" y="62"/>
                  </a:lnTo>
                  <a:lnTo>
                    <a:pt x="26" y="62"/>
                  </a:lnTo>
                  <a:lnTo>
                    <a:pt x="24" y="64"/>
                  </a:lnTo>
                  <a:lnTo>
                    <a:pt x="22" y="66"/>
                  </a:lnTo>
                  <a:lnTo>
                    <a:pt x="24" y="68"/>
                  </a:lnTo>
                  <a:lnTo>
                    <a:pt x="26" y="69"/>
                  </a:lnTo>
                  <a:lnTo>
                    <a:pt x="28" y="70"/>
                  </a:lnTo>
                  <a:lnTo>
                    <a:pt x="31" y="70"/>
                  </a:lnTo>
                  <a:lnTo>
                    <a:pt x="34" y="70"/>
                  </a:lnTo>
                  <a:lnTo>
                    <a:pt x="36" y="70"/>
                  </a:lnTo>
                  <a:lnTo>
                    <a:pt x="40" y="69"/>
                  </a:lnTo>
                  <a:lnTo>
                    <a:pt x="42" y="69"/>
                  </a:lnTo>
                  <a:lnTo>
                    <a:pt x="45" y="69"/>
                  </a:lnTo>
                  <a:lnTo>
                    <a:pt x="48" y="68"/>
                  </a:lnTo>
                  <a:lnTo>
                    <a:pt x="54" y="68"/>
                  </a:lnTo>
                  <a:lnTo>
                    <a:pt x="57" y="68"/>
                  </a:lnTo>
                  <a:lnTo>
                    <a:pt x="60" y="68"/>
                  </a:lnTo>
                  <a:lnTo>
                    <a:pt x="62" y="68"/>
                  </a:lnTo>
                  <a:lnTo>
                    <a:pt x="73" y="67"/>
                  </a:lnTo>
                  <a:lnTo>
                    <a:pt x="75" y="66"/>
                  </a:lnTo>
                  <a:lnTo>
                    <a:pt x="78" y="65"/>
                  </a:lnTo>
                  <a:lnTo>
                    <a:pt x="81" y="64"/>
                  </a:lnTo>
                  <a:lnTo>
                    <a:pt x="84" y="62"/>
                  </a:lnTo>
                  <a:lnTo>
                    <a:pt x="86" y="62"/>
                  </a:lnTo>
                  <a:lnTo>
                    <a:pt x="90" y="61"/>
                  </a:lnTo>
                  <a:lnTo>
                    <a:pt x="92" y="61"/>
                  </a:lnTo>
                  <a:lnTo>
                    <a:pt x="95" y="60"/>
                  </a:lnTo>
                  <a:lnTo>
                    <a:pt x="98" y="62"/>
                  </a:lnTo>
                  <a:lnTo>
                    <a:pt x="95" y="62"/>
                  </a:lnTo>
                  <a:lnTo>
                    <a:pt x="92" y="64"/>
                  </a:lnTo>
                  <a:lnTo>
                    <a:pt x="90" y="64"/>
                  </a:lnTo>
                  <a:lnTo>
                    <a:pt x="86" y="65"/>
                  </a:lnTo>
                  <a:lnTo>
                    <a:pt x="84" y="66"/>
                  </a:lnTo>
                  <a:lnTo>
                    <a:pt x="81" y="68"/>
                  </a:lnTo>
                  <a:lnTo>
                    <a:pt x="78" y="68"/>
                  </a:lnTo>
                  <a:lnTo>
                    <a:pt x="75" y="69"/>
                  </a:lnTo>
                  <a:lnTo>
                    <a:pt x="71" y="70"/>
                  </a:lnTo>
                  <a:lnTo>
                    <a:pt x="69" y="70"/>
                  </a:lnTo>
                  <a:lnTo>
                    <a:pt x="66" y="70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8" y="70"/>
                  </a:lnTo>
                  <a:lnTo>
                    <a:pt x="54" y="70"/>
                  </a:lnTo>
                  <a:lnTo>
                    <a:pt x="49" y="70"/>
                  </a:lnTo>
                  <a:lnTo>
                    <a:pt x="43" y="70"/>
                  </a:lnTo>
                  <a:lnTo>
                    <a:pt x="40" y="72"/>
                  </a:lnTo>
                  <a:lnTo>
                    <a:pt x="37" y="72"/>
                  </a:lnTo>
                  <a:lnTo>
                    <a:pt x="35" y="73"/>
                  </a:lnTo>
                  <a:lnTo>
                    <a:pt x="36" y="75"/>
                  </a:lnTo>
                  <a:lnTo>
                    <a:pt x="41" y="77"/>
                  </a:lnTo>
                  <a:lnTo>
                    <a:pt x="44" y="78"/>
                  </a:lnTo>
                  <a:lnTo>
                    <a:pt x="48" y="79"/>
                  </a:lnTo>
                  <a:lnTo>
                    <a:pt x="50" y="81"/>
                  </a:lnTo>
                  <a:lnTo>
                    <a:pt x="53" y="81"/>
                  </a:lnTo>
                  <a:lnTo>
                    <a:pt x="56" y="82"/>
                  </a:lnTo>
                  <a:lnTo>
                    <a:pt x="59" y="83"/>
                  </a:lnTo>
                  <a:lnTo>
                    <a:pt x="61" y="83"/>
                  </a:lnTo>
                  <a:lnTo>
                    <a:pt x="65" y="82"/>
                  </a:lnTo>
                  <a:lnTo>
                    <a:pt x="67" y="79"/>
                  </a:lnTo>
                  <a:lnTo>
                    <a:pt x="70" y="77"/>
                  </a:lnTo>
                  <a:lnTo>
                    <a:pt x="73" y="75"/>
                  </a:lnTo>
                  <a:lnTo>
                    <a:pt x="75" y="74"/>
                  </a:lnTo>
                  <a:lnTo>
                    <a:pt x="78" y="72"/>
                  </a:lnTo>
                  <a:lnTo>
                    <a:pt x="82" y="70"/>
                  </a:lnTo>
                  <a:lnTo>
                    <a:pt x="84" y="69"/>
                  </a:lnTo>
                  <a:lnTo>
                    <a:pt x="87" y="69"/>
                  </a:lnTo>
                  <a:lnTo>
                    <a:pt x="90" y="69"/>
                  </a:lnTo>
                  <a:lnTo>
                    <a:pt x="92" y="68"/>
                  </a:lnTo>
                  <a:lnTo>
                    <a:pt x="95" y="68"/>
                  </a:lnTo>
                  <a:lnTo>
                    <a:pt x="101" y="68"/>
                  </a:lnTo>
                  <a:lnTo>
                    <a:pt x="104" y="67"/>
                  </a:lnTo>
                  <a:lnTo>
                    <a:pt x="108" y="67"/>
                  </a:lnTo>
                  <a:lnTo>
                    <a:pt x="111" y="67"/>
                  </a:lnTo>
                  <a:lnTo>
                    <a:pt x="113" y="67"/>
                  </a:lnTo>
                  <a:lnTo>
                    <a:pt x="117" y="66"/>
                  </a:lnTo>
                  <a:lnTo>
                    <a:pt x="119" y="66"/>
                  </a:lnTo>
                  <a:lnTo>
                    <a:pt x="122" y="66"/>
                  </a:lnTo>
                  <a:lnTo>
                    <a:pt x="125" y="65"/>
                  </a:lnTo>
                  <a:lnTo>
                    <a:pt x="127" y="65"/>
                  </a:lnTo>
                  <a:lnTo>
                    <a:pt x="130" y="65"/>
                  </a:lnTo>
                  <a:lnTo>
                    <a:pt x="127" y="66"/>
                  </a:lnTo>
                  <a:lnTo>
                    <a:pt x="125" y="67"/>
                  </a:lnTo>
                  <a:lnTo>
                    <a:pt x="121" y="67"/>
                  </a:lnTo>
                  <a:lnTo>
                    <a:pt x="119" y="67"/>
                  </a:lnTo>
                  <a:lnTo>
                    <a:pt x="113" y="68"/>
                  </a:lnTo>
                  <a:lnTo>
                    <a:pt x="110" y="68"/>
                  </a:lnTo>
                  <a:lnTo>
                    <a:pt x="107" y="68"/>
                  </a:lnTo>
                  <a:lnTo>
                    <a:pt x="104" y="69"/>
                  </a:lnTo>
                  <a:lnTo>
                    <a:pt x="101" y="69"/>
                  </a:lnTo>
                  <a:lnTo>
                    <a:pt x="99" y="69"/>
                  </a:lnTo>
                  <a:lnTo>
                    <a:pt x="95" y="69"/>
                  </a:lnTo>
                  <a:lnTo>
                    <a:pt x="93" y="70"/>
                  </a:lnTo>
                  <a:lnTo>
                    <a:pt x="90" y="70"/>
                  </a:lnTo>
                  <a:lnTo>
                    <a:pt x="86" y="72"/>
                  </a:lnTo>
                  <a:lnTo>
                    <a:pt x="83" y="73"/>
                  </a:lnTo>
                  <a:lnTo>
                    <a:pt x="81" y="75"/>
                  </a:lnTo>
                  <a:lnTo>
                    <a:pt x="78" y="77"/>
                  </a:lnTo>
                  <a:lnTo>
                    <a:pt x="75" y="78"/>
                  </a:lnTo>
                  <a:lnTo>
                    <a:pt x="73" y="81"/>
                  </a:lnTo>
                  <a:lnTo>
                    <a:pt x="71" y="84"/>
                  </a:lnTo>
                  <a:lnTo>
                    <a:pt x="74" y="84"/>
                  </a:lnTo>
                  <a:lnTo>
                    <a:pt x="77" y="85"/>
                  </a:lnTo>
                  <a:lnTo>
                    <a:pt x="79" y="85"/>
                  </a:lnTo>
                  <a:lnTo>
                    <a:pt x="83" y="84"/>
                  </a:lnTo>
                  <a:lnTo>
                    <a:pt x="85" y="84"/>
                  </a:lnTo>
                  <a:lnTo>
                    <a:pt x="83" y="85"/>
                  </a:lnTo>
                  <a:lnTo>
                    <a:pt x="85" y="85"/>
                  </a:lnTo>
                  <a:lnTo>
                    <a:pt x="88" y="86"/>
                  </a:lnTo>
                  <a:lnTo>
                    <a:pt x="92" y="86"/>
                  </a:lnTo>
                  <a:lnTo>
                    <a:pt x="94" y="86"/>
                  </a:lnTo>
                  <a:lnTo>
                    <a:pt x="98" y="86"/>
                  </a:lnTo>
                  <a:lnTo>
                    <a:pt x="100" y="86"/>
                  </a:lnTo>
                  <a:lnTo>
                    <a:pt x="103" y="86"/>
                  </a:lnTo>
                  <a:lnTo>
                    <a:pt x="105" y="85"/>
                  </a:lnTo>
                  <a:lnTo>
                    <a:pt x="109" y="85"/>
                  </a:lnTo>
                  <a:lnTo>
                    <a:pt x="111" y="84"/>
                  </a:lnTo>
                  <a:lnTo>
                    <a:pt x="112" y="82"/>
                  </a:lnTo>
                  <a:lnTo>
                    <a:pt x="112" y="78"/>
                  </a:lnTo>
                  <a:lnTo>
                    <a:pt x="116" y="77"/>
                  </a:lnTo>
                  <a:lnTo>
                    <a:pt x="118" y="77"/>
                  </a:lnTo>
                  <a:lnTo>
                    <a:pt x="116" y="81"/>
                  </a:lnTo>
                  <a:lnTo>
                    <a:pt x="118" y="81"/>
                  </a:lnTo>
                  <a:lnTo>
                    <a:pt x="121" y="79"/>
                  </a:lnTo>
                  <a:lnTo>
                    <a:pt x="124" y="79"/>
                  </a:lnTo>
                  <a:lnTo>
                    <a:pt x="127" y="79"/>
                  </a:lnTo>
                  <a:lnTo>
                    <a:pt x="129" y="78"/>
                  </a:lnTo>
                  <a:lnTo>
                    <a:pt x="133" y="77"/>
                  </a:lnTo>
                  <a:lnTo>
                    <a:pt x="135" y="76"/>
                  </a:lnTo>
                  <a:lnTo>
                    <a:pt x="138" y="77"/>
                  </a:lnTo>
                  <a:lnTo>
                    <a:pt x="135" y="78"/>
                  </a:lnTo>
                  <a:lnTo>
                    <a:pt x="133" y="79"/>
                  </a:lnTo>
                  <a:lnTo>
                    <a:pt x="129" y="79"/>
                  </a:lnTo>
                  <a:lnTo>
                    <a:pt x="126" y="81"/>
                  </a:lnTo>
                  <a:lnTo>
                    <a:pt x="124" y="82"/>
                  </a:lnTo>
                  <a:lnTo>
                    <a:pt x="120" y="83"/>
                  </a:lnTo>
                  <a:lnTo>
                    <a:pt x="120" y="85"/>
                  </a:lnTo>
                  <a:lnTo>
                    <a:pt x="122" y="85"/>
                  </a:lnTo>
                  <a:lnTo>
                    <a:pt x="126" y="85"/>
                  </a:lnTo>
                  <a:lnTo>
                    <a:pt x="129" y="85"/>
                  </a:lnTo>
                  <a:lnTo>
                    <a:pt x="132" y="84"/>
                  </a:lnTo>
                  <a:lnTo>
                    <a:pt x="135" y="84"/>
                  </a:lnTo>
                  <a:lnTo>
                    <a:pt x="137" y="84"/>
                  </a:lnTo>
                  <a:lnTo>
                    <a:pt x="141" y="84"/>
                  </a:lnTo>
                  <a:lnTo>
                    <a:pt x="143" y="83"/>
                  </a:lnTo>
                  <a:lnTo>
                    <a:pt x="146" y="83"/>
                  </a:lnTo>
                  <a:lnTo>
                    <a:pt x="149" y="82"/>
                  </a:lnTo>
                  <a:lnTo>
                    <a:pt x="152" y="82"/>
                  </a:lnTo>
                  <a:lnTo>
                    <a:pt x="154" y="81"/>
                  </a:lnTo>
                  <a:lnTo>
                    <a:pt x="156" y="79"/>
                  </a:lnTo>
                  <a:lnTo>
                    <a:pt x="160" y="79"/>
                  </a:lnTo>
                  <a:lnTo>
                    <a:pt x="163" y="78"/>
                  </a:lnTo>
                  <a:lnTo>
                    <a:pt x="165" y="77"/>
                  </a:lnTo>
                  <a:lnTo>
                    <a:pt x="169" y="76"/>
                  </a:lnTo>
                  <a:lnTo>
                    <a:pt x="171" y="74"/>
                  </a:lnTo>
                  <a:lnTo>
                    <a:pt x="175" y="72"/>
                  </a:lnTo>
                  <a:lnTo>
                    <a:pt x="172" y="69"/>
                  </a:lnTo>
                  <a:lnTo>
                    <a:pt x="176" y="67"/>
                  </a:lnTo>
                  <a:lnTo>
                    <a:pt x="173" y="66"/>
                  </a:lnTo>
                  <a:lnTo>
                    <a:pt x="170" y="65"/>
                  </a:lnTo>
                  <a:lnTo>
                    <a:pt x="172" y="66"/>
                  </a:lnTo>
                  <a:lnTo>
                    <a:pt x="176" y="66"/>
                  </a:lnTo>
                  <a:lnTo>
                    <a:pt x="178" y="67"/>
                  </a:lnTo>
                  <a:lnTo>
                    <a:pt x="181" y="67"/>
                  </a:lnTo>
                  <a:lnTo>
                    <a:pt x="182" y="64"/>
                  </a:lnTo>
                  <a:lnTo>
                    <a:pt x="185" y="62"/>
                  </a:lnTo>
                  <a:lnTo>
                    <a:pt x="187" y="61"/>
                  </a:lnTo>
                  <a:lnTo>
                    <a:pt x="190" y="59"/>
                  </a:lnTo>
                  <a:lnTo>
                    <a:pt x="193" y="59"/>
                  </a:lnTo>
                  <a:lnTo>
                    <a:pt x="196" y="58"/>
                  </a:lnTo>
                  <a:lnTo>
                    <a:pt x="199" y="57"/>
                  </a:lnTo>
                  <a:lnTo>
                    <a:pt x="202" y="57"/>
                  </a:lnTo>
                  <a:lnTo>
                    <a:pt x="205" y="57"/>
                  </a:lnTo>
                  <a:lnTo>
                    <a:pt x="202" y="58"/>
                  </a:lnTo>
                  <a:lnTo>
                    <a:pt x="199" y="59"/>
                  </a:lnTo>
                  <a:lnTo>
                    <a:pt x="196" y="59"/>
                  </a:lnTo>
                  <a:lnTo>
                    <a:pt x="194" y="60"/>
                  </a:lnTo>
                  <a:lnTo>
                    <a:pt x="190" y="62"/>
                  </a:lnTo>
                  <a:lnTo>
                    <a:pt x="188" y="65"/>
                  </a:lnTo>
                  <a:lnTo>
                    <a:pt x="185" y="66"/>
                  </a:lnTo>
                  <a:lnTo>
                    <a:pt x="182" y="68"/>
                  </a:lnTo>
                  <a:lnTo>
                    <a:pt x="179" y="69"/>
                  </a:lnTo>
                  <a:lnTo>
                    <a:pt x="178" y="73"/>
                  </a:lnTo>
                  <a:lnTo>
                    <a:pt x="179" y="75"/>
                  </a:lnTo>
                  <a:lnTo>
                    <a:pt x="182" y="75"/>
                  </a:lnTo>
                  <a:lnTo>
                    <a:pt x="185" y="75"/>
                  </a:lnTo>
                  <a:lnTo>
                    <a:pt x="188" y="74"/>
                  </a:lnTo>
                  <a:lnTo>
                    <a:pt x="190" y="74"/>
                  </a:lnTo>
                  <a:lnTo>
                    <a:pt x="194" y="74"/>
                  </a:lnTo>
                  <a:lnTo>
                    <a:pt x="196" y="74"/>
                  </a:lnTo>
                  <a:lnTo>
                    <a:pt x="199" y="74"/>
                  </a:lnTo>
                  <a:lnTo>
                    <a:pt x="202" y="74"/>
                  </a:lnTo>
                  <a:lnTo>
                    <a:pt x="209" y="74"/>
                  </a:lnTo>
                  <a:lnTo>
                    <a:pt x="211" y="75"/>
                  </a:lnTo>
                  <a:lnTo>
                    <a:pt x="209" y="76"/>
                  </a:lnTo>
                  <a:lnTo>
                    <a:pt x="202" y="76"/>
                  </a:lnTo>
                  <a:lnTo>
                    <a:pt x="198" y="76"/>
                  </a:lnTo>
                  <a:lnTo>
                    <a:pt x="196" y="76"/>
                  </a:lnTo>
                  <a:lnTo>
                    <a:pt x="193" y="76"/>
                  </a:lnTo>
                  <a:lnTo>
                    <a:pt x="189" y="77"/>
                  </a:lnTo>
                  <a:lnTo>
                    <a:pt x="182" y="78"/>
                  </a:lnTo>
                  <a:lnTo>
                    <a:pt x="180" y="78"/>
                  </a:lnTo>
                  <a:lnTo>
                    <a:pt x="178" y="79"/>
                  </a:lnTo>
                  <a:lnTo>
                    <a:pt x="175" y="79"/>
                  </a:lnTo>
                  <a:lnTo>
                    <a:pt x="169" y="82"/>
                  </a:lnTo>
                  <a:lnTo>
                    <a:pt x="165" y="83"/>
                  </a:lnTo>
                  <a:lnTo>
                    <a:pt x="169" y="84"/>
                  </a:lnTo>
                  <a:lnTo>
                    <a:pt x="172" y="83"/>
                  </a:lnTo>
                  <a:lnTo>
                    <a:pt x="176" y="83"/>
                  </a:lnTo>
                  <a:lnTo>
                    <a:pt x="178" y="83"/>
                  </a:lnTo>
                  <a:lnTo>
                    <a:pt x="181" y="83"/>
                  </a:lnTo>
                  <a:lnTo>
                    <a:pt x="184" y="83"/>
                  </a:lnTo>
                  <a:lnTo>
                    <a:pt x="187" y="84"/>
                  </a:lnTo>
                  <a:lnTo>
                    <a:pt x="190" y="84"/>
                  </a:lnTo>
                  <a:lnTo>
                    <a:pt x="188" y="84"/>
                  </a:lnTo>
                  <a:lnTo>
                    <a:pt x="182" y="84"/>
                  </a:lnTo>
                  <a:lnTo>
                    <a:pt x="179" y="85"/>
                  </a:lnTo>
                  <a:lnTo>
                    <a:pt x="173" y="85"/>
                  </a:lnTo>
                  <a:lnTo>
                    <a:pt x="171" y="85"/>
                  </a:lnTo>
                  <a:lnTo>
                    <a:pt x="168" y="85"/>
                  </a:lnTo>
                  <a:lnTo>
                    <a:pt x="164" y="85"/>
                  </a:lnTo>
                  <a:lnTo>
                    <a:pt x="162" y="85"/>
                  </a:lnTo>
                  <a:lnTo>
                    <a:pt x="159" y="87"/>
                  </a:lnTo>
                  <a:lnTo>
                    <a:pt x="156" y="87"/>
                  </a:lnTo>
                  <a:lnTo>
                    <a:pt x="153" y="89"/>
                  </a:lnTo>
                  <a:lnTo>
                    <a:pt x="151" y="89"/>
                  </a:lnTo>
                  <a:lnTo>
                    <a:pt x="145" y="89"/>
                  </a:lnTo>
                  <a:lnTo>
                    <a:pt x="142" y="90"/>
                  </a:lnTo>
                  <a:lnTo>
                    <a:pt x="139" y="90"/>
                  </a:lnTo>
                  <a:lnTo>
                    <a:pt x="136" y="90"/>
                  </a:lnTo>
                  <a:lnTo>
                    <a:pt x="133" y="91"/>
                  </a:lnTo>
                  <a:lnTo>
                    <a:pt x="130" y="91"/>
                  </a:lnTo>
                  <a:lnTo>
                    <a:pt x="127" y="91"/>
                  </a:lnTo>
                  <a:lnTo>
                    <a:pt x="124" y="91"/>
                  </a:lnTo>
                  <a:lnTo>
                    <a:pt x="121" y="93"/>
                  </a:lnTo>
                  <a:lnTo>
                    <a:pt x="124" y="95"/>
                  </a:lnTo>
                  <a:lnTo>
                    <a:pt x="127" y="98"/>
                  </a:lnTo>
                  <a:lnTo>
                    <a:pt x="129" y="99"/>
                  </a:lnTo>
                  <a:lnTo>
                    <a:pt x="133" y="101"/>
                  </a:lnTo>
                  <a:lnTo>
                    <a:pt x="135" y="102"/>
                  </a:lnTo>
                  <a:lnTo>
                    <a:pt x="138" y="103"/>
                  </a:lnTo>
                  <a:lnTo>
                    <a:pt x="141" y="103"/>
                  </a:lnTo>
                  <a:lnTo>
                    <a:pt x="144" y="104"/>
                  </a:lnTo>
                  <a:lnTo>
                    <a:pt x="142" y="107"/>
                  </a:lnTo>
                  <a:lnTo>
                    <a:pt x="141" y="110"/>
                  </a:lnTo>
                  <a:lnTo>
                    <a:pt x="144" y="111"/>
                  </a:lnTo>
                  <a:lnTo>
                    <a:pt x="146" y="111"/>
                  </a:lnTo>
                  <a:lnTo>
                    <a:pt x="149" y="112"/>
                  </a:lnTo>
                  <a:lnTo>
                    <a:pt x="152" y="113"/>
                  </a:lnTo>
                  <a:lnTo>
                    <a:pt x="154" y="113"/>
                  </a:lnTo>
                  <a:lnTo>
                    <a:pt x="158" y="112"/>
                  </a:lnTo>
                  <a:lnTo>
                    <a:pt x="161" y="112"/>
                  </a:lnTo>
                  <a:lnTo>
                    <a:pt x="163" y="111"/>
                  </a:lnTo>
                  <a:lnTo>
                    <a:pt x="165" y="112"/>
                  </a:lnTo>
                  <a:lnTo>
                    <a:pt x="163" y="113"/>
                  </a:lnTo>
                  <a:lnTo>
                    <a:pt x="162" y="113"/>
                  </a:lnTo>
                  <a:lnTo>
                    <a:pt x="159" y="113"/>
                  </a:lnTo>
                  <a:lnTo>
                    <a:pt x="156" y="115"/>
                  </a:lnTo>
                  <a:lnTo>
                    <a:pt x="153" y="116"/>
                  </a:lnTo>
                  <a:lnTo>
                    <a:pt x="150" y="115"/>
                  </a:lnTo>
                  <a:lnTo>
                    <a:pt x="147" y="115"/>
                  </a:lnTo>
                  <a:lnTo>
                    <a:pt x="144" y="113"/>
                  </a:lnTo>
                  <a:lnTo>
                    <a:pt x="141" y="115"/>
                  </a:lnTo>
                  <a:lnTo>
                    <a:pt x="138" y="112"/>
                  </a:lnTo>
                  <a:lnTo>
                    <a:pt x="135" y="109"/>
                  </a:lnTo>
                  <a:lnTo>
                    <a:pt x="134" y="107"/>
                  </a:lnTo>
                  <a:lnTo>
                    <a:pt x="130" y="105"/>
                  </a:lnTo>
                  <a:lnTo>
                    <a:pt x="128" y="103"/>
                  </a:lnTo>
                  <a:lnTo>
                    <a:pt x="125" y="102"/>
                  </a:lnTo>
                  <a:lnTo>
                    <a:pt x="122" y="101"/>
                  </a:lnTo>
                  <a:lnTo>
                    <a:pt x="120" y="100"/>
                  </a:lnTo>
                  <a:lnTo>
                    <a:pt x="117" y="98"/>
                  </a:lnTo>
                  <a:lnTo>
                    <a:pt x="115" y="96"/>
                  </a:lnTo>
                  <a:lnTo>
                    <a:pt x="111" y="94"/>
                  </a:lnTo>
                  <a:lnTo>
                    <a:pt x="109" y="94"/>
                  </a:lnTo>
                  <a:lnTo>
                    <a:pt x="105" y="94"/>
                  </a:lnTo>
                  <a:lnTo>
                    <a:pt x="103" y="93"/>
                  </a:lnTo>
                  <a:lnTo>
                    <a:pt x="100" y="93"/>
                  </a:lnTo>
                  <a:lnTo>
                    <a:pt x="96" y="94"/>
                  </a:lnTo>
                  <a:lnTo>
                    <a:pt x="94" y="94"/>
                  </a:lnTo>
                  <a:lnTo>
                    <a:pt x="91" y="94"/>
                  </a:lnTo>
                  <a:lnTo>
                    <a:pt x="88" y="93"/>
                  </a:lnTo>
                  <a:lnTo>
                    <a:pt x="83" y="92"/>
                  </a:lnTo>
                  <a:lnTo>
                    <a:pt x="79" y="92"/>
                  </a:lnTo>
                  <a:lnTo>
                    <a:pt x="77" y="92"/>
                  </a:lnTo>
                  <a:lnTo>
                    <a:pt x="74" y="94"/>
                  </a:lnTo>
                  <a:lnTo>
                    <a:pt x="73" y="96"/>
                  </a:lnTo>
                  <a:lnTo>
                    <a:pt x="73" y="100"/>
                  </a:lnTo>
                  <a:lnTo>
                    <a:pt x="75" y="102"/>
                  </a:lnTo>
                  <a:lnTo>
                    <a:pt x="77" y="102"/>
                  </a:lnTo>
                  <a:lnTo>
                    <a:pt x="79" y="102"/>
                  </a:lnTo>
                  <a:lnTo>
                    <a:pt x="83" y="103"/>
                  </a:lnTo>
                  <a:lnTo>
                    <a:pt x="86" y="103"/>
                  </a:lnTo>
                  <a:lnTo>
                    <a:pt x="88" y="105"/>
                  </a:lnTo>
                  <a:lnTo>
                    <a:pt x="86" y="104"/>
                  </a:lnTo>
                  <a:lnTo>
                    <a:pt x="83" y="104"/>
                  </a:lnTo>
                  <a:lnTo>
                    <a:pt x="81" y="103"/>
                  </a:lnTo>
                  <a:lnTo>
                    <a:pt x="78" y="103"/>
                  </a:lnTo>
                  <a:lnTo>
                    <a:pt x="75" y="104"/>
                  </a:lnTo>
                  <a:lnTo>
                    <a:pt x="75" y="107"/>
                  </a:lnTo>
                  <a:lnTo>
                    <a:pt x="75" y="110"/>
                  </a:lnTo>
                  <a:lnTo>
                    <a:pt x="77" y="110"/>
                  </a:lnTo>
                  <a:lnTo>
                    <a:pt x="81" y="111"/>
                  </a:lnTo>
                  <a:lnTo>
                    <a:pt x="83" y="111"/>
                  </a:lnTo>
                  <a:lnTo>
                    <a:pt x="86" y="111"/>
                  </a:lnTo>
                  <a:lnTo>
                    <a:pt x="90" y="112"/>
                  </a:lnTo>
                  <a:lnTo>
                    <a:pt x="92" y="113"/>
                  </a:lnTo>
                  <a:lnTo>
                    <a:pt x="95" y="116"/>
                  </a:lnTo>
                  <a:lnTo>
                    <a:pt x="96" y="118"/>
                  </a:lnTo>
                  <a:lnTo>
                    <a:pt x="100" y="119"/>
                  </a:lnTo>
                  <a:lnTo>
                    <a:pt x="102" y="122"/>
                  </a:lnTo>
                  <a:lnTo>
                    <a:pt x="103" y="125"/>
                  </a:lnTo>
                  <a:lnTo>
                    <a:pt x="104" y="127"/>
                  </a:lnTo>
                  <a:lnTo>
                    <a:pt x="108" y="128"/>
                  </a:lnTo>
                  <a:lnTo>
                    <a:pt x="111" y="129"/>
                  </a:lnTo>
                  <a:lnTo>
                    <a:pt x="113" y="132"/>
                  </a:lnTo>
                  <a:lnTo>
                    <a:pt x="117" y="132"/>
                  </a:lnTo>
                  <a:lnTo>
                    <a:pt x="113" y="133"/>
                  </a:lnTo>
                  <a:lnTo>
                    <a:pt x="111" y="132"/>
                  </a:lnTo>
                  <a:lnTo>
                    <a:pt x="108" y="130"/>
                  </a:lnTo>
                  <a:lnTo>
                    <a:pt x="104" y="129"/>
                  </a:lnTo>
                  <a:lnTo>
                    <a:pt x="102" y="128"/>
                  </a:lnTo>
                  <a:lnTo>
                    <a:pt x="99" y="130"/>
                  </a:lnTo>
                  <a:lnTo>
                    <a:pt x="100" y="133"/>
                  </a:lnTo>
                  <a:lnTo>
                    <a:pt x="103" y="134"/>
                  </a:lnTo>
                  <a:lnTo>
                    <a:pt x="105" y="134"/>
                  </a:lnTo>
                  <a:lnTo>
                    <a:pt x="109" y="135"/>
                  </a:lnTo>
                  <a:lnTo>
                    <a:pt x="111" y="135"/>
                  </a:lnTo>
                  <a:lnTo>
                    <a:pt x="115" y="135"/>
                  </a:lnTo>
                  <a:lnTo>
                    <a:pt x="117" y="135"/>
                  </a:lnTo>
                  <a:lnTo>
                    <a:pt x="120" y="135"/>
                  </a:lnTo>
                  <a:lnTo>
                    <a:pt x="122" y="135"/>
                  </a:lnTo>
                  <a:lnTo>
                    <a:pt x="128" y="136"/>
                  </a:lnTo>
                  <a:lnTo>
                    <a:pt x="132" y="136"/>
                  </a:lnTo>
                  <a:lnTo>
                    <a:pt x="134" y="136"/>
                  </a:lnTo>
                  <a:lnTo>
                    <a:pt x="137" y="133"/>
                  </a:lnTo>
                  <a:lnTo>
                    <a:pt x="139" y="132"/>
                  </a:lnTo>
                  <a:lnTo>
                    <a:pt x="143" y="132"/>
                  </a:lnTo>
                  <a:lnTo>
                    <a:pt x="139" y="135"/>
                  </a:lnTo>
                  <a:lnTo>
                    <a:pt x="138" y="137"/>
                  </a:lnTo>
                  <a:lnTo>
                    <a:pt x="135" y="137"/>
                  </a:lnTo>
                  <a:lnTo>
                    <a:pt x="133" y="138"/>
                  </a:lnTo>
                  <a:lnTo>
                    <a:pt x="129" y="138"/>
                  </a:lnTo>
                  <a:lnTo>
                    <a:pt x="126" y="138"/>
                  </a:lnTo>
                  <a:lnTo>
                    <a:pt x="124" y="137"/>
                  </a:lnTo>
                  <a:lnTo>
                    <a:pt x="121" y="139"/>
                  </a:lnTo>
                  <a:lnTo>
                    <a:pt x="124" y="141"/>
                  </a:lnTo>
                  <a:lnTo>
                    <a:pt x="127" y="142"/>
                  </a:lnTo>
                  <a:lnTo>
                    <a:pt x="129" y="141"/>
                  </a:lnTo>
                  <a:lnTo>
                    <a:pt x="133" y="142"/>
                  </a:lnTo>
                  <a:lnTo>
                    <a:pt x="129" y="144"/>
                  </a:lnTo>
                  <a:lnTo>
                    <a:pt x="132" y="146"/>
                  </a:lnTo>
                  <a:lnTo>
                    <a:pt x="128" y="145"/>
                  </a:lnTo>
                  <a:lnTo>
                    <a:pt x="126" y="143"/>
                  </a:lnTo>
                  <a:lnTo>
                    <a:pt x="122" y="142"/>
                  </a:lnTo>
                  <a:lnTo>
                    <a:pt x="120" y="142"/>
                  </a:lnTo>
                  <a:lnTo>
                    <a:pt x="118" y="139"/>
                  </a:lnTo>
                  <a:lnTo>
                    <a:pt x="115" y="139"/>
                  </a:lnTo>
                  <a:lnTo>
                    <a:pt x="111" y="138"/>
                  </a:lnTo>
                  <a:lnTo>
                    <a:pt x="109" y="137"/>
                  </a:lnTo>
                  <a:lnTo>
                    <a:pt x="105" y="137"/>
                  </a:lnTo>
                  <a:lnTo>
                    <a:pt x="103" y="137"/>
                  </a:lnTo>
                  <a:lnTo>
                    <a:pt x="100" y="137"/>
                  </a:lnTo>
                  <a:lnTo>
                    <a:pt x="98" y="136"/>
                  </a:lnTo>
                  <a:lnTo>
                    <a:pt x="95" y="136"/>
                  </a:lnTo>
                  <a:lnTo>
                    <a:pt x="92" y="136"/>
                  </a:lnTo>
                  <a:lnTo>
                    <a:pt x="90" y="136"/>
                  </a:lnTo>
                  <a:lnTo>
                    <a:pt x="86" y="137"/>
                  </a:lnTo>
                  <a:lnTo>
                    <a:pt x="81" y="138"/>
                  </a:lnTo>
                  <a:lnTo>
                    <a:pt x="78" y="138"/>
                  </a:lnTo>
                  <a:lnTo>
                    <a:pt x="75" y="139"/>
                  </a:lnTo>
                  <a:lnTo>
                    <a:pt x="71" y="139"/>
                  </a:lnTo>
                  <a:lnTo>
                    <a:pt x="69" y="141"/>
                  </a:lnTo>
                  <a:lnTo>
                    <a:pt x="67" y="144"/>
                  </a:lnTo>
                  <a:lnTo>
                    <a:pt x="68" y="146"/>
                  </a:lnTo>
                  <a:lnTo>
                    <a:pt x="66" y="146"/>
                  </a:lnTo>
                  <a:lnTo>
                    <a:pt x="62" y="149"/>
                  </a:lnTo>
                  <a:lnTo>
                    <a:pt x="60" y="151"/>
                  </a:lnTo>
                  <a:lnTo>
                    <a:pt x="60" y="154"/>
                  </a:lnTo>
                  <a:lnTo>
                    <a:pt x="62" y="156"/>
                  </a:lnTo>
                  <a:lnTo>
                    <a:pt x="65" y="158"/>
                  </a:lnTo>
                  <a:lnTo>
                    <a:pt x="62" y="160"/>
                  </a:lnTo>
                  <a:lnTo>
                    <a:pt x="65" y="160"/>
                  </a:lnTo>
                  <a:lnTo>
                    <a:pt x="68" y="160"/>
                  </a:lnTo>
                  <a:lnTo>
                    <a:pt x="71" y="160"/>
                  </a:lnTo>
                  <a:lnTo>
                    <a:pt x="74" y="156"/>
                  </a:lnTo>
                  <a:lnTo>
                    <a:pt x="77" y="158"/>
                  </a:lnTo>
                  <a:lnTo>
                    <a:pt x="79" y="156"/>
                  </a:lnTo>
                  <a:lnTo>
                    <a:pt x="83" y="154"/>
                  </a:lnTo>
                  <a:lnTo>
                    <a:pt x="81" y="156"/>
                  </a:lnTo>
                  <a:lnTo>
                    <a:pt x="77" y="159"/>
                  </a:lnTo>
                  <a:lnTo>
                    <a:pt x="79" y="161"/>
                  </a:lnTo>
                  <a:lnTo>
                    <a:pt x="83" y="161"/>
                  </a:lnTo>
                  <a:lnTo>
                    <a:pt x="85" y="160"/>
                  </a:lnTo>
                  <a:lnTo>
                    <a:pt x="88" y="160"/>
                  </a:lnTo>
                  <a:lnTo>
                    <a:pt x="91" y="158"/>
                  </a:lnTo>
                  <a:lnTo>
                    <a:pt x="93" y="155"/>
                  </a:lnTo>
                  <a:lnTo>
                    <a:pt x="95" y="152"/>
                  </a:lnTo>
                  <a:lnTo>
                    <a:pt x="96" y="150"/>
                  </a:lnTo>
                  <a:lnTo>
                    <a:pt x="99" y="147"/>
                  </a:lnTo>
                  <a:lnTo>
                    <a:pt x="98" y="150"/>
                  </a:lnTo>
                  <a:lnTo>
                    <a:pt x="96" y="152"/>
                  </a:lnTo>
                  <a:lnTo>
                    <a:pt x="100" y="153"/>
                  </a:lnTo>
                  <a:lnTo>
                    <a:pt x="96" y="154"/>
                  </a:lnTo>
                  <a:lnTo>
                    <a:pt x="98" y="156"/>
                  </a:lnTo>
                  <a:lnTo>
                    <a:pt x="100" y="156"/>
                  </a:lnTo>
                  <a:lnTo>
                    <a:pt x="103" y="156"/>
                  </a:lnTo>
                  <a:lnTo>
                    <a:pt x="105" y="159"/>
                  </a:lnTo>
                  <a:lnTo>
                    <a:pt x="103" y="158"/>
                  </a:lnTo>
                  <a:lnTo>
                    <a:pt x="100" y="158"/>
                  </a:lnTo>
                  <a:lnTo>
                    <a:pt x="98" y="158"/>
                  </a:lnTo>
                  <a:lnTo>
                    <a:pt x="95" y="158"/>
                  </a:lnTo>
                  <a:lnTo>
                    <a:pt x="95" y="161"/>
                  </a:lnTo>
                  <a:lnTo>
                    <a:pt x="99" y="161"/>
                  </a:lnTo>
                  <a:lnTo>
                    <a:pt x="101" y="161"/>
                  </a:lnTo>
                  <a:lnTo>
                    <a:pt x="104" y="161"/>
                  </a:lnTo>
                  <a:lnTo>
                    <a:pt x="101" y="161"/>
                  </a:lnTo>
                  <a:lnTo>
                    <a:pt x="99" y="162"/>
                  </a:lnTo>
                  <a:lnTo>
                    <a:pt x="95" y="162"/>
                  </a:lnTo>
                  <a:lnTo>
                    <a:pt x="93" y="162"/>
                  </a:lnTo>
                  <a:lnTo>
                    <a:pt x="90" y="162"/>
                  </a:lnTo>
                  <a:lnTo>
                    <a:pt x="87" y="164"/>
                  </a:lnTo>
                  <a:lnTo>
                    <a:pt x="87" y="167"/>
                  </a:lnTo>
                  <a:lnTo>
                    <a:pt x="93" y="166"/>
                  </a:lnTo>
                  <a:lnTo>
                    <a:pt x="95" y="166"/>
                  </a:lnTo>
                  <a:lnTo>
                    <a:pt x="95" y="167"/>
                  </a:lnTo>
                  <a:lnTo>
                    <a:pt x="93" y="167"/>
                  </a:lnTo>
                  <a:lnTo>
                    <a:pt x="91" y="169"/>
                  </a:lnTo>
                  <a:lnTo>
                    <a:pt x="93" y="169"/>
                  </a:lnTo>
                  <a:lnTo>
                    <a:pt x="91" y="171"/>
                  </a:lnTo>
                  <a:lnTo>
                    <a:pt x="93" y="173"/>
                  </a:lnTo>
                  <a:lnTo>
                    <a:pt x="95" y="175"/>
                  </a:lnTo>
                  <a:lnTo>
                    <a:pt x="95" y="175"/>
                  </a:lnTo>
                  <a:lnTo>
                    <a:pt x="95" y="175"/>
                  </a:lnTo>
                  <a:lnTo>
                    <a:pt x="95" y="175"/>
                  </a:lnTo>
                  <a:lnTo>
                    <a:pt x="95" y="176"/>
                  </a:lnTo>
                  <a:lnTo>
                    <a:pt x="94" y="176"/>
                  </a:lnTo>
                  <a:lnTo>
                    <a:pt x="91" y="176"/>
                  </a:lnTo>
                  <a:lnTo>
                    <a:pt x="88" y="177"/>
                  </a:lnTo>
                  <a:lnTo>
                    <a:pt x="91" y="177"/>
                  </a:lnTo>
                  <a:lnTo>
                    <a:pt x="94" y="179"/>
                  </a:lnTo>
                  <a:lnTo>
                    <a:pt x="95" y="178"/>
                  </a:lnTo>
                  <a:lnTo>
                    <a:pt x="95" y="181"/>
                  </a:lnTo>
                  <a:lnTo>
                    <a:pt x="93" y="181"/>
                  </a:lnTo>
                  <a:lnTo>
                    <a:pt x="90" y="180"/>
                  </a:lnTo>
                  <a:lnTo>
                    <a:pt x="87" y="179"/>
                  </a:lnTo>
                  <a:lnTo>
                    <a:pt x="84" y="179"/>
                  </a:lnTo>
                  <a:lnTo>
                    <a:pt x="84" y="177"/>
                  </a:lnTo>
                  <a:lnTo>
                    <a:pt x="83" y="173"/>
                  </a:lnTo>
                  <a:lnTo>
                    <a:pt x="79" y="171"/>
                  </a:lnTo>
                  <a:lnTo>
                    <a:pt x="77" y="169"/>
                  </a:lnTo>
                  <a:lnTo>
                    <a:pt x="74" y="168"/>
                  </a:lnTo>
                  <a:lnTo>
                    <a:pt x="71" y="167"/>
                  </a:lnTo>
                  <a:lnTo>
                    <a:pt x="69" y="167"/>
                  </a:lnTo>
                  <a:lnTo>
                    <a:pt x="66" y="167"/>
                  </a:lnTo>
                  <a:lnTo>
                    <a:pt x="64" y="167"/>
                  </a:lnTo>
                  <a:lnTo>
                    <a:pt x="60" y="167"/>
                  </a:lnTo>
                  <a:lnTo>
                    <a:pt x="58" y="167"/>
                  </a:lnTo>
                  <a:lnTo>
                    <a:pt x="54" y="168"/>
                  </a:lnTo>
                  <a:lnTo>
                    <a:pt x="52" y="169"/>
                  </a:lnTo>
                  <a:lnTo>
                    <a:pt x="51" y="171"/>
                  </a:lnTo>
                  <a:lnTo>
                    <a:pt x="52" y="175"/>
                  </a:lnTo>
                  <a:lnTo>
                    <a:pt x="54" y="176"/>
                  </a:lnTo>
                  <a:lnTo>
                    <a:pt x="58" y="177"/>
                  </a:lnTo>
                  <a:lnTo>
                    <a:pt x="57" y="179"/>
                  </a:lnTo>
                  <a:lnTo>
                    <a:pt x="58" y="183"/>
                  </a:lnTo>
                  <a:lnTo>
                    <a:pt x="61" y="183"/>
                  </a:lnTo>
                  <a:lnTo>
                    <a:pt x="64" y="181"/>
                  </a:lnTo>
                  <a:lnTo>
                    <a:pt x="67" y="181"/>
                  </a:lnTo>
                  <a:lnTo>
                    <a:pt x="69" y="183"/>
                  </a:lnTo>
                  <a:lnTo>
                    <a:pt x="67" y="183"/>
                  </a:lnTo>
                  <a:lnTo>
                    <a:pt x="64" y="184"/>
                  </a:lnTo>
                  <a:lnTo>
                    <a:pt x="67" y="186"/>
                  </a:lnTo>
                  <a:lnTo>
                    <a:pt x="69" y="187"/>
                  </a:lnTo>
                  <a:lnTo>
                    <a:pt x="73" y="187"/>
                  </a:lnTo>
                  <a:lnTo>
                    <a:pt x="69" y="188"/>
                  </a:lnTo>
                  <a:lnTo>
                    <a:pt x="67" y="187"/>
                  </a:lnTo>
                  <a:lnTo>
                    <a:pt x="64" y="187"/>
                  </a:lnTo>
                  <a:lnTo>
                    <a:pt x="61" y="189"/>
                  </a:lnTo>
                  <a:lnTo>
                    <a:pt x="58" y="188"/>
                  </a:lnTo>
                  <a:lnTo>
                    <a:pt x="56" y="188"/>
                  </a:lnTo>
                  <a:lnTo>
                    <a:pt x="52" y="189"/>
                  </a:lnTo>
                  <a:lnTo>
                    <a:pt x="50" y="188"/>
                  </a:lnTo>
                  <a:lnTo>
                    <a:pt x="47" y="190"/>
                  </a:lnTo>
                  <a:lnTo>
                    <a:pt x="44" y="192"/>
                  </a:lnTo>
                  <a:lnTo>
                    <a:pt x="41" y="193"/>
                  </a:lnTo>
                  <a:lnTo>
                    <a:pt x="35" y="195"/>
                  </a:lnTo>
                  <a:lnTo>
                    <a:pt x="33" y="196"/>
                  </a:lnTo>
                  <a:lnTo>
                    <a:pt x="33" y="199"/>
                  </a:lnTo>
                  <a:lnTo>
                    <a:pt x="34" y="202"/>
                  </a:lnTo>
                  <a:lnTo>
                    <a:pt x="31" y="205"/>
                  </a:lnTo>
                  <a:lnTo>
                    <a:pt x="36" y="209"/>
                  </a:lnTo>
                  <a:lnTo>
                    <a:pt x="40" y="209"/>
                  </a:lnTo>
                  <a:lnTo>
                    <a:pt x="42" y="209"/>
                  </a:lnTo>
                  <a:lnTo>
                    <a:pt x="44" y="205"/>
                  </a:lnTo>
                  <a:lnTo>
                    <a:pt x="45" y="207"/>
                  </a:lnTo>
                  <a:lnTo>
                    <a:pt x="47" y="205"/>
                  </a:lnTo>
                  <a:lnTo>
                    <a:pt x="45" y="203"/>
                  </a:lnTo>
                  <a:lnTo>
                    <a:pt x="44" y="199"/>
                  </a:lnTo>
                  <a:lnTo>
                    <a:pt x="47" y="198"/>
                  </a:lnTo>
                  <a:lnTo>
                    <a:pt x="47" y="202"/>
                  </a:lnTo>
                  <a:lnTo>
                    <a:pt x="48" y="204"/>
                  </a:lnTo>
                  <a:lnTo>
                    <a:pt x="49" y="206"/>
                  </a:lnTo>
                  <a:lnTo>
                    <a:pt x="48" y="210"/>
                  </a:lnTo>
                  <a:lnTo>
                    <a:pt x="50" y="210"/>
                  </a:lnTo>
                  <a:lnTo>
                    <a:pt x="53" y="211"/>
                  </a:lnTo>
                  <a:lnTo>
                    <a:pt x="56" y="210"/>
                  </a:lnTo>
                  <a:lnTo>
                    <a:pt x="59" y="211"/>
                  </a:lnTo>
                  <a:lnTo>
                    <a:pt x="61" y="211"/>
                  </a:lnTo>
                  <a:lnTo>
                    <a:pt x="60" y="207"/>
                  </a:lnTo>
                  <a:lnTo>
                    <a:pt x="60" y="205"/>
                  </a:lnTo>
                  <a:lnTo>
                    <a:pt x="62" y="207"/>
                  </a:lnTo>
                  <a:lnTo>
                    <a:pt x="66" y="210"/>
                  </a:lnTo>
                  <a:lnTo>
                    <a:pt x="69" y="210"/>
                  </a:lnTo>
                  <a:lnTo>
                    <a:pt x="71" y="210"/>
                  </a:lnTo>
                  <a:lnTo>
                    <a:pt x="73" y="207"/>
                  </a:lnTo>
                  <a:lnTo>
                    <a:pt x="75" y="205"/>
                  </a:lnTo>
                  <a:lnTo>
                    <a:pt x="73" y="203"/>
                  </a:lnTo>
                  <a:lnTo>
                    <a:pt x="75" y="204"/>
                  </a:lnTo>
                  <a:lnTo>
                    <a:pt x="78" y="206"/>
                  </a:lnTo>
                  <a:lnTo>
                    <a:pt x="75" y="207"/>
                  </a:lnTo>
                  <a:lnTo>
                    <a:pt x="77" y="210"/>
                  </a:lnTo>
                  <a:lnTo>
                    <a:pt x="81" y="210"/>
                  </a:lnTo>
                  <a:lnTo>
                    <a:pt x="83" y="211"/>
                  </a:lnTo>
                  <a:lnTo>
                    <a:pt x="86" y="211"/>
                  </a:lnTo>
                  <a:lnTo>
                    <a:pt x="88" y="212"/>
                  </a:lnTo>
                  <a:lnTo>
                    <a:pt x="92" y="212"/>
                  </a:lnTo>
                  <a:lnTo>
                    <a:pt x="94" y="212"/>
                  </a:lnTo>
                  <a:lnTo>
                    <a:pt x="98" y="212"/>
                  </a:lnTo>
                  <a:lnTo>
                    <a:pt x="100" y="212"/>
                  </a:lnTo>
                  <a:lnTo>
                    <a:pt x="103" y="211"/>
                  </a:lnTo>
                  <a:lnTo>
                    <a:pt x="98" y="210"/>
                  </a:lnTo>
                  <a:lnTo>
                    <a:pt x="95" y="207"/>
                  </a:lnTo>
                  <a:lnTo>
                    <a:pt x="95" y="205"/>
                  </a:lnTo>
                  <a:lnTo>
                    <a:pt x="98" y="206"/>
                  </a:lnTo>
                  <a:lnTo>
                    <a:pt x="100" y="209"/>
                  </a:lnTo>
                  <a:lnTo>
                    <a:pt x="103" y="209"/>
                  </a:lnTo>
                  <a:lnTo>
                    <a:pt x="105" y="207"/>
                  </a:lnTo>
                  <a:lnTo>
                    <a:pt x="105" y="205"/>
                  </a:lnTo>
                  <a:lnTo>
                    <a:pt x="104" y="202"/>
                  </a:lnTo>
                  <a:lnTo>
                    <a:pt x="108" y="203"/>
                  </a:lnTo>
                  <a:lnTo>
                    <a:pt x="109" y="206"/>
                  </a:lnTo>
                  <a:lnTo>
                    <a:pt x="111" y="207"/>
                  </a:lnTo>
                  <a:lnTo>
                    <a:pt x="113" y="209"/>
                  </a:lnTo>
                  <a:lnTo>
                    <a:pt x="117" y="209"/>
                  </a:lnTo>
                  <a:lnTo>
                    <a:pt x="119" y="209"/>
                  </a:lnTo>
                  <a:lnTo>
                    <a:pt x="119" y="206"/>
                  </a:lnTo>
                  <a:lnTo>
                    <a:pt x="117" y="203"/>
                  </a:lnTo>
                  <a:lnTo>
                    <a:pt x="117" y="201"/>
                  </a:lnTo>
                  <a:lnTo>
                    <a:pt x="119" y="203"/>
                  </a:lnTo>
                  <a:lnTo>
                    <a:pt x="121" y="205"/>
                  </a:lnTo>
                  <a:lnTo>
                    <a:pt x="121" y="209"/>
                  </a:lnTo>
                  <a:lnTo>
                    <a:pt x="125" y="210"/>
                  </a:lnTo>
                  <a:lnTo>
                    <a:pt x="130" y="210"/>
                  </a:lnTo>
                  <a:lnTo>
                    <a:pt x="133" y="206"/>
                  </a:lnTo>
                  <a:lnTo>
                    <a:pt x="134" y="204"/>
                  </a:lnTo>
                  <a:lnTo>
                    <a:pt x="130" y="203"/>
                  </a:lnTo>
                  <a:lnTo>
                    <a:pt x="128" y="202"/>
                  </a:lnTo>
                  <a:lnTo>
                    <a:pt x="127" y="198"/>
                  </a:lnTo>
                  <a:lnTo>
                    <a:pt x="129" y="201"/>
                  </a:lnTo>
                  <a:lnTo>
                    <a:pt x="133" y="203"/>
                  </a:lnTo>
                  <a:lnTo>
                    <a:pt x="135" y="203"/>
                  </a:lnTo>
                  <a:lnTo>
                    <a:pt x="138" y="202"/>
                  </a:lnTo>
                  <a:lnTo>
                    <a:pt x="135" y="204"/>
                  </a:lnTo>
                  <a:lnTo>
                    <a:pt x="135" y="206"/>
                  </a:lnTo>
                  <a:lnTo>
                    <a:pt x="138" y="207"/>
                  </a:lnTo>
                  <a:lnTo>
                    <a:pt x="141" y="207"/>
                  </a:lnTo>
                  <a:lnTo>
                    <a:pt x="144" y="207"/>
                  </a:lnTo>
                  <a:lnTo>
                    <a:pt x="146" y="206"/>
                  </a:lnTo>
                  <a:lnTo>
                    <a:pt x="150" y="207"/>
                  </a:lnTo>
                  <a:lnTo>
                    <a:pt x="153" y="209"/>
                  </a:lnTo>
                  <a:lnTo>
                    <a:pt x="151" y="211"/>
                  </a:lnTo>
                  <a:lnTo>
                    <a:pt x="149" y="214"/>
                  </a:lnTo>
                  <a:lnTo>
                    <a:pt x="150" y="216"/>
                  </a:lnTo>
                  <a:lnTo>
                    <a:pt x="155" y="215"/>
                  </a:lnTo>
                  <a:lnTo>
                    <a:pt x="158" y="215"/>
                  </a:lnTo>
                  <a:lnTo>
                    <a:pt x="161" y="214"/>
                  </a:lnTo>
                  <a:lnTo>
                    <a:pt x="163" y="214"/>
                  </a:lnTo>
                  <a:lnTo>
                    <a:pt x="165" y="213"/>
                  </a:lnTo>
                  <a:lnTo>
                    <a:pt x="168" y="212"/>
                  </a:lnTo>
                  <a:lnTo>
                    <a:pt x="170" y="212"/>
                  </a:lnTo>
                  <a:lnTo>
                    <a:pt x="173" y="212"/>
                  </a:lnTo>
                  <a:lnTo>
                    <a:pt x="175" y="209"/>
                  </a:lnTo>
                  <a:lnTo>
                    <a:pt x="178" y="207"/>
                  </a:lnTo>
                  <a:lnTo>
                    <a:pt x="180" y="204"/>
                  </a:lnTo>
                  <a:lnTo>
                    <a:pt x="182" y="205"/>
                  </a:lnTo>
                  <a:lnTo>
                    <a:pt x="182" y="207"/>
                  </a:lnTo>
                  <a:lnTo>
                    <a:pt x="186" y="206"/>
                  </a:lnTo>
                  <a:lnTo>
                    <a:pt x="188" y="205"/>
                  </a:lnTo>
                  <a:lnTo>
                    <a:pt x="190" y="203"/>
                  </a:lnTo>
                  <a:lnTo>
                    <a:pt x="193" y="201"/>
                  </a:lnTo>
                  <a:lnTo>
                    <a:pt x="194" y="198"/>
                  </a:lnTo>
                  <a:lnTo>
                    <a:pt x="193" y="195"/>
                  </a:lnTo>
                  <a:lnTo>
                    <a:pt x="190" y="193"/>
                  </a:lnTo>
                  <a:lnTo>
                    <a:pt x="188" y="192"/>
                  </a:lnTo>
                  <a:lnTo>
                    <a:pt x="185" y="193"/>
                  </a:lnTo>
                  <a:lnTo>
                    <a:pt x="182" y="195"/>
                  </a:lnTo>
                  <a:lnTo>
                    <a:pt x="180" y="197"/>
                  </a:lnTo>
                  <a:lnTo>
                    <a:pt x="177" y="197"/>
                  </a:lnTo>
                  <a:lnTo>
                    <a:pt x="178" y="194"/>
                  </a:lnTo>
                  <a:lnTo>
                    <a:pt x="175" y="194"/>
                  </a:lnTo>
                  <a:lnTo>
                    <a:pt x="171" y="194"/>
                  </a:lnTo>
                  <a:lnTo>
                    <a:pt x="175" y="192"/>
                  </a:lnTo>
                  <a:lnTo>
                    <a:pt x="177" y="189"/>
                  </a:lnTo>
                  <a:lnTo>
                    <a:pt x="175" y="186"/>
                  </a:lnTo>
                  <a:lnTo>
                    <a:pt x="171" y="186"/>
                  </a:lnTo>
                  <a:lnTo>
                    <a:pt x="169" y="185"/>
                  </a:lnTo>
                  <a:lnTo>
                    <a:pt x="165" y="186"/>
                  </a:lnTo>
                  <a:lnTo>
                    <a:pt x="163" y="187"/>
                  </a:lnTo>
                  <a:lnTo>
                    <a:pt x="162" y="188"/>
                  </a:lnTo>
                  <a:lnTo>
                    <a:pt x="159" y="189"/>
                  </a:lnTo>
                  <a:lnTo>
                    <a:pt x="161" y="186"/>
                  </a:lnTo>
                  <a:lnTo>
                    <a:pt x="158" y="186"/>
                  </a:lnTo>
                  <a:lnTo>
                    <a:pt x="155" y="185"/>
                  </a:lnTo>
                  <a:lnTo>
                    <a:pt x="150" y="184"/>
                  </a:lnTo>
                  <a:lnTo>
                    <a:pt x="146" y="185"/>
                  </a:lnTo>
                  <a:lnTo>
                    <a:pt x="144" y="186"/>
                  </a:lnTo>
                  <a:lnTo>
                    <a:pt x="141" y="187"/>
                  </a:lnTo>
                  <a:lnTo>
                    <a:pt x="138" y="187"/>
                  </a:lnTo>
                  <a:lnTo>
                    <a:pt x="136" y="185"/>
                  </a:lnTo>
                  <a:lnTo>
                    <a:pt x="134" y="184"/>
                  </a:lnTo>
                  <a:lnTo>
                    <a:pt x="136" y="184"/>
                  </a:lnTo>
                  <a:lnTo>
                    <a:pt x="139" y="184"/>
                  </a:lnTo>
                  <a:lnTo>
                    <a:pt x="142" y="184"/>
                  </a:lnTo>
                  <a:lnTo>
                    <a:pt x="145" y="181"/>
                  </a:lnTo>
                  <a:lnTo>
                    <a:pt x="142" y="181"/>
                  </a:lnTo>
                  <a:lnTo>
                    <a:pt x="139" y="179"/>
                  </a:lnTo>
                  <a:lnTo>
                    <a:pt x="141" y="177"/>
                  </a:lnTo>
                  <a:lnTo>
                    <a:pt x="138" y="173"/>
                  </a:lnTo>
                  <a:lnTo>
                    <a:pt x="141" y="176"/>
                  </a:lnTo>
                  <a:lnTo>
                    <a:pt x="144" y="178"/>
                  </a:lnTo>
                  <a:lnTo>
                    <a:pt x="146" y="180"/>
                  </a:lnTo>
                  <a:lnTo>
                    <a:pt x="150" y="181"/>
                  </a:lnTo>
                  <a:lnTo>
                    <a:pt x="152" y="183"/>
                  </a:lnTo>
                  <a:lnTo>
                    <a:pt x="155" y="184"/>
                  </a:lnTo>
                  <a:lnTo>
                    <a:pt x="158" y="184"/>
                  </a:lnTo>
                  <a:lnTo>
                    <a:pt x="161" y="184"/>
                  </a:lnTo>
                  <a:lnTo>
                    <a:pt x="163" y="184"/>
                  </a:lnTo>
                  <a:lnTo>
                    <a:pt x="164" y="184"/>
                  </a:lnTo>
                  <a:lnTo>
                    <a:pt x="167" y="184"/>
                  </a:lnTo>
                  <a:lnTo>
                    <a:pt x="170" y="184"/>
                  </a:lnTo>
                  <a:lnTo>
                    <a:pt x="172" y="184"/>
                  </a:lnTo>
                  <a:lnTo>
                    <a:pt x="176" y="184"/>
                  </a:lnTo>
                  <a:lnTo>
                    <a:pt x="178" y="181"/>
                  </a:lnTo>
                  <a:lnTo>
                    <a:pt x="181" y="184"/>
                  </a:lnTo>
                  <a:lnTo>
                    <a:pt x="184" y="181"/>
                  </a:lnTo>
                  <a:lnTo>
                    <a:pt x="187" y="180"/>
                  </a:lnTo>
                  <a:lnTo>
                    <a:pt x="189" y="179"/>
                  </a:lnTo>
                  <a:lnTo>
                    <a:pt x="190" y="176"/>
                  </a:lnTo>
                  <a:lnTo>
                    <a:pt x="194" y="175"/>
                  </a:lnTo>
                  <a:lnTo>
                    <a:pt x="190" y="171"/>
                  </a:lnTo>
                  <a:lnTo>
                    <a:pt x="192" y="169"/>
                  </a:lnTo>
                  <a:lnTo>
                    <a:pt x="188" y="167"/>
                  </a:lnTo>
                  <a:lnTo>
                    <a:pt x="185" y="166"/>
                  </a:lnTo>
                  <a:lnTo>
                    <a:pt x="188" y="163"/>
                  </a:lnTo>
                  <a:lnTo>
                    <a:pt x="190" y="164"/>
                  </a:lnTo>
                  <a:lnTo>
                    <a:pt x="194" y="164"/>
                  </a:lnTo>
                  <a:lnTo>
                    <a:pt x="196" y="164"/>
                  </a:lnTo>
                  <a:lnTo>
                    <a:pt x="202" y="164"/>
                  </a:lnTo>
                  <a:lnTo>
                    <a:pt x="205" y="166"/>
                  </a:lnTo>
                  <a:lnTo>
                    <a:pt x="207" y="164"/>
                  </a:lnTo>
                  <a:lnTo>
                    <a:pt x="211" y="164"/>
                  </a:lnTo>
                  <a:lnTo>
                    <a:pt x="213" y="163"/>
                  </a:lnTo>
                  <a:lnTo>
                    <a:pt x="216" y="163"/>
                  </a:lnTo>
                  <a:lnTo>
                    <a:pt x="219" y="164"/>
                  </a:lnTo>
                  <a:lnTo>
                    <a:pt x="222" y="162"/>
                  </a:lnTo>
                  <a:lnTo>
                    <a:pt x="222" y="159"/>
                  </a:lnTo>
                  <a:lnTo>
                    <a:pt x="219" y="159"/>
                  </a:lnTo>
                  <a:lnTo>
                    <a:pt x="216" y="159"/>
                  </a:lnTo>
                  <a:lnTo>
                    <a:pt x="214" y="159"/>
                  </a:lnTo>
                  <a:lnTo>
                    <a:pt x="211" y="159"/>
                  </a:lnTo>
                  <a:lnTo>
                    <a:pt x="209" y="156"/>
                  </a:lnTo>
                  <a:lnTo>
                    <a:pt x="211" y="155"/>
                  </a:lnTo>
                  <a:lnTo>
                    <a:pt x="213" y="156"/>
                  </a:lnTo>
                  <a:lnTo>
                    <a:pt x="216" y="156"/>
                  </a:lnTo>
                  <a:lnTo>
                    <a:pt x="219" y="156"/>
                  </a:lnTo>
                  <a:lnTo>
                    <a:pt x="222" y="156"/>
                  </a:lnTo>
                  <a:lnTo>
                    <a:pt x="224" y="156"/>
                  </a:lnTo>
                  <a:lnTo>
                    <a:pt x="228" y="154"/>
                  </a:lnTo>
                  <a:lnTo>
                    <a:pt x="230" y="152"/>
                  </a:lnTo>
                  <a:lnTo>
                    <a:pt x="228" y="151"/>
                  </a:lnTo>
                  <a:lnTo>
                    <a:pt x="224" y="150"/>
                  </a:lnTo>
                  <a:lnTo>
                    <a:pt x="222" y="150"/>
                  </a:lnTo>
                  <a:lnTo>
                    <a:pt x="219" y="150"/>
                  </a:lnTo>
                  <a:lnTo>
                    <a:pt x="215" y="149"/>
                  </a:lnTo>
                  <a:lnTo>
                    <a:pt x="213" y="147"/>
                  </a:lnTo>
                  <a:lnTo>
                    <a:pt x="210" y="147"/>
                  </a:lnTo>
                  <a:lnTo>
                    <a:pt x="213" y="146"/>
                  </a:lnTo>
                  <a:lnTo>
                    <a:pt x="216" y="147"/>
                  </a:lnTo>
                  <a:lnTo>
                    <a:pt x="219" y="147"/>
                  </a:lnTo>
                  <a:lnTo>
                    <a:pt x="224" y="147"/>
                  </a:lnTo>
                  <a:lnTo>
                    <a:pt x="228" y="147"/>
                  </a:lnTo>
                  <a:lnTo>
                    <a:pt x="231" y="147"/>
                  </a:lnTo>
                  <a:lnTo>
                    <a:pt x="233" y="146"/>
                  </a:lnTo>
                  <a:lnTo>
                    <a:pt x="236" y="145"/>
                  </a:lnTo>
                  <a:lnTo>
                    <a:pt x="233" y="144"/>
                  </a:lnTo>
                  <a:lnTo>
                    <a:pt x="235" y="141"/>
                  </a:lnTo>
                  <a:lnTo>
                    <a:pt x="235" y="138"/>
                  </a:lnTo>
                  <a:lnTo>
                    <a:pt x="232" y="137"/>
                  </a:lnTo>
                  <a:lnTo>
                    <a:pt x="229" y="136"/>
                  </a:lnTo>
                  <a:lnTo>
                    <a:pt x="227" y="136"/>
                  </a:lnTo>
                  <a:lnTo>
                    <a:pt x="223" y="136"/>
                  </a:lnTo>
                  <a:lnTo>
                    <a:pt x="221" y="136"/>
                  </a:lnTo>
                  <a:lnTo>
                    <a:pt x="218" y="137"/>
                  </a:lnTo>
                  <a:lnTo>
                    <a:pt x="215" y="136"/>
                  </a:lnTo>
                  <a:lnTo>
                    <a:pt x="212" y="137"/>
                  </a:lnTo>
                  <a:lnTo>
                    <a:pt x="215" y="136"/>
                  </a:lnTo>
                  <a:lnTo>
                    <a:pt x="218" y="136"/>
                  </a:lnTo>
                  <a:lnTo>
                    <a:pt x="221" y="134"/>
                  </a:lnTo>
                  <a:lnTo>
                    <a:pt x="218" y="133"/>
                  </a:lnTo>
                  <a:lnTo>
                    <a:pt x="215" y="133"/>
                  </a:lnTo>
                  <a:lnTo>
                    <a:pt x="213" y="133"/>
                  </a:lnTo>
                  <a:lnTo>
                    <a:pt x="206" y="133"/>
                  </a:lnTo>
                  <a:lnTo>
                    <a:pt x="201" y="134"/>
                  </a:lnTo>
                  <a:lnTo>
                    <a:pt x="197" y="134"/>
                  </a:lnTo>
                  <a:lnTo>
                    <a:pt x="195" y="134"/>
                  </a:lnTo>
                  <a:lnTo>
                    <a:pt x="192" y="136"/>
                  </a:lnTo>
                  <a:lnTo>
                    <a:pt x="189" y="138"/>
                  </a:lnTo>
                  <a:lnTo>
                    <a:pt x="187" y="139"/>
                  </a:lnTo>
                  <a:lnTo>
                    <a:pt x="188" y="137"/>
                  </a:lnTo>
                  <a:lnTo>
                    <a:pt x="192" y="135"/>
                  </a:lnTo>
                  <a:lnTo>
                    <a:pt x="194" y="132"/>
                  </a:lnTo>
                  <a:lnTo>
                    <a:pt x="192" y="132"/>
                  </a:lnTo>
                  <a:lnTo>
                    <a:pt x="188" y="132"/>
                  </a:lnTo>
                  <a:lnTo>
                    <a:pt x="185" y="132"/>
                  </a:lnTo>
                  <a:lnTo>
                    <a:pt x="182" y="132"/>
                  </a:lnTo>
                  <a:lnTo>
                    <a:pt x="179" y="132"/>
                  </a:lnTo>
                  <a:lnTo>
                    <a:pt x="185" y="130"/>
                  </a:lnTo>
                  <a:lnTo>
                    <a:pt x="188" y="132"/>
                  </a:lnTo>
                  <a:lnTo>
                    <a:pt x="192" y="132"/>
                  </a:lnTo>
                  <a:lnTo>
                    <a:pt x="194" y="132"/>
                  </a:lnTo>
                  <a:lnTo>
                    <a:pt x="197" y="133"/>
                  </a:lnTo>
                  <a:lnTo>
                    <a:pt x="199" y="132"/>
                  </a:lnTo>
                  <a:lnTo>
                    <a:pt x="203" y="132"/>
                  </a:lnTo>
                  <a:lnTo>
                    <a:pt x="209" y="130"/>
                  </a:lnTo>
                  <a:lnTo>
                    <a:pt x="211" y="130"/>
                  </a:lnTo>
                  <a:lnTo>
                    <a:pt x="214" y="130"/>
                  </a:lnTo>
                  <a:lnTo>
                    <a:pt x="216" y="130"/>
                  </a:lnTo>
                  <a:lnTo>
                    <a:pt x="214" y="129"/>
                  </a:lnTo>
                  <a:lnTo>
                    <a:pt x="211" y="129"/>
                  </a:lnTo>
                  <a:lnTo>
                    <a:pt x="209" y="128"/>
                  </a:lnTo>
                  <a:lnTo>
                    <a:pt x="205" y="128"/>
                  </a:lnTo>
                  <a:lnTo>
                    <a:pt x="203" y="128"/>
                  </a:lnTo>
                  <a:lnTo>
                    <a:pt x="199" y="128"/>
                  </a:lnTo>
                  <a:lnTo>
                    <a:pt x="196" y="128"/>
                  </a:lnTo>
                  <a:lnTo>
                    <a:pt x="194" y="127"/>
                  </a:lnTo>
                  <a:lnTo>
                    <a:pt x="192" y="127"/>
                  </a:lnTo>
                  <a:lnTo>
                    <a:pt x="188" y="127"/>
                  </a:lnTo>
                  <a:lnTo>
                    <a:pt x="192" y="127"/>
                  </a:lnTo>
                  <a:lnTo>
                    <a:pt x="194" y="127"/>
                  </a:lnTo>
                  <a:lnTo>
                    <a:pt x="197" y="127"/>
                  </a:lnTo>
                  <a:lnTo>
                    <a:pt x="201" y="127"/>
                  </a:lnTo>
                  <a:lnTo>
                    <a:pt x="203" y="127"/>
                  </a:lnTo>
                  <a:lnTo>
                    <a:pt x="206" y="127"/>
                  </a:lnTo>
                  <a:lnTo>
                    <a:pt x="210" y="127"/>
                  </a:lnTo>
                  <a:lnTo>
                    <a:pt x="212" y="127"/>
                  </a:lnTo>
                  <a:lnTo>
                    <a:pt x="214" y="127"/>
                  </a:lnTo>
                  <a:lnTo>
                    <a:pt x="218" y="127"/>
                  </a:lnTo>
                  <a:lnTo>
                    <a:pt x="220" y="130"/>
                  </a:lnTo>
                  <a:lnTo>
                    <a:pt x="223" y="132"/>
                  </a:lnTo>
                  <a:lnTo>
                    <a:pt x="226" y="132"/>
                  </a:lnTo>
                  <a:lnTo>
                    <a:pt x="229" y="132"/>
                  </a:lnTo>
                  <a:lnTo>
                    <a:pt x="231" y="132"/>
                  </a:lnTo>
                  <a:lnTo>
                    <a:pt x="233" y="132"/>
                  </a:lnTo>
                  <a:lnTo>
                    <a:pt x="236" y="133"/>
                  </a:lnTo>
                  <a:lnTo>
                    <a:pt x="239" y="132"/>
                  </a:lnTo>
                  <a:lnTo>
                    <a:pt x="237" y="129"/>
                  </a:lnTo>
                  <a:lnTo>
                    <a:pt x="235" y="127"/>
                  </a:lnTo>
                  <a:lnTo>
                    <a:pt x="237" y="126"/>
                  </a:lnTo>
                  <a:lnTo>
                    <a:pt x="235" y="126"/>
                  </a:lnTo>
                  <a:lnTo>
                    <a:pt x="231" y="126"/>
                  </a:lnTo>
                  <a:lnTo>
                    <a:pt x="229" y="126"/>
                  </a:lnTo>
                  <a:lnTo>
                    <a:pt x="223" y="126"/>
                  </a:lnTo>
                  <a:lnTo>
                    <a:pt x="220" y="126"/>
                  </a:lnTo>
                  <a:lnTo>
                    <a:pt x="218" y="125"/>
                  </a:lnTo>
                  <a:lnTo>
                    <a:pt x="214" y="125"/>
                  </a:lnTo>
                  <a:lnTo>
                    <a:pt x="212" y="125"/>
                  </a:lnTo>
                  <a:lnTo>
                    <a:pt x="206" y="125"/>
                  </a:lnTo>
                  <a:lnTo>
                    <a:pt x="203" y="125"/>
                  </a:lnTo>
                  <a:lnTo>
                    <a:pt x="201" y="125"/>
                  </a:lnTo>
                  <a:lnTo>
                    <a:pt x="197" y="124"/>
                  </a:lnTo>
                  <a:lnTo>
                    <a:pt x="195" y="124"/>
                  </a:lnTo>
                  <a:lnTo>
                    <a:pt x="192" y="122"/>
                  </a:lnTo>
                  <a:lnTo>
                    <a:pt x="195" y="122"/>
                  </a:lnTo>
                  <a:lnTo>
                    <a:pt x="198" y="122"/>
                  </a:lnTo>
                  <a:lnTo>
                    <a:pt x="201" y="122"/>
                  </a:lnTo>
                  <a:lnTo>
                    <a:pt x="201" y="119"/>
                  </a:lnTo>
                  <a:lnTo>
                    <a:pt x="203" y="121"/>
                  </a:lnTo>
                  <a:lnTo>
                    <a:pt x="206" y="122"/>
                  </a:lnTo>
                  <a:lnTo>
                    <a:pt x="210" y="122"/>
                  </a:lnTo>
                  <a:lnTo>
                    <a:pt x="212" y="122"/>
                  </a:lnTo>
                  <a:lnTo>
                    <a:pt x="214" y="122"/>
                  </a:lnTo>
                  <a:lnTo>
                    <a:pt x="218" y="121"/>
                  </a:lnTo>
                  <a:lnTo>
                    <a:pt x="214" y="119"/>
                  </a:lnTo>
                  <a:lnTo>
                    <a:pt x="212" y="119"/>
                  </a:lnTo>
                  <a:lnTo>
                    <a:pt x="210" y="119"/>
                  </a:lnTo>
                  <a:lnTo>
                    <a:pt x="206" y="118"/>
                  </a:lnTo>
                  <a:lnTo>
                    <a:pt x="204" y="117"/>
                  </a:lnTo>
                  <a:lnTo>
                    <a:pt x="206" y="118"/>
                  </a:lnTo>
                  <a:lnTo>
                    <a:pt x="210" y="117"/>
                  </a:lnTo>
                  <a:lnTo>
                    <a:pt x="212" y="118"/>
                  </a:lnTo>
                  <a:lnTo>
                    <a:pt x="215" y="118"/>
                  </a:lnTo>
                  <a:lnTo>
                    <a:pt x="218" y="120"/>
                  </a:lnTo>
                  <a:lnTo>
                    <a:pt x="221" y="119"/>
                  </a:lnTo>
                  <a:lnTo>
                    <a:pt x="223" y="120"/>
                  </a:lnTo>
                  <a:lnTo>
                    <a:pt x="226" y="121"/>
                  </a:lnTo>
                  <a:lnTo>
                    <a:pt x="229" y="121"/>
                  </a:lnTo>
                  <a:lnTo>
                    <a:pt x="231" y="121"/>
                  </a:lnTo>
                  <a:lnTo>
                    <a:pt x="231" y="119"/>
                  </a:lnTo>
                  <a:lnTo>
                    <a:pt x="235" y="119"/>
                  </a:lnTo>
                  <a:lnTo>
                    <a:pt x="237" y="119"/>
                  </a:lnTo>
                  <a:lnTo>
                    <a:pt x="240" y="119"/>
                  </a:lnTo>
                  <a:lnTo>
                    <a:pt x="244" y="119"/>
                  </a:lnTo>
                  <a:lnTo>
                    <a:pt x="246" y="119"/>
                  </a:lnTo>
                  <a:lnTo>
                    <a:pt x="246" y="116"/>
                  </a:lnTo>
                  <a:lnTo>
                    <a:pt x="248" y="118"/>
                  </a:lnTo>
                  <a:lnTo>
                    <a:pt x="252" y="118"/>
                  </a:lnTo>
                  <a:lnTo>
                    <a:pt x="255" y="118"/>
                  </a:lnTo>
                  <a:lnTo>
                    <a:pt x="257" y="116"/>
                  </a:lnTo>
                  <a:lnTo>
                    <a:pt x="257" y="113"/>
                  </a:lnTo>
                  <a:lnTo>
                    <a:pt x="254" y="111"/>
                  </a:lnTo>
                  <a:lnTo>
                    <a:pt x="252" y="110"/>
                  </a:lnTo>
                  <a:lnTo>
                    <a:pt x="248" y="110"/>
                  </a:lnTo>
                  <a:lnTo>
                    <a:pt x="246" y="109"/>
                  </a:lnTo>
                  <a:lnTo>
                    <a:pt x="243" y="109"/>
                  </a:lnTo>
                  <a:lnTo>
                    <a:pt x="239" y="109"/>
                  </a:lnTo>
                  <a:lnTo>
                    <a:pt x="237" y="109"/>
                  </a:lnTo>
                  <a:lnTo>
                    <a:pt x="233" y="107"/>
                  </a:lnTo>
                  <a:lnTo>
                    <a:pt x="239" y="107"/>
                  </a:lnTo>
                  <a:lnTo>
                    <a:pt x="243" y="105"/>
                  </a:lnTo>
                  <a:lnTo>
                    <a:pt x="245" y="105"/>
                  </a:lnTo>
                  <a:lnTo>
                    <a:pt x="252" y="108"/>
                  </a:lnTo>
                  <a:lnTo>
                    <a:pt x="254" y="108"/>
                  </a:lnTo>
                  <a:lnTo>
                    <a:pt x="257" y="108"/>
                  </a:lnTo>
                  <a:lnTo>
                    <a:pt x="260" y="108"/>
                  </a:lnTo>
                  <a:lnTo>
                    <a:pt x="260" y="110"/>
                  </a:lnTo>
                  <a:lnTo>
                    <a:pt x="263" y="112"/>
                  </a:lnTo>
                  <a:lnTo>
                    <a:pt x="265" y="112"/>
                  </a:lnTo>
                  <a:lnTo>
                    <a:pt x="269" y="112"/>
                  </a:lnTo>
                  <a:lnTo>
                    <a:pt x="271" y="112"/>
                  </a:lnTo>
                  <a:lnTo>
                    <a:pt x="274" y="111"/>
                  </a:lnTo>
                  <a:lnTo>
                    <a:pt x="277" y="111"/>
                  </a:lnTo>
                  <a:lnTo>
                    <a:pt x="280" y="110"/>
                  </a:lnTo>
                  <a:lnTo>
                    <a:pt x="282" y="110"/>
                  </a:lnTo>
                  <a:lnTo>
                    <a:pt x="286" y="108"/>
                  </a:lnTo>
                  <a:lnTo>
                    <a:pt x="287" y="105"/>
                  </a:lnTo>
                  <a:lnTo>
                    <a:pt x="283" y="105"/>
                  </a:lnTo>
                  <a:lnTo>
                    <a:pt x="281" y="105"/>
                  </a:lnTo>
                  <a:lnTo>
                    <a:pt x="283" y="103"/>
                  </a:lnTo>
                  <a:lnTo>
                    <a:pt x="287" y="103"/>
                  </a:lnTo>
                  <a:lnTo>
                    <a:pt x="290" y="103"/>
                  </a:lnTo>
                  <a:lnTo>
                    <a:pt x="291" y="102"/>
                  </a:lnTo>
                  <a:lnTo>
                    <a:pt x="290" y="102"/>
                  </a:lnTo>
                  <a:lnTo>
                    <a:pt x="292" y="100"/>
                  </a:lnTo>
                  <a:lnTo>
                    <a:pt x="290" y="98"/>
                  </a:lnTo>
                  <a:lnTo>
                    <a:pt x="284" y="99"/>
                  </a:lnTo>
                  <a:lnTo>
                    <a:pt x="281" y="100"/>
                  </a:lnTo>
                  <a:lnTo>
                    <a:pt x="278" y="100"/>
                  </a:lnTo>
                  <a:lnTo>
                    <a:pt x="275" y="100"/>
                  </a:lnTo>
                  <a:lnTo>
                    <a:pt x="272" y="101"/>
                  </a:lnTo>
                  <a:lnTo>
                    <a:pt x="270" y="101"/>
                  </a:lnTo>
                  <a:lnTo>
                    <a:pt x="266" y="100"/>
                  </a:lnTo>
                  <a:lnTo>
                    <a:pt x="272" y="100"/>
                  </a:lnTo>
                  <a:lnTo>
                    <a:pt x="270" y="98"/>
                  </a:lnTo>
                  <a:lnTo>
                    <a:pt x="266" y="96"/>
                  </a:lnTo>
                  <a:lnTo>
                    <a:pt x="269" y="96"/>
                  </a:lnTo>
                  <a:lnTo>
                    <a:pt x="272" y="96"/>
                  </a:lnTo>
                  <a:lnTo>
                    <a:pt x="274" y="99"/>
                  </a:lnTo>
                  <a:lnTo>
                    <a:pt x="278" y="99"/>
                  </a:lnTo>
                  <a:lnTo>
                    <a:pt x="280" y="98"/>
                  </a:lnTo>
                  <a:lnTo>
                    <a:pt x="283" y="98"/>
                  </a:lnTo>
                  <a:lnTo>
                    <a:pt x="286" y="96"/>
                  </a:lnTo>
                  <a:lnTo>
                    <a:pt x="289" y="96"/>
                  </a:lnTo>
                  <a:lnTo>
                    <a:pt x="291" y="96"/>
                  </a:lnTo>
                  <a:lnTo>
                    <a:pt x="298" y="96"/>
                  </a:lnTo>
                  <a:lnTo>
                    <a:pt x="299" y="93"/>
                  </a:lnTo>
                  <a:lnTo>
                    <a:pt x="296" y="93"/>
                  </a:lnTo>
                  <a:lnTo>
                    <a:pt x="293" y="92"/>
                  </a:lnTo>
                  <a:lnTo>
                    <a:pt x="293" y="89"/>
                  </a:lnTo>
                  <a:lnTo>
                    <a:pt x="291" y="86"/>
                  </a:lnTo>
                  <a:lnTo>
                    <a:pt x="293" y="86"/>
                  </a:lnTo>
                  <a:lnTo>
                    <a:pt x="296" y="89"/>
                  </a:lnTo>
                  <a:lnTo>
                    <a:pt x="296" y="92"/>
                  </a:lnTo>
                  <a:lnTo>
                    <a:pt x="299" y="92"/>
                  </a:lnTo>
                  <a:lnTo>
                    <a:pt x="303" y="91"/>
                  </a:lnTo>
                  <a:lnTo>
                    <a:pt x="305" y="91"/>
                  </a:lnTo>
                  <a:lnTo>
                    <a:pt x="308" y="90"/>
                  </a:lnTo>
                  <a:lnTo>
                    <a:pt x="310" y="87"/>
                  </a:lnTo>
                  <a:lnTo>
                    <a:pt x="313" y="85"/>
                  </a:lnTo>
                  <a:lnTo>
                    <a:pt x="316" y="83"/>
                  </a:lnTo>
                  <a:lnTo>
                    <a:pt x="318" y="81"/>
                  </a:lnTo>
                  <a:lnTo>
                    <a:pt x="322" y="79"/>
                  </a:lnTo>
                  <a:lnTo>
                    <a:pt x="325" y="78"/>
                  </a:lnTo>
                  <a:lnTo>
                    <a:pt x="327" y="77"/>
                  </a:lnTo>
                  <a:lnTo>
                    <a:pt x="331" y="75"/>
                  </a:lnTo>
                  <a:lnTo>
                    <a:pt x="333" y="75"/>
                  </a:lnTo>
                  <a:lnTo>
                    <a:pt x="337" y="73"/>
                  </a:lnTo>
                  <a:lnTo>
                    <a:pt x="339" y="72"/>
                  </a:lnTo>
                  <a:lnTo>
                    <a:pt x="342" y="70"/>
                  </a:lnTo>
                  <a:lnTo>
                    <a:pt x="344" y="70"/>
                  </a:lnTo>
                  <a:lnTo>
                    <a:pt x="348" y="68"/>
                  </a:lnTo>
                  <a:lnTo>
                    <a:pt x="350" y="66"/>
                  </a:lnTo>
                  <a:lnTo>
                    <a:pt x="352" y="65"/>
                  </a:lnTo>
                  <a:lnTo>
                    <a:pt x="356" y="64"/>
                  </a:lnTo>
                  <a:lnTo>
                    <a:pt x="359" y="62"/>
                  </a:lnTo>
                  <a:lnTo>
                    <a:pt x="361" y="62"/>
                  </a:lnTo>
                  <a:lnTo>
                    <a:pt x="365" y="61"/>
                  </a:lnTo>
                  <a:lnTo>
                    <a:pt x="367" y="60"/>
                  </a:lnTo>
                  <a:lnTo>
                    <a:pt x="371" y="59"/>
                  </a:lnTo>
                  <a:lnTo>
                    <a:pt x="373" y="58"/>
                  </a:lnTo>
                  <a:lnTo>
                    <a:pt x="375" y="56"/>
                  </a:lnTo>
                  <a:lnTo>
                    <a:pt x="375" y="53"/>
                  </a:lnTo>
                  <a:lnTo>
                    <a:pt x="369" y="53"/>
                  </a:lnTo>
                  <a:lnTo>
                    <a:pt x="366" y="53"/>
                  </a:lnTo>
                  <a:lnTo>
                    <a:pt x="364" y="53"/>
                  </a:lnTo>
                  <a:lnTo>
                    <a:pt x="361" y="55"/>
                  </a:lnTo>
                  <a:lnTo>
                    <a:pt x="358" y="55"/>
                  </a:lnTo>
                  <a:lnTo>
                    <a:pt x="356" y="56"/>
                  </a:lnTo>
                  <a:lnTo>
                    <a:pt x="352" y="56"/>
                  </a:lnTo>
                  <a:lnTo>
                    <a:pt x="350" y="57"/>
                  </a:lnTo>
                  <a:lnTo>
                    <a:pt x="347" y="57"/>
                  </a:lnTo>
                  <a:lnTo>
                    <a:pt x="340" y="58"/>
                  </a:lnTo>
                  <a:lnTo>
                    <a:pt x="338" y="58"/>
                  </a:lnTo>
                  <a:lnTo>
                    <a:pt x="334" y="59"/>
                  </a:lnTo>
                  <a:lnTo>
                    <a:pt x="332" y="60"/>
                  </a:lnTo>
                  <a:lnTo>
                    <a:pt x="330" y="60"/>
                  </a:lnTo>
                  <a:lnTo>
                    <a:pt x="326" y="61"/>
                  </a:lnTo>
                  <a:lnTo>
                    <a:pt x="324" y="61"/>
                  </a:lnTo>
                  <a:lnTo>
                    <a:pt x="321" y="62"/>
                  </a:lnTo>
                  <a:lnTo>
                    <a:pt x="318" y="62"/>
                  </a:lnTo>
                  <a:lnTo>
                    <a:pt x="315" y="64"/>
                  </a:lnTo>
                  <a:lnTo>
                    <a:pt x="313" y="64"/>
                  </a:lnTo>
                  <a:lnTo>
                    <a:pt x="309" y="65"/>
                  </a:lnTo>
                  <a:lnTo>
                    <a:pt x="306" y="65"/>
                  </a:lnTo>
                  <a:lnTo>
                    <a:pt x="304" y="66"/>
                  </a:lnTo>
                  <a:lnTo>
                    <a:pt x="300" y="67"/>
                  </a:lnTo>
                  <a:lnTo>
                    <a:pt x="299" y="67"/>
                  </a:lnTo>
                  <a:lnTo>
                    <a:pt x="303" y="66"/>
                  </a:lnTo>
                  <a:lnTo>
                    <a:pt x="299" y="66"/>
                  </a:lnTo>
                  <a:lnTo>
                    <a:pt x="297" y="65"/>
                  </a:lnTo>
                  <a:lnTo>
                    <a:pt x="299" y="65"/>
                  </a:lnTo>
                  <a:lnTo>
                    <a:pt x="305" y="64"/>
                  </a:lnTo>
                  <a:lnTo>
                    <a:pt x="308" y="62"/>
                  </a:lnTo>
                  <a:lnTo>
                    <a:pt x="312" y="62"/>
                  </a:lnTo>
                  <a:lnTo>
                    <a:pt x="314" y="62"/>
                  </a:lnTo>
                  <a:lnTo>
                    <a:pt x="317" y="61"/>
                  </a:lnTo>
                  <a:lnTo>
                    <a:pt x="321" y="61"/>
                  </a:lnTo>
                  <a:lnTo>
                    <a:pt x="323" y="60"/>
                  </a:lnTo>
                  <a:lnTo>
                    <a:pt x="326" y="59"/>
                  </a:lnTo>
                  <a:lnTo>
                    <a:pt x="330" y="58"/>
                  </a:lnTo>
                  <a:lnTo>
                    <a:pt x="332" y="58"/>
                  </a:lnTo>
                  <a:lnTo>
                    <a:pt x="334" y="57"/>
                  </a:lnTo>
                  <a:lnTo>
                    <a:pt x="338" y="56"/>
                  </a:lnTo>
                  <a:lnTo>
                    <a:pt x="340" y="56"/>
                  </a:lnTo>
                  <a:lnTo>
                    <a:pt x="343" y="55"/>
                  </a:lnTo>
                  <a:lnTo>
                    <a:pt x="347" y="53"/>
                  </a:lnTo>
                  <a:lnTo>
                    <a:pt x="343" y="53"/>
                  </a:lnTo>
                  <a:lnTo>
                    <a:pt x="340" y="52"/>
                  </a:lnTo>
                  <a:lnTo>
                    <a:pt x="338" y="52"/>
                  </a:lnTo>
                  <a:lnTo>
                    <a:pt x="334" y="52"/>
                  </a:lnTo>
                  <a:lnTo>
                    <a:pt x="332" y="52"/>
                  </a:lnTo>
                  <a:lnTo>
                    <a:pt x="329" y="53"/>
                  </a:lnTo>
                  <a:lnTo>
                    <a:pt x="325" y="53"/>
                  </a:lnTo>
                  <a:lnTo>
                    <a:pt x="323" y="53"/>
                  </a:lnTo>
                  <a:lnTo>
                    <a:pt x="320" y="53"/>
                  </a:lnTo>
                  <a:lnTo>
                    <a:pt x="317" y="53"/>
                  </a:lnTo>
                  <a:lnTo>
                    <a:pt x="321" y="53"/>
                  </a:lnTo>
                  <a:lnTo>
                    <a:pt x="317" y="50"/>
                  </a:lnTo>
                  <a:lnTo>
                    <a:pt x="312" y="49"/>
                  </a:lnTo>
                  <a:lnTo>
                    <a:pt x="314" y="49"/>
                  </a:lnTo>
                  <a:lnTo>
                    <a:pt x="317" y="50"/>
                  </a:lnTo>
                  <a:lnTo>
                    <a:pt x="321" y="51"/>
                  </a:lnTo>
                  <a:lnTo>
                    <a:pt x="323" y="52"/>
                  </a:lnTo>
                  <a:lnTo>
                    <a:pt x="325" y="52"/>
                  </a:lnTo>
                  <a:lnTo>
                    <a:pt x="329" y="52"/>
                  </a:lnTo>
                  <a:lnTo>
                    <a:pt x="332" y="51"/>
                  </a:lnTo>
                  <a:lnTo>
                    <a:pt x="334" y="51"/>
                  </a:lnTo>
                  <a:lnTo>
                    <a:pt x="338" y="51"/>
                  </a:lnTo>
                  <a:lnTo>
                    <a:pt x="340" y="51"/>
                  </a:lnTo>
                  <a:lnTo>
                    <a:pt x="343" y="51"/>
                  </a:lnTo>
                  <a:lnTo>
                    <a:pt x="346" y="50"/>
                  </a:lnTo>
                  <a:lnTo>
                    <a:pt x="349" y="50"/>
                  </a:lnTo>
                  <a:lnTo>
                    <a:pt x="351" y="50"/>
                  </a:lnTo>
                  <a:lnTo>
                    <a:pt x="355" y="49"/>
                  </a:lnTo>
                  <a:lnTo>
                    <a:pt x="357" y="50"/>
                  </a:lnTo>
                  <a:lnTo>
                    <a:pt x="360" y="49"/>
                  </a:lnTo>
                  <a:lnTo>
                    <a:pt x="363" y="49"/>
                  </a:lnTo>
                  <a:lnTo>
                    <a:pt x="360" y="49"/>
                  </a:lnTo>
                  <a:lnTo>
                    <a:pt x="355" y="49"/>
                  </a:lnTo>
                  <a:lnTo>
                    <a:pt x="357" y="48"/>
                  </a:lnTo>
                  <a:lnTo>
                    <a:pt x="360" y="48"/>
                  </a:lnTo>
                  <a:lnTo>
                    <a:pt x="363" y="47"/>
                  </a:lnTo>
                  <a:lnTo>
                    <a:pt x="366" y="47"/>
                  </a:lnTo>
                  <a:lnTo>
                    <a:pt x="368" y="47"/>
                  </a:lnTo>
                  <a:lnTo>
                    <a:pt x="372" y="47"/>
                  </a:lnTo>
                  <a:lnTo>
                    <a:pt x="374" y="47"/>
                  </a:lnTo>
                  <a:lnTo>
                    <a:pt x="377" y="47"/>
                  </a:lnTo>
                  <a:lnTo>
                    <a:pt x="380" y="47"/>
                  </a:lnTo>
                  <a:lnTo>
                    <a:pt x="383" y="44"/>
                  </a:lnTo>
                  <a:lnTo>
                    <a:pt x="385" y="44"/>
                  </a:lnTo>
                  <a:lnTo>
                    <a:pt x="389" y="42"/>
                  </a:lnTo>
                  <a:lnTo>
                    <a:pt x="391" y="42"/>
                  </a:lnTo>
                  <a:lnTo>
                    <a:pt x="394" y="41"/>
                  </a:lnTo>
                  <a:lnTo>
                    <a:pt x="397" y="40"/>
                  </a:lnTo>
                  <a:lnTo>
                    <a:pt x="400" y="40"/>
                  </a:lnTo>
                  <a:lnTo>
                    <a:pt x="402" y="39"/>
                  </a:lnTo>
                  <a:lnTo>
                    <a:pt x="406" y="38"/>
                  </a:lnTo>
                  <a:lnTo>
                    <a:pt x="408" y="36"/>
                  </a:lnTo>
                  <a:lnTo>
                    <a:pt x="414" y="33"/>
                  </a:lnTo>
                  <a:lnTo>
                    <a:pt x="417" y="32"/>
                  </a:lnTo>
                  <a:lnTo>
                    <a:pt x="419" y="31"/>
                  </a:lnTo>
                  <a:lnTo>
                    <a:pt x="423" y="28"/>
                  </a:lnTo>
                  <a:lnTo>
                    <a:pt x="421" y="25"/>
                  </a:lnTo>
                  <a:close/>
                  <a:moveTo>
                    <a:pt x="99" y="166"/>
                  </a:moveTo>
                  <a:lnTo>
                    <a:pt x="101" y="166"/>
                  </a:lnTo>
                  <a:lnTo>
                    <a:pt x="99" y="167"/>
                  </a:lnTo>
                  <a:lnTo>
                    <a:pt x="98" y="167"/>
                  </a:lnTo>
                  <a:lnTo>
                    <a:pt x="101" y="166"/>
                  </a:lnTo>
                  <a:lnTo>
                    <a:pt x="96" y="166"/>
                  </a:lnTo>
                  <a:lnTo>
                    <a:pt x="99" y="1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8" name="Freeform 208">
              <a:extLst>
                <a:ext uri="{FF2B5EF4-FFF2-40B4-BE49-F238E27FC236}">
                  <a16:creationId xmlns:a16="http://schemas.microsoft.com/office/drawing/2014/main" id="{5BBB452F-967C-4EDE-9442-85C10173DB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3250" y="3273425"/>
              <a:ext cx="1382712" cy="246063"/>
            </a:xfrm>
            <a:custGeom>
              <a:avLst/>
              <a:gdLst>
                <a:gd name="T0" fmla="*/ 25 w 871"/>
                <a:gd name="T1" fmla="*/ 26 h 155"/>
                <a:gd name="T2" fmla="*/ 29 w 871"/>
                <a:gd name="T3" fmla="*/ 31 h 155"/>
                <a:gd name="T4" fmla="*/ 26 w 871"/>
                <a:gd name="T5" fmla="*/ 29 h 155"/>
                <a:gd name="T6" fmla="*/ 26 w 871"/>
                <a:gd name="T7" fmla="*/ 24 h 155"/>
                <a:gd name="T8" fmla="*/ 5 w 871"/>
                <a:gd name="T9" fmla="*/ 5 h 155"/>
                <a:gd name="T10" fmla="*/ 0 w 871"/>
                <a:gd name="T11" fmla="*/ 0 h 155"/>
                <a:gd name="T12" fmla="*/ 4 w 871"/>
                <a:gd name="T13" fmla="*/ 5 h 155"/>
                <a:gd name="T14" fmla="*/ 5 w 871"/>
                <a:gd name="T15" fmla="*/ 5 h 155"/>
                <a:gd name="T16" fmla="*/ 29 w 871"/>
                <a:gd name="T17" fmla="*/ 30 h 155"/>
                <a:gd name="T18" fmla="*/ 28 w 871"/>
                <a:gd name="T19" fmla="*/ 27 h 155"/>
                <a:gd name="T20" fmla="*/ 411 w 871"/>
                <a:gd name="T21" fmla="*/ 9 h 155"/>
                <a:gd name="T22" fmla="*/ 411 w 871"/>
                <a:gd name="T23" fmla="*/ 9 h 155"/>
                <a:gd name="T24" fmla="*/ 464 w 871"/>
                <a:gd name="T25" fmla="*/ 50 h 155"/>
                <a:gd name="T26" fmla="*/ 464 w 871"/>
                <a:gd name="T27" fmla="*/ 50 h 155"/>
                <a:gd name="T28" fmla="*/ 503 w 871"/>
                <a:gd name="T29" fmla="*/ 16 h 155"/>
                <a:gd name="T30" fmla="*/ 503 w 871"/>
                <a:gd name="T31" fmla="*/ 16 h 155"/>
                <a:gd name="T32" fmla="*/ 503 w 871"/>
                <a:gd name="T33" fmla="*/ 16 h 155"/>
                <a:gd name="T34" fmla="*/ 497 w 871"/>
                <a:gd name="T35" fmla="*/ 44 h 155"/>
                <a:gd name="T36" fmla="*/ 491 w 871"/>
                <a:gd name="T37" fmla="*/ 46 h 155"/>
                <a:gd name="T38" fmla="*/ 495 w 871"/>
                <a:gd name="T39" fmla="*/ 41 h 155"/>
                <a:gd name="T40" fmla="*/ 500 w 871"/>
                <a:gd name="T41" fmla="*/ 40 h 155"/>
                <a:gd name="T42" fmla="*/ 500 w 871"/>
                <a:gd name="T43" fmla="*/ 41 h 155"/>
                <a:gd name="T44" fmla="*/ 499 w 871"/>
                <a:gd name="T45" fmla="*/ 42 h 155"/>
                <a:gd name="T46" fmla="*/ 557 w 871"/>
                <a:gd name="T47" fmla="*/ 61 h 155"/>
                <a:gd name="T48" fmla="*/ 555 w 871"/>
                <a:gd name="T49" fmla="*/ 63 h 155"/>
                <a:gd name="T50" fmla="*/ 556 w 871"/>
                <a:gd name="T51" fmla="*/ 64 h 155"/>
                <a:gd name="T52" fmla="*/ 561 w 871"/>
                <a:gd name="T53" fmla="*/ 66 h 155"/>
                <a:gd name="T54" fmla="*/ 558 w 871"/>
                <a:gd name="T55" fmla="*/ 64 h 155"/>
                <a:gd name="T56" fmla="*/ 559 w 871"/>
                <a:gd name="T57" fmla="*/ 64 h 155"/>
                <a:gd name="T58" fmla="*/ 587 w 871"/>
                <a:gd name="T59" fmla="*/ 72 h 155"/>
                <a:gd name="T60" fmla="*/ 583 w 871"/>
                <a:gd name="T61" fmla="*/ 67 h 155"/>
                <a:gd name="T62" fmla="*/ 579 w 871"/>
                <a:gd name="T63" fmla="*/ 67 h 155"/>
                <a:gd name="T64" fmla="*/ 573 w 871"/>
                <a:gd name="T65" fmla="*/ 68 h 155"/>
                <a:gd name="T66" fmla="*/ 568 w 871"/>
                <a:gd name="T67" fmla="*/ 66 h 155"/>
                <a:gd name="T68" fmla="*/ 568 w 871"/>
                <a:gd name="T69" fmla="*/ 68 h 155"/>
                <a:gd name="T70" fmla="*/ 573 w 871"/>
                <a:gd name="T71" fmla="*/ 69 h 155"/>
                <a:gd name="T72" fmla="*/ 579 w 871"/>
                <a:gd name="T73" fmla="*/ 72 h 155"/>
                <a:gd name="T74" fmla="*/ 584 w 871"/>
                <a:gd name="T75" fmla="*/ 70 h 155"/>
                <a:gd name="T76" fmla="*/ 584 w 871"/>
                <a:gd name="T77" fmla="*/ 74 h 155"/>
                <a:gd name="T78" fmla="*/ 658 w 871"/>
                <a:gd name="T79" fmla="*/ 95 h 155"/>
                <a:gd name="T80" fmla="*/ 659 w 871"/>
                <a:gd name="T81" fmla="*/ 95 h 155"/>
                <a:gd name="T82" fmla="*/ 658 w 871"/>
                <a:gd name="T83" fmla="*/ 95 h 155"/>
                <a:gd name="T84" fmla="*/ 733 w 871"/>
                <a:gd name="T85" fmla="*/ 50 h 155"/>
                <a:gd name="T86" fmla="*/ 735 w 871"/>
                <a:gd name="T87" fmla="*/ 48 h 155"/>
                <a:gd name="T88" fmla="*/ 729 w 871"/>
                <a:gd name="T89" fmla="*/ 138 h 155"/>
                <a:gd name="T90" fmla="*/ 729 w 871"/>
                <a:gd name="T91" fmla="*/ 138 h 155"/>
                <a:gd name="T92" fmla="*/ 729 w 871"/>
                <a:gd name="T93" fmla="*/ 138 h 155"/>
                <a:gd name="T94" fmla="*/ 696 w 871"/>
                <a:gd name="T95" fmla="*/ 154 h 155"/>
                <a:gd name="T96" fmla="*/ 691 w 871"/>
                <a:gd name="T97" fmla="*/ 155 h 155"/>
                <a:gd name="T98" fmla="*/ 694 w 871"/>
                <a:gd name="T99" fmla="*/ 152 h 155"/>
                <a:gd name="T100" fmla="*/ 700 w 871"/>
                <a:gd name="T101" fmla="*/ 151 h 155"/>
                <a:gd name="T102" fmla="*/ 706 w 871"/>
                <a:gd name="T103" fmla="*/ 150 h 155"/>
                <a:gd name="T104" fmla="*/ 711 w 871"/>
                <a:gd name="T105" fmla="*/ 149 h 155"/>
                <a:gd name="T106" fmla="*/ 711 w 871"/>
                <a:gd name="T107" fmla="*/ 150 h 155"/>
                <a:gd name="T108" fmla="*/ 716 w 871"/>
                <a:gd name="T109" fmla="*/ 147 h 155"/>
                <a:gd name="T110" fmla="*/ 713 w 871"/>
                <a:gd name="T111" fmla="*/ 151 h 155"/>
                <a:gd name="T112" fmla="*/ 708 w 871"/>
                <a:gd name="T113" fmla="*/ 152 h 155"/>
                <a:gd name="T114" fmla="*/ 703 w 871"/>
                <a:gd name="T115" fmla="*/ 154 h 155"/>
                <a:gd name="T116" fmla="*/ 700 w 871"/>
                <a:gd name="T117" fmla="*/ 154 h 155"/>
                <a:gd name="T118" fmla="*/ 871 w 871"/>
                <a:gd name="T119" fmla="*/ 73 h 155"/>
                <a:gd name="T120" fmla="*/ 871 w 871"/>
                <a:gd name="T121" fmla="*/ 73 h 155"/>
                <a:gd name="T122" fmla="*/ 871 w 871"/>
                <a:gd name="T123" fmla="*/ 7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1" h="155">
                  <a:moveTo>
                    <a:pt x="26" y="24"/>
                  </a:moveTo>
                  <a:lnTo>
                    <a:pt x="25" y="26"/>
                  </a:lnTo>
                  <a:lnTo>
                    <a:pt x="27" y="30"/>
                  </a:lnTo>
                  <a:lnTo>
                    <a:pt x="29" y="31"/>
                  </a:lnTo>
                  <a:lnTo>
                    <a:pt x="27" y="31"/>
                  </a:lnTo>
                  <a:lnTo>
                    <a:pt x="26" y="29"/>
                  </a:lnTo>
                  <a:lnTo>
                    <a:pt x="25" y="25"/>
                  </a:lnTo>
                  <a:lnTo>
                    <a:pt x="26" y="24"/>
                  </a:lnTo>
                  <a:lnTo>
                    <a:pt x="26" y="24"/>
                  </a:lnTo>
                  <a:close/>
                  <a:moveTo>
                    <a:pt x="5" y="5"/>
                  </a:moveTo>
                  <a:lnTo>
                    <a:pt x="2" y="1"/>
                  </a:lnTo>
                  <a:lnTo>
                    <a:pt x="0" y="0"/>
                  </a:lnTo>
                  <a:lnTo>
                    <a:pt x="2" y="3"/>
                  </a:lnTo>
                  <a:lnTo>
                    <a:pt x="4" y="5"/>
                  </a:lnTo>
                  <a:lnTo>
                    <a:pt x="5" y="5"/>
                  </a:lnTo>
                  <a:lnTo>
                    <a:pt x="5" y="5"/>
                  </a:lnTo>
                  <a:close/>
                  <a:moveTo>
                    <a:pt x="28" y="27"/>
                  </a:moveTo>
                  <a:lnTo>
                    <a:pt x="29" y="30"/>
                  </a:lnTo>
                  <a:lnTo>
                    <a:pt x="27" y="27"/>
                  </a:lnTo>
                  <a:lnTo>
                    <a:pt x="28" y="27"/>
                  </a:lnTo>
                  <a:lnTo>
                    <a:pt x="28" y="27"/>
                  </a:lnTo>
                  <a:close/>
                  <a:moveTo>
                    <a:pt x="411" y="9"/>
                  </a:moveTo>
                  <a:lnTo>
                    <a:pt x="409" y="12"/>
                  </a:lnTo>
                  <a:lnTo>
                    <a:pt x="411" y="9"/>
                  </a:lnTo>
                  <a:lnTo>
                    <a:pt x="411" y="9"/>
                  </a:lnTo>
                  <a:close/>
                  <a:moveTo>
                    <a:pt x="464" y="50"/>
                  </a:moveTo>
                  <a:lnTo>
                    <a:pt x="461" y="52"/>
                  </a:lnTo>
                  <a:lnTo>
                    <a:pt x="464" y="50"/>
                  </a:lnTo>
                  <a:lnTo>
                    <a:pt x="464" y="50"/>
                  </a:lnTo>
                  <a:close/>
                  <a:moveTo>
                    <a:pt x="503" y="16"/>
                  </a:moveTo>
                  <a:lnTo>
                    <a:pt x="500" y="17"/>
                  </a:lnTo>
                  <a:lnTo>
                    <a:pt x="503" y="16"/>
                  </a:lnTo>
                  <a:lnTo>
                    <a:pt x="503" y="16"/>
                  </a:lnTo>
                  <a:lnTo>
                    <a:pt x="503" y="16"/>
                  </a:lnTo>
                  <a:close/>
                  <a:moveTo>
                    <a:pt x="499" y="42"/>
                  </a:moveTo>
                  <a:lnTo>
                    <a:pt x="497" y="44"/>
                  </a:lnTo>
                  <a:lnTo>
                    <a:pt x="495" y="47"/>
                  </a:lnTo>
                  <a:lnTo>
                    <a:pt x="491" y="46"/>
                  </a:lnTo>
                  <a:lnTo>
                    <a:pt x="493" y="43"/>
                  </a:lnTo>
                  <a:lnTo>
                    <a:pt x="495" y="41"/>
                  </a:lnTo>
                  <a:lnTo>
                    <a:pt x="498" y="40"/>
                  </a:lnTo>
                  <a:lnTo>
                    <a:pt x="500" y="40"/>
                  </a:lnTo>
                  <a:lnTo>
                    <a:pt x="503" y="41"/>
                  </a:lnTo>
                  <a:lnTo>
                    <a:pt x="500" y="41"/>
                  </a:lnTo>
                  <a:lnTo>
                    <a:pt x="499" y="42"/>
                  </a:lnTo>
                  <a:lnTo>
                    <a:pt x="499" y="42"/>
                  </a:lnTo>
                  <a:close/>
                  <a:moveTo>
                    <a:pt x="556" y="64"/>
                  </a:moveTo>
                  <a:lnTo>
                    <a:pt x="557" y="61"/>
                  </a:lnTo>
                  <a:lnTo>
                    <a:pt x="554" y="60"/>
                  </a:lnTo>
                  <a:lnTo>
                    <a:pt x="555" y="63"/>
                  </a:lnTo>
                  <a:lnTo>
                    <a:pt x="556" y="64"/>
                  </a:lnTo>
                  <a:lnTo>
                    <a:pt x="556" y="64"/>
                  </a:lnTo>
                  <a:close/>
                  <a:moveTo>
                    <a:pt x="559" y="64"/>
                  </a:moveTo>
                  <a:lnTo>
                    <a:pt x="561" y="66"/>
                  </a:lnTo>
                  <a:lnTo>
                    <a:pt x="558" y="67"/>
                  </a:lnTo>
                  <a:lnTo>
                    <a:pt x="558" y="64"/>
                  </a:lnTo>
                  <a:lnTo>
                    <a:pt x="559" y="64"/>
                  </a:lnTo>
                  <a:lnTo>
                    <a:pt x="559" y="64"/>
                  </a:lnTo>
                  <a:close/>
                  <a:moveTo>
                    <a:pt x="584" y="74"/>
                  </a:moveTo>
                  <a:lnTo>
                    <a:pt x="587" y="72"/>
                  </a:lnTo>
                  <a:lnTo>
                    <a:pt x="587" y="68"/>
                  </a:lnTo>
                  <a:lnTo>
                    <a:pt x="583" y="67"/>
                  </a:lnTo>
                  <a:lnTo>
                    <a:pt x="581" y="66"/>
                  </a:lnTo>
                  <a:lnTo>
                    <a:pt x="579" y="67"/>
                  </a:lnTo>
                  <a:lnTo>
                    <a:pt x="575" y="67"/>
                  </a:lnTo>
                  <a:lnTo>
                    <a:pt x="573" y="68"/>
                  </a:lnTo>
                  <a:lnTo>
                    <a:pt x="571" y="66"/>
                  </a:lnTo>
                  <a:lnTo>
                    <a:pt x="568" y="66"/>
                  </a:lnTo>
                  <a:lnTo>
                    <a:pt x="565" y="67"/>
                  </a:lnTo>
                  <a:lnTo>
                    <a:pt x="568" y="68"/>
                  </a:lnTo>
                  <a:lnTo>
                    <a:pt x="571" y="69"/>
                  </a:lnTo>
                  <a:lnTo>
                    <a:pt x="573" y="69"/>
                  </a:lnTo>
                  <a:lnTo>
                    <a:pt x="576" y="70"/>
                  </a:lnTo>
                  <a:lnTo>
                    <a:pt x="579" y="72"/>
                  </a:lnTo>
                  <a:lnTo>
                    <a:pt x="581" y="73"/>
                  </a:lnTo>
                  <a:lnTo>
                    <a:pt x="584" y="70"/>
                  </a:lnTo>
                  <a:lnTo>
                    <a:pt x="583" y="74"/>
                  </a:lnTo>
                  <a:lnTo>
                    <a:pt x="584" y="74"/>
                  </a:lnTo>
                  <a:lnTo>
                    <a:pt x="584" y="74"/>
                  </a:lnTo>
                  <a:close/>
                  <a:moveTo>
                    <a:pt x="658" y="95"/>
                  </a:moveTo>
                  <a:lnTo>
                    <a:pt x="661" y="95"/>
                  </a:lnTo>
                  <a:lnTo>
                    <a:pt x="659" y="95"/>
                  </a:lnTo>
                  <a:lnTo>
                    <a:pt x="658" y="95"/>
                  </a:lnTo>
                  <a:lnTo>
                    <a:pt x="658" y="95"/>
                  </a:lnTo>
                  <a:close/>
                  <a:moveTo>
                    <a:pt x="735" y="48"/>
                  </a:moveTo>
                  <a:lnTo>
                    <a:pt x="733" y="50"/>
                  </a:lnTo>
                  <a:lnTo>
                    <a:pt x="734" y="48"/>
                  </a:lnTo>
                  <a:lnTo>
                    <a:pt x="735" y="48"/>
                  </a:lnTo>
                  <a:lnTo>
                    <a:pt x="735" y="48"/>
                  </a:lnTo>
                  <a:close/>
                  <a:moveTo>
                    <a:pt x="729" y="138"/>
                  </a:moveTo>
                  <a:lnTo>
                    <a:pt x="728" y="141"/>
                  </a:lnTo>
                  <a:lnTo>
                    <a:pt x="729" y="138"/>
                  </a:lnTo>
                  <a:lnTo>
                    <a:pt x="729" y="138"/>
                  </a:lnTo>
                  <a:lnTo>
                    <a:pt x="729" y="138"/>
                  </a:lnTo>
                  <a:close/>
                  <a:moveTo>
                    <a:pt x="700" y="154"/>
                  </a:moveTo>
                  <a:lnTo>
                    <a:pt x="696" y="154"/>
                  </a:lnTo>
                  <a:lnTo>
                    <a:pt x="694" y="155"/>
                  </a:lnTo>
                  <a:lnTo>
                    <a:pt x="691" y="155"/>
                  </a:lnTo>
                  <a:lnTo>
                    <a:pt x="692" y="153"/>
                  </a:lnTo>
                  <a:lnTo>
                    <a:pt x="694" y="152"/>
                  </a:lnTo>
                  <a:lnTo>
                    <a:pt x="698" y="150"/>
                  </a:lnTo>
                  <a:lnTo>
                    <a:pt x="700" y="151"/>
                  </a:lnTo>
                  <a:lnTo>
                    <a:pt x="703" y="150"/>
                  </a:lnTo>
                  <a:lnTo>
                    <a:pt x="706" y="150"/>
                  </a:lnTo>
                  <a:lnTo>
                    <a:pt x="708" y="150"/>
                  </a:lnTo>
                  <a:lnTo>
                    <a:pt x="711" y="149"/>
                  </a:lnTo>
                  <a:lnTo>
                    <a:pt x="713" y="147"/>
                  </a:lnTo>
                  <a:lnTo>
                    <a:pt x="711" y="150"/>
                  </a:lnTo>
                  <a:lnTo>
                    <a:pt x="713" y="149"/>
                  </a:lnTo>
                  <a:lnTo>
                    <a:pt x="716" y="147"/>
                  </a:lnTo>
                  <a:lnTo>
                    <a:pt x="719" y="149"/>
                  </a:lnTo>
                  <a:lnTo>
                    <a:pt x="713" y="151"/>
                  </a:lnTo>
                  <a:lnTo>
                    <a:pt x="711" y="152"/>
                  </a:lnTo>
                  <a:lnTo>
                    <a:pt x="708" y="152"/>
                  </a:lnTo>
                  <a:lnTo>
                    <a:pt x="706" y="153"/>
                  </a:lnTo>
                  <a:lnTo>
                    <a:pt x="703" y="154"/>
                  </a:lnTo>
                  <a:lnTo>
                    <a:pt x="700" y="154"/>
                  </a:lnTo>
                  <a:lnTo>
                    <a:pt x="700" y="154"/>
                  </a:lnTo>
                  <a:lnTo>
                    <a:pt x="700" y="154"/>
                  </a:lnTo>
                  <a:close/>
                  <a:moveTo>
                    <a:pt x="871" y="73"/>
                  </a:moveTo>
                  <a:lnTo>
                    <a:pt x="867" y="74"/>
                  </a:lnTo>
                  <a:lnTo>
                    <a:pt x="871" y="73"/>
                  </a:lnTo>
                  <a:lnTo>
                    <a:pt x="871" y="73"/>
                  </a:lnTo>
                  <a:lnTo>
                    <a:pt x="871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9" name="Freeform 209">
              <a:extLst>
                <a:ext uri="{FF2B5EF4-FFF2-40B4-BE49-F238E27FC236}">
                  <a16:creationId xmlns:a16="http://schemas.microsoft.com/office/drawing/2014/main" id="{0C101803-4D1A-4137-B686-6F779CCB90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4438" y="3016250"/>
              <a:ext cx="534987" cy="109538"/>
            </a:xfrm>
            <a:custGeom>
              <a:avLst/>
              <a:gdLst>
                <a:gd name="T0" fmla="*/ 22 w 337"/>
                <a:gd name="T1" fmla="*/ 23 h 69"/>
                <a:gd name="T2" fmla="*/ 27 w 337"/>
                <a:gd name="T3" fmla="*/ 21 h 69"/>
                <a:gd name="T4" fmla="*/ 27 w 337"/>
                <a:gd name="T5" fmla="*/ 17 h 69"/>
                <a:gd name="T6" fmla="*/ 27 w 337"/>
                <a:gd name="T7" fmla="*/ 17 h 69"/>
                <a:gd name="T8" fmla="*/ 33 w 337"/>
                <a:gd name="T9" fmla="*/ 18 h 69"/>
                <a:gd name="T10" fmla="*/ 33 w 337"/>
                <a:gd name="T11" fmla="*/ 15 h 69"/>
                <a:gd name="T12" fmla="*/ 32 w 337"/>
                <a:gd name="T13" fmla="*/ 9 h 69"/>
                <a:gd name="T14" fmla="*/ 26 w 337"/>
                <a:gd name="T15" fmla="*/ 11 h 69"/>
                <a:gd name="T16" fmla="*/ 21 w 337"/>
                <a:gd name="T17" fmla="*/ 7 h 69"/>
                <a:gd name="T18" fmla="*/ 22 w 337"/>
                <a:gd name="T19" fmla="*/ 13 h 69"/>
                <a:gd name="T20" fmla="*/ 18 w 337"/>
                <a:gd name="T21" fmla="*/ 13 h 69"/>
                <a:gd name="T22" fmla="*/ 14 w 337"/>
                <a:gd name="T23" fmla="*/ 9 h 69"/>
                <a:gd name="T24" fmla="*/ 14 w 337"/>
                <a:gd name="T25" fmla="*/ 13 h 69"/>
                <a:gd name="T26" fmla="*/ 13 w 337"/>
                <a:gd name="T27" fmla="*/ 18 h 69"/>
                <a:gd name="T28" fmla="*/ 13 w 337"/>
                <a:gd name="T29" fmla="*/ 20 h 69"/>
                <a:gd name="T30" fmla="*/ 10 w 337"/>
                <a:gd name="T31" fmla="*/ 14 h 69"/>
                <a:gd name="T32" fmla="*/ 3 w 337"/>
                <a:gd name="T33" fmla="*/ 17 h 69"/>
                <a:gd name="T34" fmla="*/ 3 w 337"/>
                <a:gd name="T35" fmla="*/ 22 h 69"/>
                <a:gd name="T36" fmla="*/ 6 w 337"/>
                <a:gd name="T37" fmla="*/ 28 h 69"/>
                <a:gd name="T38" fmla="*/ 9 w 337"/>
                <a:gd name="T39" fmla="*/ 25 h 69"/>
                <a:gd name="T40" fmla="*/ 9 w 337"/>
                <a:gd name="T41" fmla="*/ 24 h 69"/>
                <a:gd name="T42" fmla="*/ 12 w 337"/>
                <a:gd name="T43" fmla="*/ 25 h 69"/>
                <a:gd name="T44" fmla="*/ 12 w 337"/>
                <a:gd name="T45" fmla="*/ 26 h 69"/>
                <a:gd name="T46" fmla="*/ 8 w 337"/>
                <a:gd name="T47" fmla="*/ 32 h 69"/>
                <a:gd name="T48" fmla="*/ 14 w 337"/>
                <a:gd name="T49" fmla="*/ 30 h 69"/>
                <a:gd name="T50" fmla="*/ 14 w 337"/>
                <a:gd name="T51" fmla="*/ 26 h 69"/>
                <a:gd name="T52" fmla="*/ 19 w 337"/>
                <a:gd name="T53" fmla="*/ 24 h 69"/>
                <a:gd name="T54" fmla="*/ 278 w 337"/>
                <a:gd name="T55" fmla="*/ 0 h 69"/>
                <a:gd name="T56" fmla="*/ 278 w 337"/>
                <a:gd name="T57" fmla="*/ 3 h 69"/>
                <a:gd name="T58" fmla="*/ 278 w 337"/>
                <a:gd name="T59" fmla="*/ 0 h 69"/>
                <a:gd name="T60" fmla="*/ 252 w 337"/>
                <a:gd name="T61" fmla="*/ 8 h 69"/>
                <a:gd name="T62" fmla="*/ 251 w 337"/>
                <a:gd name="T63" fmla="*/ 5 h 69"/>
                <a:gd name="T64" fmla="*/ 302 w 337"/>
                <a:gd name="T65" fmla="*/ 31 h 69"/>
                <a:gd name="T66" fmla="*/ 303 w 337"/>
                <a:gd name="T67" fmla="*/ 37 h 69"/>
                <a:gd name="T68" fmla="*/ 299 w 337"/>
                <a:gd name="T69" fmla="*/ 33 h 69"/>
                <a:gd name="T70" fmla="*/ 302 w 337"/>
                <a:gd name="T71" fmla="*/ 31 h 69"/>
                <a:gd name="T72" fmla="*/ 303 w 337"/>
                <a:gd name="T73" fmla="*/ 38 h 69"/>
                <a:gd name="T74" fmla="*/ 300 w 337"/>
                <a:gd name="T75" fmla="*/ 42 h 69"/>
                <a:gd name="T76" fmla="*/ 300 w 337"/>
                <a:gd name="T77" fmla="*/ 38 h 69"/>
                <a:gd name="T78" fmla="*/ 303 w 337"/>
                <a:gd name="T79" fmla="*/ 38 h 69"/>
                <a:gd name="T80" fmla="*/ 311 w 337"/>
                <a:gd name="T81" fmla="*/ 40 h 69"/>
                <a:gd name="T82" fmla="*/ 309 w 337"/>
                <a:gd name="T83" fmla="*/ 43 h 69"/>
                <a:gd name="T84" fmla="*/ 307 w 337"/>
                <a:gd name="T85" fmla="*/ 39 h 69"/>
                <a:gd name="T86" fmla="*/ 307 w 337"/>
                <a:gd name="T87" fmla="*/ 37 h 69"/>
                <a:gd name="T88" fmla="*/ 305 w 337"/>
                <a:gd name="T89" fmla="*/ 42 h 69"/>
                <a:gd name="T90" fmla="*/ 309 w 337"/>
                <a:gd name="T91" fmla="*/ 46 h 69"/>
                <a:gd name="T92" fmla="*/ 304 w 337"/>
                <a:gd name="T93" fmla="*/ 45 h 69"/>
                <a:gd name="T94" fmla="*/ 305 w 337"/>
                <a:gd name="T95" fmla="*/ 40 h 69"/>
                <a:gd name="T96" fmla="*/ 307 w 337"/>
                <a:gd name="T97" fmla="*/ 40 h 69"/>
                <a:gd name="T98" fmla="*/ 337 w 337"/>
                <a:gd name="T99" fmla="*/ 68 h 69"/>
                <a:gd name="T100" fmla="*/ 336 w 337"/>
                <a:gd name="T101" fmla="*/ 67 h 69"/>
                <a:gd name="T102" fmla="*/ 337 w 337"/>
                <a:gd name="T103" fmla="*/ 6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7" h="69">
                  <a:moveTo>
                    <a:pt x="19" y="24"/>
                  </a:moveTo>
                  <a:lnTo>
                    <a:pt x="22" y="23"/>
                  </a:lnTo>
                  <a:lnTo>
                    <a:pt x="25" y="22"/>
                  </a:lnTo>
                  <a:lnTo>
                    <a:pt x="27" y="21"/>
                  </a:lnTo>
                  <a:lnTo>
                    <a:pt x="30" y="20"/>
                  </a:lnTo>
                  <a:lnTo>
                    <a:pt x="27" y="17"/>
                  </a:lnTo>
                  <a:lnTo>
                    <a:pt x="25" y="18"/>
                  </a:lnTo>
                  <a:lnTo>
                    <a:pt x="27" y="17"/>
                  </a:lnTo>
                  <a:lnTo>
                    <a:pt x="30" y="17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33" y="15"/>
                  </a:lnTo>
                  <a:lnTo>
                    <a:pt x="32" y="12"/>
                  </a:lnTo>
                  <a:lnTo>
                    <a:pt x="32" y="9"/>
                  </a:lnTo>
                  <a:lnTo>
                    <a:pt x="30" y="9"/>
                  </a:lnTo>
                  <a:lnTo>
                    <a:pt x="26" y="11"/>
                  </a:lnTo>
                  <a:lnTo>
                    <a:pt x="24" y="8"/>
                  </a:lnTo>
                  <a:lnTo>
                    <a:pt x="21" y="7"/>
                  </a:lnTo>
                  <a:lnTo>
                    <a:pt x="23" y="9"/>
                  </a:lnTo>
                  <a:lnTo>
                    <a:pt x="22" y="13"/>
                  </a:lnTo>
                  <a:lnTo>
                    <a:pt x="19" y="11"/>
                  </a:lnTo>
                  <a:lnTo>
                    <a:pt x="18" y="13"/>
                  </a:lnTo>
                  <a:lnTo>
                    <a:pt x="17" y="11"/>
                  </a:lnTo>
                  <a:lnTo>
                    <a:pt x="14" y="9"/>
                  </a:lnTo>
                  <a:lnTo>
                    <a:pt x="12" y="12"/>
                  </a:lnTo>
                  <a:lnTo>
                    <a:pt x="14" y="13"/>
                  </a:lnTo>
                  <a:lnTo>
                    <a:pt x="15" y="16"/>
                  </a:lnTo>
                  <a:lnTo>
                    <a:pt x="13" y="18"/>
                  </a:lnTo>
                  <a:lnTo>
                    <a:pt x="16" y="21"/>
                  </a:lnTo>
                  <a:lnTo>
                    <a:pt x="13" y="20"/>
                  </a:lnTo>
                  <a:lnTo>
                    <a:pt x="12" y="16"/>
                  </a:lnTo>
                  <a:lnTo>
                    <a:pt x="10" y="14"/>
                  </a:lnTo>
                  <a:lnTo>
                    <a:pt x="7" y="14"/>
                  </a:lnTo>
                  <a:lnTo>
                    <a:pt x="3" y="17"/>
                  </a:lnTo>
                  <a:lnTo>
                    <a:pt x="0" y="20"/>
                  </a:lnTo>
                  <a:lnTo>
                    <a:pt x="3" y="22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8" y="28"/>
                  </a:lnTo>
                  <a:lnTo>
                    <a:pt x="9" y="25"/>
                  </a:lnTo>
                  <a:lnTo>
                    <a:pt x="7" y="24"/>
                  </a:lnTo>
                  <a:lnTo>
                    <a:pt x="9" y="24"/>
                  </a:lnTo>
                  <a:lnTo>
                    <a:pt x="9" y="26"/>
                  </a:lnTo>
                  <a:lnTo>
                    <a:pt x="12" y="25"/>
                  </a:lnTo>
                  <a:lnTo>
                    <a:pt x="14" y="24"/>
                  </a:lnTo>
                  <a:lnTo>
                    <a:pt x="12" y="26"/>
                  </a:lnTo>
                  <a:lnTo>
                    <a:pt x="10" y="29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4" y="30"/>
                  </a:lnTo>
                  <a:lnTo>
                    <a:pt x="17" y="28"/>
                  </a:lnTo>
                  <a:lnTo>
                    <a:pt x="14" y="26"/>
                  </a:lnTo>
                  <a:lnTo>
                    <a:pt x="17" y="25"/>
                  </a:lnTo>
                  <a:lnTo>
                    <a:pt x="19" y="24"/>
                  </a:lnTo>
                  <a:lnTo>
                    <a:pt x="19" y="24"/>
                  </a:lnTo>
                  <a:close/>
                  <a:moveTo>
                    <a:pt x="278" y="0"/>
                  </a:moveTo>
                  <a:lnTo>
                    <a:pt x="280" y="3"/>
                  </a:lnTo>
                  <a:lnTo>
                    <a:pt x="278" y="3"/>
                  </a:lnTo>
                  <a:lnTo>
                    <a:pt x="278" y="0"/>
                  </a:lnTo>
                  <a:lnTo>
                    <a:pt x="278" y="0"/>
                  </a:lnTo>
                  <a:close/>
                  <a:moveTo>
                    <a:pt x="251" y="5"/>
                  </a:moveTo>
                  <a:lnTo>
                    <a:pt x="252" y="8"/>
                  </a:lnTo>
                  <a:lnTo>
                    <a:pt x="251" y="5"/>
                  </a:lnTo>
                  <a:lnTo>
                    <a:pt x="251" y="5"/>
                  </a:lnTo>
                  <a:lnTo>
                    <a:pt x="251" y="5"/>
                  </a:lnTo>
                  <a:close/>
                  <a:moveTo>
                    <a:pt x="302" y="31"/>
                  </a:moveTo>
                  <a:lnTo>
                    <a:pt x="304" y="33"/>
                  </a:lnTo>
                  <a:lnTo>
                    <a:pt x="303" y="37"/>
                  </a:lnTo>
                  <a:lnTo>
                    <a:pt x="299" y="37"/>
                  </a:lnTo>
                  <a:lnTo>
                    <a:pt x="299" y="33"/>
                  </a:lnTo>
                  <a:lnTo>
                    <a:pt x="299" y="31"/>
                  </a:lnTo>
                  <a:lnTo>
                    <a:pt x="302" y="31"/>
                  </a:lnTo>
                  <a:lnTo>
                    <a:pt x="302" y="31"/>
                  </a:lnTo>
                  <a:close/>
                  <a:moveTo>
                    <a:pt x="303" y="38"/>
                  </a:moveTo>
                  <a:lnTo>
                    <a:pt x="304" y="40"/>
                  </a:lnTo>
                  <a:lnTo>
                    <a:pt x="300" y="42"/>
                  </a:lnTo>
                  <a:lnTo>
                    <a:pt x="298" y="40"/>
                  </a:lnTo>
                  <a:lnTo>
                    <a:pt x="300" y="38"/>
                  </a:lnTo>
                  <a:lnTo>
                    <a:pt x="303" y="38"/>
                  </a:lnTo>
                  <a:lnTo>
                    <a:pt x="303" y="38"/>
                  </a:lnTo>
                  <a:close/>
                  <a:moveTo>
                    <a:pt x="307" y="37"/>
                  </a:moveTo>
                  <a:lnTo>
                    <a:pt x="311" y="40"/>
                  </a:lnTo>
                  <a:lnTo>
                    <a:pt x="313" y="42"/>
                  </a:lnTo>
                  <a:lnTo>
                    <a:pt x="309" y="43"/>
                  </a:lnTo>
                  <a:lnTo>
                    <a:pt x="307" y="41"/>
                  </a:lnTo>
                  <a:lnTo>
                    <a:pt x="307" y="39"/>
                  </a:lnTo>
                  <a:lnTo>
                    <a:pt x="307" y="37"/>
                  </a:lnTo>
                  <a:lnTo>
                    <a:pt x="307" y="37"/>
                  </a:lnTo>
                  <a:close/>
                  <a:moveTo>
                    <a:pt x="307" y="40"/>
                  </a:moveTo>
                  <a:lnTo>
                    <a:pt x="305" y="42"/>
                  </a:lnTo>
                  <a:lnTo>
                    <a:pt x="308" y="42"/>
                  </a:lnTo>
                  <a:lnTo>
                    <a:pt x="309" y="46"/>
                  </a:lnTo>
                  <a:lnTo>
                    <a:pt x="307" y="47"/>
                  </a:lnTo>
                  <a:lnTo>
                    <a:pt x="304" y="45"/>
                  </a:lnTo>
                  <a:lnTo>
                    <a:pt x="303" y="42"/>
                  </a:lnTo>
                  <a:lnTo>
                    <a:pt x="305" y="40"/>
                  </a:lnTo>
                  <a:lnTo>
                    <a:pt x="307" y="40"/>
                  </a:lnTo>
                  <a:lnTo>
                    <a:pt x="307" y="40"/>
                  </a:lnTo>
                  <a:close/>
                  <a:moveTo>
                    <a:pt x="337" y="65"/>
                  </a:moveTo>
                  <a:lnTo>
                    <a:pt x="337" y="68"/>
                  </a:lnTo>
                  <a:lnTo>
                    <a:pt x="333" y="69"/>
                  </a:lnTo>
                  <a:lnTo>
                    <a:pt x="336" y="67"/>
                  </a:lnTo>
                  <a:lnTo>
                    <a:pt x="337" y="65"/>
                  </a:lnTo>
                  <a:lnTo>
                    <a:pt x="337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0" name="Freeform 210">
              <a:extLst>
                <a:ext uri="{FF2B5EF4-FFF2-40B4-BE49-F238E27FC236}">
                  <a16:creationId xmlns:a16="http://schemas.microsoft.com/office/drawing/2014/main" id="{5B336565-924E-4550-9E60-A2D00953E6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6325" y="2619375"/>
              <a:ext cx="2997200" cy="390525"/>
            </a:xfrm>
            <a:custGeom>
              <a:avLst/>
              <a:gdLst>
                <a:gd name="T0" fmla="*/ 1622 w 1888"/>
                <a:gd name="T1" fmla="*/ 198 h 246"/>
                <a:gd name="T2" fmla="*/ 1619 w 1888"/>
                <a:gd name="T3" fmla="*/ 198 h 246"/>
                <a:gd name="T4" fmla="*/ 1575 w 1888"/>
                <a:gd name="T5" fmla="*/ 198 h 246"/>
                <a:gd name="T6" fmla="*/ 1569 w 1888"/>
                <a:gd name="T7" fmla="*/ 201 h 246"/>
                <a:gd name="T8" fmla="*/ 1569 w 1888"/>
                <a:gd name="T9" fmla="*/ 199 h 246"/>
                <a:gd name="T10" fmla="*/ 1575 w 1888"/>
                <a:gd name="T11" fmla="*/ 197 h 246"/>
                <a:gd name="T12" fmla="*/ 1575 w 1888"/>
                <a:gd name="T13" fmla="*/ 198 h 246"/>
                <a:gd name="T14" fmla="*/ 1550 w 1888"/>
                <a:gd name="T15" fmla="*/ 203 h 246"/>
                <a:gd name="T16" fmla="*/ 1550 w 1888"/>
                <a:gd name="T17" fmla="*/ 199 h 246"/>
                <a:gd name="T18" fmla="*/ 1553 w 1888"/>
                <a:gd name="T19" fmla="*/ 201 h 246"/>
                <a:gd name="T20" fmla="*/ 1570 w 1888"/>
                <a:gd name="T21" fmla="*/ 203 h 246"/>
                <a:gd name="T22" fmla="*/ 1573 w 1888"/>
                <a:gd name="T23" fmla="*/ 201 h 246"/>
                <a:gd name="T24" fmla="*/ 1575 w 1888"/>
                <a:gd name="T25" fmla="*/ 204 h 246"/>
                <a:gd name="T26" fmla="*/ 1578 w 1888"/>
                <a:gd name="T27" fmla="*/ 203 h 246"/>
                <a:gd name="T28" fmla="*/ 1577 w 1888"/>
                <a:gd name="T29" fmla="*/ 204 h 246"/>
                <a:gd name="T30" fmla="*/ 1579 w 1888"/>
                <a:gd name="T31" fmla="*/ 203 h 246"/>
                <a:gd name="T32" fmla="*/ 1587 w 1888"/>
                <a:gd name="T33" fmla="*/ 212 h 246"/>
                <a:gd name="T34" fmla="*/ 1588 w 1888"/>
                <a:gd name="T35" fmla="*/ 210 h 246"/>
                <a:gd name="T36" fmla="*/ 1704 w 1888"/>
                <a:gd name="T37" fmla="*/ 93 h 246"/>
                <a:gd name="T38" fmla="*/ 1706 w 1888"/>
                <a:gd name="T39" fmla="*/ 88 h 246"/>
                <a:gd name="T40" fmla="*/ 1704 w 1888"/>
                <a:gd name="T41" fmla="*/ 93 h 246"/>
                <a:gd name="T42" fmla="*/ 1703 w 1888"/>
                <a:gd name="T43" fmla="*/ 94 h 246"/>
                <a:gd name="T44" fmla="*/ 1703 w 1888"/>
                <a:gd name="T45" fmla="*/ 94 h 246"/>
                <a:gd name="T46" fmla="*/ 1700 w 1888"/>
                <a:gd name="T47" fmla="*/ 97 h 246"/>
                <a:gd name="T48" fmla="*/ 1700 w 1888"/>
                <a:gd name="T49" fmla="*/ 95 h 246"/>
                <a:gd name="T50" fmla="*/ 1700 w 1888"/>
                <a:gd name="T51" fmla="*/ 97 h 246"/>
                <a:gd name="T52" fmla="*/ 1687 w 1888"/>
                <a:gd name="T53" fmla="*/ 96 h 246"/>
                <a:gd name="T54" fmla="*/ 1688 w 1888"/>
                <a:gd name="T55" fmla="*/ 92 h 246"/>
                <a:gd name="T56" fmla="*/ 1693 w 1888"/>
                <a:gd name="T57" fmla="*/ 92 h 246"/>
                <a:gd name="T58" fmla="*/ 1690 w 1888"/>
                <a:gd name="T59" fmla="*/ 95 h 246"/>
                <a:gd name="T60" fmla="*/ 1690 w 1888"/>
                <a:gd name="T61" fmla="*/ 97 h 246"/>
                <a:gd name="T62" fmla="*/ 1662 w 1888"/>
                <a:gd name="T63" fmla="*/ 103 h 246"/>
                <a:gd name="T64" fmla="*/ 1664 w 1888"/>
                <a:gd name="T65" fmla="*/ 104 h 246"/>
                <a:gd name="T66" fmla="*/ 1888 w 1888"/>
                <a:gd name="T67" fmla="*/ 0 h 246"/>
                <a:gd name="T68" fmla="*/ 1888 w 1888"/>
                <a:gd name="T69" fmla="*/ 0 h 246"/>
                <a:gd name="T70" fmla="*/ 1888 w 1888"/>
                <a:gd name="T71" fmla="*/ 0 h 246"/>
                <a:gd name="T72" fmla="*/ 3 w 1888"/>
                <a:gd name="T73" fmla="*/ 242 h 246"/>
                <a:gd name="T74" fmla="*/ 5 w 1888"/>
                <a:gd name="T75" fmla="*/ 244 h 246"/>
                <a:gd name="T76" fmla="*/ 0 w 1888"/>
                <a:gd name="T77" fmla="*/ 244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88" h="246">
                  <a:moveTo>
                    <a:pt x="1619" y="198"/>
                  </a:moveTo>
                  <a:lnTo>
                    <a:pt x="1622" y="198"/>
                  </a:lnTo>
                  <a:lnTo>
                    <a:pt x="1619" y="199"/>
                  </a:lnTo>
                  <a:lnTo>
                    <a:pt x="1619" y="198"/>
                  </a:lnTo>
                  <a:lnTo>
                    <a:pt x="1619" y="198"/>
                  </a:lnTo>
                  <a:close/>
                  <a:moveTo>
                    <a:pt x="1575" y="198"/>
                  </a:moveTo>
                  <a:lnTo>
                    <a:pt x="1571" y="199"/>
                  </a:lnTo>
                  <a:lnTo>
                    <a:pt x="1569" y="201"/>
                  </a:lnTo>
                  <a:lnTo>
                    <a:pt x="1565" y="202"/>
                  </a:lnTo>
                  <a:lnTo>
                    <a:pt x="1569" y="199"/>
                  </a:lnTo>
                  <a:lnTo>
                    <a:pt x="1571" y="198"/>
                  </a:lnTo>
                  <a:lnTo>
                    <a:pt x="1575" y="197"/>
                  </a:lnTo>
                  <a:lnTo>
                    <a:pt x="1575" y="198"/>
                  </a:lnTo>
                  <a:lnTo>
                    <a:pt x="1575" y="198"/>
                  </a:lnTo>
                  <a:close/>
                  <a:moveTo>
                    <a:pt x="1553" y="201"/>
                  </a:moveTo>
                  <a:lnTo>
                    <a:pt x="1550" y="203"/>
                  </a:lnTo>
                  <a:lnTo>
                    <a:pt x="1547" y="202"/>
                  </a:lnTo>
                  <a:lnTo>
                    <a:pt x="1550" y="199"/>
                  </a:lnTo>
                  <a:lnTo>
                    <a:pt x="1553" y="201"/>
                  </a:lnTo>
                  <a:lnTo>
                    <a:pt x="1553" y="201"/>
                  </a:lnTo>
                  <a:close/>
                  <a:moveTo>
                    <a:pt x="1573" y="201"/>
                  </a:moveTo>
                  <a:lnTo>
                    <a:pt x="1570" y="203"/>
                  </a:lnTo>
                  <a:lnTo>
                    <a:pt x="1573" y="201"/>
                  </a:lnTo>
                  <a:lnTo>
                    <a:pt x="1573" y="201"/>
                  </a:lnTo>
                  <a:close/>
                  <a:moveTo>
                    <a:pt x="1578" y="203"/>
                  </a:moveTo>
                  <a:lnTo>
                    <a:pt x="1575" y="204"/>
                  </a:lnTo>
                  <a:lnTo>
                    <a:pt x="1578" y="203"/>
                  </a:lnTo>
                  <a:lnTo>
                    <a:pt x="1578" y="203"/>
                  </a:lnTo>
                  <a:close/>
                  <a:moveTo>
                    <a:pt x="1579" y="203"/>
                  </a:moveTo>
                  <a:lnTo>
                    <a:pt x="1577" y="204"/>
                  </a:lnTo>
                  <a:lnTo>
                    <a:pt x="1579" y="203"/>
                  </a:lnTo>
                  <a:lnTo>
                    <a:pt x="1579" y="203"/>
                  </a:lnTo>
                  <a:close/>
                  <a:moveTo>
                    <a:pt x="1588" y="210"/>
                  </a:moveTo>
                  <a:lnTo>
                    <a:pt x="1587" y="212"/>
                  </a:lnTo>
                  <a:lnTo>
                    <a:pt x="1586" y="210"/>
                  </a:lnTo>
                  <a:lnTo>
                    <a:pt x="1588" y="210"/>
                  </a:lnTo>
                  <a:lnTo>
                    <a:pt x="1588" y="210"/>
                  </a:lnTo>
                  <a:close/>
                  <a:moveTo>
                    <a:pt x="1704" y="93"/>
                  </a:moveTo>
                  <a:lnTo>
                    <a:pt x="1704" y="90"/>
                  </a:lnTo>
                  <a:lnTo>
                    <a:pt x="1706" y="88"/>
                  </a:lnTo>
                  <a:lnTo>
                    <a:pt x="1706" y="92"/>
                  </a:lnTo>
                  <a:lnTo>
                    <a:pt x="1704" y="93"/>
                  </a:lnTo>
                  <a:lnTo>
                    <a:pt x="1704" y="93"/>
                  </a:lnTo>
                  <a:close/>
                  <a:moveTo>
                    <a:pt x="1703" y="94"/>
                  </a:moveTo>
                  <a:lnTo>
                    <a:pt x="1701" y="91"/>
                  </a:lnTo>
                  <a:lnTo>
                    <a:pt x="1703" y="94"/>
                  </a:lnTo>
                  <a:lnTo>
                    <a:pt x="1703" y="94"/>
                  </a:lnTo>
                  <a:close/>
                  <a:moveTo>
                    <a:pt x="1700" y="97"/>
                  </a:moveTo>
                  <a:lnTo>
                    <a:pt x="1698" y="94"/>
                  </a:lnTo>
                  <a:lnTo>
                    <a:pt x="1700" y="95"/>
                  </a:lnTo>
                  <a:lnTo>
                    <a:pt x="1700" y="97"/>
                  </a:lnTo>
                  <a:lnTo>
                    <a:pt x="1700" y="97"/>
                  </a:lnTo>
                  <a:close/>
                  <a:moveTo>
                    <a:pt x="1690" y="97"/>
                  </a:moveTo>
                  <a:lnTo>
                    <a:pt x="1687" y="96"/>
                  </a:lnTo>
                  <a:lnTo>
                    <a:pt x="1687" y="94"/>
                  </a:lnTo>
                  <a:lnTo>
                    <a:pt x="1688" y="92"/>
                  </a:lnTo>
                  <a:lnTo>
                    <a:pt x="1691" y="90"/>
                  </a:lnTo>
                  <a:lnTo>
                    <a:pt x="1693" y="92"/>
                  </a:lnTo>
                  <a:lnTo>
                    <a:pt x="1693" y="94"/>
                  </a:lnTo>
                  <a:lnTo>
                    <a:pt x="1690" y="95"/>
                  </a:lnTo>
                  <a:lnTo>
                    <a:pt x="1690" y="97"/>
                  </a:lnTo>
                  <a:lnTo>
                    <a:pt x="1690" y="97"/>
                  </a:lnTo>
                  <a:close/>
                  <a:moveTo>
                    <a:pt x="1664" y="104"/>
                  </a:moveTo>
                  <a:lnTo>
                    <a:pt x="1662" y="103"/>
                  </a:lnTo>
                  <a:lnTo>
                    <a:pt x="1664" y="103"/>
                  </a:lnTo>
                  <a:lnTo>
                    <a:pt x="1664" y="104"/>
                  </a:lnTo>
                  <a:lnTo>
                    <a:pt x="1664" y="104"/>
                  </a:lnTo>
                  <a:close/>
                  <a:moveTo>
                    <a:pt x="1888" y="0"/>
                  </a:moveTo>
                  <a:lnTo>
                    <a:pt x="1885" y="2"/>
                  </a:lnTo>
                  <a:lnTo>
                    <a:pt x="1888" y="0"/>
                  </a:lnTo>
                  <a:lnTo>
                    <a:pt x="1888" y="0"/>
                  </a:lnTo>
                  <a:lnTo>
                    <a:pt x="1888" y="0"/>
                  </a:lnTo>
                  <a:close/>
                  <a:moveTo>
                    <a:pt x="0" y="244"/>
                  </a:moveTo>
                  <a:lnTo>
                    <a:pt x="3" y="242"/>
                  </a:lnTo>
                  <a:lnTo>
                    <a:pt x="6" y="241"/>
                  </a:lnTo>
                  <a:lnTo>
                    <a:pt x="5" y="244"/>
                  </a:lnTo>
                  <a:lnTo>
                    <a:pt x="2" y="246"/>
                  </a:lnTo>
                  <a:lnTo>
                    <a:pt x="0" y="244"/>
                  </a:lnTo>
                  <a:lnTo>
                    <a:pt x="0" y="2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1" name="Freeform 211">
              <a:extLst>
                <a:ext uri="{FF2B5EF4-FFF2-40B4-BE49-F238E27FC236}">
                  <a16:creationId xmlns:a16="http://schemas.microsoft.com/office/drawing/2014/main" id="{0823EA6E-69D3-4AD5-90CC-291E0409C2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65600" y="2620963"/>
              <a:ext cx="331787" cy="258763"/>
            </a:xfrm>
            <a:custGeom>
              <a:avLst/>
              <a:gdLst>
                <a:gd name="T0" fmla="*/ 8 w 209"/>
                <a:gd name="T1" fmla="*/ 139 h 163"/>
                <a:gd name="T2" fmla="*/ 3 w 209"/>
                <a:gd name="T3" fmla="*/ 138 h 163"/>
                <a:gd name="T4" fmla="*/ 3 w 209"/>
                <a:gd name="T5" fmla="*/ 141 h 163"/>
                <a:gd name="T6" fmla="*/ 7 w 209"/>
                <a:gd name="T7" fmla="*/ 144 h 163"/>
                <a:gd name="T8" fmla="*/ 11 w 209"/>
                <a:gd name="T9" fmla="*/ 143 h 163"/>
                <a:gd name="T10" fmla="*/ 33 w 209"/>
                <a:gd name="T11" fmla="*/ 33 h 163"/>
                <a:gd name="T12" fmla="*/ 29 w 209"/>
                <a:gd name="T13" fmla="*/ 29 h 163"/>
                <a:gd name="T14" fmla="*/ 31 w 209"/>
                <a:gd name="T15" fmla="*/ 24 h 163"/>
                <a:gd name="T16" fmla="*/ 34 w 209"/>
                <a:gd name="T17" fmla="*/ 27 h 163"/>
                <a:gd name="T18" fmla="*/ 37 w 209"/>
                <a:gd name="T19" fmla="*/ 33 h 163"/>
                <a:gd name="T20" fmla="*/ 33 w 209"/>
                <a:gd name="T21" fmla="*/ 33 h 163"/>
                <a:gd name="T22" fmla="*/ 97 w 209"/>
                <a:gd name="T23" fmla="*/ 159 h 163"/>
                <a:gd name="T24" fmla="*/ 97 w 209"/>
                <a:gd name="T25" fmla="*/ 163 h 163"/>
                <a:gd name="T26" fmla="*/ 91 w 209"/>
                <a:gd name="T27" fmla="*/ 161 h 163"/>
                <a:gd name="T28" fmla="*/ 88 w 209"/>
                <a:gd name="T29" fmla="*/ 158 h 163"/>
                <a:gd name="T30" fmla="*/ 93 w 209"/>
                <a:gd name="T31" fmla="*/ 156 h 163"/>
                <a:gd name="T32" fmla="*/ 94 w 209"/>
                <a:gd name="T33" fmla="*/ 158 h 163"/>
                <a:gd name="T34" fmla="*/ 49 w 209"/>
                <a:gd name="T35" fmla="*/ 40 h 163"/>
                <a:gd name="T36" fmla="*/ 43 w 209"/>
                <a:gd name="T37" fmla="*/ 39 h 163"/>
                <a:gd name="T38" fmla="*/ 40 w 209"/>
                <a:gd name="T39" fmla="*/ 39 h 163"/>
                <a:gd name="T40" fmla="*/ 37 w 209"/>
                <a:gd name="T41" fmla="*/ 42 h 163"/>
                <a:gd name="T42" fmla="*/ 41 w 209"/>
                <a:gd name="T43" fmla="*/ 46 h 163"/>
                <a:gd name="T44" fmla="*/ 47 w 209"/>
                <a:gd name="T45" fmla="*/ 46 h 163"/>
                <a:gd name="T46" fmla="*/ 52 w 209"/>
                <a:gd name="T47" fmla="*/ 46 h 163"/>
                <a:gd name="T48" fmla="*/ 56 w 209"/>
                <a:gd name="T49" fmla="*/ 43 h 163"/>
                <a:gd name="T50" fmla="*/ 52 w 209"/>
                <a:gd name="T51" fmla="*/ 41 h 163"/>
                <a:gd name="T52" fmla="*/ 132 w 209"/>
                <a:gd name="T53" fmla="*/ 0 h 163"/>
                <a:gd name="T54" fmla="*/ 128 w 209"/>
                <a:gd name="T55" fmla="*/ 4 h 163"/>
                <a:gd name="T56" fmla="*/ 128 w 209"/>
                <a:gd name="T57" fmla="*/ 0 h 163"/>
                <a:gd name="T58" fmla="*/ 132 w 209"/>
                <a:gd name="T59" fmla="*/ 0 h 163"/>
                <a:gd name="T60" fmla="*/ 124 w 209"/>
                <a:gd name="T61" fmla="*/ 22 h 163"/>
                <a:gd name="T62" fmla="*/ 132 w 209"/>
                <a:gd name="T63" fmla="*/ 23 h 163"/>
                <a:gd name="T64" fmla="*/ 126 w 209"/>
                <a:gd name="T65" fmla="*/ 23 h 163"/>
                <a:gd name="T66" fmla="*/ 124 w 209"/>
                <a:gd name="T67" fmla="*/ 22 h 163"/>
                <a:gd name="T68" fmla="*/ 185 w 209"/>
                <a:gd name="T69" fmla="*/ 49 h 163"/>
                <a:gd name="T70" fmla="*/ 185 w 209"/>
                <a:gd name="T71" fmla="*/ 52 h 163"/>
                <a:gd name="T72" fmla="*/ 185 w 209"/>
                <a:gd name="T73" fmla="*/ 49 h 163"/>
                <a:gd name="T74" fmla="*/ 192 w 209"/>
                <a:gd name="T75" fmla="*/ 58 h 163"/>
                <a:gd name="T76" fmla="*/ 192 w 209"/>
                <a:gd name="T77" fmla="*/ 56 h 163"/>
                <a:gd name="T78" fmla="*/ 192 w 209"/>
                <a:gd name="T79" fmla="*/ 58 h 163"/>
                <a:gd name="T80" fmla="*/ 202 w 209"/>
                <a:gd name="T81" fmla="*/ 61 h 163"/>
                <a:gd name="T82" fmla="*/ 203 w 209"/>
                <a:gd name="T83" fmla="*/ 62 h 163"/>
                <a:gd name="T84" fmla="*/ 200 w 209"/>
                <a:gd name="T85" fmla="*/ 62 h 163"/>
                <a:gd name="T86" fmla="*/ 208 w 209"/>
                <a:gd name="T87" fmla="*/ 93 h 163"/>
                <a:gd name="T88" fmla="*/ 207 w 209"/>
                <a:gd name="T89" fmla="*/ 94 h 163"/>
                <a:gd name="T90" fmla="*/ 208 w 209"/>
                <a:gd name="T91" fmla="*/ 93 h 163"/>
                <a:gd name="T92" fmla="*/ 166 w 209"/>
                <a:gd name="T93" fmla="*/ 119 h 163"/>
                <a:gd name="T94" fmla="*/ 163 w 209"/>
                <a:gd name="T95" fmla="*/ 117 h 163"/>
                <a:gd name="T96" fmla="*/ 167 w 209"/>
                <a:gd name="T97" fmla="*/ 116 h 163"/>
                <a:gd name="T98" fmla="*/ 179 w 209"/>
                <a:gd name="T99" fmla="*/ 139 h 163"/>
                <a:gd name="T100" fmla="*/ 182 w 209"/>
                <a:gd name="T101" fmla="*/ 145 h 163"/>
                <a:gd name="T102" fmla="*/ 177 w 209"/>
                <a:gd name="T103" fmla="*/ 139 h 163"/>
                <a:gd name="T104" fmla="*/ 179 w 209"/>
                <a:gd name="T105" fmla="*/ 13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9" h="163">
                  <a:moveTo>
                    <a:pt x="11" y="143"/>
                  </a:moveTo>
                  <a:lnTo>
                    <a:pt x="8" y="139"/>
                  </a:lnTo>
                  <a:lnTo>
                    <a:pt x="6" y="138"/>
                  </a:lnTo>
                  <a:lnTo>
                    <a:pt x="3" y="138"/>
                  </a:lnTo>
                  <a:lnTo>
                    <a:pt x="0" y="138"/>
                  </a:lnTo>
                  <a:lnTo>
                    <a:pt x="3" y="141"/>
                  </a:lnTo>
                  <a:lnTo>
                    <a:pt x="5" y="143"/>
                  </a:lnTo>
                  <a:lnTo>
                    <a:pt x="7" y="144"/>
                  </a:lnTo>
                  <a:lnTo>
                    <a:pt x="11" y="145"/>
                  </a:lnTo>
                  <a:lnTo>
                    <a:pt x="11" y="143"/>
                  </a:lnTo>
                  <a:lnTo>
                    <a:pt x="11" y="143"/>
                  </a:lnTo>
                  <a:close/>
                  <a:moveTo>
                    <a:pt x="33" y="33"/>
                  </a:moveTo>
                  <a:lnTo>
                    <a:pt x="31" y="31"/>
                  </a:lnTo>
                  <a:lnTo>
                    <a:pt x="29" y="29"/>
                  </a:lnTo>
                  <a:lnTo>
                    <a:pt x="29" y="26"/>
                  </a:lnTo>
                  <a:lnTo>
                    <a:pt x="31" y="24"/>
                  </a:lnTo>
                  <a:lnTo>
                    <a:pt x="33" y="25"/>
                  </a:lnTo>
                  <a:lnTo>
                    <a:pt x="34" y="27"/>
                  </a:lnTo>
                  <a:lnTo>
                    <a:pt x="35" y="30"/>
                  </a:lnTo>
                  <a:lnTo>
                    <a:pt x="37" y="33"/>
                  </a:lnTo>
                  <a:lnTo>
                    <a:pt x="33" y="33"/>
                  </a:lnTo>
                  <a:lnTo>
                    <a:pt x="33" y="33"/>
                  </a:lnTo>
                  <a:close/>
                  <a:moveTo>
                    <a:pt x="94" y="158"/>
                  </a:moveTo>
                  <a:lnTo>
                    <a:pt x="97" y="159"/>
                  </a:lnTo>
                  <a:lnTo>
                    <a:pt x="99" y="161"/>
                  </a:lnTo>
                  <a:lnTo>
                    <a:pt x="97" y="163"/>
                  </a:lnTo>
                  <a:lnTo>
                    <a:pt x="93" y="162"/>
                  </a:lnTo>
                  <a:lnTo>
                    <a:pt x="91" y="161"/>
                  </a:lnTo>
                  <a:lnTo>
                    <a:pt x="90" y="159"/>
                  </a:lnTo>
                  <a:lnTo>
                    <a:pt x="88" y="158"/>
                  </a:lnTo>
                  <a:lnTo>
                    <a:pt x="90" y="156"/>
                  </a:lnTo>
                  <a:lnTo>
                    <a:pt x="93" y="156"/>
                  </a:lnTo>
                  <a:lnTo>
                    <a:pt x="94" y="158"/>
                  </a:lnTo>
                  <a:lnTo>
                    <a:pt x="94" y="158"/>
                  </a:lnTo>
                  <a:close/>
                  <a:moveTo>
                    <a:pt x="52" y="41"/>
                  </a:moveTo>
                  <a:lnTo>
                    <a:pt x="49" y="40"/>
                  </a:lnTo>
                  <a:lnTo>
                    <a:pt x="47" y="40"/>
                  </a:lnTo>
                  <a:lnTo>
                    <a:pt x="43" y="39"/>
                  </a:lnTo>
                  <a:lnTo>
                    <a:pt x="42" y="36"/>
                  </a:lnTo>
                  <a:lnTo>
                    <a:pt x="40" y="39"/>
                  </a:lnTo>
                  <a:lnTo>
                    <a:pt x="38" y="39"/>
                  </a:lnTo>
                  <a:lnTo>
                    <a:pt x="37" y="42"/>
                  </a:lnTo>
                  <a:lnTo>
                    <a:pt x="39" y="44"/>
                  </a:lnTo>
                  <a:lnTo>
                    <a:pt x="41" y="46"/>
                  </a:lnTo>
                  <a:lnTo>
                    <a:pt x="45" y="46"/>
                  </a:lnTo>
                  <a:lnTo>
                    <a:pt x="47" y="46"/>
                  </a:lnTo>
                  <a:lnTo>
                    <a:pt x="50" y="46"/>
                  </a:lnTo>
                  <a:lnTo>
                    <a:pt x="52" y="46"/>
                  </a:lnTo>
                  <a:lnTo>
                    <a:pt x="55" y="47"/>
                  </a:lnTo>
                  <a:lnTo>
                    <a:pt x="56" y="43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close/>
                  <a:moveTo>
                    <a:pt x="132" y="0"/>
                  </a:moveTo>
                  <a:lnTo>
                    <a:pt x="132" y="2"/>
                  </a:lnTo>
                  <a:lnTo>
                    <a:pt x="128" y="4"/>
                  </a:lnTo>
                  <a:lnTo>
                    <a:pt x="126" y="4"/>
                  </a:lnTo>
                  <a:lnTo>
                    <a:pt x="128" y="0"/>
                  </a:lnTo>
                  <a:lnTo>
                    <a:pt x="132" y="1"/>
                  </a:lnTo>
                  <a:lnTo>
                    <a:pt x="132" y="0"/>
                  </a:lnTo>
                  <a:lnTo>
                    <a:pt x="132" y="0"/>
                  </a:lnTo>
                  <a:close/>
                  <a:moveTo>
                    <a:pt x="124" y="22"/>
                  </a:moveTo>
                  <a:lnTo>
                    <a:pt x="126" y="22"/>
                  </a:lnTo>
                  <a:lnTo>
                    <a:pt x="132" y="23"/>
                  </a:lnTo>
                  <a:lnTo>
                    <a:pt x="129" y="23"/>
                  </a:lnTo>
                  <a:lnTo>
                    <a:pt x="126" y="23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4" y="22"/>
                  </a:lnTo>
                  <a:close/>
                  <a:moveTo>
                    <a:pt x="185" y="49"/>
                  </a:moveTo>
                  <a:lnTo>
                    <a:pt x="187" y="52"/>
                  </a:lnTo>
                  <a:lnTo>
                    <a:pt x="185" y="52"/>
                  </a:lnTo>
                  <a:lnTo>
                    <a:pt x="185" y="50"/>
                  </a:lnTo>
                  <a:lnTo>
                    <a:pt x="185" y="49"/>
                  </a:lnTo>
                  <a:lnTo>
                    <a:pt x="185" y="49"/>
                  </a:lnTo>
                  <a:close/>
                  <a:moveTo>
                    <a:pt x="192" y="58"/>
                  </a:moveTo>
                  <a:lnTo>
                    <a:pt x="190" y="58"/>
                  </a:lnTo>
                  <a:lnTo>
                    <a:pt x="192" y="56"/>
                  </a:lnTo>
                  <a:lnTo>
                    <a:pt x="192" y="58"/>
                  </a:lnTo>
                  <a:lnTo>
                    <a:pt x="192" y="58"/>
                  </a:lnTo>
                  <a:close/>
                  <a:moveTo>
                    <a:pt x="200" y="62"/>
                  </a:moveTo>
                  <a:lnTo>
                    <a:pt x="202" y="61"/>
                  </a:lnTo>
                  <a:lnTo>
                    <a:pt x="204" y="60"/>
                  </a:lnTo>
                  <a:lnTo>
                    <a:pt x="203" y="62"/>
                  </a:lnTo>
                  <a:lnTo>
                    <a:pt x="200" y="64"/>
                  </a:lnTo>
                  <a:lnTo>
                    <a:pt x="200" y="62"/>
                  </a:lnTo>
                  <a:lnTo>
                    <a:pt x="200" y="62"/>
                  </a:lnTo>
                  <a:close/>
                  <a:moveTo>
                    <a:pt x="208" y="93"/>
                  </a:moveTo>
                  <a:lnTo>
                    <a:pt x="209" y="95"/>
                  </a:lnTo>
                  <a:lnTo>
                    <a:pt x="207" y="94"/>
                  </a:lnTo>
                  <a:lnTo>
                    <a:pt x="208" y="93"/>
                  </a:lnTo>
                  <a:lnTo>
                    <a:pt x="208" y="93"/>
                  </a:lnTo>
                  <a:close/>
                  <a:moveTo>
                    <a:pt x="167" y="116"/>
                  </a:moveTo>
                  <a:lnTo>
                    <a:pt x="166" y="119"/>
                  </a:lnTo>
                  <a:lnTo>
                    <a:pt x="163" y="120"/>
                  </a:lnTo>
                  <a:lnTo>
                    <a:pt x="163" y="117"/>
                  </a:lnTo>
                  <a:lnTo>
                    <a:pt x="166" y="116"/>
                  </a:lnTo>
                  <a:lnTo>
                    <a:pt x="167" y="116"/>
                  </a:lnTo>
                  <a:lnTo>
                    <a:pt x="167" y="116"/>
                  </a:lnTo>
                  <a:close/>
                  <a:moveTo>
                    <a:pt x="179" y="139"/>
                  </a:moveTo>
                  <a:lnTo>
                    <a:pt x="180" y="142"/>
                  </a:lnTo>
                  <a:lnTo>
                    <a:pt x="182" y="145"/>
                  </a:lnTo>
                  <a:lnTo>
                    <a:pt x="178" y="143"/>
                  </a:lnTo>
                  <a:lnTo>
                    <a:pt x="177" y="139"/>
                  </a:lnTo>
                  <a:lnTo>
                    <a:pt x="179" y="139"/>
                  </a:lnTo>
                  <a:lnTo>
                    <a:pt x="179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2" name="Freeform 212">
              <a:extLst>
                <a:ext uri="{FF2B5EF4-FFF2-40B4-BE49-F238E27FC236}">
                  <a16:creationId xmlns:a16="http://schemas.microsoft.com/office/drawing/2014/main" id="{A2BF80C5-77D7-4B29-ABE7-2EB04025FA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6175" y="2614613"/>
              <a:ext cx="381000" cy="269875"/>
            </a:xfrm>
            <a:custGeom>
              <a:avLst/>
              <a:gdLst>
                <a:gd name="T0" fmla="*/ 58 w 240"/>
                <a:gd name="T1" fmla="*/ 62 h 170"/>
                <a:gd name="T2" fmla="*/ 120 w 240"/>
                <a:gd name="T3" fmla="*/ 146 h 170"/>
                <a:gd name="T4" fmla="*/ 120 w 240"/>
                <a:gd name="T5" fmla="*/ 146 h 170"/>
                <a:gd name="T6" fmla="*/ 117 w 240"/>
                <a:gd name="T7" fmla="*/ 164 h 170"/>
                <a:gd name="T8" fmla="*/ 101 w 240"/>
                <a:gd name="T9" fmla="*/ 170 h 170"/>
                <a:gd name="T10" fmla="*/ 101 w 240"/>
                <a:gd name="T11" fmla="*/ 170 h 170"/>
                <a:gd name="T12" fmla="*/ 43 w 240"/>
                <a:gd name="T13" fmla="*/ 34 h 170"/>
                <a:gd name="T14" fmla="*/ 51 w 240"/>
                <a:gd name="T15" fmla="*/ 27 h 170"/>
                <a:gd name="T16" fmla="*/ 59 w 240"/>
                <a:gd name="T17" fmla="*/ 25 h 170"/>
                <a:gd name="T18" fmla="*/ 50 w 240"/>
                <a:gd name="T19" fmla="*/ 23 h 170"/>
                <a:gd name="T20" fmla="*/ 47 w 240"/>
                <a:gd name="T21" fmla="*/ 16 h 170"/>
                <a:gd name="T22" fmla="*/ 44 w 240"/>
                <a:gd name="T23" fmla="*/ 13 h 170"/>
                <a:gd name="T24" fmla="*/ 36 w 240"/>
                <a:gd name="T25" fmla="*/ 9 h 170"/>
                <a:gd name="T26" fmla="*/ 28 w 240"/>
                <a:gd name="T27" fmla="*/ 5 h 170"/>
                <a:gd name="T28" fmla="*/ 23 w 240"/>
                <a:gd name="T29" fmla="*/ 0 h 170"/>
                <a:gd name="T30" fmla="*/ 16 w 240"/>
                <a:gd name="T31" fmla="*/ 4 h 170"/>
                <a:gd name="T32" fmla="*/ 17 w 240"/>
                <a:gd name="T33" fmla="*/ 9 h 170"/>
                <a:gd name="T34" fmla="*/ 15 w 240"/>
                <a:gd name="T35" fmla="*/ 12 h 170"/>
                <a:gd name="T36" fmla="*/ 8 w 240"/>
                <a:gd name="T37" fmla="*/ 17 h 170"/>
                <a:gd name="T38" fmla="*/ 0 w 240"/>
                <a:gd name="T39" fmla="*/ 19 h 170"/>
                <a:gd name="T40" fmla="*/ 6 w 240"/>
                <a:gd name="T41" fmla="*/ 25 h 170"/>
                <a:gd name="T42" fmla="*/ 11 w 240"/>
                <a:gd name="T43" fmla="*/ 26 h 170"/>
                <a:gd name="T44" fmla="*/ 17 w 240"/>
                <a:gd name="T45" fmla="*/ 27 h 170"/>
                <a:gd name="T46" fmla="*/ 25 w 240"/>
                <a:gd name="T47" fmla="*/ 30 h 170"/>
                <a:gd name="T48" fmla="*/ 33 w 240"/>
                <a:gd name="T49" fmla="*/ 31 h 170"/>
                <a:gd name="T50" fmla="*/ 41 w 240"/>
                <a:gd name="T51" fmla="*/ 34 h 170"/>
                <a:gd name="T52" fmla="*/ 234 w 240"/>
                <a:gd name="T53" fmla="*/ 1 h 170"/>
                <a:gd name="T54" fmla="*/ 231 w 240"/>
                <a:gd name="T55" fmla="*/ 0 h 170"/>
                <a:gd name="T56" fmla="*/ 219 w 240"/>
                <a:gd name="T57" fmla="*/ 2 h 170"/>
                <a:gd name="T58" fmla="*/ 240 w 240"/>
                <a:gd name="T59" fmla="*/ 37 h 170"/>
                <a:gd name="T60" fmla="*/ 240 w 240"/>
                <a:gd name="T61" fmla="*/ 37 h 170"/>
                <a:gd name="T62" fmla="*/ 179 w 240"/>
                <a:gd name="T63" fmla="*/ 44 h 170"/>
                <a:gd name="T64" fmla="*/ 177 w 240"/>
                <a:gd name="T65" fmla="*/ 51 h 170"/>
                <a:gd name="T66" fmla="*/ 173 w 240"/>
                <a:gd name="T67" fmla="*/ 44 h 170"/>
                <a:gd name="T68" fmla="*/ 177 w 240"/>
                <a:gd name="T69" fmla="*/ 38 h 170"/>
                <a:gd name="T70" fmla="*/ 179 w 240"/>
                <a:gd name="T71" fmla="*/ 40 h 170"/>
                <a:gd name="T72" fmla="*/ 222 w 240"/>
                <a:gd name="T73" fmla="*/ 83 h 170"/>
                <a:gd name="T74" fmla="*/ 226 w 240"/>
                <a:gd name="T75" fmla="*/ 85 h 170"/>
                <a:gd name="T76" fmla="*/ 222 w 240"/>
                <a:gd name="T77" fmla="*/ 94 h 170"/>
                <a:gd name="T78" fmla="*/ 213 w 240"/>
                <a:gd name="T79" fmla="*/ 90 h 170"/>
                <a:gd name="T80" fmla="*/ 219 w 240"/>
                <a:gd name="T81" fmla="*/ 96 h 170"/>
                <a:gd name="T82" fmla="*/ 215 w 240"/>
                <a:gd name="T83" fmla="*/ 98 h 170"/>
                <a:gd name="T84" fmla="*/ 211 w 240"/>
                <a:gd name="T85" fmla="*/ 94 h 170"/>
                <a:gd name="T86" fmla="*/ 206 w 240"/>
                <a:gd name="T87" fmla="*/ 88 h 170"/>
                <a:gd name="T88" fmla="*/ 213 w 240"/>
                <a:gd name="T89" fmla="*/ 9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0" h="170">
                  <a:moveTo>
                    <a:pt x="58" y="62"/>
                  </a:moveTo>
                  <a:lnTo>
                    <a:pt x="54" y="63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58" y="62"/>
                  </a:lnTo>
                  <a:close/>
                  <a:moveTo>
                    <a:pt x="120" y="146"/>
                  </a:moveTo>
                  <a:lnTo>
                    <a:pt x="118" y="146"/>
                  </a:lnTo>
                  <a:lnTo>
                    <a:pt x="120" y="146"/>
                  </a:lnTo>
                  <a:lnTo>
                    <a:pt x="120" y="146"/>
                  </a:lnTo>
                  <a:close/>
                  <a:moveTo>
                    <a:pt x="117" y="164"/>
                  </a:moveTo>
                  <a:lnTo>
                    <a:pt x="113" y="164"/>
                  </a:lnTo>
                  <a:lnTo>
                    <a:pt x="117" y="164"/>
                  </a:lnTo>
                  <a:lnTo>
                    <a:pt x="117" y="164"/>
                  </a:lnTo>
                  <a:lnTo>
                    <a:pt x="117" y="164"/>
                  </a:lnTo>
                  <a:close/>
                  <a:moveTo>
                    <a:pt x="101" y="170"/>
                  </a:moveTo>
                  <a:lnTo>
                    <a:pt x="97" y="170"/>
                  </a:lnTo>
                  <a:lnTo>
                    <a:pt x="101" y="170"/>
                  </a:lnTo>
                  <a:lnTo>
                    <a:pt x="101" y="170"/>
                  </a:lnTo>
                  <a:lnTo>
                    <a:pt x="101" y="170"/>
                  </a:lnTo>
                  <a:close/>
                  <a:moveTo>
                    <a:pt x="41" y="34"/>
                  </a:moveTo>
                  <a:lnTo>
                    <a:pt x="43" y="34"/>
                  </a:lnTo>
                  <a:lnTo>
                    <a:pt x="46" y="31"/>
                  </a:lnTo>
                  <a:lnTo>
                    <a:pt x="49" y="30"/>
                  </a:lnTo>
                  <a:lnTo>
                    <a:pt x="51" y="27"/>
                  </a:lnTo>
                  <a:lnTo>
                    <a:pt x="53" y="27"/>
                  </a:lnTo>
                  <a:lnTo>
                    <a:pt x="57" y="27"/>
                  </a:lnTo>
                  <a:lnTo>
                    <a:pt x="59" y="25"/>
                  </a:lnTo>
                  <a:lnTo>
                    <a:pt x="55" y="23"/>
                  </a:lnTo>
                  <a:lnTo>
                    <a:pt x="53" y="25"/>
                  </a:lnTo>
                  <a:lnTo>
                    <a:pt x="50" y="23"/>
                  </a:lnTo>
                  <a:lnTo>
                    <a:pt x="49" y="21"/>
                  </a:lnTo>
                  <a:lnTo>
                    <a:pt x="49" y="19"/>
                  </a:lnTo>
                  <a:lnTo>
                    <a:pt x="47" y="16"/>
                  </a:lnTo>
                  <a:lnTo>
                    <a:pt x="46" y="19"/>
                  </a:lnTo>
                  <a:lnTo>
                    <a:pt x="45" y="16"/>
                  </a:lnTo>
                  <a:lnTo>
                    <a:pt x="44" y="13"/>
                  </a:lnTo>
                  <a:lnTo>
                    <a:pt x="42" y="11"/>
                  </a:lnTo>
                  <a:lnTo>
                    <a:pt x="38" y="10"/>
                  </a:lnTo>
                  <a:lnTo>
                    <a:pt x="36" y="9"/>
                  </a:lnTo>
                  <a:lnTo>
                    <a:pt x="33" y="6"/>
                  </a:lnTo>
                  <a:lnTo>
                    <a:pt x="30" y="4"/>
                  </a:lnTo>
                  <a:lnTo>
                    <a:pt x="28" y="5"/>
                  </a:lnTo>
                  <a:lnTo>
                    <a:pt x="28" y="3"/>
                  </a:lnTo>
                  <a:lnTo>
                    <a:pt x="26" y="2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17" y="2"/>
                  </a:lnTo>
                  <a:lnTo>
                    <a:pt x="16" y="4"/>
                  </a:lnTo>
                  <a:lnTo>
                    <a:pt x="17" y="8"/>
                  </a:lnTo>
                  <a:lnTo>
                    <a:pt x="20" y="10"/>
                  </a:lnTo>
                  <a:lnTo>
                    <a:pt x="17" y="9"/>
                  </a:lnTo>
                  <a:lnTo>
                    <a:pt x="15" y="6"/>
                  </a:lnTo>
                  <a:lnTo>
                    <a:pt x="15" y="10"/>
                  </a:lnTo>
                  <a:lnTo>
                    <a:pt x="15" y="12"/>
                  </a:lnTo>
                  <a:lnTo>
                    <a:pt x="12" y="13"/>
                  </a:lnTo>
                  <a:lnTo>
                    <a:pt x="10" y="17"/>
                  </a:lnTo>
                  <a:lnTo>
                    <a:pt x="8" y="17"/>
                  </a:lnTo>
                  <a:lnTo>
                    <a:pt x="6" y="18"/>
                  </a:lnTo>
                  <a:lnTo>
                    <a:pt x="2" y="17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3" y="25"/>
                  </a:lnTo>
                  <a:lnTo>
                    <a:pt x="6" y="25"/>
                  </a:lnTo>
                  <a:lnTo>
                    <a:pt x="8" y="22"/>
                  </a:lnTo>
                  <a:lnTo>
                    <a:pt x="9" y="25"/>
                  </a:lnTo>
                  <a:lnTo>
                    <a:pt x="11" y="26"/>
                  </a:lnTo>
                  <a:lnTo>
                    <a:pt x="15" y="27"/>
                  </a:lnTo>
                  <a:lnTo>
                    <a:pt x="16" y="25"/>
                  </a:lnTo>
                  <a:lnTo>
                    <a:pt x="17" y="27"/>
                  </a:lnTo>
                  <a:lnTo>
                    <a:pt x="19" y="29"/>
                  </a:lnTo>
                  <a:lnTo>
                    <a:pt x="23" y="29"/>
                  </a:lnTo>
                  <a:lnTo>
                    <a:pt x="25" y="30"/>
                  </a:lnTo>
                  <a:lnTo>
                    <a:pt x="28" y="33"/>
                  </a:lnTo>
                  <a:lnTo>
                    <a:pt x="30" y="33"/>
                  </a:lnTo>
                  <a:lnTo>
                    <a:pt x="33" y="31"/>
                  </a:lnTo>
                  <a:lnTo>
                    <a:pt x="36" y="33"/>
                  </a:lnTo>
                  <a:lnTo>
                    <a:pt x="38" y="34"/>
                  </a:lnTo>
                  <a:lnTo>
                    <a:pt x="41" y="34"/>
                  </a:lnTo>
                  <a:lnTo>
                    <a:pt x="41" y="34"/>
                  </a:lnTo>
                  <a:close/>
                  <a:moveTo>
                    <a:pt x="231" y="0"/>
                  </a:moveTo>
                  <a:lnTo>
                    <a:pt x="234" y="1"/>
                  </a:lnTo>
                  <a:lnTo>
                    <a:pt x="231" y="1"/>
                  </a:lnTo>
                  <a:lnTo>
                    <a:pt x="231" y="0"/>
                  </a:lnTo>
                  <a:lnTo>
                    <a:pt x="231" y="0"/>
                  </a:lnTo>
                  <a:close/>
                  <a:moveTo>
                    <a:pt x="219" y="2"/>
                  </a:moveTo>
                  <a:lnTo>
                    <a:pt x="215" y="3"/>
                  </a:lnTo>
                  <a:lnTo>
                    <a:pt x="219" y="2"/>
                  </a:lnTo>
                  <a:lnTo>
                    <a:pt x="219" y="2"/>
                  </a:lnTo>
                  <a:lnTo>
                    <a:pt x="219" y="2"/>
                  </a:lnTo>
                  <a:close/>
                  <a:moveTo>
                    <a:pt x="240" y="37"/>
                  </a:moveTo>
                  <a:lnTo>
                    <a:pt x="237" y="37"/>
                  </a:lnTo>
                  <a:lnTo>
                    <a:pt x="239" y="36"/>
                  </a:lnTo>
                  <a:lnTo>
                    <a:pt x="240" y="37"/>
                  </a:lnTo>
                  <a:lnTo>
                    <a:pt x="240" y="37"/>
                  </a:lnTo>
                  <a:close/>
                  <a:moveTo>
                    <a:pt x="179" y="40"/>
                  </a:moveTo>
                  <a:lnTo>
                    <a:pt x="179" y="44"/>
                  </a:lnTo>
                  <a:lnTo>
                    <a:pt x="180" y="46"/>
                  </a:lnTo>
                  <a:lnTo>
                    <a:pt x="179" y="50"/>
                  </a:lnTo>
                  <a:lnTo>
                    <a:pt x="177" y="51"/>
                  </a:lnTo>
                  <a:lnTo>
                    <a:pt x="173" y="50"/>
                  </a:lnTo>
                  <a:lnTo>
                    <a:pt x="172" y="47"/>
                  </a:lnTo>
                  <a:lnTo>
                    <a:pt x="173" y="44"/>
                  </a:lnTo>
                  <a:lnTo>
                    <a:pt x="173" y="42"/>
                  </a:lnTo>
                  <a:lnTo>
                    <a:pt x="174" y="38"/>
                  </a:lnTo>
                  <a:lnTo>
                    <a:pt x="177" y="38"/>
                  </a:lnTo>
                  <a:lnTo>
                    <a:pt x="179" y="40"/>
                  </a:lnTo>
                  <a:lnTo>
                    <a:pt x="179" y="40"/>
                  </a:lnTo>
                  <a:lnTo>
                    <a:pt x="179" y="40"/>
                  </a:lnTo>
                  <a:close/>
                  <a:moveTo>
                    <a:pt x="226" y="85"/>
                  </a:moveTo>
                  <a:lnTo>
                    <a:pt x="224" y="86"/>
                  </a:lnTo>
                  <a:lnTo>
                    <a:pt x="222" y="83"/>
                  </a:lnTo>
                  <a:lnTo>
                    <a:pt x="225" y="85"/>
                  </a:lnTo>
                  <a:lnTo>
                    <a:pt x="226" y="85"/>
                  </a:lnTo>
                  <a:lnTo>
                    <a:pt x="226" y="85"/>
                  </a:lnTo>
                  <a:close/>
                  <a:moveTo>
                    <a:pt x="222" y="95"/>
                  </a:moveTo>
                  <a:lnTo>
                    <a:pt x="219" y="95"/>
                  </a:lnTo>
                  <a:lnTo>
                    <a:pt x="222" y="94"/>
                  </a:lnTo>
                  <a:lnTo>
                    <a:pt x="222" y="95"/>
                  </a:lnTo>
                  <a:lnTo>
                    <a:pt x="222" y="95"/>
                  </a:lnTo>
                  <a:close/>
                  <a:moveTo>
                    <a:pt x="213" y="90"/>
                  </a:moveTo>
                  <a:lnTo>
                    <a:pt x="216" y="93"/>
                  </a:lnTo>
                  <a:lnTo>
                    <a:pt x="215" y="95"/>
                  </a:lnTo>
                  <a:lnTo>
                    <a:pt x="219" y="96"/>
                  </a:lnTo>
                  <a:lnTo>
                    <a:pt x="221" y="97"/>
                  </a:lnTo>
                  <a:lnTo>
                    <a:pt x="219" y="98"/>
                  </a:lnTo>
                  <a:lnTo>
                    <a:pt x="215" y="98"/>
                  </a:lnTo>
                  <a:lnTo>
                    <a:pt x="215" y="96"/>
                  </a:lnTo>
                  <a:lnTo>
                    <a:pt x="213" y="97"/>
                  </a:lnTo>
                  <a:lnTo>
                    <a:pt x="211" y="94"/>
                  </a:lnTo>
                  <a:lnTo>
                    <a:pt x="209" y="91"/>
                  </a:lnTo>
                  <a:lnTo>
                    <a:pt x="207" y="90"/>
                  </a:lnTo>
                  <a:lnTo>
                    <a:pt x="206" y="88"/>
                  </a:lnTo>
                  <a:lnTo>
                    <a:pt x="208" y="88"/>
                  </a:lnTo>
                  <a:lnTo>
                    <a:pt x="212" y="89"/>
                  </a:lnTo>
                  <a:lnTo>
                    <a:pt x="213" y="90"/>
                  </a:lnTo>
                  <a:lnTo>
                    <a:pt x="213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3" name="Freeform 213">
              <a:extLst>
                <a:ext uri="{FF2B5EF4-FFF2-40B4-BE49-F238E27FC236}">
                  <a16:creationId xmlns:a16="http://schemas.microsoft.com/office/drawing/2014/main" id="{A2579010-E89C-4064-964A-3989EF74F9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08350" y="2622550"/>
              <a:ext cx="468312" cy="306388"/>
            </a:xfrm>
            <a:custGeom>
              <a:avLst/>
              <a:gdLst>
                <a:gd name="T0" fmla="*/ 65 w 295"/>
                <a:gd name="T1" fmla="*/ 175 h 193"/>
                <a:gd name="T2" fmla="*/ 59 w 295"/>
                <a:gd name="T3" fmla="*/ 178 h 193"/>
                <a:gd name="T4" fmla="*/ 59 w 295"/>
                <a:gd name="T5" fmla="*/ 177 h 193"/>
                <a:gd name="T6" fmla="*/ 65 w 295"/>
                <a:gd name="T7" fmla="*/ 174 h 193"/>
                <a:gd name="T8" fmla="*/ 68 w 295"/>
                <a:gd name="T9" fmla="*/ 174 h 193"/>
                <a:gd name="T10" fmla="*/ 60 w 295"/>
                <a:gd name="T11" fmla="*/ 178 h 193"/>
                <a:gd name="T12" fmla="*/ 60 w 295"/>
                <a:gd name="T13" fmla="*/ 178 h 193"/>
                <a:gd name="T14" fmla="*/ 63 w 295"/>
                <a:gd name="T15" fmla="*/ 177 h 193"/>
                <a:gd name="T16" fmla="*/ 59 w 295"/>
                <a:gd name="T17" fmla="*/ 182 h 193"/>
                <a:gd name="T18" fmla="*/ 63 w 295"/>
                <a:gd name="T19" fmla="*/ 178 h 193"/>
                <a:gd name="T20" fmla="*/ 63 w 295"/>
                <a:gd name="T21" fmla="*/ 177 h 193"/>
                <a:gd name="T22" fmla="*/ 6 w 295"/>
                <a:gd name="T23" fmla="*/ 192 h 193"/>
                <a:gd name="T24" fmla="*/ 0 w 295"/>
                <a:gd name="T25" fmla="*/ 192 h 193"/>
                <a:gd name="T26" fmla="*/ 3 w 295"/>
                <a:gd name="T27" fmla="*/ 191 h 193"/>
                <a:gd name="T28" fmla="*/ 227 w 295"/>
                <a:gd name="T29" fmla="*/ 16 h 193"/>
                <a:gd name="T30" fmla="*/ 228 w 295"/>
                <a:gd name="T31" fmla="*/ 21 h 193"/>
                <a:gd name="T32" fmla="*/ 223 w 295"/>
                <a:gd name="T33" fmla="*/ 22 h 193"/>
                <a:gd name="T34" fmla="*/ 225 w 295"/>
                <a:gd name="T35" fmla="*/ 15 h 193"/>
                <a:gd name="T36" fmla="*/ 227 w 295"/>
                <a:gd name="T37" fmla="*/ 16 h 193"/>
                <a:gd name="T38" fmla="*/ 208 w 295"/>
                <a:gd name="T39" fmla="*/ 24 h 193"/>
                <a:gd name="T40" fmla="*/ 203 w 295"/>
                <a:gd name="T41" fmla="*/ 25 h 193"/>
                <a:gd name="T42" fmla="*/ 203 w 295"/>
                <a:gd name="T43" fmla="*/ 22 h 193"/>
                <a:gd name="T44" fmla="*/ 208 w 295"/>
                <a:gd name="T45" fmla="*/ 22 h 193"/>
                <a:gd name="T46" fmla="*/ 168 w 295"/>
                <a:gd name="T47" fmla="*/ 26 h 193"/>
                <a:gd name="T48" fmla="*/ 169 w 295"/>
                <a:gd name="T49" fmla="*/ 30 h 193"/>
                <a:gd name="T50" fmla="*/ 164 w 295"/>
                <a:gd name="T51" fmla="*/ 29 h 193"/>
                <a:gd name="T52" fmla="*/ 168 w 295"/>
                <a:gd name="T53" fmla="*/ 26 h 193"/>
                <a:gd name="T54" fmla="*/ 293 w 295"/>
                <a:gd name="T55" fmla="*/ 3 h 193"/>
                <a:gd name="T56" fmla="*/ 293 w 295"/>
                <a:gd name="T57" fmla="*/ 7 h 193"/>
                <a:gd name="T58" fmla="*/ 290 w 295"/>
                <a:gd name="T59" fmla="*/ 6 h 193"/>
                <a:gd name="T60" fmla="*/ 289 w 295"/>
                <a:gd name="T61" fmla="*/ 5 h 193"/>
                <a:gd name="T62" fmla="*/ 287 w 295"/>
                <a:gd name="T63" fmla="*/ 3 h 193"/>
                <a:gd name="T64" fmla="*/ 292 w 295"/>
                <a:gd name="T65" fmla="*/ 3 h 193"/>
                <a:gd name="T66" fmla="*/ 293 w 295"/>
                <a:gd name="T67" fmla="*/ 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5" h="193">
                  <a:moveTo>
                    <a:pt x="68" y="174"/>
                  </a:moveTo>
                  <a:lnTo>
                    <a:pt x="65" y="175"/>
                  </a:lnTo>
                  <a:lnTo>
                    <a:pt x="62" y="177"/>
                  </a:lnTo>
                  <a:lnTo>
                    <a:pt x="59" y="178"/>
                  </a:lnTo>
                  <a:lnTo>
                    <a:pt x="57" y="178"/>
                  </a:lnTo>
                  <a:lnTo>
                    <a:pt x="59" y="177"/>
                  </a:lnTo>
                  <a:lnTo>
                    <a:pt x="62" y="175"/>
                  </a:lnTo>
                  <a:lnTo>
                    <a:pt x="65" y="174"/>
                  </a:lnTo>
                  <a:lnTo>
                    <a:pt x="68" y="174"/>
                  </a:lnTo>
                  <a:lnTo>
                    <a:pt x="68" y="174"/>
                  </a:lnTo>
                  <a:lnTo>
                    <a:pt x="68" y="174"/>
                  </a:lnTo>
                  <a:close/>
                  <a:moveTo>
                    <a:pt x="60" y="178"/>
                  </a:moveTo>
                  <a:lnTo>
                    <a:pt x="58" y="180"/>
                  </a:lnTo>
                  <a:lnTo>
                    <a:pt x="60" y="178"/>
                  </a:lnTo>
                  <a:lnTo>
                    <a:pt x="60" y="178"/>
                  </a:lnTo>
                  <a:close/>
                  <a:moveTo>
                    <a:pt x="63" y="177"/>
                  </a:moveTo>
                  <a:lnTo>
                    <a:pt x="62" y="180"/>
                  </a:lnTo>
                  <a:lnTo>
                    <a:pt x="59" y="182"/>
                  </a:lnTo>
                  <a:lnTo>
                    <a:pt x="60" y="179"/>
                  </a:lnTo>
                  <a:lnTo>
                    <a:pt x="63" y="178"/>
                  </a:lnTo>
                  <a:lnTo>
                    <a:pt x="63" y="177"/>
                  </a:lnTo>
                  <a:lnTo>
                    <a:pt x="63" y="177"/>
                  </a:lnTo>
                  <a:close/>
                  <a:moveTo>
                    <a:pt x="3" y="191"/>
                  </a:moveTo>
                  <a:lnTo>
                    <a:pt x="6" y="192"/>
                  </a:lnTo>
                  <a:lnTo>
                    <a:pt x="3" y="193"/>
                  </a:lnTo>
                  <a:lnTo>
                    <a:pt x="0" y="192"/>
                  </a:lnTo>
                  <a:lnTo>
                    <a:pt x="3" y="191"/>
                  </a:lnTo>
                  <a:lnTo>
                    <a:pt x="3" y="191"/>
                  </a:lnTo>
                  <a:lnTo>
                    <a:pt x="3" y="191"/>
                  </a:lnTo>
                  <a:close/>
                  <a:moveTo>
                    <a:pt x="227" y="16"/>
                  </a:moveTo>
                  <a:lnTo>
                    <a:pt x="229" y="18"/>
                  </a:lnTo>
                  <a:lnTo>
                    <a:pt x="228" y="21"/>
                  </a:lnTo>
                  <a:lnTo>
                    <a:pt x="225" y="23"/>
                  </a:lnTo>
                  <a:lnTo>
                    <a:pt x="223" y="22"/>
                  </a:lnTo>
                  <a:lnTo>
                    <a:pt x="223" y="16"/>
                  </a:lnTo>
                  <a:lnTo>
                    <a:pt x="225" y="15"/>
                  </a:lnTo>
                  <a:lnTo>
                    <a:pt x="227" y="16"/>
                  </a:lnTo>
                  <a:lnTo>
                    <a:pt x="227" y="16"/>
                  </a:lnTo>
                  <a:close/>
                  <a:moveTo>
                    <a:pt x="208" y="22"/>
                  </a:moveTo>
                  <a:lnTo>
                    <a:pt x="208" y="24"/>
                  </a:lnTo>
                  <a:lnTo>
                    <a:pt x="205" y="26"/>
                  </a:lnTo>
                  <a:lnTo>
                    <a:pt x="203" y="25"/>
                  </a:lnTo>
                  <a:lnTo>
                    <a:pt x="199" y="24"/>
                  </a:lnTo>
                  <a:lnTo>
                    <a:pt x="203" y="22"/>
                  </a:lnTo>
                  <a:lnTo>
                    <a:pt x="205" y="21"/>
                  </a:lnTo>
                  <a:lnTo>
                    <a:pt x="208" y="22"/>
                  </a:lnTo>
                  <a:lnTo>
                    <a:pt x="208" y="22"/>
                  </a:lnTo>
                  <a:close/>
                  <a:moveTo>
                    <a:pt x="168" y="26"/>
                  </a:moveTo>
                  <a:lnTo>
                    <a:pt x="170" y="28"/>
                  </a:lnTo>
                  <a:lnTo>
                    <a:pt x="169" y="30"/>
                  </a:lnTo>
                  <a:lnTo>
                    <a:pt x="167" y="30"/>
                  </a:lnTo>
                  <a:lnTo>
                    <a:pt x="164" y="29"/>
                  </a:lnTo>
                  <a:lnTo>
                    <a:pt x="163" y="26"/>
                  </a:lnTo>
                  <a:lnTo>
                    <a:pt x="168" y="26"/>
                  </a:lnTo>
                  <a:lnTo>
                    <a:pt x="168" y="26"/>
                  </a:lnTo>
                  <a:close/>
                  <a:moveTo>
                    <a:pt x="293" y="3"/>
                  </a:moveTo>
                  <a:lnTo>
                    <a:pt x="295" y="5"/>
                  </a:lnTo>
                  <a:lnTo>
                    <a:pt x="293" y="7"/>
                  </a:lnTo>
                  <a:lnTo>
                    <a:pt x="290" y="8"/>
                  </a:lnTo>
                  <a:lnTo>
                    <a:pt x="290" y="6"/>
                  </a:lnTo>
                  <a:lnTo>
                    <a:pt x="290" y="3"/>
                  </a:lnTo>
                  <a:lnTo>
                    <a:pt x="289" y="5"/>
                  </a:lnTo>
                  <a:lnTo>
                    <a:pt x="285" y="5"/>
                  </a:lnTo>
                  <a:lnTo>
                    <a:pt x="287" y="3"/>
                  </a:lnTo>
                  <a:lnTo>
                    <a:pt x="290" y="0"/>
                  </a:lnTo>
                  <a:lnTo>
                    <a:pt x="292" y="3"/>
                  </a:lnTo>
                  <a:lnTo>
                    <a:pt x="293" y="3"/>
                  </a:lnTo>
                  <a:lnTo>
                    <a:pt x="29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4" name="Freeform 214">
              <a:extLst>
                <a:ext uri="{FF2B5EF4-FFF2-40B4-BE49-F238E27FC236}">
                  <a16:creationId xmlns:a16="http://schemas.microsoft.com/office/drawing/2014/main" id="{458904B7-FB9B-487B-A761-A7031ADCE5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6688" y="2574925"/>
              <a:ext cx="36512" cy="15875"/>
            </a:xfrm>
            <a:custGeom>
              <a:avLst/>
              <a:gdLst>
                <a:gd name="T0" fmla="*/ 6 w 23"/>
                <a:gd name="T1" fmla="*/ 0 h 10"/>
                <a:gd name="T2" fmla="*/ 4 w 23"/>
                <a:gd name="T3" fmla="*/ 2 h 10"/>
                <a:gd name="T4" fmla="*/ 0 w 23"/>
                <a:gd name="T5" fmla="*/ 3 h 10"/>
                <a:gd name="T6" fmla="*/ 0 w 23"/>
                <a:gd name="T7" fmla="*/ 1 h 10"/>
                <a:gd name="T8" fmla="*/ 2 w 23"/>
                <a:gd name="T9" fmla="*/ 0 h 10"/>
                <a:gd name="T10" fmla="*/ 5 w 23"/>
                <a:gd name="T11" fmla="*/ 0 h 10"/>
                <a:gd name="T12" fmla="*/ 6 w 23"/>
                <a:gd name="T13" fmla="*/ 0 h 10"/>
                <a:gd name="T14" fmla="*/ 6 w 23"/>
                <a:gd name="T15" fmla="*/ 0 h 10"/>
                <a:gd name="T16" fmla="*/ 23 w 23"/>
                <a:gd name="T17" fmla="*/ 9 h 10"/>
                <a:gd name="T18" fmla="*/ 19 w 23"/>
                <a:gd name="T19" fmla="*/ 10 h 10"/>
                <a:gd name="T20" fmla="*/ 22 w 23"/>
                <a:gd name="T21" fmla="*/ 9 h 10"/>
                <a:gd name="T22" fmla="*/ 23 w 23"/>
                <a:gd name="T23" fmla="*/ 9 h 10"/>
                <a:gd name="T24" fmla="*/ 23 w 23"/>
                <a:gd name="T2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10">
                  <a:moveTo>
                    <a:pt x="6" y="0"/>
                  </a:moveTo>
                  <a:lnTo>
                    <a:pt x="4" y="2"/>
                  </a:lnTo>
                  <a:lnTo>
                    <a:pt x="0" y="3"/>
                  </a:lnTo>
                  <a:lnTo>
                    <a:pt x="0" y="1"/>
                  </a:lnTo>
                  <a:lnTo>
                    <a:pt x="2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0"/>
                  </a:lnTo>
                  <a:close/>
                  <a:moveTo>
                    <a:pt x="23" y="9"/>
                  </a:moveTo>
                  <a:lnTo>
                    <a:pt x="19" y="10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3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5" name="Freeform 215">
              <a:extLst>
                <a:ext uri="{FF2B5EF4-FFF2-40B4-BE49-F238E27FC236}">
                  <a16:creationId xmlns:a16="http://schemas.microsoft.com/office/drawing/2014/main" id="{1DCD93EB-88A5-4C54-B6AD-55B91DFCD1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2550" y="2454275"/>
              <a:ext cx="623887" cy="447675"/>
            </a:xfrm>
            <a:custGeom>
              <a:avLst/>
              <a:gdLst>
                <a:gd name="T0" fmla="*/ 17 w 393"/>
                <a:gd name="T1" fmla="*/ 72 h 282"/>
                <a:gd name="T2" fmla="*/ 43 w 393"/>
                <a:gd name="T3" fmla="*/ 88 h 282"/>
                <a:gd name="T4" fmla="*/ 79 w 393"/>
                <a:gd name="T5" fmla="*/ 98 h 282"/>
                <a:gd name="T6" fmla="*/ 108 w 393"/>
                <a:gd name="T7" fmla="*/ 95 h 282"/>
                <a:gd name="T8" fmla="*/ 139 w 393"/>
                <a:gd name="T9" fmla="*/ 100 h 282"/>
                <a:gd name="T10" fmla="*/ 159 w 393"/>
                <a:gd name="T11" fmla="*/ 89 h 282"/>
                <a:gd name="T12" fmla="*/ 185 w 393"/>
                <a:gd name="T13" fmla="*/ 110 h 282"/>
                <a:gd name="T14" fmla="*/ 207 w 393"/>
                <a:gd name="T15" fmla="*/ 120 h 282"/>
                <a:gd name="T16" fmla="*/ 234 w 393"/>
                <a:gd name="T17" fmla="*/ 144 h 282"/>
                <a:gd name="T18" fmla="*/ 258 w 393"/>
                <a:gd name="T19" fmla="*/ 169 h 282"/>
                <a:gd name="T20" fmla="*/ 265 w 393"/>
                <a:gd name="T21" fmla="*/ 184 h 282"/>
                <a:gd name="T22" fmla="*/ 227 w 393"/>
                <a:gd name="T23" fmla="*/ 180 h 282"/>
                <a:gd name="T24" fmla="*/ 195 w 393"/>
                <a:gd name="T25" fmla="*/ 209 h 282"/>
                <a:gd name="T26" fmla="*/ 168 w 393"/>
                <a:gd name="T27" fmla="*/ 212 h 282"/>
                <a:gd name="T28" fmla="*/ 203 w 393"/>
                <a:gd name="T29" fmla="*/ 226 h 282"/>
                <a:gd name="T30" fmla="*/ 229 w 393"/>
                <a:gd name="T31" fmla="*/ 224 h 282"/>
                <a:gd name="T32" fmla="*/ 249 w 393"/>
                <a:gd name="T33" fmla="*/ 252 h 282"/>
                <a:gd name="T34" fmla="*/ 301 w 393"/>
                <a:gd name="T35" fmla="*/ 275 h 282"/>
                <a:gd name="T36" fmla="*/ 312 w 393"/>
                <a:gd name="T37" fmla="*/ 261 h 282"/>
                <a:gd name="T38" fmla="*/ 306 w 393"/>
                <a:gd name="T39" fmla="*/ 246 h 282"/>
                <a:gd name="T40" fmla="*/ 340 w 393"/>
                <a:gd name="T41" fmla="*/ 267 h 282"/>
                <a:gd name="T42" fmla="*/ 349 w 393"/>
                <a:gd name="T43" fmla="*/ 249 h 282"/>
                <a:gd name="T44" fmla="*/ 331 w 393"/>
                <a:gd name="T45" fmla="*/ 220 h 282"/>
                <a:gd name="T46" fmla="*/ 303 w 393"/>
                <a:gd name="T47" fmla="*/ 201 h 282"/>
                <a:gd name="T48" fmla="*/ 305 w 393"/>
                <a:gd name="T49" fmla="*/ 184 h 282"/>
                <a:gd name="T50" fmla="*/ 329 w 393"/>
                <a:gd name="T51" fmla="*/ 189 h 282"/>
                <a:gd name="T52" fmla="*/ 339 w 393"/>
                <a:gd name="T53" fmla="*/ 194 h 282"/>
                <a:gd name="T54" fmla="*/ 350 w 393"/>
                <a:gd name="T55" fmla="*/ 208 h 282"/>
                <a:gd name="T56" fmla="*/ 369 w 393"/>
                <a:gd name="T57" fmla="*/ 200 h 282"/>
                <a:gd name="T58" fmla="*/ 379 w 393"/>
                <a:gd name="T59" fmla="*/ 186 h 282"/>
                <a:gd name="T60" fmla="*/ 386 w 393"/>
                <a:gd name="T61" fmla="*/ 172 h 282"/>
                <a:gd name="T62" fmla="*/ 363 w 393"/>
                <a:gd name="T63" fmla="*/ 171 h 282"/>
                <a:gd name="T64" fmla="*/ 350 w 393"/>
                <a:gd name="T65" fmla="*/ 164 h 282"/>
                <a:gd name="T66" fmla="*/ 342 w 393"/>
                <a:gd name="T67" fmla="*/ 152 h 282"/>
                <a:gd name="T68" fmla="*/ 320 w 393"/>
                <a:gd name="T69" fmla="*/ 148 h 282"/>
                <a:gd name="T70" fmla="*/ 312 w 393"/>
                <a:gd name="T71" fmla="*/ 136 h 282"/>
                <a:gd name="T72" fmla="*/ 297 w 393"/>
                <a:gd name="T73" fmla="*/ 129 h 282"/>
                <a:gd name="T74" fmla="*/ 300 w 393"/>
                <a:gd name="T75" fmla="*/ 119 h 282"/>
                <a:gd name="T76" fmla="*/ 291 w 393"/>
                <a:gd name="T77" fmla="*/ 114 h 282"/>
                <a:gd name="T78" fmla="*/ 289 w 393"/>
                <a:gd name="T79" fmla="*/ 109 h 282"/>
                <a:gd name="T80" fmla="*/ 312 w 393"/>
                <a:gd name="T81" fmla="*/ 100 h 282"/>
                <a:gd name="T82" fmla="*/ 284 w 393"/>
                <a:gd name="T83" fmla="*/ 100 h 282"/>
                <a:gd name="T84" fmla="*/ 282 w 393"/>
                <a:gd name="T85" fmla="*/ 92 h 282"/>
                <a:gd name="T86" fmla="*/ 274 w 393"/>
                <a:gd name="T87" fmla="*/ 77 h 282"/>
                <a:gd name="T88" fmla="*/ 253 w 393"/>
                <a:gd name="T89" fmla="*/ 84 h 282"/>
                <a:gd name="T90" fmla="*/ 238 w 393"/>
                <a:gd name="T91" fmla="*/ 78 h 282"/>
                <a:gd name="T92" fmla="*/ 228 w 393"/>
                <a:gd name="T93" fmla="*/ 73 h 282"/>
                <a:gd name="T94" fmla="*/ 220 w 393"/>
                <a:gd name="T95" fmla="*/ 59 h 282"/>
                <a:gd name="T96" fmla="*/ 205 w 393"/>
                <a:gd name="T97" fmla="*/ 57 h 282"/>
                <a:gd name="T98" fmla="*/ 201 w 393"/>
                <a:gd name="T99" fmla="*/ 45 h 282"/>
                <a:gd name="T100" fmla="*/ 184 w 393"/>
                <a:gd name="T101" fmla="*/ 32 h 282"/>
                <a:gd name="T102" fmla="*/ 166 w 393"/>
                <a:gd name="T103" fmla="*/ 41 h 282"/>
                <a:gd name="T104" fmla="*/ 156 w 393"/>
                <a:gd name="T105" fmla="*/ 44 h 282"/>
                <a:gd name="T106" fmla="*/ 137 w 393"/>
                <a:gd name="T107" fmla="*/ 43 h 282"/>
                <a:gd name="T108" fmla="*/ 127 w 393"/>
                <a:gd name="T109" fmla="*/ 34 h 282"/>
                <a:gd name="T110" fmla="*/ 95 w 393"/>
                <a:gd name="T111" fmla="*/ 4 h 282"/>
                <a:gd name="T112" fmla="*/ 83 w 393"/>
                <a:gd name="T113" fmla="*/ 20 h 282"/>
                <a:gd name="T114" fmla="*/ 67 w 393"/>
                <a:gd name="T115" fmla="*/ 24 h 282"/>
                <a:gd name="T116" fmla="*/ 69 w 393"/>
                <a:gd name="T117" fmla="*/ 42 h 282"/>
                <a:gd name="T118" fmla="*/ 69 w 393"/>
                <a:gd name="T119" fmla="*/ 72 h 282"/>
                <a:gd name="T120" fmla="*/ 64 w 393"/>
                <a:gd name="T121" fmla="*/ 61 h 282"/>
                <a:gd name="T122" fmla="*/ 70 w 393"/>
                <a:gd name="T123" fmla="*/ 2 h 282"/>
                <a:gd name="T124" fmla="*/ 9 w 393"/>
                <a:gd name="T125" fmla="*/ 23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3" h="282">
                  <a:moveTo>
                    <a:pt x="0" y="61"/>
                  </a:moveTo>
                  <a:lnTo>
                    <a:pt x="1" y="64"/>
                  </a:lnTo>
                  <a:lnTo>
                    <a:pt x="5" y="66"/>
                  </a:lnTo>
                  <a:lnTo>
                    <a:pt x="7" y="66"/>
                  </a:lnTo>
                  <a:lnTo>
                    <a:pt x="10" y="66"/>
                  </a:lnTo>
                  <a:lnTo>
                    <a:pt x="18" y="67"/>
                  </a:lnTo>
                  <a:lnTo>
                    <a:pt x="21" y="67"/>
                  </a:lnTo>
                  <a:lnTo>
                    <a:pt x="24" y="67"/>
                  </a:lnTo>
                  <a:lnTo>
                    <a:pt x="26" y="68"/>
                  </a:lnTo>
                  <a:lnTo>
                    <a:pt x="30" y="67"/>
                  </a:lnTo>
                  <a:lnTo>
                    <a:pt x="31" y="69"/>
                  </a:lnTo>
                  <a:lnTo>
                    <a:pt x="33" y="70"/>
                  </a:lnTo>
                  <a:lnTo>
                    <a:pt x="36" y="72"/>
                  </a:lnTo>
                  <a:lnTo>
                    <a:pt x="39" y="72"/>
                  </a:lnTo>
                  <a:lnTo>
                    <a:pt x="36" y="75"/>
                  </a:lnTo>
                  <a:lnTo>
                    <a:pt x="33" y="75"/>
                  </a:lnTo>
                  <a:lnTo>
                    <a:pt x="31" y="73"/>
                  </a:lnTo>
                  <a:lnTo>
                    <a:pt x="27" y="75"/>
                  </a:lnTo>
                  <a:lnTo>
                    <a:pt x="25" y="75"/>
                  </a:lnTo>
                  <a:lnTo>
                    <a:pt x="22" y="72"/>
                  </a:lnTo>
                  <a:lnTo>
                    <a:pt x="19" y="72"/>
                  </a:lnTo>
                  <a:lnTo>
                    <a:pt x="17" y="72"/>
                  </a:lnTo>
                  <a:lnTo>
                    <a:pt x="14" y="72"/>
                  </a:lnTo>
                  <a:lnTo>
                    <a:pt x="11" y="72"/>
                  </a:lnTo>
                  <a:lnTo>
                    <a:pt x="8" y="71"/>
                  </a:lnTo>
                  <a:lnTo>
                    <a:pt x="10" y="73"/>
                  </a:lnTo>
                  <a:lnTo>
                    <a:pt x="8" y="75"/>
                  </a:lnTo>
                  <a:lnTo>
                    <a:pt x="9" y="78"/>
                  </a:lnTo>
                  <a:lnTo>
                    <a:pt x="11" y="80"/>
                  </a:lnTo>
                  <a:lnTo>
                    <a:pt x="14" y="83"/>
                  </a:lnTo>
                  <a:lnTo>
                    <a:pt x="16" y="85"/>
                  </a:lnTo>
                  <a:lnTo>
                    <a:pt x="18" y="87"/>
                  </a:lnTo>
                  <a:lnTo>
                    <a:pt x="22" y="87"/>
                  </a:lnTo>
                  <a:lnTo>
                    <a:pt x="24" y="87"/>
                  </a:lnTo>
                  <a:lnTo>
                    <a:pt x="27" y="89"/>
                  </a:lnTo>
                  <a:lnTo>
                    <a:pt x="24" y="89"/>
                  </a:lnTo>
                  <a:lnTo>
                    <a:pt x="27" y="90"/>
                  </a:lnTo>
                  <a:lnTo>
                    <a:pt x="30" y="92"/>
                  </a:lnTo>
                  <a:lnTo>
                    <a:pt x="35" y="89"/>
                  </a:lnTo>
                  <a:lnTo>
                    <a:pt x="38" y="90"/>
                  </a:lnTo>
                  <a:lnTo>
                    <a:pt x="41" y="90"/>
                  </a:lnTo>
                  <a:lnTo>
                    <a:pt x="39" y="88"/>
                  </a:lnTo>
                  <a:lnTo>
                    <a:pt x="41" y="86"/>
                  </a:lnTo>
                  <a:lnTo>
                    <a:pt x="43" y="88"/>
                  </a:lnTo>
                  <a:lnTo>
                    <a:pt x="47" y="88"/>
                  </a:lnTo>
                  <a:lnTo>
                    <a:pt x="49" y="86"/>
                  </a:lnTo>
                  <a:lnTo>
                    <a:pt x="48" y="89"/>
                  </a:lnTo>
                  <a:lnTo>
                    <a:pt x="48" y="92"/>
                  </a:lnTo>
                  <a:lnTo>
                    <a:pt x="50" y="94"/>
                  </a:lnTo>
                  <a:lnTo>
                    <a:pt x="53" y="96"/>
                  </a:lnTo>
                  <a:lnTo>
                    <a:pt x="57" y="97"/>
                  </a:lnTo>
                  <a:lnTo>
                    <a:pt x="59" y="97"/>
                  </a:lnTo>
                  <a:lnTo>
                    <a:pt x="62" y="97"/>
                  </a:lnTo>
                  <a:lnTo>
                    <a:pt x="62" y="97"/>
                  </a:lnTo>
                  <a:lnTo>
                    <a:pt x="65" y="97"/>
                  </a:lnTo>
                  <a:lnTo>
                    <a:pt x="62" y="96"/>
                  </a:lnTo>
                  <a:lnTo>
                    <a:pt x="59" y="96"/>
                  </a:lnTo>
                  <a:lnTo>
                    <a:pt x="57" y="96"/>
                  </a:lnTo>
                  <a:lnTo>
                    <a:pt x="59" y="95"/>
                  </a:lnTo>
                  <a:lnTo>
                    <a:pt x="62" y="95"/>
                  </a:lnTo>
                  <a:lnTo>
                    <a:pt x="65" y="95"/>
                  </a:lnTo>
                  <a:lnTo>
                    <a:pt x="68" y="96"/>
                  </a:lnTo>
                  <a:lnTo>
                    <a:pt x="70" y="95"/>
                  </a:lnTo>
                  <a:lnTo>
                    <a:pt x="74" y="97"/>
                  </a:lnTo>
                  <a:lnTo>
                    <a:pt x="76" y="97"/>
                  </a:lnTo>
                  <a:lnTo>
                    <a:pt x="79" y="98"/>
                  </a:lnTo>
                  <a:lnTo>
                    <a:pt x="82" y="98"/>
                  </a:lnTo>
                  <a:lnTo>
                    <a:pt x="85" y="98"/>
                  </a:lnTo>
                  <a:lnTo>
                    <a:pt x="87" y="100"/>
                  </a:lnTo>
                  <a:lnTo>
                    <a:pt x="90" y="98"/>
                  </a:lnTo>
                  <a:lnTo>
                    <a:pt x="92" y="97"/>
                  </a:lnTo>
                  <a:lnTo>
                    <a:pt x="95" y="97"/>
                  </a:lnTo>
                  <a:lnTo>
                    <a:pt x="99" y="100"/>
                  </a:lnTo>
                  <a:lnTo>
                    <a:pt x="101" y="100"/>
                  </a:lnTo>
                  <a:lnTo>
                    <a:pt x="103" y="102"/>
                  </a:lnTo>
                  <a:lnTo>
                    <a:pt x="107" y="102"/>
                  </a:lnTo>
                  <a:lnTo>
                    <a:pt x="109" y="101"/>
                  </a:lnTo>
                  <a:lnTo>
                    <a:pt x="112" y="101"/>
                  </a:lnTo>
                  <a:lnTo>
                    <a:pt x="111" y="98"/>
                  </a:lnTo>
                  <a:lnTo>
                    <a:pt x="110" y="97"/>
                  </a:lnTo>
                  <a:lnTo>
                    <a:pt x="108" y="96"/>
                  </a:lnTo>
                  <a:lnTo>
                    <a:pt x="102" y="94"/>
                  </a:lnTo>
                  <a:lnTo>
                    <a:pt x="99" y="93"/>
                  </a:lnTo>
                  <a:lnTo>
                    <a:pt x="96" y="90"/>
                  </a:lnTo>
                  <a:lnTo>
                    <a:pt x="99" y="92"/>
                  </a:lnTo>
                  <a:lnTo>
                    <a:pt x="102" y="93"/>
                  </a:lnTo>
                  <a:lnTo>
                    <a:pt x="104" y="94"/>
                  </a:lnTo>
                  <a:lnTo>
                    <a:pt x="108" y="95"/>
                  </a:lnTo>
                  <a:lnTo>
                    <a:pt x="110" y="96"/>
                  </a:lnTo>
                  <a:lnTo>
                    <a:pt x="112" y="97"/>
                  </a:lnTo>
                  <a:lnTo>
                    <a:pt x="115" y="98"/>
                  </a:lnTo>
                  <a:lnTo>
                    <a:pt x="118" y="100"/>
                  </a:lnTo>
                  <a:lnTo>
                    <a:pt x="120" y="102"/>
                  </a:lnTo>
                  <a:lnTo>
                    <a:pt x="124" y="104"/>
                  </a:lnTo>
                  <a:lnTo>
                    <a:pt x="126" y="104"/>
                  </a:lnTo>
                  <a:lnTo>
                    <a:pt x="125" y="101"/>
                  </a:lnTo>
                  <a:lnTo>
                    <a:pt x="123" y="100"/>
                  </a:lnTo>
                  <a:lnTo>
                    <a:pt x="120" y="97"/>
                  </a:lnTo>
                  <a:lnTo>
                    <a:pt x="118" y="97"/>
                  </a:lnTo>
                  <a:lnTo>
                    <a:pt x="115" y="96"/>
                  </a:lnTo>
                  <a:lnTo>
                    <a:pt x="118" y="95"/>
                  </a:lnTo>
                  <a:lnTo>
                    <a:pt x="120" y="95"/>
                  </a:lnTo>
                  <a:lnTo>
                    <a:pt x="123" y="96"/>
                  </a:lnTo>
                  <a:lnTo>
                    <a:pt x="126" y="96"/>
                  </a:lnTo>
                  <a:lnTo>
                    <a:pt x="128" y="96"/>
                  </a:lnTo>
                  <a:lnTo>
                    <a:pt x="132" y="97"/>
                  </a:lnTo>
                  <a:lnTo>
                    <a:pt x="132" y="97"/>
                  </a:lnTo>
                  <a:lnTo>
                    <a:pt x="135" y="97"/>
                  </a:lnTo>
                  <a:lnTo>
                    <a:pt x="137" y="100"/>
                  </a:lnTo>
                  <a:lnTo>
                    <a:pt x="139" y="100"/>
                  </a:lnTo>
                  <a:lnTo>
                    <a:pt x="143" y="102"/>
                  </a:lnTo>
                  <a:lnTo>
                    <a:pt x="145" y="101"/>
                  </a:lnTo>
                  <a:lnTo>
                    <a:pt x="151" y="101"/>
                  </a:lnTo>
                  <a:lnTo>
                    <a:pt x="153" y="101"/>
                  </a:lnTo>
                  <a:lnTo>
                    <a:pt x="155" y="98"/>
                  </a:lnTo>
                  <a:lnTo>
                    <a:pt x="155" y="97"/>
                  </a:lnTo>
                  <a:lnTo>
                    <a:pt x="154" y="95"/>
                  </a:lnTo>
                  <a:lnTo>
                    <a:pt x="153" y="92"/>
                  </a:lnTo>
                  <a:lnTo>
                    <a:pt x="151" y="89"/>
                  </a:lnTo>
                  <a:lnTo>
                    <a:pt x="147" y="90"/>
                  </a:lnTo>
                  <a:lnTo>
                    <a:pt x="145" y="88"/>
                  </a:lnTo>
                  <a:lnTo>
                    <a:pt x="145" y="86"/>
                  </a:lnTo>
                  <a:lnTo>
                    <a:pt x="147" y="87"/>
                  </a:lnTo>
                  <a:lnTo>
                    <a:pt x="149" y="85"/>
                  </a:lnTo>
                  <a:lnTo>
                    <a:pt x="149" y="81"/>
                  </a:lnTo>
                  <a:lnTo>
                    <a:pt x="152" y="83"/>
                  </a:lnTo>
                  <a:lnTo>
                    <a:pt x="154" y="84"/>
                  </a:lnTo>
                  <a:lnTo>
                    <a:pt x="152" y="84"/>
                  </a:lnTo>
                  <a:lnTo>
                    <a:pt x="150" y="86"/>
                  </a:lnTo>
                  <a:lnTo>
                    <a:pt x="153" y="86"/>
                  </a:lnTo>
                  <a:lnTo>
                    <a:pt x="155" y="88"/>
                  </a:lnTo>
                  <a:lnTo>
                    <a:pt x="159" y="89"/>
                  </a:lnTo>
                  <a:lnTo>
                    <a:pt x="159" y="92"/>
                  </a:lnTo>
                  <a:lnTo>
                    <a:pt x="162" y="93"/>
                  </a:lnTo>
                  <a:lnTo>
                    <a:pt x="164" y="92"/>
                  </a:lnTo>
                  <a:lnTo>
                    <a:pt x="167" y="92"/>
                  </a:lnTo>
                  <a:lnTo>
                    <a:pt x="169" y="95"/>
                  </a:lnTo>
                  <a:lnTo>
                    <a:pt x="169" y="97"/>
                  </a:lnTo>
                  <a:lnTo>
                    <a:pt x="169" y="101"/>
                  </a:lnTo>
                  <a:lnTo>
                    <a:pt x="169" y="103"/>
                  </a:lnTo>
                  <a:lnTo>
                    <a:pt x="172" y="103"/>
                  </a:lnTo>
                  <a:lnTo>
                    <a:pt x="175" y="101"/>
                  </a:lnTo>
                  <a:lnTo>
                    <a:pt x="178" y="100"/>
                  </a:lnTo>
                  <a:lnTo>
                    <a:pt x="175" y="101"/>
                  </a:lnTo>
                  <a:lnTo>
                    <a:pt x="178" y="101"/>
                  </a:lnTo>
                  <a:lnTo>
                    <a:pt x="180" y="102"/>
                  </a:lnTo>
                  <a:lnTo>
                    <a:pt x="180" y="105"/>
                  </a:lnTo>
                  <a:lnTo>
                    <a:pt x="178" y="105"/>
                  </a:lnTo>
                  <a:lnTo>
                    <a:pt x="178" y="107"/>
                  </a:lnTo>
                  <a:lnTo>
                    <a:pt x="181" y="109"/>
                  </a:lnTo>
                  <a:lnTo>
                    <a:pt x="184" y="107"/>
                  </a:lnTo>
                  <a:lnTo>
                    <a:pt x="187" y="105"/>
                  </a:lnTo>
                  <a:lnTo>
                    <a:pt x="184" y="107"/>
                  </a:lnTo>
                  <a:lnTo>
                    <a:pt x="185" y="110"/>
                  </a:lnTo>
                  <a:lnTo>
                    <a:pt x="188" y="112"/>
                  </a:lnTo>
                  <a:lnTo>
                    <a:pt x="190" y="113"/>
                  </a:lnTo>
                  <a:lnTo>
                    <a:pt x="193" y="113"/>
                  </a:lnTo>
                  <a:lnTo>
                    <a:pt x="196" y="115"/>
                  </a:lnTo>
                  <a:lnTo>
                    <a:pt x="197" y="118"/>
                  </a:lnTo>
                  <a:lnTo>
                    <a:pt x="193" y="121"/>
                  </a:lnTo>
                  <a:lnTo>
                    <a:pt x="189" y="121"/>
                  </a:lnTo>
                  <a:lnTo>
                    <a:pt x="187" y="121"/>
                  </a:lnTo>
                  <a:lnTo>
                    <a:pt x="184" y="121"/>
                  </a:lnTo>
                  <a:lnTo>
                    <a:pt x="184" y="123"/>
                  </a:lnTo>
                  <a:lnTo>
                    <a:pt x="184" y="127"/>
                  </a:lnTo>
                  <a:lnTo>
                    <a:pt x="184" y="129"/>
                  </a:lnTo>
                  <a:lnTo>
                    <a:pt x="186" y="130"/>
                  </a:lnTo>
                  <a:lnTo>
                    <a:pt x="188" y="129"/>
                  </a:lnTo>
                  <a:lnTo>
                    <a:pt x="192" y="128"/>
                  </a:lnTo>
                  <a:lnTo>
                    <a:pt x="194" y="126"/>
                  </a:lnTo>
                  <a:lnTo>
                    <a:pt x="197" y="124"/>
                  </a:lnTo>
                  <a:lnTo>
                    <a:pt x="197" y="122"/>
                  </a:lnTo>
                  <a:lnTo>
                    <a:pt x="201" y="122"/>
                  </a:lnTo>
                  <a:lnTo>
                    <a:pt x="203" y="124"/>
                  </a:lnTo>
                  <a:lnTo>
                    <a:pt x="205" y="122"/>
                  </a:lnTo>
                  <a:lnTo>
                    <a:pt x="207" y="120"/>
                  </a:lnTo>
                  <a:lnTo>
                    <a:pt x="211" y="121"/>
                  </a:lnTo>
                  <a:lnTo>
                    <a:pt x="207" y="121"/>
                  </a:lnTo>
                  <a:lnTo>
                    <a:pt x="210" y="124"/>
                  </a:lnTo>
                  <a:lnTo>
                    <a:pt x="207" y="126"/>
                  </a:lnTo>
                  <a:lnTo>
                    <a:pt x="210" y="127"/>
                  </a:lnTo>
                  <a:lnTo>
                    <a:pt x="211" y="130"/>
                  </a:lnTo>
                  <a:lnTo>
                    <a:pt x="213" y="132"/>
                  </a:lnTo>
                  <a:lnTo>
                    <a:pt x="217" y="134"/>
                  </a:lnTo>
                  <a:lnTo>
                    <a:pt x="219" y="134"/>
                  </a:lnTo>
                  <a:lnTo>
                    <a:pt x="219" y="130"/>
                  </a:lnTo>
                  <a:lnTo>
                    <a:pt x="222" y="129"/>
                  </a:lnTo>
                  <a:lnTo>
                    <a:pt x="222" y="132"/>
                  </a:lnTo>
                  <a:lnTo>
                    <a:pt x="221" y="135"/>
                  </a:lnTo>
                  <a:lnTo>
                    <a:pt x="221" y="137"/>
                  </a:lnTo>
                  <a:lnTo>
                    <a:pt x="224" y="138"/>
                  </a:lnTo>
                  <a:lnTo>
                    <a:pt x="224" y="139"/>
                  </a:lnTo>
                  <a:lnTo>
                    <a:pt x="227" y="139"/>
                  </a:lnTo>
                  <a:lnTo>
                    <a:pt x="229" y="137"/>
                  </a:lnTo>
                  <a:lnTo>
                    <a:pt x="228" y="139"/>
                  </a:lnTo>
                  <a:lnTo>
                    <a:pt x="230" y="140"/>
                  </a:lnTo>
                  <a:lnTo>
                    <a:pt x="234" y="141"/>
                  </a:lnTo>
                  <a:lnTo>
                    <a:pt x="234" y="144"/>
                  </a:lnTo>
                  <a:lnTo>
                    <a:pt x="235" y="146"/>
                  </a:lnTo>
                  <a:lnTo>
                    <a:pt x="236" y="149"/>
                  </a:lnTo>
                  <a:lnTo>
                    <a:pt x="238" y="151"/>
                  </a:lnTo>
                  <a:lnTo>
                    <a:pt x="238" y="153"/>
                  </a:lnTo>
                  <a:lnTo>
                    <a:pt x="240" y="156"/>
                  </a:lnTo>
                  <a:lnTo>
                    <a:pt x="240" y="158"/>
                  </a:lnTo>
                  <a:lnTo>
                    <a:pt x="241" y="161"/>
                  </a:lnTo>
                  <a:lnTo>
                    <a:pt x="243" y="164"/>
                  </a:lnTo>
                  <a:lnTo>
                    <a:pt x="240" y="166"/>
                  </a:lnTo>
                  <a:lnTo>
                    <a:pt x="238" y="167"/>
                  </a:lnTo>
                  <a:lnTo>
                    <a:pt x="236" y="170"/>
                  </a:lnTo>
                  <a:lnTo>
                    <a:pt x="234" y="172"/>
                  </a:lnTo>
                  <a:lnTo>
                    <a:pt x="234" y="174"/>
                  </a:lnTo>
                  <a:lnTo>
                    <a:pt x="236" y="175"/>
                  </a:lnTo>
                  <a:lnTo>
                    <a:pt x="241" y="175"/>
                  </a:lnTo>
                  <a:lnTo>
                    <a:pt x="247" y="177"/>
                  </a:lnTo>
                  <a:lnTo>
                    <a:pt x="249" y="177"/>
                  </a:lnTo>
                  <a:lnTo>
                    <a:pt x="253" y="178"/>
                  </a:lnTo>
                  <a:lnTo>
                    <a:pt x="255" y="177"/>
                  </a:lnTo>
                  <a:lnTo>
                    <a:pt x="256" y="174"/>
                  </a:lnTo>
                  <a:lnTo>
                    <a:pt x="258" y="171"/>
                  </a:lnTo>
                  <a:lnTo>
                    <a:pt x="258" y="169"/>
                  </a:lnTo>
                  <a:lnTo>
                    <a:pt x="261" y="170"/>
                  </a:lnTo>
                  <a:lnTo>
                    <a:pt x="264" y="171"/>
                  </a:lnTo>
                  <a:lnTo>
                    <a:pt x="265" y="173"/>
                  </a:lnTo>
                  <a:lnTo>
                    <a:pt x="269" y="174"/>
                  </a:lnTo>
                  <a:lnTo>
                    <a:pt x="271" y="175"/>
                  </a:lnTo>
                  <a:lnTo>
                    <a:pt x="274" y="175"/>
                  </a:lnTo>
                  <a:lnTo>
                    <a:pt x="277" y="177"/>
                  </a:lnTo>
                  <a:lnTo>
                    <a:pt x="279" y="178"/>
                  </a:lnTo>
                  <a:lnTo>
                    <a:pt x="282" y="180"/>
                  </a:lnTo>
                  <a:lnTo>
                    <a:pt x="284" y="179"/>
                  </a:lnTo>
                  <a:lnTo>
                    <a:pt x="282" y="180"/>
                  </a:lnTo>
                  <a:lnTo>
                    <a:pt x="279" y="182"/>
                  </a:lnTo>
                  <a:lnTo>
                    <a:pt x="282" y="181"/>
                  </a:lnTo>
                  <a:lnTo>
                    <a:pt x="284" y="183"/>
                  </a:lnTo>
                  <a:lnTo>
                    <a:pt x="282" y="184"/>
                  </a:lnTo>
                  <a:lnTo>
                    <a:pt x="279" y="187"/>
                  </a:lnTo>
                  <a:lnTo>
                    <a:pt x="277" y="187"/>
                  </a:lnTo>
                  <a:lnTo>
                    <a:pt x="274" y="186"/>
                  </a:lnTo>
                  <a:lnTo>
                    <a:pt x="274" y="186"/>
                  </a:lnTo>
                  <a:lnTo>
                    <a:pt x="271" y="187"/>
                  </a:lnTo>
                  <a:lnTo>
                    <a:pt x="269" y="187"/>
                  </a:lnTo>
                  <a:lnTo>
                    <a:pt x="265" y="184"/>
                  </a:lnTo>
                  <a:lnTo>
                    <a:pt x="264" y="187"/>
                  </a:lnTo>
                  <a:lnTo>
                    <a:pt x="262" y="189"/>
                  </a:lnTo>
                  <a:lnTo>
                    <a:pt x="260" y="191"/>
                  </a:lnTo>
                  <a:lnTo>
                    <a:pt x="256" y="192"/>
                  </a:lnTo>
                  <a:lnTo>
                    <a:pt x="256" y="191"/>
                  </a:lnTo>
                  <a:lnTo>
                    <a:pt x="260" y="190"/>
                  </a:lnTo>
                  <a:lnTo>
                    <a:pt x="256" y="190"/>
                  </a:lnTo>
                  <a:lnTo>
                    <a:pt x="258" y="187"/>
                  </a:lnTo>
                  <a:lnTo>
                    <a:pt x="258" y="184"/>
                  </a:lnTo>
                  <a:lnTo>
                    <a:pt x="257" y="182"/>
                  </a:lnTo>
                  <a:lnTo>
                    <a:pt x="256" y="179"/>
                  </a:lnTo>
                  <a:lnTo>
                    <a:pt x="253" y="179"/>
                  </a:lnTo>
                  <a:lnTo>
                    <a:pt x="251" y="178"/>
                  </a:lnTo>
                  <a:lnTo>
                    <a:pt x="247" y="177"/>
                  </a:lnTo>
                  <a:lnTo>
                    <a:pt x="245" y="177"/>
                  </a:lnTo>
                  <a:lnTo>
                    <a:pt x="241" y="177"/>
                  </a:lnTo>
                  <a:lnTo>
                    <a:pt x="239" y="177"/>
                  </a:lnTo>
                  <a:lnTo>
                    <a:pt x="237" y="177"/>
                  </a:lnTo>
                  <a:lnTo>
                    <a:pt x="234" y="175"/>
                  </a:lnTo>
                  <a:lnTo>
                    <a:pt x="231" y="175"/>
                  </a:lnTo>
                  <a:lnTo>
                    <a:pt x="228" y="177"/>
                  </a:lnTo>
                  <a:lnTo>
                    <a:pt x="227" y="180"/>
                  </a:lnTo>
                  <a:lnTo>
                    <a:pt x="223" y="181"/>
                  </a:lnTo>
                  <a:lnTo>
                    <a:pt x="218" y="184"/>
                  </a:lnTo>
                  <a:lnTo>
                    <a:pt x="215" y="187"/>
                  </a:lnTo>
                  <a:lnTo>
                    <a:pt x="213" y="189"/>
                  </a:lnTo>
                  <a:lnTo>
                    <a:pt x="215" y="191"/>
                  </a:lnTo>
                  <a:lnTo>
                    <a:pt x="218" y="194"/>
                  </a:lnTo>
                  <a:lnTo>
                    <a:pt x="221" y="196"/>
                  </a:lnTo>
                  <a:lnTo>
                    <a:pt x="223" y="198"/>
                  </a:lnTo>
                  <a:lnTo>
                    <a:pt x="224" y="201"/>
                  </a:lnTo>
                  <a:lnTo>
                    <a:pt x="224" y="204"/>
                  </a:lnTo>
                  <a:lnTo>
                    <a:pt x="222" y="203"/>
                  </a:lnTo>
                  <a:lnTo>
                    <a:pt x="219" y="203"/>
                  </a:lnTo>
                  <a:lnTo>
                    <a:pt x="217" y="204"/>
                  </a:lnTo>
                  <a:lnTo>
                    <a:pt x="213" y="206"/>
                  </a:lnTo>
                  <a:lnTo>
                    <a:pt x="211" y="207"/>
                  </a:lnTo>
                  <a:lnTo>
                    <a:pt x="209" y="206"/>
                  </a:lnTo>
                  <a:lnTo>
                    <a:pt x="205" y="206"/>
                  </a:lnTo>
                  <a:lnTo>
                    <a:pt x="204" y="206"/>
                  </a:lnTo>
                  <a:lnTo>
                    <a:pt x="203" y="208"/>
                  </a:lnTo>
                  <a:lnTo>
                    <a:pt x="201" y="208"/>
                  </a:lnTo>
                  <a:lnTo>
                    <a:pt x="197" y="208"/>
                  </a:lnTo>
                  <a:lnTo>
                    <a:pt x="195" y="209"/>
                  </a:lnTo>
                  <a:lnTo>
                    <a:pt x="197" y="211"/>
                  </a:lnTo>
                  <a:lnTo>
                    <a:pt x="201" y="213"/>
                  </a:lnTo>
                  <a:lnTo>
                    <a:pt x="203" y="213"/>
                  </a:lnTo>
                  <a:lnTo>
                    <a:pt x="202" y="215"/>
                  </a:lnTo>
                  <a:lnTo>
                    <a:pt x="200" y="217"/>
                  </a:lnTo>
                  <a:lnTo>
                    <a:pt x="200" y="218"/>
                  </a:lnTo>
                  <a:lnTo>
                    <a:pt x="197" y="215"/>
                  </a:lnTo>
                  <a:lnTo>
                    <a:pt x="200" y="214"/>
                  </a:lnTo>
                  <a:lnTo>
                    <a:pt x="198" y="212"/>
                  </a:lnTo>
                  <a:lnTo>
                    <a:pt x="196" y="211"/>
                  </a:lnTo>
                  <a:lnTo>
                    <a:pt x="193" y="208"/>
                  </a:lnTo>
                  <a:lnTo>
                    <a:pt x="190" y="208"/>
                  </a:lnTo>
                  <a:lnTo>
                    <a:pt x="187" y="207"/>
                  </a:lnTo>
                  <a:lnTo>
                    <a:pt x="185" y="206"/>
                  </a:lnTo>
                  <a:lnTo>
                    <a:pt x="183" y="205"/>
                  </a:lnTo>
                  <a:lnTo>
                    <a:pt x="179" y="205"/>
                  </a:lnTo>
                  <a:lnTo>
                    <a:pt x="177" y="205"/>
                  </a:lnTo>
                  <a:lnTo>
                    <a:pt x="176" y="204"/>
                  </a:lnTo>
                  <a:lnTo>
                    <a:pt x="173" y="205"/>
                  </a:lnTo>
                  <a:lnTo>
                    <a:pt x="171" y="208"/>
                  </a:lnTo>
                  <a:lnTo>
                    <a:pt x="173" y="211"/>
                  </a:lnTo>
                  <a:lnTo>
                    <a:pt x="168" y="212"/>
                  </a:lnTo>
                  <a:lnTo>
                    <a:pt x="166" y="213"/>
                  </a:lnTo>
                  <a:lnTo>
                    <a:pt x="162" y="215"/>
                  </a:lnTo>
                  <a:lnTo>
                    <a:pt x="163" y="217"/>
                  </a:lnTo>
                  <a:lnTo>
                    <a:pt x="161" y="221"/>
                  </a:lnTo>
                  <a:lnTo>
                    <a:pt x="162" y="223"/>
                  </a:lnTo>
                  <a:lnTo>
                    <a:pt x="164" y="225"/>
                  </a:lnTo>
                  <a:lnTo>
                    <a:pt x="167" y="229"/>
                  </a:lnTo>
                  <a:lnTo>
                    <a:pt x="169" y="228"/>
                  </a:lnTo>
                  <a:lnTo>
                    <a:pt x="172" y="230"/>
                  </a:lnTo>
                  <a:lnTo>
                    <a:pt x="175" y="231"/>
                  </a:lnTo>
                  <a:lnTo>
                    <a:pt x="177" y="231"/>
                  </a:lnTo>
                  <a:lnTo>
                    <a:pt x="180" y="231"/>
                  </a:lnTo>
                  <a:lnTo>
                    <a:pt x="183" y="230"/>
                  </a:lnTo>
                  <a:lnTo>
                    <a:pt x="186" y="230"/>
                  </a:lnTo>
                  <a:lnTo>
                    <a:pt x="188" y="230"/>
                  </a:lnTo>
                  <a:lnTo>
                    <a:pt x="190" y="229"/>
                  </a:lnTo>
                  <a:lnTo>
                    <a:pt x="194" y="228"/>
                  </a:lnTo>
                  <a:lnTo>
                    <a:pt x="196" y="226"/>
                  </a:lnTo>
                  <a:lnTo>
                    <a:pt x="195" y="224"/>
                  </a:lnTo>
                  <a:lnTo>
                    <a:pt x="197" y="224"/>
                  </a:lnTo>
                  <a:lnTo>
                    <a:pt x="201" y="225"/>
                  </a:lnTo>
                  <a:lnTo>
                    <a:pt x="203" y="226"/>
                  </a:lnTo>
                  <a:lnTo>
                    <a:pt x="205" y="226"/>
                  </a:lnTo>
                  <a:lnTo>
                    <a:pt x="209" y="228"/>
                  </a:lnTo>
                  <a:lnTo>
                    <a:pt x="211" y="226"/>
                  </a:lnTo>
                  <a:lnTo>
                    <a:pt x="213" y="224"/>
                  </a:lnTo>
                  <a:lnTo>
                    <a:pt x="210" y="222"/>
                  </a:lnTo>
                  <a:lnTo>
                    <a:pt x="207" y="220"/>
                  </a:lnTo>
                  <a:lnTo>
                    <a:pt x="210" y="217"/>
                  </a:lnTo>
                  <a:lnTo>
                    <a:pt x="210" y="220"/>
                  </a:lnTo>
                  <a:lnTo>
                    <a:pt x="212" y="223"/>
                  </a:lnTo>
                  <a:lnTo>
                    <a:pt x="214" y="222"/>
                  </a:lnTo>
                  <a:lnTo>
                    <a:pt x="218" y="222"/>
                  </a:lnTo>
                  <a:lnTo>
                    <a:pt x="218" y="224"/>
                  </a:lnTo>
                  <a:lnTo>
                    <a:pt x="220" y="225"/>
                  </a:lnTo>
                  <a:lnTo>
                    <a:pt x="218" y="226"/>
                  </a:lnTo>
                  <a:lnTo>
                    <a:pt x="218" y="229"/>
                  </a:lnTo>
                  <a:lnTo>
                    <a:pt x="220" y="226"/>
                  </a:lnTo>
                  <a:lnTo>
                    <a:pt x="220" y="223"/>
                  </a:lnTo>
                  <a:lnTo>
                    <a:pt x="223" y="224"/>
                  </a:lnTo>
                  <a:lnTo>
                    <a:pt x="226" y="223"/>
                  </a:lnTo>
                  <a:lnTo>
                    <a:pt x="228" y="225"/>
                  </a:lnTo>
                  <a:lnTo>
                    <a:pt x="229" y="222"/>
                  </a:lnTo>
                  <a:lnTo>
                    <a:pt x="229" y="224"/>
                  </a:lnTo>
                  <a:lnTo>
                    <a:pt x="227" y="226"/>
                  </a:lnTo>
                  <a:lnTo>
                    <a:pt x="229" y="229"/>
                  </a:lnTo>
                  <a:lnTo>
                    <a:pt x="231" y="231"/>
                  </a:lnTo>
                  <a:lnTo>
                    <a:pt x="235" y="233"/>
                  </a:lnTo>
                  <a:lnTo>
                    <a:pt x="235" y="235"/>
                  </a:lnTo>
                  <a:lnTo>
                    <a:pt x="238" y="237"/>
                  </a:lnTo>
                  <a:lnTo>
                    <a:pt x="238" y="239"/>
                  </a:lnTo>
                  <a:lnTo>
                    <a:pt x="240" y="240"/>
                  </a:lnTo>
                  <a:lnTo>
                    <a:pt x="244" y="239"/>
                  </a:lnTo>
                  <a:lnTo>
                    <a:pt x="241" y="241"/>
                  </a:lnTo>
                  <a:lnTo>
                    <a:pt x="244" y="242"/>
                  </a:lnTo>
                  <a:lnTo>
                    <a:pt x="247" y="242"/>
                  </a:lnTo>
                  <a:lnTo>
                    <a:pt x="249" y="242"/>
                  </a:lnTo>
                  <a:lnTo>
                    <a:pt x="253" y="243"/>
                  </a:lnTo>
                  <a:lnTo>
                    <a:pt x="255" y="244"/>
                  </a:lnTo>
                  <a:lnTo>
                    <a:pt x="257" y="244"/>
                  </a:lnTo>
                  <a:lnTo>
                    <a:pt x="255" y="248"/>
                  </a:lnTo>
                  <a:lnTo>
                    <a:pt x="252" y="249"/>
                  </a:lnTo>
                  <a:lnTo>
                    <a:pt x="249" y="249"/>
                  </a:lnTo>
                  <a:lnTo>
                    <a:pt x="247" y="248"/>
                  </a:lnTo>
                  <a:lnTo>
                    <a:pt x="249" y="250"/>
                  </a:lnTo>
                  <a:lnTo>
                    <a:pt x="249" y="252"/>
                  </a:lnTo>
                  <a:lnTo>
                    <a:pt x="253" y="255"/>
                  </a:lnTo>
                  <a:lnTo>
                    <a:pt x="255" y="256"/>
                  </a:lnTo>
                  <a:lnTo>
                    <a:pt x="257" y="257"/>
                  </a:lnTo>
                  <a:lnTo>
                    <a:pt x="257" y="257"/>
                  </a:lnTo>
                  <a:lnTo>
                    <a:pt x="261" y="256"/>
                  </a:lnTo>
                  <a:lnTo>
                    <a:pt x="261" y="258"/>
                  </a:lnTo>
                  <a:lnTo>
                    <a:pt x="264" y="260"/>
                  </a:lnTo>
                  <a:lnTo>
                    <a:pt x="266" y="260"/>
                  </a:lnTo>
                  <a:lnTo>
                    <a:pt x="270" y="263"/>
                  </a:lnTo>
                  <a:lnTo>
                    <a:pt x="272" y="264"/>
                  </a:lnTo>
                  <a:lnTo>
                    <a:pt x="274" y="263"/>
                  </a:lnTo>
                  <a:lnTo>
                    <a:pt x="277" y="264"/>
                  </a:lnTo>
                  <a:lnTo>
                    <a:pt x="279" y="263"/>
                  </a:lnTo>
                  <a:lnTo>
                    <a:pt x="282" y="263"/>
                  </a:lnTo>
                  <a:lnTo>
                    <a:pt x="280" y="266"/>
                  </a:lnTo>
                  <a:lnTo>
                    <a:pt x="283" y="268"/>
                  </a:lnTo>
                  <a:lnTo>
                    <a:pt x="286" y="271"/>
                  </a:lnTo>
                  <a:lnTo>
                    <a:pt x="288" y="271"/>
                  </a:lnTo>
                  <a:lnTo>
                    <a:pt x="291" y="273"/>
                  </a:lnTo>
                  <a:lnTo>
                    <a:pt x="294" y="274"/>
                  </a:lnTo>
                  <a:lnTo>
                    <a:pt x="296" y="274"/>
                  </a:lnTo>
                  <a:lnTo>
                    <a:pt x="301" y="275"/>
                  </a:lnTo>
                  <a:lnTo>
                    <a:pt x="305" y="276"/>
                  </a:lnTo>
                  <a:lnTo>
                    <a:pt x="307" y="275"/>
                  </a:lnTo>
                  <a:lnTo>
                    <a:pt x="309" y="276"/>
                  </a:lnTo>
                  <a:lnTo>
                    <a:pt x="313" y="277"/>
                  </a:lnTo>
                  <a:lnTo>
                    <a:pt x="315" y="278"/>
                  </a:lnTo>
                  <a:lnTo>
                    <a:pt x="318" y="278"/>
                  </a:lnTo>
                  <a:lnTo>
                    <a:pt x="321" y="281"/>
                  </a:lnTo>
                  <a:lnTo>
                    <a:pt x="323" y="282"/>
                  </a:lnTo>
                  <a:lnTo>
                    <a:pt x="324" y="282"/>
                  </a:lnTo>
                  <a:lnTo>
                    <a:pt x="328" y="282"/>
                  </a:lnTo>
                  <a:lnTo>
                    <a:pt x="328" y="280"/>
                  </a:lnTo>
                  <a:lnTo>
                    <a:pt x="326" y="276"/>
                  </a:lnTo>
                  <a:lnTo>
                    <a:pt x="329" y="275"/>
                  </a:lnTo>
                  <a:lnTo>
                    <a:pt x="326" y="274"/>
                  </a:lnTo>
                  <a:lnTo>
                    <a:pt x="323" y="273"/>
                  </a:lnTo>
                  <a:lnTo>
                    <a:pt x="323" y="271"/>
                  </a:lnTo>
                  <a:lnTo>
                    <a:pt x="322" y="271"/>
                  </a:lnTo>
                  <a:lnTo>
                    <a:pt x="322" y="268"/>
                  </a:lnTo>
                  <a:lnTo>
                    <a:pt x="318" y="266"/>
                  </a:lnTo>
                  <a:lnTo>
                    <a:pt x="316" y="265"/>
                  </a:lnTo>
                  <a:lnTo>
                    <a:pt x="314" y="263"/>
                  </a:lnTo>
                  <a:lnTo>
                    <a:pt x="312" y="261"/>
                  </a:lnTo>
                  <a:lnTo>
                    <a:pt x="309" y="258"/>
                  </a:lnTo>
                  <a:lnTo>
                    <a:pt x="306" y="259"/>
                  </a:lnTo>
                  <a:lnTo>
                    <a:pt x="307" y="257"/>
                  </a:lnTo>
                  <a:lnTo>
                    <a:pt x="305" y="259"/>
                  </a:lnTo>
                  <a:lnTo>
                    <a:pt x="307" y="256"/>
                  </a:lnTo>
                  <a:lnTo>
                    <a:pt x="305" y="256"/>
                  </a:lnTo>
                  <a:lnTo>
                    <a:pt x="301" y="255"/>
                  </a:lnTo>
                  <a:lnTo>
                    <a:pt x="299" y="254"/>
                  </a:lnTo>
                  <a:lnTo>
                    <a:pt x="297" y="251"/>
                  </a:lnTo>
                  <a:lnTo>
                    <a:pt x="296" y="248"/>
                  </a:lnTo>
                  <a:lnTo>
                    <a:pt x="292" y="247"/>
                  </a:lnTo>
                  <a:lnTo>
                    <a:pt x="290" y="244"/>
                  </a:lnTo>
                  <a:lnTo>
                    <a:pt x="288" y="242"/>
                  </a:lnTo>
                  <a:lnTo>
                    <a:pt x="291" y="242"/>
                  </a:lnTo>
                  <a:lnTo>
                    <a:pt x="294" y="242"/>
                  </a:lnTo>
                  <a:lnTo>
                    <a:pt x="296" y="243"/>
                  </a:lnTo>
                  <a:lnTo>
                    <a:pt x="299" y="244"/>
                  </a:lnTo>
                  <a:lnTo>
                    <a:pt x="301" y="247"/>
                  </a:lnTo>
                  <a:lnTo>
                    <a:pt x="304" y="249"/>
                  </a:lnTo>
                  <a:lnTo>
                    <a:pt x="305" y="247"/>
                  </a:lnTo>
                  <a:lnTo>
                    <a:pt x="304" y="243"/>
                  </a:lnTo>
                  <a:lnTo>
                    <a:pt x="306" y="246"/>
                  </a:lnTo>
                  <a:lnTo>
                    <a:pt x="308" y="249"/>
                  </a:lnTo>
                  <a:lnTo>
                    <a:pt x="312" y="250"/>
                  </a:lnTo>
                  <a:lnTo>
                    <a:pt x="314" y="252"/>
                  </a:lnTo>
                  <a:lnTo>
                    <a:pt x="315" y="249"/>
                  </a:lnTo>
                  <a:lnTo>
                    <a:pt x="315" y="252"/>
                  </a:lnTo>
                  <a:lnTo>
                    <a:pt x="316" y="255"/>
                  </a:lnTo>
                  <a:lnTo>
                    <a:pt x="320" y="257"/>
                  </a:lnTo>
                  <a:lnTo>
                    <a:pt x="321" y="255"/>
                  </a:lnTo>
                  <a:lnTo>
                    <a:pt x="318" y="251"/>
                  </a:lnTo>
                  <a:lnTo>
                    <a:pt x="321" y="254"/>
                  </a:lnTo>
                  <a:lnTo>
                    <a:pt x="322" y="257"/>
                  </a:lnTo>
                  <a:lnTo>
                    <a:pt x="325" y="258"/>
                  </a:lnTo>
                  <a:lnTo>
                    <a:pt x="326" y="259"/>
                  </a:lnTo>
                  <a:lnTo>
                    <a:pt x="326" y="257"/>
                  </a:lnTo>
                  <a:lnTo>
                    <a:pt x="329" y="258"/>
                  </a:lnTo>
                  <a:lnTo>
                    <a:pt x="331" y="260"/>
                  </a:lnTo>
                  <a:lnTo>
                    <a:pt x="332" y="258"/>
                  </a:lnTo>
                  <a:lnTo>
                    <a:pt x="333" y="260"/>
                  </a:lnTo>
                  <a:lnTo>
                    <a:pt x="337" y="261"/>
                  </a:lnTo>
                  <a:lnTo>
                    <a:pt x="339" y="261"/>
                  </a:lnTo>
                  <a:lnTo>
                    <a:pt x="338" y="264"/>
                  </a:lnTo>
                  <a:lnTo>
                    <a:pt x="340" y="267"/>
                  </a:lnTo>
                  <a:lnTo>
                    <a:pt x="342" y="266"/>
                  </a:lnTo>
                  <a:lnTo>
                    <a:pt x="342" y="264"/>
                  </a:lnTo>
                  <a:lnTo>
                    <a:pt x="340" y="261"/>
                  </a:lnTo>
                  <a:lnTo>
                    <a:pt x="339" y="258"/>
                  </a:lnTo>
                  <a:lnTo>
                    <a:pt x="341" y="259"/>
                  </a:lnTo>
                  <a:lnTo>
                    <a:pt x="345" y="260"/>
                  </a:lnTo>
                  <a:lnTo>
                    <a:pt x="347" y="260"/>
                  </a:lnTo>
                  <a:lnTo>
                    <a:pt x="346" y="257"/>
                  </a:lnTo>
                  <a:lnTo>
                    <a:pt x="345" y="255"/>
                  </a:lnTo>
                  <a:lnTo>
                    <a:pt x="341" y="252"/>
                  </a:lnTo>
                  <a:lnTo>
                    <a:pt x="345" y="252"/>
                  </a:lnTo>
                  <a:lnTo>
                    <a:pt x="343" y="250"/>
                  </a:lnTo>
                  <a:lnTo>
                    <a:pt x="341" y="248"/>
                  </a:lnTo>
                  <a:lnTo>
                    <a:pt x="342" y="244"/>
                  </a:lnTo>
                  <a:lnTo>
                    <a:pt x="340" y="242"/>
                  </a:lnTo>
                  <a:lnTo>
                    <a:pt x="342" y="243"/>
                  </a:lnTo>
                  <a:lnTo>
                    <a:pt x="345" y="247"/>
                  </a:lnTo>
                  <a:lnTo>
                    <a:pt x="346" y="249"/>
                  </a:lnTo>
                  <a:lnTo>
                    <a:pt x="347" y="252"/>
                  </a:lnTo>
                  <a:lnTo>
                    <a:pt x="349" y="252"/>
                  </a:lnTo>
                  <a:lnTo>
                    <a:pt x="349" y="251"/>
                  </a:lnTo>
                  <a:lnTo>
                    <a:pt x="349" y="249"/>
                  </a:lnTo>
                  <a:lnTo>
                    <a:pt x="349" y="246"/>
                  </a:lnTo>
                  <a:lnTo>
                    <a:pt x="349" y="243"/>
                  </a:lnTo>
                  <a:lnTo>
                    <a:pt x="347" y="242"/>
                  </a:lnTo>
                  <a:lnTo>
                    <a:pt x="343" y="241"/>
                  </a:lnTo>
                  <a:lnTo>
                    <a:pt x="345" y="239"/>
                  </a:lnTo>
                  <a:lnTo>
                    <a:pt x="347" y="237"/>
                  </a:lnTo>
                  <a:lnTo>
                    <a:pt x="345" y="237"/>
                  </a:lnTo>
                  <a:lnTo>
                    <a:pt x="341" y="235"/>
                  </a:lnTo>
                  <a:lnTo>
                    <a:pt x="340" y="233"/>
                  </a:lnTo>
                  <a:lnTo>
                    <a:pt x="338" y="233"/>
                  </a:lnTo>
                  <a:lnTo>
                    <a:pt x="338" y="231"/>
                  </a:lnTo>
                  <a:lnTo>
                    <a:pt x="335" y="231"/>
                  </a:lnTo>
                  <a:lnTo>
                    <a:pt x="338" y="230"/>
                  </a:lnTo>
                  <a:lnTo>
                    <a:pt x="340" y="228"/>
                  </a:lnTo>
                  <a:lnTo>
                    <a:pt x="340" y="225"/>
                  </a:lnTo>
                  <a:lnTo>
                    <a:pt x="337" y="226"/>
                  </a:lnTo>
                  <a:lnTo>
                    <a:pt x="334" y="225"/>
                  </a:lnTo>
                  <a:lnTo>
                    <a:pt x="334" y="223"/>
                  </a:lnTo>
                  <a:lnTo>
                    <a:pt x="334" y="220"/>
                  </a:lnTo>
                  <a:lnTo>
                    <a:pt x="332" y="218"/>
                  </a:lnTo>
                  <a:lnTo>
                    <a:pt x="330" y="217"/>
                  </a:lnTo>
                  <a:lnTo>
                    <a:pt x="331" y="220"/>
                  </a:lnTo>
                  <a:lnTo>
                    <a:pt x="331" y="222"/>
                  </a:lnTo>
                  <a:lnTo>
                    <a:pt x="330" y="220"/>
                  </a:lnTo>
                  <a:lnTo>
                    <a:pt x="326" y="221"/>
                  </a:lnTo>
                  <a:lnTo>
                    <a:pt x="326" y="222"/>
                  </a:lnTo>
                  <a:lnTo>
                    <a:pt x="326" y="218"/>
                  </a:lnTo>
                  <a:lnTo>
                    <a:pt x="324" y="216"/>
                  </a:lnTo>
                  <a:lnTo>
                    <a:pt x="322" y="215"/>
                  </a:lnTo>
                  <a:lnTo>
                    <a:pt x="320" y="217"/>
                  </a:lnTo>
                  <a:lnTo>
                    <a:pt x="318" y="215"/>
                  </a:lnTo>
                  <a:lnTo>
                    <a:pt x="316" y="213"/>
                  </a:lnTo>
                  <a:lnTo>
                    <a:pt x="318" y="211"/>
                  </a:lnTo>
                  <a:lnTo>
                    <a:pt x="316" y="213"/>
                  </a:lnTo>
                  <a:lnTo>
                    <a:pt x="316" y="211"/>
                  </a:lnTo>
                  <a:lnTo>
                    <a:pt x="313" y="209"/>
                  </a:lnTo>
                  <a:lnTo>
                    <a:pt x="312" y="206"/>
                  </a:lnTo>
                  <a:lnTo>
                    <a:pt x="314" y="205"/>
                  </a:lnTo>
                  <a:lnTo>
                    <a:pt x="314" y="204"/>
                  </a:lnTo>
                  <a:lnTo>
                    <a:pt x="312" y="204"/>
                  </a:lnTo>
                  <a:lnTo>
                    <a:pt x="311" y="201"/>
                  </a:lnTo>
                  <a:lnTo>
                    <a:pt x="308" y="200"/>
                  </a:lnTo>
                  <a:lnTo>
                    <a:pt x="305" y="200"/>
                  </a:lnTo>
                  <a:lnTo>
                    <a:pt x="303" y="201"/>
                  </a:lnTo>
                  <a:lnTo>
                    <a:pt x="303" y="199"/>
                  </a:lnTo>
                  <a:lnTo>
                    <a:pt x="304" y="197"/>
                  </a:lnTo>
                  <a:lnTo>
                    <a:pt x="300" y="197"/>
                  </a:lnTo>
                  <a:lnTo>
                    <a:pt x="299" y="195"/>
                  </a:lnTo>
                  <a:lnTo>
                    <a:pt x="297" y="191"/>
                  </a:lnTo>
                  <a:lnTo>
                    <a:pt x="299" y="192"/>
                  </a:lnTo>
                  <a:lnTo>
                    <a:pt x="300" y="190"/>
                  </a:lnTo>
                  <a:lnTo>
                    <a:pt x="297" y="190"/>
                  </a:lnTo>
                  <a:lnTo>
                    <a:pt x="295" y="188"/>
                  </a:lnTo>
                  <a:lnTo>
                    <a:pt x="292" y="188"/>
                  </a:lnTo>
                  <a:lnTo>
                    <a:pt x="295" y="187"/>
                  </a:lnTo>
                  <a:lnTo>
                    <a:pt x="297" y="187"/>
                  </a:lnTo>
                  <a:lnTo>
                    <a:pt x="300" y="189"/>
                  </a:lnTo>
                  <a:lnTo>
                    <a:pt x="301" y="191"/>
                  </a:lnTo>
                  <a:lnTo>
                    <a:pt x="304" y="195"/>
                  </a:lnTo>
                  <a:lnTo>
                    <a:pt x="306" y="194"/>
                  </a:lnTo>
                  <a:lnTo>
                    <a:pt x="309" y="194"/>
                  </a:lnTo>
                  <a:lnTo>
                    <a:pt x="312" y="194"/>
                  </a:lnTo>
                  <a:lnTo>
                    <a:pt x="313" y="191"/>
                  </a:lnTo>
                  <a:lnTo>
                    <a:pt x="311" y="189"/>
                  </a:lnTo>
                  <a:lnTo>
                    <a:pt x="307" y="188"/>
                  </a:lnTo>
                  <a:lnTo>
                    <a:pt x="305" y="184"/>
                  </a:lnTo>
                  <a:lnTo>
                    <a:pt x="304" y="182"/>
                  </a:lnTo>
                  <a:lnTo>
                    <a:pt x="306" y="182"/>
                  </a:lnTo>
                  <a:lnTo>
                    <a:pt x="307" y="182"/>
                  </a:lnTo>
                  <a:lnTo>
                    <a:pt x="309" y="186"/>
                  </a:lnTo>
                  <a:lnTo>
                    <a:pt x="313" y="184"/>
                  </a:lnTo>
                  <a:lnTo>
                    <a:pt x="309" y="182"/>
                  </a:lnTo>
                  <a:lnTo>
                    <a:pt x="313" y="183"/>
                  </a:lnTo>
                  <a:lnTo>
                    <a:pt x="312" y="181"/>
                  </a:lnTo>
                  <a:lnTo>
                    <a:pt x="309" y="179"/>
                  </a:lnTo>
                  <a:lnTo>
                    <a:pt x="306" y="179"/>
                  </a:lnTo>
                  <a:lnTo>
                    <a:pt x="309" y="179"/>
                  </a:lnTo>
                  <a:lnTo>
                    <a:pt x="312" y="179"/>
                  </a:lnTo>
                  <a:lnTo>
                    <a:pt x="314" y="180"/>
                  </a:lnTo>
                  <a:lnTo>
                    <a:pt x="314" y="178"/>
                  </a:lnTo>
                  <a:lnTo>
                    <a:pt x="316" y="179"/>
                  </a:lnTo>
                  <a:lnTo>
                    <a:pt x="318" y="181"/>
                  </a:lnTo>
                  <a:lnTo>
                    <a:pt x="321" y="183"/>
                  </a:lnTo>
                  <a:lnTo>
                    <a:pt x="322" y="186"/>
                  </a:lnTo>
                  <a:lnTo>
                    <a:pt x="324" y="186"/>
                  </a:lnTo>
                  <a:lnTo>
                    <a:pt x="326" y="186"/>
                  </a:lnTo>
                  <a:lnTo>
                    <a:pt x="326" y="188"/>
                  </a:lnTo>
                  <a:lnTo>
                    <a:pt x="329" y="189"/>
                  </a:lnTo>
                  <a:lnTo>
                    <a:pt x="332" y="188"/>
                  </a:lnTo>
                  <a:lnTo>
                    <a:pt x="334" y="186"/>
                  </a:lnTo>
                  <a:lnTo>
                    <a:pt x="335" y="183"/>
                  </a:lnTo>
                  <a:lnTo>
                    <a:pt x="335" y="183"/>
                  </a:lnTo>
                  <a:lnTo>
                    <a:pt x="335" y="186"/>
                  </a:lnTo>
                  <a:lnTo>
                    <a:pt x="333" y="188"/>
                  </a:lnTo>
                  <a:lnTo>
                    <a:pt x="330" y="190"/>
                  </a:lnTo>
                  <a:lnTo>
                    <a:pt x="330" y="192"/>
                  </a:lnTo>
                  <a:lnTo>
                    <a:pt x="331" y="192"/>
                  </a:lnTo>
                  <a:lnTo>
                    <a:pt x="333" y="192"/>
                  </a:lnTo>
                  <a:lnTo>
                    <a:pt x="335" y="192"/>
                  </a:lnTo>
                  <a:lnTo>
                    <a:pt x="339" y="191"/>
                  </a:lnTo>
                  <a:lnTo>
                    <a:pt x="341" y="191"/>
                  </a:lnTo>
                  <a:lnTo>
                    <a:pt x="345" y="189"/>
                  </a:lnTo>
                  <a:lnTo>
                    <a:pt x="346" y="187"/>
                  </a:lnTo>
                  <a:lnTo>
                    <a:pt x="348" y="184"/>
                  </a:lnTo>
                  <a:lnTo>
                    <a:pt x="350" y="184"/>
                  </a:lnTo>
                  <a:lnTo>
                    <a:pt x="348" y="186"/>
                  </a:lnTo>
                  <a:lnTo>
                    <a:pt x="346" y="189"/>
                  </a:lnTo>
                  <a:lnTo>
                    <a:pt x="345" y="191"/>
                  </a:lnTo>
                  <a:lnTo>
                    <a:pt x="342" y="192"/>
                  </a:lnTo>
                  <a:lnTo>
                    <a:pt x="339" y="194"/>
                  </a:lnTo>
                  <a:lnTo>
                    <a:pt x="337" y="196"/>
                  </a:lnTo>
                  <a:lnTo>
                    <a:pt x="337" y="198"/>
                  </a:lnTo>
                  <a:lnTo>
                    <a:pt x="340" y="199"/>
                  </a:lnTo>
                  <a:lnTo>
                    <a:pt x="342" y="198"/>
                  </a:lnTo>
                  <a:lnTo>
                    <a:pt x="346" y="198"/>
                  </a:lnTo>
                  <a:lnTo>
                    <a:pt x="342" y="198"/>
                  </a:lnTo>
                  <a:lnTo>
                    <a:pt x="340" y="200"/>
                  </a:lnTo>
                  <a:lnTo>
                    <a:pt x="342" y="201"/>
                  </a:lnTo>
                  <a:lnTo>
                    <a:pt x="346" y="199"/>
                  </a:lnTo>
                  <a:lnTo>
                    <a:pt x="343" y="203"/>
                  </a:lnTo>
                  <a:lnTo>
                    <a:pt x="341" y="203"/>
                  </a:lnTo>
                  <a:lnTo>
                    <a:pt x="341" y="205"/>
                  </a:lnTo>
                  <a:lnTo>
                    <a:pt x="345" y="205"/>
                  </a:lnTo>
                  <a:lnTo>
                    <a:pt x="347" y="205"/>
                  </a:lnTo>
                  <a:lnTo>
                    <a:pt x="349" y="204"/>
                  </a:lnTo>
                  <a:lnTo>
                    <a:pt x="347" y="206"/>
                  </a:lnTo>
                  <a:lnTo>
                    <a:pt x="345" y="206"/>
                  </a:lnTo>
                  <a:lnTo>
                    <a:pt x="347" y="207"/>
                  </a:lnTo>
                  <a:lnTo>
                    <a:pt x="345" y="207"/>
                  </a:lnTo>
                  <a:lnTo>
                    <a:pt x="347" y="208"/>
                  </a:lnTo>
                  <a:lnTo>
                    <a:pt x="348" y="212"/>
                  </a:lnTo>
                  <a:lnTo>
                    <a:pt x="350" y="208"/>
                  </a:lnTo>
                  <a:lnTo>
                    <a:pt x="351" y="206"/>
                  </a:lnTo>
                  <a:lnTo>
                    <a:pt x="351" y="208"/>
                  </a:lnTo>
                  <a:lnTo>
                    <a:pt x="354" y="209"/>
                  </a:lnTo>
                  <a:lnTo>
                    <a:pt x="354" y="213"/>
                  </a:lnTo>
                  <a:lnTo>
                    <a:pt x="357" y="212"/>
                  </a:lnTo>
                  <a:lnTo>
                    <a:pt x="359" y="213"/>
                  </a:lnTo>
                  <a:lnTo>
                    <a:pt x="362" y="216"/>
                  </a:lnTo>
                  <a:lnTo>
                    <a:pt x="364" y="214"/>
                  </a:lnTo>
                  <a:lnTo>
                    <a:pt x="364" y="211"/>
                  </a:lnTo>
                  <a:lnTo>
                    <a:pt x="365" y="208"/>
                  </a:lnTo>
                  <a:lnTo>
                    <a:pt x="364" y="206"/>
                  </a:lnTo>
                  <a:lnTo>
                    <a:pt x="366" y="205"/>
                  </a:lnTo>
                  <a:lnTo>
                    <a:pt x="364" y="204"/>
                  </a:lnTo>
                  <a:lnTo>
                    <a:pt x="366" y="200"/>
                  </a:lnTo>
                  <a:lnTo>
                    <a:pt x="363" y="200"/>
                  </a:lnTo>
                  <a:lnTo>
                    <a:pt x="360" y="199"/>
                  </a:lnTo>
                  <a:lnTo>
                    <a:pt x="363" y="199"/>
                  </a:lnTo>
                  <a:lnTo>
                    <a:pt x="364" y="196"/>
                  </a:lnTo>
                  <a:lnTo>
                    <a:pt x="363" y="194"/>
                  </a:lnTo>
                  <a:lnTo>
                    <a:pt x="365" y="196"/>
                  </a:lnTo>
                  <a:lnTo>
                    <a:pt x="367" y="199"/>
                  </a:lnTo>
                  <a:lnTo>
                    <a:pt x="369" y="200"/>
                  </a:lnTo>
                  <a:lnTo>
                    <a:pt x="371" y="201"/>
                  </a:lnTo>
                  <a:lnTo>
                    <a:pt x="371" y="198"/>
                  </a:lnTo>
                  <a:lnTo>
                    <a:pt x="374" y="200"/>
                  </a:lnTo>
                  <a:lnTo>
                    <a:pt x="372" y="197"/>
                  </a:lnTo>
                  <a:lnTo>
                    <a:pt x="375" y="198"/>
                  </a:lnTo>
                  <a:lnTo>
                    <a:pt x="373" y="196"/>
                  </a:lnTo>
                  <a:lnTo>
                    <a:pt x="375" y="196"/>
                  </a:lnTo>
                  <a:lnTo>
                    <a:pt x="379" y="196"/>
                  </a:lnTo>
                  <a:lnTo>
                    <a:pt x="377" y="194"/>
                  </a:lnTo>
                  <a:lnTo>
                    <a:pt x="375" y="191"/>
                  </a:lnTo>
                  <a:lnTo>
                    <a:pt x="372" y="191"/>
                  </a:lnTo>
                  <a:lnTo>
                    <a:pt x="371" y="189"/>
                  </a:lnTo>
                  <a:lnTo>
                    <a:pt x="374" y="191"/>
                  </a:lnTo>
                  <a:lnTo>
                    <a:pt x="376" y="191"/>
                  </a:lnTo>
                  <a:lnTo>
                    <a:pt x="379" y="192"/>
                  </a:lnTo>
                  <a:lnTo>
                    <a:pt x="382" y="191"/>
                  </a:lnTo>
                  <a:lnTo>
                    <a:pt x="382" y="189"/>
                  </a:lnTo>
                  <a:lnTo>
                    <a:pt x="379" y="188"/>
                  </a:lnTo>
                  <a:lnTo>
                    <a:pt x="376" y="187"/>
                  </a:lnTo>
                  <a:lnTo>
                    <a:pt x="373" y="187"/>
                  </a:lnTo>
                  <a:lnTo>
                    <a:pt x="376" y="187"/>
                  </a:lnTo>
                  <a:lnTo>
                    <a:pt x="379" y="186"/>
                  </a:lnTo>
                  <a:lnTo>
                    <a:pt x="377" y="182"/>
                  </a:lnTo>
                  <a:lnTo>
                    <a:pt x="374" y="182"/>
                  </a:lnTo>
                  <a:lnTo>
                    <a:pt x="377" y="182"/>
                  </a:lnTo>
                  <a:lnTo>
                    <a:pt x="379" y="182"/>
                  </a:lnTo>
                  <a:lnTo>
                    <a:pt x="382" y="184"/>
                  </a:lnTo>
                  <a:lnTo>
                    <a:pt x="384" y="186"/>
                  </a:lnTo>
                  <a:lnTo>
                    <a:pt x="388" y="184"/>
                  </a:lnTo>
                  <a:lnTo>
                    <a:pt x="390" y="183"/>
                  </a:lnTo>
                  <a:lnTo>
                    <a:pt x="388" y="182"/>
                  </a:lnTo>
                  <a:lnTo>
                    <a:pt x="384" y="182"/>
                  </a:lnTo>
                  <a:lnTo>
                    <a:pt x="388" y="181"/>
                  </a:lnTo>
                  <a:lnTo>
                    <a:pt x="388" y="179"/>
                  </a:lnTo>
                  <a:lnTo>
                    <a:pt x="384" y="178"/>
                  </a:lnTo>
                  <a:lnTo>
                    <a:pt x="382" y="178"/>
                  </a:lnTo>
                  <a:lnTo>
                    <a:pt x="384" y="177"/>
                  </a:lnTo>
                  <a:lnTo>
                    <a:pt x="388" y="177"/>
                  </a:lnTo>
                  <a:lnTo>
                    <a:pt x="390" y="179"/>
                  </a:lnTo>
                  <a:lnTo>
                    <a:pt x="392" y="179"/>
                  </a:lnTo>
                  <a:lnTo>
                    <a:pt x="393" y="178"/>
                  </a:lnTo>
                  <a:lnTo>
                    <a:pt x="392" y="175"/>
                  </a:lnTo>
                  <a:lnTo>
                    <a:pt x="389" y="173"/>
                  </a:lnTo>
                  <a:lnTo>
                    <a:pt x="386" y="172"/>
                  </a:lnTo>
                  <a:lnTo>
                    <a:pt x="383" y="172"/>
                  </a:lnTo>
                  <a:lnTo>
                    <a:pt x="386" y="171"/>
                  </a:lnTo>
                  <a:lnTo>
                    <a:pt x="383" y="171"/>
                  </a:lnTo>
                  <a:lnTo>
                    <a:pt x="383" y="167"/>
                  </a:lnTo>
                  <a:lnTo>
                    <a:pt x="381" y="169"/>
                  </a:lnTo>
                  <a:lnTo>
                    <a:pt x="377" y="171"/>
                  </a:lnTo>
                  <a:lnTo>
                    <a:pt x="379" y="173"/>
                  </a:lnTo>
                  <a:lnTo>
                    <a:pt x="376" y="171"/>
                  </a:lnTo>
                  <a:lnTo>
                    <a:pt x="374" y="170"/>
                  </a:lnTo>
                  <a:lnTo>
                    <a:pt x="373" y="173"/>
                  </a:lnTo>
                  <a:lnTo>
                    <a:pt x="372" y="175"/>
                  </a:lnTo>
                  <a:lnTo>
                    <a:pt x="372" y="177"/>
                  </a:lnTo>
                  <a:lnTo>
                    <a:pt x="372" y="174"/>
                  </a:lnTo>
                  <a:lnTo>
                    <a:pt x="372" y="171"/>
                  </a:lnTo>
                  <a:lnTo>
                    <a:pt x="369" y="170"/>
                  </a:lnTo>
                  <a:lnTo>
                    <a:pt x="366" y="171"/>
                  </a:lnTo>
                  <a:lnTo>
                    <a:pt x="365" y="174"/>
                  </a:lnTo>
                  <a:lnTo>
                    <a:pt x="364" y="171"/>
                  </a:lnTo>
                  <a:lnTo>
                    <a:pt x="362" y="173"/>
                  </a:lnTo>
                  <a:lnTo>
                    <a:pt x="358" y="173"/>
                  </a:lnTo>
                  <a:lnTo>
                    <a:pt x="362" y="173"/>
                  </a:lnTo>
                  <a:lnTo>
                    <a:pt x="363" y="171"/>
                  </a:lnTo>
                  <a:lnTo>
                    <a:pt x="366" y="170"/>
                  </a:lnTo>
                  <a:lnTo>
                    <a:pt x="366" y="167"/>
                  </a:lnTo>
                  <a:lnTo>
                    <a:pt x="369" y="165"/>
                  </a:lnTo>
                  <a:lnTo>
                    <a:pt x="371" y="162"/>
                  </a:lnTo>
                  <a:lnTo>
                    <a:pt x="367" y="162"/>
                  </a:lnTo>
                  <a:lnTo>
                    <a:pt x="365" y="164"/>
                  </a:lnTo>
                  <a:lnTo>
                    <a:pt x="364" y="166"/>
                  </a:lnTo>
                  <a:lnTo>
                    <a:pt x="362" y="167"/>
                  </a:lnTo>
                  <a:lnTo>
                    <a:pt x="364" y="165"/>
                  </a:lnTo>
                  <a:lnTo>
                    <a:pt x="360" y="164"/>
                  </a:lnTo>
                  <a:lnTo>
                    <a:pt x="358" y="164"/>
                  </a:lnTo>
                  <a:lnTo>
                    <a:pt x="356" y="165"/>
                  </a:lnTo>
                  <a:lnTo>
                    <a:pt x="352" y="165"/>
                  </a:lnTo>
                  <a:lnTo>
                    <a:pt x="350" y="165"/>
                  </a:lnTo>
                  <a:lnTo>
                    <a:pt x="348" y="169"/>
                  </a:lnTo>
                  <a:lnTo>
                    <a:pt x="347" y="169"/>
                  </a:lnTo>
                  <a:lnTo>
                    <a:pt x="348" y="166"/>
                  </a:lnTo>
                  <a:lnTo>
                    <a:pt x="350" y="165"/>
                  </a:lnTo>
                  <a:lnTo>
                    <a:pt x="352" y="164"/>
                  </a:lnTo>
                  <a:lnTo>
                    <a:pt x="356" y="164"/>
                  </a:lnTo>
                  <a:lnTo>
                    <a:pt x="352" y="163"/>
                  </a:lnTo>
                  <a:lnTo>
                    <a:pt x="350" y="164"/>
                  </a:lnTo>
                  <a:lnTo>
                    <a:pt x="347" y="164"/>
                  </a:lnTo>
                  <a:lnTo>
                    <a:pt x="350" y="163"/>
                  </a:lnTo>
                  <a:lnTo>
                    <a:pt x="352" y="163"/>
                  </a:lnTo>
                  <a:lnTo>
                    <a:pt x="350" y="162"/>
                  </a:lnTo>
                  <a:lnTo>
                    <a:pt x="347" y="161"/>
                  </a:lnTo>
                  <a:lnTo>
                    <a:pt x="350" y="161"/>
                  </a:lnTo>
                  <a:lnTo>
                    <a:pt x="356" y="162"/>
                  </a:lnTo>
                  <a:lnTo>
                    <a:pt x="357" y="160"/>
                  </a:lnTo>
                  <a:lnTo>
                    <a:pt x="354" y="158"/>
                  </a:lnTo>
                  <a:lnTo>
                    <a:pt x="351" y="158"/>
                  </a:lnTo>
                  <a:lnTo>
                    <a:pt x="354" y="157"/>
                  </a:lnTo>
                  <a:lnTo>
                    <a:pt x="355" y="155"/>
                  </a:lnTo>
                  <a:lnTo>
                    <a:pt x="356" y="155"/>
                  </a:lnTo>
                  <a:lnTo>
                    <a:pt x="352" y="155"/>
                  </a:lnTo>
                  <a:lnTo>
                    <a:pt x="352" y="152"/>
                  </a:lnTo>
                  <a:lnTo>
                    <a:pt x="349" y="153"/>
                  </a:lnTo>
                  <a:lnTo>
                    <a:pt x="349" y="151"/>
                  </a:lnTo>
                  <a:lnTo>
                    <a:pt x="347" y="151"/>
                  </a:lnTo>
                  <a:lnTo>
                    <a:pt x="346" y="153"/>
                  </a:lnTo>
                  <a:lnTo>
                    <a:pt x="343" y="152"/>
                  </a:lnTo>
                  <a:lnTo>
                    <a:pt x="340" y="154"/>
                  </a:lnTo>
                  <a:lnTo>
                    <a:pt x="342" y="152"/>
                  </a:lnTo>
                  <a:lnTo>
                    <a:pt x="342" y="148"/>
                  </a:lnTo>
                  <a:lnTo>
                    <a:pt x="346" y="147"/>
                  </a:lnTo>
                  <a:lnTo>
                    <a:pt x="342" y="145"/>
                  </a:lnTo>
                  <a:lnTo>
                    <a:pt x="340" y="147"/>
                  </a:lnTo>
                  <a:lnTo>
                    <a:pt x="338" y="147"/>
                  </a:lnTo>
                  <a:lnTo>
                    <a:pt x="335" y="151"/>
                  </a:lnTo>
                  <a:lnTo>
                    <a:pt x="338" y="153"/>
                  </a:lnTo>
                  <a:lnTo>
                    <a:pt x="335" y="152"/>
                  </a:lnTo>
                  <a:lnTo>
                    <a:pt x="335" y="148"/>
                  </a:lnTo>
                  <a:lnTo>
                    <a:pt x="337" y="146"/>
                  </a:lnTo>
                  <a:lnTo>
                    <a:pt x="334" y="146"/>
                  </a:lnTo>
                  <a:lnTo>
                    <a:pt x="330" y="152"/>
                  </a:lnTo>
                  <a:lnTo>
                    <a:pt x="329" y="154"/>
                  </a:lnTo>
                  <a:lnTo>
                    <a:pt x="329" y="152"/>
                  </a:lnTo>
                  <a:lnTo>
                    <a:pt x="330" y="148"/>
                  </a:lnTo>
                  <a:lnTo>
                    <a:pt x="329" y="147"/>
                  </a:lnTo>
                  <a:lnTo>
                    <a:pt x="331" y="144"/>
                  </a:lnTo>
                  <a:lnTo>
                    <a:pt x="328" y="145"/>
                  </a:lnTo>
                  <a:lnTo>
                    <a:pt x="325" y="147"/>
                  </a:lnTo>
                  <a:lnTo>
                    <a:pt x="324" y="149"/>
                  </a:lnTo>
                  <a:lnTo>
                    <a:pt x="322" y="149"/>
                  </a:lnTo>
                  <a:lnTo>
                    <a:pt x="320" y="148"/>
                  </a:lnTo>
                  <a:lnTo>
                    <a:pt x="322" y="149"/>
                  </a:lnTo>
                  <a:lnTo>
                    <a:pt x="324" y="146"/>
                  </a:lnTo>
                  <a:lnTo>
                    <a:pt x="325" y="144"/>
                  </a:lnTo>
                  <a:lnTo>
                    <a:pt x="322" y="144"/>
                  </a:lnTo>
                  <a:lnTo>
                    <a:pt x="320" y="146"/>
                  </a:lnTo>
                  <a:lnTo>
                    <a:pt x="320" y="143"/>
                  </a:lnTo>
                  <a:lnTo>
                    <a:pt x="317" y="144"/>
                  </a:lnTo>
                  <a:lnTo>
                    <a:pt x="317" y="141"/>
                  </a:lnTo>
                  <a:lnTo>
                    <a:pt x="315" y="139"/>
                  </a:lnTo>
                  <a:lnTo>
                    <a:pt x="313" y="139"/>
                  </a:lnTo>
                  <a:lnTo>
                    <a:pt x="311" y="143"/>
                  </a:lnTo>
                  <a:lnTo>
                    <a:pt x="308" y="143"/>
                  </a:lnTo>
                  <a:lnTo>
                    <a:pt x="311" y="141"/>
                  </a:lnTo>
                  <a:lnTo>
                    <a:pt x="312" y="139"/>
                  </a:lnTo>
                  <a:lnTo>
                    <a:pt x="314" y="138"/>
                  </a:lnTo>
                  <a:lnTo>
                    <a:pt x="312" y="137"/>
                  </a:lnTo>
                  <a:lnTo>
                    <a:pt x="309" y="138"/>
                  </a:lnTo>
                  <a:lnTo>
                    <a:pt x="306" y="140"/>
                  </a:lnTo>
                  <a:lnTo>
                    <a:pt x="304" y="139"/>
                  </a:lnTo>
                  <a:lnTo>
                    <a:pt x="306" y="138"/>
                  </a:lnTo>
                  <a:lnTo>
                    <a:pt x="309" y="137"/>
                  </a:lnTo>
                  <a:lnTo>
                    <a:pt x="312" y="136"/>
                  </a:lnTo>
                  <a:lnTo>
                    <a:pt x="314" y="137"/>
                  </a:lnTo>
                  <a:lnTo>
                    <a:pt x="317" y="136"/>
                  </a:lnTo>
                  <a:lnTo>
                    <a:pt x="314" y="135"/>
                  </a:lnTo>
                  <a:lnTo>
                    <a:pt x="312" y="136"/>
                  </a:lnTo>
                  <a:lnTo>
                    <a:pt x="309" y="135"/>
                  </a:lnTo>
                  <a:lnTo>
                    <a:pt x="307" y="137"/>
                  </a:lnTo>
                  <a:lnTo>
                    <a:pt x="306" y="134"/>
                  </a:lnTo>
                  <a:lnTo>
                    <a:pt x="304" y="132"/>
                  </a:lnTo>
                  <a:lnTo>
                    <a:pt x="303" y="136"/>
                  </a:lnTo>
                  <a:lnTo>
                    <a:pt x="303" y="132"/>
                  </a:lnTo>
                  <a:lnTo>
                    <a:pt x="300" y="134"/>
                  </a:lnTo>
                  <a:lnTo>
                    <a:pt x="297" y="131"/>
                  </a:lnTo>
                  <a:lnTo>
                    <a:pt x="295" y="132"/>
                  </a:lnTo>
                  <a:lnTo>
                    <a:pt x="292" y="132"/>
                  </a:lnTo>
                  <a:lnTo>
                    <a:pt x="295" y="131"/>
                  </a:lnTo>
                  <a:lnTo>
                    <a:pt x="292" y="131"/>
                  </a:lnTo>
                  <a:lnTo>
                    <a:pt x="289" y="131"/>
                  </a:lnTo>
                  <a:lnTo>
                    <a:pt x="292" y="130"/>
                  </a:lnTo>
                  <a:lnTo>
                    <a:pt x="295" y="130"/>
                  </a:lnTo>
                  <a:lnTo>
                    <a:pt x="297" y="130"/>
                  </a:lnTo>
                  <a:lnTo>
                    <a:pt x="300" y="130"/>
                  </a:lnTo>
                  <a:lnTo>
                    <a:pt x="297" y="129"/>
                  </a:lnTo>
                  <a:lnTo>
                    <a:pt x="292" y="128"/>
                  </a:lnTo>
                  <a:lnTo>
                    <a:pt x="289" y="128"/>
                  </a:lnTo>
                  <a:lnTo>
                    <a:pt x="287" y="127"/>
                  </a:lnTo>
                  <a:lnTo>
                    <a:pt x="283" y="127"/>
                  </a:lnTo>
                  <a:lnTo>
                    <a:pt x="287" y="126"/>
                  </a:lnTo>
                  <a:lnTo>
                    <a:pt x="289" y="127"/>
                  </a:lnTo>
                  <a:lnTo>
                    <a:pt x="295" y="127"/>
                  </a:lnTo>
                  <a:lnTo>
                    <a:pt x="297" y="126"/>
                  </a:lnTo>
                  <a:lnTo>
                    <a:pt x="300" y="127"/>
                  </a:lnTo>
                  <a:lnTo>
                    <a:pt x="303" y="127"/>
                  </a:lnTo>
                  <a:lnTo>
                    <a:pt x="304" y="127"/>
                  </a:lnTo>
                  <a:lnTo>
                    <a:pt x="300" y="126"/>
                  </a:lnTo>
                  <a:lnTo>
                    <a:pt x="298" y="124"/>
                  </a:lnTo>
                  <a:lnTo>
                    <a:pt x="295" y="124"/>
                  </a:lnTo>
                  <a:lnTo>
                    <a:pt x="298" y="124"/>
                  </a:lnTo>
                  <a:lnTo>
                    <a:pt x="300" y="126"/>
                  </a:lnTo>
                  <a:lnTo>
                    <a:pt x="298" y="122"/>
                  </a:lnTo>
                  <a:lnTo>
                    <a:pt x="295" y="122"/>
                  </a:lnTo>
                  <a:lnTo>
                    <a:pt x="298" y="122"/>
                  </a:lnTo>
                  <a:lnTo>
                    <a:pt x="300" y="122"/>
                  </a:lnTo>
                  <a:lnTo>
                    <a:pt x="304" y="121"/>
                  </a:lnTo>
                  <a:lnTo>
                    <a:pt x="300" y="119"/>
                  </a:lnTo>
                  <a:lnTo>
                    <a:pt x="298" y="118"/>
                  </a:lnTo>
                  <a:lnTo>
                    <a:pt x="296" y="118"/>
                  </a:lnTo>
                  <a:lnTo>
                    <a:pt x="292" y="119"/>
                  </a:lnTo>
                  <a:lnTo>
                    <a:pt x="290" y="120"/>
                  </a:lnTo>
                  <a:lnTo>
                    <a:pt x="288" y="122"/>
                  </a:lnTo>
                  <a:lnTo>
                    <a:pt x="289" y="120"/>
                  </a:lnTo>
                  <a:lnTo>
                    <a:pt x="291" y="119"/>
                  </a:lnTo>
                  <a:lnTo>
                    <a:pt x="295" y="118"/>
                  </a:lnTo>
                  <a:lnTo>
                    <a:pt x="291" y="117"/>
                  </a:lnTo>
                  <a:lnTo>
                    <a:pt x="289" y="117"/>
                  </a:lnTo>
                  <a:lnTo>
                    <a:pt x="288" y="117"/>
                  </a:lnTo>
                  <a:lnTo>
                    <a:pt x="291" y="117"/>
                  </a:lnTo>
                  <a:lnTo>
                    <a:pt x="294" y="117"/>
                  </a:lnTo>
                  <a:lnTo>
                    <a:pt x="297" y="117"/>
                  </a:lnTo>
                  <a:lnTo>
                    <a:pt x="299" y="118"/>
                  </a:lnTo>
                  <a:lnTo>
                    <a:pt x="297" y="115"/>
                  </a:lnTo>
                  <a:lnTo>
                    <a:pt x="294" y="115"/>
                  </a:lnTo>
                  <a:lnTo>
                    <a:pt x="291" y="114"/>
                  </a:lnTo>
                  <a:lnTo>
                    <a:pt x="288" y="114"/>
                  </a:lnTo>
                  <a:lnTo>
                    <a:pt x="286" y="114"/>
                  </a:lnTo>
                  <a:lnTo>
                    <a:pt x="288" y="113"/>
                  </a:lnTo>
                  <a:lnTo>
                    <a:pt x="291" y="114"/>
                  </a:lnTo>
                  <a:lnTo>
                    <a:pt x="294" y="114"/>
                  </a:lnTo>
                  <a:lnTo>
                    <a:pt x="297" y="114"/>
                  </a:lnTo>
                  <a:lnTo>
                    <a:pt x="299" y="114"/>
                  </a:lnTo>
                  <a:lnTo>
                    <a:pt x="303" y="117"/>
                  </a:lnTo>
                  <a:lnTo>
                    <a:pt x="305" y="118"/>
                  </a:lnTo>
                  <a:lnTo>
                    <a:pt x="308" y="118"/>
                  </a:lnTo>
                  <a:lnTo>
                    <a:pt x="311" y="118"/>
                  </a:lnTo>
                  <a:lnTo>
                    <a:pt x="314" y="118"/>
                  </a:lnTo>
                  <a:lnTo>
                    <a:pt x="316" y="118"/>
                  </a:lnTo>
                  <a:lnTo>
                    <a:pt x="318" y="119"/>
                  </a:lnTo>
                  <a:lnTo>
                    <a:pt x="320" y="115"/>
                  </a:lnTo>
                  <a:lnTo>
                    <a:pt x="317" y="113"/>
                  </a:lnTo>
                  <a:lnTo>
                    <a:pt x="314" y="112"/>
                  </a:lnTo>
                  <a:lnTo>
                    <a:pt x="312" y="111"/>
                  </a:lnTo>
                  <a:lnTo>
                    <a:pt x="308" y="111"/>
                  </a:lnTo>
                  <a:lnTo>
                    <a:pt x="306" y="110"/>
                  </a:lnTo>
                  <a:lnTo>
                    <a:pt x="303" y="111"/>
                  </a:lnTo>
                  <a:lnTo>
                    <a:pt x="300" y="110"/>
                  </a:lnTo>
                  <a:lnTo>
                    <a:pt x="297" y="109"/>
                  </a:lnTo>
                  <a:lnTo>
                    <a:pt x="295" y="109"/>
                  </a:lnTo>
                  <a:lnTo>
                    <a:pt x="292" y="107"/>
                  </a:lnTo>
                  <a:lnTo>
                    <a:pt x="289" y="109"/>
                  </a:lnTo>
                  <a:lnTo>
                    <a:pt x="287" y="109"/>
                  </a:lnTo>
                  <a:lnTo>
                    <a:pt x="283" y="110"/>
                  </a:lnTo>
                  <a:lnTo>
                    <a:pt x="280" y="109"/>
                  </a:lnTo>
                  <a:lnTo>
                    <a:pt x="278" y="109"/>
                  </a:lnTo>
                  <a:lnTo>
                    <a:pt x="275" y="110"/>
                  </a:lnTo>
                  <a:lnTo>
                    <a:pt x="274" y="110"/>
                  </a:lnTo>
                  <a:lnTo>
                    <a:pt x="274" y="109"/>
                  </a:lnTo>
                  <a:lnTo>
                    <a:pt x="277" y="109"/>
                  </a:lnTo>
                  <a:lnTo>
                    <a:pt x="280" y="109"/>
                  </a:lnTo>
                  <a:lnTo>
                    <a:pt x="282" y="109"/>
                  </a:lnTo>
                  <a:lnTo>
                    <a:pt x="284" y="109"/>
                  </a:lnTo>
                  <a:lnTo>
                    <a:pt x="290" y="106"/>
                  </a:lnTo>
                  <a:lnTo>
                    <a:pt x="294" y="106"/>
                  </a:lnTo>
                  <a:lnTo>
                    <a:pt x="296" y="106"/>
                  </a:lnTo>
                  <a:lnTo>
                    <a:pt x="298" y="104"/>
                  </a:lnTo>
                  <a:lnTo>
                    <a:pt x="301" y="103"/>
                  </a:lnTo>
                  <a:lnTo>
                    <a:pt x="304" y="103"/>
                  </a:lnTo>
                  <a:lnTo>
                    <a:pt x="307" y="104"/>
                  </a:lnTo>
                  <a:lnTo>
                    <a:pt x="309" y="104"/>
                  </a:lnTo>
                  <a:lnTo>
                    <a:pt x="313" y="104"/>
                  </a:lnTo>
                  <a:lnTo>
                    <a:pt x="313" y="102"/>
                  </a:lnTo>
                  <a:lnTo>
                    <a:pt x="312" y="100"/>
                  </a:lnTo>
                  <a:lnTo>
                    <a:pt x="311" y="97"/>
                  </a:lnTo>
                  <a:lnTo>
                    <a:pt x="308" y="95"/>
                  </a:lnTo>
                  <a:lnTo>
                    <a:pt x="306" y="93"/>
                  </a:lnTo>
                  <a:lnTo>
                    <a:pt x="303" y="90"/>
                  </a:lnTo>
                  <a:lnTo>
                    <a:pt x="300" y="89"/>
                  </a:lnTo>
                  <a:lnTo>
                    <a:pt x="297" y="92"/>
                  </a:lnTo>
                  <a:lnTo>
                    <a:pt x="299" y="95"/>
                  </a:lnTo>
                  <a:lnTo>
                    <a:pt x="296" y="96"/>
                  </a:lnTo>
                  <a:lnTo>
                    <a:pt x="294" y="97"/>
                  </a:lnTo>
                  <a:lnTo>
                    <a:pt x="290" y="98"/>
                  </a:lnTo>
                  <a:lnTo>
                    <a:pt x="288" y="100"/>
                  </a:lnTo>
                  <a:lnTo>
                    <a:pt x="284" y="101"/>
                  </a:lnTo>
                  <a:lnTo>
                    <a:pt x="282" y="103"/>
                  </a:lnTo>
                  <a:lnTo>
                    <a:pt x="280" y="102"/>
                  </a:lnTo>
                  <a:lnTo>
                    <a:pt x="277" y="103"/>
                  </a:lnTo>
                  <a:lnTo>
                    <a:pt x="274" y="105"/>
                  </a:lnTo>
                  <a:lnTo>
                    <a:pt x="274" y="107"/>
                  </a:lnTo>
                  <a:lnTo>
                    <a:pt x="274" y="106"/>
                  </a:lnTo>
                  <a:lnTo>
                    <a:pt x="275" y="103"/>
                  </a:lnTo>
                  <a:lnTo>
                    <a:pt x="279" y="102"/>
                  </a:lnTo>
                  <a:lnTo>
                    <a:pt x="281" y="102"/>
                  </a:lnTo>
                  <a:lnTo>
                    <a:pt x="284" y="100"/>
                  </a:lnTo>
                  <a:lnTo>
                    <a:pt x="287" y="98"/>
                  </a:lnTo>
                  <a:lnTo>
                    <a:pt x="288" y="97"/>
                  </a:lnTo>
                  <a:lnTo>
                    <a:pt x="291" y="96"/>
                  </a:lnTo>
                  <a:lnTo>
                    <a:pt x="292" y="94"/>
                  </a:lnTo>
                  <a:lnTo>
                    <a:pt x="290" y="93"/>
                  </a:lnTo>
                  <a:lnTo>
                    <a:pt x="287" y="93"/>
                  </a:lnTo>
                  <a:lnTo>
                    <a:pt x="284" y="93"/>
                  </a:lnTo>
                  <a:lnTo>
                    <a:pt x="281" y="94"/>
                  </a:lnTo>
                  <a:lnTo>
                    <a:pt x="279" y="94"/>
                  </a:lnTo>
                  <a:lnTo>
                    <a:pt x="277" y="97"/>
                  </a:lnTo>
                  <a:lnTo>
                    <a:pt x="278" y="97"/>
                  </a:lnTo>
                  <a:lnTo>
                    <a:pt x="274" y="98"/>
                  </a:lnTo>
                  <a:lnTo>
                    <a:pt x="274" y="98"/>
                  </a:lnTo>
                  <a:lnTo>
                    <a:pt x="269" y="102"/>
                  </a:lnTo>
                  <a:lnTo>
                    <a:pt x="271" y="98"/>
                  </a:lnTo>
                  <a:lnTo>
                    <a:pt x="274" y="98"/>
                  </a:lnTo>
                  <a:lnTo>
                    <a:pt x="277" y="97"/>
                  </a:lnTo>
                  <a:lnTo>
                    <a:pt x="274" y="96"/>
                  </a:lnTo>
                  <a:lnTo>
                    <a:pt x="274" y="96"/>
                  </a:lnTo>
                  <a:lnTo>
                    <a:pt x="277" y="94"/>
                  </a:lnTo>
                  <a:lnTo>
                    <a:pt x="280" y="93"/>
                  </a:lnTo>
                  <a:lnTo>
                    <a:pt x="282" y="92"/>
                  </a:lnTo>
                  <a:lnTo>
                    <a:pt x="288" y="90"/>
                  </a:lnTo>
                  <a:lnTo>
                    <a:pt x="291" y="90"/>
                  </a:lnTo>
                  <a:lnTo>
                    <a:pt x="292" y="87"/>
                  </a:lnTo>
                  <a:lnTo>
                    <a:pt x="295" y="88"/>
                  </a:lnTo>
                  <a:lnTo>
                    <a:pt x="297" y="86"/>
                  </a:lnTo>
                  <a:lnTo>
                    <a:pt x="296" y="83"/>
                  </a:lnTo>
                  <a:lnTo>
                    <a:pt x="290" y="81"/>
                  </a:lnTo>
                  <a:lnTo>
                    <a:pt x="288" y="80"/>
                  </a:lnTo>
                  <a:lnTo>
                    <a:pt x="286" y="79"/>
                  </a:lnTo>
                  <a:lnTo>
                    <a:pt x="282" y="78"/>
                  </a:lnTo>
                  <a:lnTo>
                    <a:pt x="280" y="79"/>
                  </a:lnTo>
                  <a:lnTo>
                    <a:pt x="277" y="80"/>
                  </a:lnTo>
                  <a:lnTo>
                    <a:pt x="274" y="83"/>
                  </a:lnTo>
                  <a:lnTo>
                    <a:pt x="271" y="83"/>
                  </a:lnTo>
                  <a:lnTo>
                    <a:pt x="269" y="83"/>
                  </a:lnTo>
                  <a:lnTo>
                    <a:pt x="270" y="86"/>
                  </a:lnTo>
                  <a:lnTo>
                    <a:pt x="267" y="83"/>
                  </a:lnTo>
                  <a:lnTo>
                    <a:pt x="270" y="83"/>
                  </a:lnTo>
                  <a:lnTo>
                    <a:pt x="273" y="80"/>
                  </a:lnTo>
                  <a:lnTo>
                    <a:pt x="274" y="80"/>
                  </a:lnTo>
                  <a:lnTo>
                    <a:pt x="277" y="78"/>
                  </a:lnTo>
                  <a:lnTo>
                    <a:pt x="274" y="77"/>
                  </a:lnTo>
                  <a:lnTo>
                    <a:pt x="271" y="78"/>
                  </a:lnTo>
                  <a:lnTo>
                    <a:pt x="269" y="78"/>
                  </a:lnTo>
                  <a:lnTo>
                    <a:pt x="265" y="79"/>
                  </a:lnTo>
                  <a:lnTo>
                    <a:pt x="263" y="81"/>
                  </a:lnTo>
                  <a:lnTo>
                    <a:pt x="261" y="83"/>
                  </a:lnTo>
                  <a:lnTo>
                    <a:pt x="260" y="85"/>
                  </a:lnTo>
                  <a:lnTo>
                    <a:pt x="258" y="87"/>
                  </a:lnTo>
                  <a:lnTo>
                    <a:pt x="257" y="90"/>
                  </a:lnTo>
                  <a:lnTo>
                    <a:pt x="256" y="93"/>
                  </a:lnTo>
                  <a:lnTo>
                    <a:pt x="255" y="95"/>
                  </a:lnTo>
                  <a:lnTo>
                    <a:pt x="256" y="93"/>
                  </a:lnTo>
                  <a:lnTo>
                    <a:pt x="256" y="89"/>
                  </a:lnTo>
                  <a:lnTo>
                    <a:pt x="257" y="87"/>
                  </a:lnTo>
                  <a:lnTo>
                    <a:pt x="258" y="85"/>
                  </a:lnTo>
                  <a:lnTo>
                    <a:pt x="255" y="84"/>
                  </a:lnTo>
                  <a:lnTo>
                    <a:pt x="253" y="86"/>
                  </a:lnTo>
                  <a:lnTo>
                    <a:pt x="252" y="88"/>
                  </a:lnTo>
                  <a:lnTo>
                    <a:pt x="249" y="90"/>
                  </a:lnTo>
                  <a:lnTo>
                    <a:pt x="251" y="87"/>
                  </a:lnTo>
                  <a:lnTo>
                    <a:pt x="247" y="87"/>
                  </a:lnTo>
                  <a:lnTo>
                    <a:pt x="251" y="87"/>
                  </a:lnTo>
                  <a:lnTo>
                    <a:pt x="253" y="84"/>
                  </a:lnTo>
                  <a:lnTo>
                    <a:pt x="255" y="83"/>
                  </a:lnTo>
                  <a:lnTo>
                    <a:pt x="258" y="84"/>
                  </a:lnTo>
                  <a:lnTo>
                    <a:pt x="261" y="81"/>
                  </a:lnTo>
                  <a:lnTo>
                    <a:pt x="263" y="79"/>
                  </a:lnTo>
                  <a:lnTo>
                    <a:pt x="265" y="77"/>
                  </a:lnTo>
                  <a:lnTo>
                    <a:pt x="266" y="73"/>
                  </a:lnTo>
                  <a:lnTo>
                    <a:pt x="265" y="71"/>
                  </a:lnTo>
                  <a:lnTo>
                    <a:pt x="263" y="70"/>
                  </a:lnTo>
                  <a:lnTo>
                    <a:pt x="261" y="71"/>
                  </a:lnTo>
                  <a:lnTo>
                    <a:pt x="257" y="72"/>
                  </a:lnTo>
                  <a:lnTo>
                    <a:pt x="257" y="76"/>
                  </a:lnTo>
                  <a:lnTo>
                    <a:pt x="254" y="76"/>
                  </a:lnTo>
                  <a:lnTo>
                    <a:pt x="252" y="77"/>
                  </a:lnTo>
                  <a:lnTo>
                    <a:pt x="248" y="78"/>
                  </a:lnTo>
                  <a:lnTo>
                    <a:pt x="246" y="78"/>
                  </a:lnTo>
                  <a:lnTo>
                    <a:pt x="243" y="80"/>
                  </a:lnTo>
                  <a:lnTo>
                    <a:pt x="240" y="83"/>
                  </a:lnTo>
                  <a:lnTo>
                    <a:pt x="238" y="83"/>
                  </a:lnTo>
                  <a:lnTo>
                    <a:pt x="240" y="81"/>
                  </a:lnTo>
                  <a:lnTo>
                    <a:pt x="243" y="78"/>
                  </a:lnTo>
                  <a:lnTo>
                    <a:pt x="240" y="77"/>
                  </a:lnTo>
                  <a:lnTo>
                    <a:pt x="238" y="78"/>
                  </a:lnTo>
                  <a:lnTo>
                    <a:pt x="240" y="77"/>
                  </a:lnTo>
                  <a:lnTo>
                    <a:pt x="244" y="73"/>
                  </a:lnTo>
                  <a:lnTo>
                    <a:pt x="246" y="71"/>
                  </a:lnTo>
                  <a:lnTo>
                    <a:pt x="248" y="70"/>
                  </a:lnTo>
                  <a:lnTo>
                    <a:pt x="251" y="71"/>
                  </a:lnTo>
                  <a:lnTo>
                    <a:pt x="254" y="71"/>
                  </a:lnTo>
                  <a:lnTo>
                    <a:pt x="256" y="69"/>
                  </a:lnTo>
                  <a:lnTo>
                    <a:pt x="258" y="67"/>
                  </a:lnTo>
                  <a:lnTo>
                    <a:pt x="257" y="64"/>
                  </a:lnTo>
                  <a:lnTo>
                    <a:pt x="254" y="61"/>
                  </a:lnTo>
                  <a:lnTo>
                    <a:pt x="252" y="60"/>
                  </a:lnTo>
                  <a:lnTo>
                    <a:pt x="248" y="59"/>
                  </a:lnTo>
                  <a:lnTo>
                    <a:pt x="246" y="59"/>
                  </a:lnTo>
                  <a:lnTo>
                    <a:pt x="244" y="58"/>
                  </a:lnTo>
                  <a:lnTo>
                    <a:pt x="240" y="57"/>
                  </a:lnTo>
                  <a:lnTo>
                    <a:pt x="238" y="59"/>
                  </a:lnTo>
                  <a:lnTo>
                    <a:pt x="236" y="60"/>
                  </a:lnTo>
                  <a:lnTo>
                    <a:pt x="234" y="63"/>
                  </a:lnTo>
                  <a:lnTo>
                    <a:pt x="234" y="66"/>
                  </a:lnTo>
                  <a:lnTo>
                    <a:pt x="231" y="68"/>
                  </a:lnTo>
                  <a:lnTo>
                    <a:pt x="230" y="70"/>
                  </a:lnTo>
                  <a:lnTo>
                    <a:pt x="228" y="73"/>
                  </a:lnTo>
                  <a:lnTo>
                    <a:pt x="229" y="70"/>
                  </a:lnTo>
                  <a:lnTo>
                    <a:pt x="229" y="68"/>
                  </a:lnTo>
                  <a:lnTo>
                    <a:pt x="232" y="67"/>
                  </a:lnTo>
                  <a:lnTo>
                    <a:pt x="229" y="64"/>
                  </a:lnTo>
                  <a:lnTo>
                    <a:pt x="227" y="66"/>
                  </a:lnTo>
                  <a:lnTo>
                    <a:pt x="224" y="68"/>
                  </a:lnTo>
                  <a:lnTo>
                    <a:pt x="223" y="71"/>
                  </a:lnTo>
                  <a:lnTo>
                    <a:pt x="221" y="71"/>
                  </a:lnTo>
                  <a:lnTo>
                    <a:pt x="223" y="69"/>
                  </a:lnTo>
                  <a:lnTo>
                    <a:pt x="224" y="66"/>
                  </a:lnTo>
                  <a:lnTo>
                    <a:pt x="227" y="63"/>
                  </a:lnTo>
                  <a:lnTo>
                    <a:pt x="224" y="61"/>
                  </a:lnTo>
                  <a:lnTo>
                    <a:pt x="224" y="58"/>
                  </a:lnTo>
                  <a:lnTo>
                    <a:pt x="221" y="60"/>
                  </a:lnTo>
                  <a:lnTo>
                    <a:pt x="220" y="62"/>
                  </a:lnTo>
                  <a:lnTo>
                    <a:pt x="219" y="64"/>
                  </a:lnTo>
                  <a:lnTo>
                    <a:pt x="217" y="68"/>
                  </a:lnTo>
                  <a:lnTo>
                    <a:pt x="218" y="64"/>
                  </a:lnTo>
                  <a:lnTo>
                    <a:pt x="219" y="62"/>
                  </a:lnTo>
                  <a:lnTo>
                    <a:pt x="217" y="62"/>
                  </a:lnTo>
                  <a:lnTo>
                    <a:pt x="219" y="61"/>
                  </a:lnTo>
                  <a:lnTo>
                    <a:pt x="220" y="59"/>
                  </a:lnTo>
                  <a:lnTo>
                    <a:pt x="222" y="57"/>
                  </a:lnTo>
                  <a:lnTo>
                    <a:pt x="223" y="53"/>
                  </a:lnTo>
                  <a:lnTo>
                    <a:pt x="220" y="53"/>
                  </a:lnTo>
                  <a:lnTo>
                    <a:pt x="218" y="57"/>
                  </a:lnTo>
                  <a:lnTo>
                    <a:pt x="218" y="59"/>
                  </a:lnTo>
                  <a:lnTo>
                    <a:pt x="218" y="57"/>
                  </a:lnTo>
                  <a:lnTo>
                    <a:pt x="214" y="55"/>
                  </a:lnTo>
                  <a:lnTo>
                    <a:pt x="212" y="57"/>
                  </a:lnTo>
                  <a:lnTo>
                    <a:pt x="210" y="60"/>
                  </a:lnTo>
                  <a:lnTo>
                    <a:pt x="211" y="62"/>
                  </a:lnTo>
                  <a:lnTo>
                    <a:pt x="209" y="66"/>
                  </a:lnTo>
                  <a:lnTo>
                    <a:pt x="206" y="68"/>
                  </a:lnTo>
                  <a:lnTo>
                    <a:pt x="209" y="64"/>
                  </a:lnTo>
                  <a:lnTo>
                    <a:pt x="209" y="62"/>
                  </a:lnTo>
                  <a:lnTo>
                    <a:pt x="206" y="60"/>
                  </a:lnTo>
                  <a:lnTo>
                    <a:pt x="205" y="60"/>
                  </a:lnTo>
                  <a:lnTo>
                    <a:pt x="209" y="59"/>
                  </a:lnTo>
                  <a:lnTo>
                    <a:pt x="211" y="57"/>
                  </a:lnTo>
                  <a:lnTo>
                    <a:pt x="209" y="57"/>
                  </a:lnTo>
                  <a:lnTo>
                    <a:pt x="205" y="58"/>
                  </a:lnTo>
                  <a:lnTo>
                    <a:pt x="203" y="59"/>
                  </a:lnTo>
                  <a:lnTo>
                    <a:pt x="205" y="57"/>
                  </a:lnTo>
                  <a:lnTo>
                    <a:pt x="203" y="55"/>
                  </a:lnTo>
                  <a:lnTo>
                    <a:pt x="205" y="55"/>
                  </a:lnTo>
                  <a:lnTo>
                    <a:pt x="209" y="54"/>
                  </a:lnTo>
                  <a:lnTo>
                    <a:pt x="211" y="53"/>
                  </a:lnTo>
                  <a:lnTo>
                    <a:pt x="213" y="52"/>
                  </a:lnTo>
                  <a:lnTo>
                    <a:pt x="217" y="52"/>
                  </a:lnTo>
                  <a:lnTo>
                    <a:pt x="218" y="49"/>
                  </a:lnTo>
                  <a:lnTo>
                    <a:pt x="217" y="46"/>
                  </a:lnTo>
                  <a:lnTo>
                    <a:pt x="213" y="45"/>
                  </a:lnTo>
                  <a:lnTo>
                    <a:pt x="211" y="45"/>
                  </a:lnTo>
                  <a:lnTo>
                    <a:pt x="209" y="45"/>
                  </a:lnTo>
                  <a:lnTo>
                    <a:pt x="205" y="44"/>
                  </a:lnTo>
                  <a:lnTo>
                    <a:pt x="203" y="47"/>
                  </a:lnTo>
                  <a:lnTo>
                    <a:pt x="201" y="47"/>
                  </a:lnTo>
                  <a:lnTo>
                    <a:pt x="197" y="49"/>
                  </a:lnTo>
                  <a:lnTo>
                    <a:pt x="197" y="52"/>
                  </a:lnTo>
                  <a:lnTo>
                    <a:pt x="195" y="54"/>
                  </a:lnTo>
                  <a:lnTo>
                    <a:pt x="192" y="55"/>
                  </a:lnTo>
                  <a:lnTo>
                    <a:pt x="195" y="53"/>
                  </a:lnTo>
                  <a:lnTo>
                    <a:pt x="196" y="51"/>
                  </a:lnTo>
                  <a:lnTo>
                    <a:pt x="197" y="47"/>
                  </a:lnTo>
                  <a:lnTo>
                    <a:pt x="201" y="45"/>
                  </a:lnTo>
                  <a:lnTo>
                    <a:pt x="197" y="44"/>
                  </a:lnTo>
                  <a:lnTo>
                    <a:pt x="195" y="45"/>
                  </a:lnTo>
                  <a:lnTo>
                    <a:pt x="192" y="46"/>
                  </a:lnTo>
                  <a:lnTo>
                    <a:pt x="189" y="49"/>
                  </a:lnTo>
                  <a:lnTo>
                    <a:pt x="187" y="51"/>
                  </a:lnTo>
                  <a:lnTo>
                    <a:pt x="189" y="47"/>
                  </a:lnTo>
                  <a:lnTo>
                    <a:pt x="192" y="45"/>
                  </a:lnTo>
                  <a:lnTo>
                    <a:pt x="195" y="44"/>
                  </a:lnTo>
                  <a:lnTo>
                    <a:pt x="197" y="44"/>
                  </a:lnTo>
                  <a:lnTo>
                    <a:pt x="201" y="44"/>
                  </a:lnTo>
                  <a:lnTo>
                    <a:pt x="203" y="44"/>
                  </a:lnTo>
                  <a:lnTo>
                    <a:pt x="205" y="42"/>
                  </a:lnTo>
                  <a:lnTo>
                    <a:pt x="205" y="38"/>
                  </a:lnTo>
                  <a:lnTo>
                    <a:pt x="203" y="36"/>
                  </a:lnTo>
                  <a:lnTo>
                    <a:pt x="201" y="35"/>
                  </a:lnTo>
                  <a:lnTo>
                    <a:pt x="197" y="34"/>
                  </a:lnTo>
                  <a:lnTo>
                    <a:pt x="195" y="33"/>
                  </a:lnTo>
                  <a:lnTo>
                    <a:pt x="192" y="33"/>
                  </a:lnTo>
                  <a:lnTo>
                    <a:pt x="192" y="35"/>
                  </a:lnTo>
                  <a:lnTo>
                    <a:pt x="189" y="33"/>
                  </a:lnTo>
                  <a:lnTo>
                    <a:pt x="187" y="32"/>
                  </a:lnTo>
                  <a:lnTo>
                    <a:pt x="184" y="32"/>
                  </a:lnTo>
                  <a:lnTo>
                    <a:pt x="181" y="29"/>
                  </a:lnTo>
                  <a:lnTo>
                    <a:pt x="178" y="28"/>
                  </a:lnTo>
                  <a:lnTo>
                    <a:pt x="173" y="28"/>
                  </a:lnTo>
                  <a:lnTo>
                    <a:pt x="170" y="28"/>
                  </a:lnTo>
                  <a:lnTo>
                    <a:pt x="168" y="29"/>
                  </a:lnTo>
                  <a:lnTo>
                    <a:pt x="164" y="29"/>
                  </a:lnTo>
                  <a:lnTo>
                    <a:pt x="162" y="30"/>
                  </a:lnTo>
                  <a:lnTo>
                    <a:pt x="159" y="33"/>
                  </a:lnTo>
                  <a:lnTo>
                    <a:pt x="156" y="35"/>
                  </a:lnTo>
                  <a:lnTo>
                    <a:pt x="159" y="38"/>
                  </a:lnTo>
                  <a:lnTo>
                    <a:pt x="162" y="38"/>
                  </a:lnTo>
                  <a:lnTo>
                    <a:pt x="164" y="40"/>
                  </a:lnTo>
                  <a:lnTo>
                    <a:pt x="167" y="41"/>
                  </a:lnTo>
                  <a:lnTo>
                    <a:pt x="170" y="42"/>
                  </a:lnTo>
                  <a:lnTo>
                    <a:pt x="172" y="43"/>
                  </a:lnTo>
                  <a:lnTo>
                    <a:pt x="176" y="43"/>
                  </a:lnTo>
                  <a:lnTo>
                    <a:pt x="178" y="44"/>
                  </a:lnTo>
                  <a:lnTo>
                    <a:pt x="176" y="44"/>
                  </a:lnTo>
                  <a:lnTo>
                    <a:pt x="173" y="43"/>
                  </a:lnTo>
                  <a:lnTo>
                    <a:pt x="171" y="43"/>
                  </a:lnTo>
                  <a:lnTo>
                    <a:pt x="168" y="42"/>
                  </a:lnTo>
                  <a:lnTo>
                    <a:pt x="166" y="41"/>
                  </a:lnTo>
                  <a:lnTo>
                    <a:pt x="162" y="41"/>
                  </a:lnTo>
                  <a:lnTo>
                    <a:pt x="160" y="40"/>
                  </a:lnTo>
                  <a:lnTo>
                    <a:pt x="159" y="42"/>
                  </a:lnTo>
                  <a:lnTo>
                    <a:pt x="158" y="40"/>
                  </a:lnTo>
                  <a:lnTo>
                    <a:pt x="154" y="40"/>
                  </a:lnTo>
                  <a:lnTo>
                    <a:pt x="152" y="42"/>
                  </a:lnTo>
                  <a:lnTo>
                    <a:pt x="155" y="44"/>
                  </a:lnTo>
                  <a:lnTo>
                    <a:pt x="159" y="44"/>
                  </a:lnTo>
                  <a:lnTo>
                    <a:pt x="160" y="47"/>
                  </a:lnTo>
                  <a:lnTo>
                    <a:pt x="162" y="49"/>
                  </a:lnTo>
                  <a:lnTo>
                    <a:pt x="166" y="51"/>
                  </a:lnTo>
                  <a:lnTo>
                    <a:pt x="168" y="52"/>
                  </a:lnTo>
                  <a:lnTo>
                    <a:pt x="166" y="52"/>
                  </a:lnTo>
                  <a:lnTo>
                    <a:pt x="163" y="50"/>
                  </a:lnTo>
                  <a:lnTo>
                    <a:pt x="160" y="50"/>
                  </a:lnTo>
                  <a:lnTo>
                    <a:pt x="162" y="52"/>
                  </a:lnTo>
                  <a:lnTo>
                    <a:pt x="166" y="53"/>
                  </a:lnTo>
                  <a:lnTo>
                    <a:pt x="162" y="52"/>
                  </a:lnTo>
                  <a:lnTo>
                    <a:pt x="162" y="52"/>
                  </a:lnTo>
                  <a:lnTo>
                    <a:pt x="160" y="50"/>
                  </a:lnTo>
                  <a:lnTo>
                    <a:pt x="159" y="47"/>
                  </a:lnTo>
                  <a:lnTo>
                    <a:pt x="156" y="44"/>
                  </a:lnTo>
                  <a:lnTo>
                    <a:pt x="153" y="44"/>
                  </a:lnTo>
                  <a:lnTo>
                    <a:pt x="152" y="46"/>
                  </a:lnTo>
                  <a:lnTo>
                    <a:pt x="155" y="49"/>
                  </a:lnTo>
                  <a:lnTo>
                    <a:pt x="158" y="51"/>
                  </a:lnTo>
                  <a:lnTo>
                    <a:pt x="154" y="50"/>
                  </a:lnTo>
                  <a:lnTo>
                    <a:pt x="152" y="49"/>
                  </a:lnTo>
                  <a:lnTo>
                    <a:pt x="149" y="49"/>
                  </a:lnTo>
                  <a:lnTo>
                    <a:pt x="150" y="46"/>
                  </a:lnTo>
                  <a:lnTo>
                    <a:pt x="151" y="43"/>
                  </a:lnTo>
                  <a:lnTo>
                    <a:pt x="152" y="41"/>
                  </a:lnTo>
                  <a:lnTo>
                    <a:pt x="149" y="38"/>
                  </a:lnTo>
                  <a:lnTo>
                    <a:pt x="146" y="37"/>
                  </a:lnTo>
                  <a:lnTo>
                    <a:pt x="144" y="40"/>
                  </a:lnTo>
                  <a:lnTo>
                    <a:pt x="141" y="42"/>
                  </a:lnTo>
                  <a:lnTo>
                    <a:pt x="143" y="38"/>
                  </a:lnTo>
                  <a:lnTo>
                    <a:pt x="141" y="36"/>
                  </a:lnTo>
                  <a:lnTo>
                    <a:pt x="138" y="37"/>
                  </a:lnTo>
                  <a:lnTo>
                    <a:pt x="137" y="37"/>
                  </a:lnTo>
                  <a:lnTo>
                    <a:pt x="135" y="40"/>
                  </a:lnTo>
                  <a:lnTo>
                    <a:pt x="137" y="42"/>
                  </a:lnTo>
                  <a:lnTo>
                    <a:pt x="139" y="44"/>
                  </a:lnTo>
                  <a:lnTo>
                    <a:pt x="137" y="43"/>
                  </a:lnTo>
                  <a:lnTo>
                    <a:pt x="137" y="43"/>
                  </a:lnTo>
                  <a:lnTo>
                    <a:pt x="135" y="41"/>
                  </a:lnTo>
                  <a:lnTo>
                    <a:pt x="133" y="43"/>
                  </a:lnTo>
                  <a:lnTo>
                    <a:pt x="133" y="45"/>
                  </a:lnTo>
                  <a:lnTo>
                    <a:pt x="129" y="47"/>
                  </a:lnTo>
                  <a:lnTo>
                    <a:pt x="127" y="47"/>
                  </a:lnTo>
                  <a:lnTo>
                    <a:pt x="124" y="51"/>
                  </a:lnTo>
                  <a:lnTo>
                    <a:pt x="126" y="47"/>
                  </a:lnTo>
                  <a:lnTo>
                    <a:pt x="123" y="46"/>
                  </a:lnTo>
                  <a:lnTo>
                    <a:pt x="126" y="45"/>
                  </a:lnTo>
                  <a:lnTo>
                    <a:pt x="128" y="46"/>
                  </a:lnTo>
                  <a:lnTo>
                    <a:pt x="126" y="44"/>
                  </a:lnTo>
                  <a:lnTo>
                    <a:pt x="126" y="41"/>
                  </a:lnTo>
                  <a:lnTo>
                    <a:pt x="128" y="38"/>
                  </a:lnTo>
                  <a:lnTo>
                    <a:pt x="130" y="36"/>
                  </a:lnTo>
                  <a:lnTo>
                    <a:pt x="127" y="35"/>
                  </a:lnTo>
                  <a:lnTo>
                    <a:pt x="125" y="37"/>
                  </a:lnTo>
                  <a:lnTo>
                    <a:pt x="123" y="40"/>
                  </a:lnTo>
                  <a:lnTo>
                    <a:pt x="119" y="42"/>
                  </a:lnTo>
                  <a:lnTo>
                    <a:pt x="123" y="38"/>
                  </a:lnTo>
                  <a:lnTo>
                    <a:pt x="125" y="36"/>
                  </a:lnTo>
                  <a:lnTo>
                    <a:pt x="127" y="34"/>
                  </a:lnTo>
                  <a:lnTo>
                    <a:pt x="130" y="33"/>
                  </a:lnTo>
                  <a:lnTo>
                    <a:pt x="132" y="30"/>
                  </a:lnTo>
                  <a:lnTo>
                    <a:pt x="133" y="27"/>
                  </a:lnTo>
                  <a:lnTo>
                    <a:pt x="130" y="26"/>
                  </a:lnTo>
                  <a:lnTo>
                    <a:pt x="128" y="24"/>
                  </a:lnTo>
                  <a:lnTo>
                    <a:pt x="129" y="21"/>
                  </a:lnTo>
                  <a:lnTo>
                    <a:pt x="129" y="18"/>
                  </a:lnTo>
                  <a:lnTo>
                    <a:pt x="126" y="17"/>
                  </a:lnTo>
                  <a:lnTo>
                    <a:pt x="124" y="16"/>
                  </a:lnTo>
                  <a:lnTo>
                    <a:pt x="120" y="15"/>
                  </a:lnTo>
                  <a:lnTo>
                    <a:pt x="121" y="12"/>
                  </a:lnTo>
                  <a:lnTo>
                    <a:pt x="120" y="9"/>
                  </a:lnTo>
                  <a:lnTo>
                    <a:pt x="119" y="7"/>
                  </a:lnTo>
                  <a:lnTo>
                    <a:pt x="117" y="4"/>
                  </a:lnTo>
                  <a:lnTo>
                    <a:pt x="115" y="3"/>
                  </a:lnTo>
                  <a:lnTo>
                    <a:pt x="111" y="3"/>
                  </a:lnTo>
                  <a:lnTo>
                    <a:pt x="109" y="2"/>
                  </a:lnTo>
                  <a:lnTo>
                    <a:pt x="106" y="3"/>
                  </a:lnTo>
                  <a:lnTo>
                    <a:pt x="103" y="3"/>
                  </a:lnTo>
                  <a:lnTo>
                    <a:pt x="100" y="2"/>
                  </a:lnTo>
                  <a:lnTo>
                    <a:pt x="98" y="3"/>
                  </a:lnTo>
                  <a:lnTo>
                    <a:pt x="95" y="4"/>
                  </a:lnTo>
                  <a:lnTo>
                    <a:pt x="92" y="4"/>
                  </a:lnTo>
                  <a:lnTo>
                    <a:pt x="90" y="6"/>
                  </a:lnTo>
                  <a:lnTo>
                    <a:pt x="86" y="7"/>
                  </a:lnTo>
                  <a:lnTo>
                    <a:pt x="84" y="8"/>
                  </a:lnTo>
                  <a:lnTo>
                    <a:pt x="86" y="10"/>
                  </a:lnTo>
                  <a:lnTo>
                    <a:pt x="87" y="12"/>
                  </a:lnTo>
                  <a:lnTo>
                    <a:pt x="84" y="10"/>
                  </a:lnTo>
                  <a:lnTo>
                    <a:pt x="82" y="10"/>
                  </a:lnTo>
                  <a:lnTo>
                    <a:pt x="78" y="10"/>
                  </a:lnTo>
                  <a:lnTo>
                    <a:pt x="76" y="10"/>
                  </a:lnTo>
                  <a:lnTo>
                    <a:pt x="74" y="13"/>
                  </a:lnTo>
                  <a:lnTo>
                    <a:pt x="77" y="16"/>
                  </a:lnTo>
                  <a:lnTo>
                    <a:pt x="74" y="15"/>
                  </a:lnTo>
                  <a:lnTo>
                    <a:pt x="72" y="11"/>
                  </a:lnTo>
                  <a:lnTo>
                    <a:pt x="68" y="12"/>
                  </a:lnTo>
                  <a:lnTo>
                    <a:pt x="66" y="16"/>
                  </a:lnTo>
                  <a:lnTo>
                    <a:pt x="69" y="17"/>
                  </a:lnTo>
                  <a:lnTo>
                    <a:pt x="72" y="18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81" y="20"/>
                  </a:lnTo>
                  <a:lnTo>
                    <a:pt x="83" y="20"/>
                  </a:lnTo>
                  <a:lnTo>
                    <a:pt x="86" y="21"/>
                  </a:lnTo>
                  <a:lnTo>
                    <a:pt x="83" y="21"/>
                  </a:lnTo>
                  <a:lnTo>
                    <a:pt x="79" y="21"/>
                  </a:lnTo>
                  <a:lnTo>
                    <a:pt x="77" y="20"/>
                  </a:lnTo>
                  <a:lnTo>
                    <a:pt x="74" y="20"/>
                  </a:lnTo>
                  <a:lnTo>
                    <a:pt x="72" y="19"/>
                  </a:lnTo>
                  <a:lnTo>
                    <a:pt x="69" y="19"/>
                  </a:lnTo>
                  <a:lnTo>
                    <a:pt x="66" y="18"/>
                  </a:lnTo>
                  <a:lnTo>
                    <a:pt x="64" y="18"/>
                  </a:lnTo>
                  <a:lnTo>
                    <a:pt x="61" y="21"/>
                  </a:lnTo>
                  <a:lnTo>
                    <a:pt x="65" y="21"/>
                  </a:lnTo>
                  <a:lnTo>
                    <a:pt x="67" y="21"/>
                  </a:lnTo>
                  <a:lnTo>
                    <a:pt x="69" y="23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8" y="26"/>
                  </a:lnTo>
                  <a:lnTo>
                    <a:pt x="81" y="27"/>
                  </a:lnTo>
                  <a:lnTo>
                    <a:pt x="78" y="27"/>
                  </a:lnTo>
                  <a:lnTo>
                    <a:pt x="75" y="26"/>
                  </a:lnTo>
                  <a:lnTo>
                    <a:pt x="73" y="25"/>
                  </a:lnTo>
                  <a:lnTo>
                    <a:pt x="69" y="25"/>
                  </a:lnTo>
                  <a:lnTo>
                    <a:pt x="67" y="24"/>
                  </a:lnTo>
                  <a:lnTo>
                    <a:pt x="65" y="23"/>
                  </a:lnTo>
                  <a:lnTo>
                    <a:pt x="61" y="23"/>
                  </a:lnTo>
                  <a:lnTo>
                    <a:pt x="60" y="25"/>
                  </a:lnTo>
                  <a:lnTo>
                    <a:pt x="59" y="28"/>
                  </a:lnTo>
                  <a:lnTo>
                    <a:pt x="59" y="30"/>
                  </a:lnTo>
                  <a:lnTo>
                    <a:pt x="61" y="33"/>
                  </a:lnTo>
                  <a:lnTo>
                    <a:pt x="61" y="35"/>
                  </a:lnTo>
                  <a:lnTo>
                    <a:pt x="64" y="37"/>
                  </a:lnTo>
                  <a:lnTo>
                    <a:pt x="67" y="37"/>
                  </a:lnTo>
                  <a:lnTo>
                    <a:pt x="69" y="37"/>
                  </a:lnTo>
                  <a:lnTo>
                    <a:pt x="73" y="38"/>
                  </a:lnTo>
                  <a:lnTo>
                    <a:pt x="75" y="38"/>
                  </a:lnTo>
                  <a:lnTo>
                    <a:pt x="73" y="38"/>
                  </a:lnTo>
                  <a:lnTo>
                    <a:pt x="69" y="40"/>
                  </a:lnTo>
                  <a:lnTo>
                    <a:pt x="73" y="42"/>
                  </a:lnTo>
                  <a:lnTo>
                    <a:pt x="75" y="44"/>
                  </a:lnTo>
                  <a:lnTo>
                    <a:pt x="78" y="46"/>
                  </a:lnTo>
                  <a:lnTo>
                    <a:pt x="79" y="49"/>
                  </a:lnTo>
                  <a:lnTo>
                    <a:pt x="77" y="46"/>
                  </a:lnTo>
                  <a:lnTo>
                    <a:pt x="74" y="44"/>
                  </a:lnTo>
                  <a:lnTo>
                    <a:pt x="72" y="43"/>
                  </a:lnTo>
                  <a:lnTo>
                    <a:pt x="69" y="42"/>
                  </a:lnTo>
                  <a:lnTo>
                    <a:pt x="66" y="41"/>
                  </a:lnTo>
                  <a:lnTo>
                    <a:pt x="64" y="41"/>
                  </a:lnTo>
                  <a:lnTo>
                    <a:pt x="62" y="44"/>
                  </a:lnTo>
                  <a:lnTo>
                    <a:pt x="60" y="46"/>
                  </a:lnTo>
                  <a:lnTo>
                    <a:pt x="58" y="47"/>
                  </a:lnTo>
                  <a:lnTo>
                    <a:pt x="55" y="47"/>
                  </a:lnTo>
                  <a:lnTo>
                    <a:pt x="58" y="49"/>
                  </a:lnTo>
                  <a:lnTo>
                    <a:pt x="60" y="50"/>
                  </a:lnTo>
                  <a:lnTo>
                    <a:pt x="62" y="53"/>
                  </a:lnTo>
                  <a:lnTo>
                    <a:pt x="64" y="55"/>
                  </a:lnTo>
                  <a:lnTo>
                    <a:pt x="67" y="57"/>
                  </a:lnTo>
                  <a:lnTo>
                    <a:pt x="69" y="57"/>
                  </a:lnTo>
                  <a:lnTo>
                    <a:pt x="73" y="57"/>
                  </a:lnTo>
                  <a:lnTo>
                    <a:pt x="74" y="59"/>
                  </a:lnTo>
                  <a:lnTo>
                    <a:pt x="75" y="61"/>
                  </a:lnTo>
                  <a:lnTo>
                    <a:pt x="73" y="62"/>
                  </a:lnTo>
                  <a:lnTo>
                    <a:pt x="72" y="66"/>
                  </a:lnTo>
                  <a:lnTo>
                    <a:pt x="73" y="68"/>
                  </a:lnTo>
                  <a:lnTo>
                    <a:pt x="72" y="70"/>
                  </a:lnTo>
                  <a:lnTo>
                    <a:pt x="72" y="73"/>
                  </a:lnTo>
                  <a:lnTo>
                    <a:pt x="69" y="75"/>
                  </a:lnTo>
                  <a:lnTo>
                    <a:pt x="69" y="72"/>
                  </a:lnTo>
                  <a:lnTo>
                    <a:pt x="67" y="70"/>
                  </a:lnTo>
                  <a:lnTo>
                    <a:pt x="68" y="69"/>
                  </a:lnTo>
                  <a:lnTo>
                    <a:pt x="66" y="69"/>
                  </a:lnTo>
                  <a:lnTo>
                    <a:pt x="62" y="69"/>
                  </a:lnTo>
                  <a:lnTo>
                    <a:pt x="60" y="69"/>
                  </a:lnTo>
                  <a:lnTo>
                    <a:pt x="57" y="70"/>
                  </a:lnTo>
                  <a:lnTo>
                    <a:pt x="55" y="71"/>
                  </a:lnTo>
                  <a:lnTo>
                    <a:pt x="51" y="72"/>
                  </a:lnTo>
                  <a:lnTo>
                    <a:pt x="49" y="73"/>
                  </a:lnTo>
                  <a:lnTo>
                    <a:pt x="45" y="72"/>
                  </a:lnTo>
                  <a:lnTo>
                    <a:pt x="49" y="72"/>
                  </a:lnTo>
                  <a:lnTo>
                    <a:pt x="51" y="71"/>
                  </a:lnTo>
                  <a:lnTo>
                    <a:pt x="55" y="69"/>
                  </a:lnTo>
                  <a:lnTo>
                    <a:pt x="57" y="68"/>
                  </a:lnTo>
                  <a:lnTo>
                    <a:pt x="60" y="68"/>
                  </a:lnTo>
                  <a:lnTo>
                    <a:pt x="62" y="67"/>
                  </a:lnTo>
                  <a:lnTo>
                    <a:pt x="65" y="66"/>
                  </a:lnTo>
                  <a:lnTo>
                    <a:pt x="68" y="66"/>
                  </a:lnTo>
                  <a:lnTo>
                    <a:pt x="70" y="64"/>
                  </a:lnTo>
                  <a:lnTo>
                    <a:pt x="68" y="62"/>
                  </a:lnTo>
                  <a:lnTo>
                    <a:pt x="66" y="62"/>
                  </a:lnTo>
                  <a:lnTo>
                    <a:pt x="64" y="61"/>
                  </a:lnTo>
                  <a:lnTo>
                    <a:pt x="60" y="59"/>
                  </a:lnTo>
                  <a:lnTo>
                    <a:pt x="58" y="57"/>
                  </a:lnTo>
                  <a:lnTo>
                    <a:pt x="56" y="54"/>
                  </a:lnTo>
                  <a:lnTo>
                    <a:pt x="52" y="52"/>
                  </a:lnTo>
                  <a:lnTo>
                    <a:pt x="50" y="49"/>
                  </a:lnTo>
                  <a:lnTo>
                    <a:pt x="49" y="46"/>
                  </a:lnTo>
                  <a:lnTo>
                    <a:pt x="49" y="41"/>
                  </a:lnTo>
                  <a:lnTo>
                    <a:pt x="51" y="38"/>
                  </a:lnTo>
                  <a:lnTo>
                    <a:pt x="51" y="35"/>
                  </a:lnTo>
                  <a:lnTo>
                    <a:pt x="48" y="33"/>
                  </a:lnTo>
                  <a:lnTo>
                    <a:pt x="45" y="30"/>
                  </a:lnTo>
                  <a:lnTo>
                    <a:pt x="45" y="28"/>
                  </a:lnTo>
                  <a:lnTo>
                    <a:pt x="47" y="25"/>
                  </a:lnTo>
                  <a:lnTo>
                    <a:pt x="49" y="23"/>
                  </a:lnTo>
                  <a:lnTo>
                    <a:pt x="51" y="20"/>
                  </a:lnTo>
                  <a:lnTo>
                    <a:pt x="52" y="17"/>
                  </a:lnTo>
                  <a:lnTo>
                    <a:pt x="55" y="15"/>
                  </a:lnTo>
                  <a:lnTo>
                    <a:pt x="57" y="11"/>
                  </a:lnTo>
                  <a:lnTo>
                    <a:pt x="62" y="8"/>
                  </a:lnTo>
                  <a:lnTo>
                    <a:pt x="66" y="7"/>
                  </a:lnTo>
                  <a:lnTo>
                    <a:pt x="68" y="4"/>
                  </a:lnTo>
                  <a:lnTo>
                    <a:pt x="70" y="2"/>
                  </a:lnTo>
                  <a:lnTo>
                    <a:pt x="68" y="1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57" y="0"/>
                  </a:lnTo>
                  <a:lnTo>
                    <a:pt x="53" y="0"/>
                  </a:lnTo>
                  <a:lnTo>
                    <a:pt x="51" y="0"/>
                  </a:lnTo>
                  <a:lnTo>
                    <a:pt x="48" y="0"/>
                  </a:lnTo>
                  <a:lnTo>
                    <a:pt x="45" y="0"/>
                  </a:lnTo>
                  <a:lnTo>
                    <a:pt x="40" y="1"/>
                  </a:lnTo>
                  <a:lnTo>
                    <a:pt x="38" y="1"/>
                  </a:lnTo>
                  <a:lnTo>
                    <a:pt x="34" y="2"/>
                  </a:lnTo>
                  <a:lnTo>
                    <a:pt x="32" y="3"/>
                  </a:lnTo>
                  <a:lnTo>
                    <a:pt x="28" y="4"/>
                  </a:lnTo>
                  <a:lnTo>
                    <a:pt x="26" y="6"/>
                  </a:lnTo>
                  <a:lnTo>
                    <a:pt x="23" y="8"/>
                  </a:lnTo>
                  <a:lnTo>
                    <a:pt x="21" y="10"/>
                  </a:lnTo>
                  <a:lnTo>
                    <a:pt x="17" y="11"/>
                  </a:lnTo>
                  <a:lnTo>
                    <a:pt x="17" y="15"/>
                  </a:lnTo>
                  <a:lnTo>
                    <a:pt x="15" y="17"/>
                  </a:lnTo>
                  <a:lnTo>
                    <a:pt x="11" y="17"/>
                  </a:lnTo>
                  <a:lnTo>
                    <a:pt x="10" y="20"/>
                  </a:lnTo>
                  <a:lnTo>
                    <a:pt x="9" y="23"/>
                  </a:lnTo>
                  <a:lnTo>
                    <a:pt x="9" y="26"/>
                  </a:lnTo>
                  <a:lnTo>
                    <a:pt x="9" y="28"/>
                  </a:lnTo>
                  <a:lnTo>
                    <a:pt x="6" y="29"/>
                  </a:lnTo>
                  <a:lnTo>
                    <a:pt x="6" y="32"/>
                  </a:lnTo>
                  <a:lnTo>
                    <a:pt x="4" y="33"/>
                  </a:lnTo>
                  <a:lnTo>
                    <a:pt x="4" y="35"/>
                  </a:lnTo>
                  <a:lnTo>
                    <a:pt x="1" y="38"/>
                  </a:lnTo>
                  <a:lnTo>
                    <a:pt x="1" y="41"/>
                  </a:lnTo>
                  <a:lnTo>
                    <a:pt x="2" y="44"/>
                  </a:lnTo>
                  <a:lnTo>
                    <a:pt x="6" y="44"/>
                  </a:lnTo>
                  <a:lnTo>
                    <a:pt x="4" y="45"/>
                  </a:lnTo>
                  <a:lnTo>
                    <a:pt x="0" y="46"/>
                  </a:lnTo>
                  <a:lnTo>
                    <a:pt x="0" y="51"/>
                  </a:lnTo>
                  <a:lnTo>
                    <a:pt x="2" y="54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61"/>
                  </a:lnTo>
                  <a:lnTo>
                    <a:pt x="0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6" name="Freeform 216">
              <a:extLst>
                <a:ext uri="{FF2B5EF4-FFF2-40B4-BE49-F238E27FC236}">
                  <a16:creationId xmlns:a16="http://schemas.microsoft.com/office/drawing/2014/main" id="{35A96843-D6B8-4483-9589-84800230C5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90938" y="2228850"/>
              <a:ext cx="128587" cy="311150"/>
            </a:xfrm>
            <a:custGeom>
              <a:avLst/>
              <a:gdLst>
                <a:gd name="T0" fmla="*/ 55 w 81"/>
                <a:gd name="T1" fmla="*/ 196 h 196"/>
                <a:gd name="T2" fmla="*/ 55 w 81"/>
                <a:gd name="T3" fmla="*/ 194 h 196"/>
                <a:gd name="T4" fmla="*/ 35 w 81"/>
                <a:gd name="T5" fmla="*/ 30 h 196"/>
                <a:gd name="T6" fmla="*/ 41 w 81"/>
                <a:gd name="T7" fmla="*/ 29 h 196"/>
                <a:gd name="T8" fmla="*/ 48 w 81"/>
                <a:gd name="T9" fmla="*/ 28 h 196"/>
                <a:gd name="T10" fmla="*/ 54 w 81"/>
                <a:gd name="T11" fmla="*/ 26 h 196"/>
                <a:gd name="T12" fmla="*/ 58 w 81"/>
                <a:gd name="T13" fmla="*/ 25 h 196"/>
                <a:gd name="T14" fmla="*/ 57 w 81"/>
                <a:gd name="T15" fmla="*/ 20 h 196"/>
                <a:gd name="T16" fmla="*/ 57 w 81"/>
                <a:gd name="T17" fmla="*/ 16 h 196"/>
                <a:gd name="T18" fmla="*/ 59 w 81"/>
                <a:gd name="T19" fmla="*/ 13 h 196"/>
                <a:gd name="T20" fmla="*/ 54 w 81"/>
                <a:gd name="T21" fmla="*/ 11 h 196"/>
                <a:gd name="T22" fmla="*/ 48 w 81"/>
                <a:gd name="T23" fmla="*/ 11 h 196"/>
                <a:gd name="T24" fmla="*/ 42 w 81"/>
                <a:gd name="T25" fmla="*/ 9 h 196"/>
                <a:gd name="T26" fmla="*/ 40 w 81"/>
                <a:gd name="T27" fmla="*/ 6 h 196"/>
                <a:gd name="T28" fmla="*/ 34 w 81"/>
                <a:gd name="T29" fmla="*/ 5 h 196"/>
                <a:gd name="T30" fmla="*/ 29 w 81"/>
                <a:gd name="T31" fmla="*/ 3 h 196"/>
                <a:gd name="T32" fmla="*/ 23 w 81"/>
                <a:gd name="T33" fmla="*/ 1 h 196"/>
                <a:gd name="T34" fmla="*/ 17 w 81"/>
                <a:gd name="T35" fmla="*/ 0 h 196"/>
                <a:gd name="T36" fmla="*/ 13 w 81"/>
                <a:gd name="T37" fmla="*/ 4 h 196"/>
                <a:gd name="T38" fmla="*/ 17 w 81"/>
                <a:gd name="T39" fmla="*/ 8 h 196"/>
                <a:gd name="T40" fmla="*/ 13 w 81"/>
                <a:gd name="T41" fmla="*/ 12 h 196"/>
                <a:gd name="T42" fmla="*/ 16 w 81"/>
                <a:gd name="T43" fmla="*/ 16 h 196"/>
                <a:gd name="T44" fmla="*/ 22 w 81"/>
                <a:gd name="T45" fmla="*/ 18 h 196"/>
                <a:gd name="T46" fmla="*/ 27 w 81"/>
                <a:gd name="T47" fmla="*/ 20 h 196"/>
                <a:gd name="T48" fmla="*/ 33 w 81"/>
                <a:gd name="T49" fmla="*/ 22 h 196"/>
                <a:gd name="T50" fmla="*/ 27 w 81"/>
                <a:gd name="T51" fmla="*/ 23 h 196"/>
                <a:gd name="T52" fmla="*/ 22 w 81"/>
                <a:gd name="T53" fmla="*/ 24 h 196"/>
                <a:gd name="T54" fmla="*/ 27 w 81"/>
                <a:gd name="T55" fmla="*/ 26 h 196"/>
                <a:gd name="T56" fmla="*/ 30 w 81"/>
                <a:gd name="T57" fmla="*/ 30 h 196"/>
                <a:gd name="T58" fmla="*/ 33 w 81"/>
                <a:gd name="T59" fmla="*/ 31 h 196"/>
                <a:gd name="T60" fmla="*/ 57 w 81"/>
                <a:gd name="T61" fmla="*/ 93 h 196"/>
                <a:gd name="T62" fmla="*/ 52 w 81"/>
                <a:gd name="T63" fmla="*/ 94 h 196"/>
                <a:gd name="T64" fmla="*/ 49 w 81"/>
                <a:gd name="T65" fmla="*/ 99 h 196"/>
                <a:gd name="T66" fmla="*/ 44 w 81"/>
                <a:gd name="T67" fmla="*/ 99 h 196"/>
                <a:gd name="T68" fmla="*/ 44 w 81"/>
                <a:gd name="T69" fmla="*/ 102 h 196"/>
                <a:gd name="T70" fmla="*/ 39 w 81"/>
                <a:gd name="T71" fmla="*/ 106 h 196"/>
                <a:gd name="T72" fmla="*/ 40 w 81"/>
                <a:gd name="T73" fmla="*/ 110 h 196"/>
                <a:gd name="T74" fmla="*/ 43 w 81"/>
                <a:gd name="T75" fmla="*/ 110 h 196"/>
                <a:gd name="T76" fmla="*/ 47 w 81"/>
                <a:gd name="T77" fmla="*/ 115 h 196"/>
                <a:gd name="T78" fmla="*/ 52 w 81"/>
                <a:gd name="T79" fmla="*/ 117 h 196"/>
                <a:gd name="T80" fmla="*/ 58 w 81"/>
                <a:gd name="T81" fmla="*/ 117 h 196"/>
                <a:gd name="T82" fmla="*/ 64 w 81"/>
                <a:gd name="T83" fmla="*/ 120 h 196"/>
                <a:gd name="T84" fmla="*/ 68 w 81"/>
                <a:gd name="T85" fmla="*/ 120 h 196"/>
                <a:gd name="T86" fmla="*/ 75 w 81"/>
                <a:gd name="T87" fmla="*/ 120 h 196"/>
                <a:gd name="T88" fmla="*/ 80 w 81"/>
                <a:gd name="T89" fmla="*/ 117 h 196"/>
                <a:gd name="T90" fmla="*/ 80 w 81"/>
                <a:gd name="T91" fmla="*/ 111 h 196"/>
                <a:gd name="T92" fmla="*/ 80 w 81"/>
                <a:gd name="T93" fmla="*/ 107 h 196"/>
                <a:gd name="T94" fmla="*/ 76 w 81"/>
                <a:gd name="T95" fmla="*/ 102 h 196"/>
                <a:gd name="T96" fmla="*/ 72 w 81"/>
                <a:gd name="T97" fmla="*/ 97 h 196"/>
                <a:gd name="T98" fmla="*/ 66 w 81"/>
                <a:gd name="T99" fmla="*/ 93 h 196"/>
                <a:gd name="T100" fmla="*/ 60 w 81"/>
                <a:gd name="T101" fmla="*/ 93 h 196"/>
                <a:gd name="T102" fmla="*/ 23 w 81"/>
                <a:gd name="T103" fmla="*/ 135 h 196"/>
                <a:gd name="T104" fmla="*/ 17 w 81"/>
                <a:gd name="T105" fmla="*/ 135 h 196"/>
                <a:gd name="T106" fmla="*/ 10 w 81"/>
                <a:gd name="T107" fmla="*/ 136 h 196"/>
                <a:gd name="T108" fmla="*/ 5 w 81"/>
                <a:gd name="T109" fmla="*/ 137 h 196"/>
                <a:gd name="T110" fmla="*/ 0 w 81"/>
                <a:gd name="T111" fmla="*/ 138 h 196"/>
                <a:gd name="T112" fmla="*/ 5 w 81"/>
                <a:gd name="T113" fmla="*/ 142 h 196"/>
                <a:gd name="T114" fmla="*/ 5 w 81"/>
                <a:gd name="T115" fmla="*/ 142 h 196"/>
                <a:gd name="T116" fmla="*/ 10 w 81"/>
                <a:gd name="T117" fmla="*/ 142 h 196"/>
                <a:gd name="T118" fmla="*/ 16 w 81"/>
                <a:gd name="T119" fmla="*/ 141 h 196"/>
                <a:gd name="T120" fmla="*/ 22 w 81"/>
                <a:gd name="T121" fmla="*/ 137 h 196"/>
                <a:gd name="T122" fmla="*/ 23 w 81"/>
                <a:gd name="T123" fmla="*/ 13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1" h="196">
                  <a:moveTo>
                    <a:pt x="55" y="194"/>
                  </a:moveTo>
                  <a:lnTo>
                    <a:pt x="55" y="196"/>
                  </a:lnTo>
                  <a:lnTo>
                    <a:pt x="55" y="194"/>
                  </a:lnTo>
                  <a:lnTo>
                    <a:pt x="55" y="194"/>
                  </a:lnTo>
                  <a:close/>
                  <a:moveTo>
                    <a:pt x="33" y="31"/>
                  </a:moveTo>
                  <a:lnTo>
                    <a:pt x="35" y="30"/>
                  </a:lnTo>
                  <a:lnTo>
                    <a:pt x="39" y="28"/>
                  </a:lnTo>
                  <a:lnTo>
                    <a:pt x="41" y="29"/>
                  </a:lnTo>
                  <a:lnTo>
                    <a:pt x="44" y="29"/>
                  </a:lnTo>
                  <a:lnTo>
                    <a:pt x="48" y="28"/>
                  </a:lnTo>
                  <a:lnTo>
                    <a:pt x="50" y="28"/>
                  </a:lnTo>
                  <a:lnTo>
                    <a:pt x="54" y="26"/>
                  </a:lnTo>
                  <a:lnTo>
                    <a:pt x="56" y="26"/>
                  </a:lnTo>
                  <a:lnTo>
                    <a:pt x="58" y="25"/>
                  </a:lnTo>
                  <a:lnTo>
                    <a:pt x="59" y="23"/>
                  </a:lnTo>
                  <a:lnTo>
                    <a:pt x="57" y="20"/>
                  </a:lnTo>
                  <a:lnTo>
                    <a:pt x="55" y="18"/>
                  </a:lnTo>
                  <a:lnTo>
                    <a:pt x="57" y="16"/>
                  </a:lnTo>
                  <a:lnTo>
                    <a:pt x="60" y="15"/>
                  </a:lnTo>
                  <a:lnTo>
                    <a:pt x="59" y="13"/>
                  </a:lnTo>
                  <a:lnTo>
                    <a:pt x="56" y="12"/>
                  </a:lnTo>
                  <a:lnTo>
                    <a:pt x="54" y="11"/>
                  </a:lnTo>
                  <a:lnTo>
                    <a:pt x="50" y="9"/>
                  </a:lnTo>
                  <a:lnTo>
                    <a:pt x="48" y="11"/>
                  </a:lnTo>
                  <a:lnTo>
                    <a:pt x="44" y="11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0" y="6"/>
                  </a:lnTo>
                  <a:lnTo>
                    <a:pt x="38" y="5"/>
                  </a:lnTo>
                  <a:lnTo>
                    <a:pt x="34" y="5"/>
                  </a:lnTo>
                  <a:lnTo>
                    <a:pt x="32" y="3"/>
                  </a:lnTo>
                  <a:lnTo>
                    <a:pt x="29" y="3"/>
                  </a:lnTo>
                  <a:lnTo>
                    <a:pt x="26" y="1"/>
                  </a:lnTo>
                  <a:lnTo>
                    <a:pt x="23" y="1"/>
                  </a:lnTo>
                  <a:lnTo>
                    <a:pt x="21" y="0"/>
                  </a:lnTo>
                  <a:lnTo>
                    <a:pt x="17" y="0"/>
                  </a:lnTo>
                  <a:lnTo>
                    <a:pt x="15" y="1"/>
                  </a:lnTo>
                  <a:lnTo>
                    <a:pt x="13" y="4"/>
                  </a:lnTo>
                  <a:lnTo>
                    <a:pt x="14" y="6"/>
                  </a:lnTo>
                  <a:lnTo>
                    <a:pt x="17" y="8"/>
                  </a:lnTo>
                  <a:lnTo>
                    <a:pt x="14" y="9"/>
                  </a:lnTo>
                  <a:lnTo>
                    <a:pt x="13" y="12"/>
                  </a:lnTo>
                  <a:lnTo>
                    <a:pt x="15" y="13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2" y="18"/>
                  </a:lnTo>
                  <a:lnTo>
                    <a:pt x="25" y="18"/>
                  </a:lnTo>
                  <a:lnTo>
                    <a:pt x="27" y="20"/>
                  </a:lnTo>
                  <a:lnTo>
                    <a:pt x="31" y="21"/>
                  </a:lnTo>
                  <a:lnTo>
                    <a:pt x="33" y="22"/>
                  </a:lnTo>
                  <a:lnTo>
                    <a:pt x="31" y="23"/>
                  </a:lnTo>
                  <a:lnTo>
                    <a:pt x="27" y="23"/>
                  </a:lnTo>
                  <a:lnTo>
                    <a:pt x="24" y="23"/>
                  </a:lnTo>
                  <a:lnTo>
                    <a:pt x="22" y="24"/>
                  </a:lnTo>
                  <a:lnTo>
                    <a:pt x="24" y="25"/>
                  </a:lnTo>
                  <a:lnTo>
                    <a:pt x="27" y="26"/>
                  </a:lnTo>
                  <a:lnTo>
                    <a:pt x="30" y="28"/>
                  </a:lnTo>
                  <a:lnTo>
                    <a:pt x="30" y="30"/>
                  </a:lnTo>
                  <a:lnTo>
                    <a:pt x="33" y="31"/>
                  </a:lnTo>
                  <a:lnTo>
                    <a:pt x="33" y="31"/>
                  </a:lnTo>
                  <a:close/>
                  <a:moveTo>
                    <a:pt x="60" y="93"/>
                  </a:moveTo>
                  <a:lnTo>
                    <a:pt x="57" y="93"/>
                  </a:lnTo>
                  <a:lnTo>
                    <a:pt x="55" y="94"/>
                  </a:lnTo>
                  <a:lnTo>
                    <a:pt x="52" y="94"/>
                  </a:lnTo>
                  <a:lnTo>
                    <a:pt x="49" y="95"/>
                  </a:lnTo>
                  <a:lnTo>
                    <a:pt x="49" y="99"/>
                  </a:lnTo>
                  <a:lnTo>
                    <a:pt x="47" y="99"/>
                  </a:lnTo>
                  <a:lnTo>
                    <a:pt x="44" y="99"/>
                  </a:lnTo>
                  <a:lnTo>
                    <a:pt x="47" y="100"/>
                  </a:lnTo>
                  <a:lnTo>
                    <a:pt x="44" y="102"/>
                  </a:lnTo>
                  <a:lnTo>
                    <a:pt x="41" y="103"/>
                  </a:lnTo>
                  <a:lnTo>
                    <a:pt x="39" y="106"/>
                  </a:lnTo>
                  <a:lnTo>
                    <a:pt x="37" y="109"/>
                  </a:lnTo>
                  <a:lnTo>
                    <a:pt x="40" y="110"/>
                  </a:lnTo>
                  <a:lnTo>
                    <a:pt x="41" y="112"/>
                  </a:lnTo>
                  <a:lnTo>
                    <a:pt x="43" y="110"/>
                  </a:lnTo>
                  <a:lnTo>
                    <a:pt x="44" y="112"/>
                  </a:lnTo>
                  <a:lnTo>
                    <a:pt x="47" y="115"/>
                  </a:lnTo>
                  <a:lnTo>
                    <a:pt x="49" y="116"/>
                  </a:lnTo>
                  <a:lnTo>
                    <a:pt x="52" y="117"/>
                  </a:lnTo>
                  <a:lnTo>
                    <a:pt x="55" y="116"/>
                  </a:lnTo>
                  <a:lnTo>
                    <a:pt x="58" y="117"/>
                  </a:lnTo>
                  <a:lnTo>
                    <a:pt x="60" y="119"/>
                  </a:lnTo>
                  <a:lnTo>
                    <a:pt x="64" y="120"/>
                  </a:lnTo>
                  <a:lnTo>
                    <a:pt x="66" y="120"/>
                  </a:lnTo>
                  <a:lnTo>
                    <a:pt x="68" y="120"/>
                  </a:lnTo>
                  <a:lnTo>
                    <a:pt x="72" y="120"/>
                  </a:lnTo>
                  <a:lnTo>
                    <a:pt x="75" y="120"/>
                  </a:lnTo>
                  <a:lnTo>
                    <a:pt x="77" y="120"/>
                  </a:lnTo>
                  <a:lnTo>
                    <a:pt x="80" y="117"/>
                  </a:lnTo>
                  <a:lnTo>
                    <a:pt x="81" y="115"/>
                  </a:lnTo>
                  <a:lnTo>
                    <a:pt x="80" y="111"/>
                  </a:lnTo>
                  <a:lnTo>
                    <a:pt x="77" y="109"/>
                  </a:lnTo>
                  <a:lnTo>
                    <a:pt x="80" y="107"/>
                  </a:lnTo>
                  <a:lnTo>
                    <a:pt x="80" y="103"/>
                  </a:lnTo>
                  <a:lnTo>
                    <a:pt x="76" y="102"/>
                  </a:lnTo>
                  <a:lnTo>
                    <a:pt x="74" y="99"/>
                  </a:lnTo>
                  <a:lnTo>
                    <a:pt x="72" y="97"/>
                  </a:lnTo>
                  <a:lnTo>
                    <a:pt x="68" y="94"/>
                  </a:lnTo>
                  <a:lnTo>
                    <a:pt x="66" y="93"/>
                  </a:lnTo>
                  <a:lnTo>
                    <a:pt x="63" y="93"/>
                  </a:lnTo>
                  <a:lnTo>
                    <a:pt x="60" y="93"/>
                  </a:lnTo>
                  <a:lnTo>
                    <a:pt x="60" y="93"/>
                  </a:lnTo>
                  <a:close/>
                  <a:moveTo>
                    <a:pt x="23" y="135"/>
                  </a:moveTo>
                  <a:lnTo>
                    <a:pt x="20" y="134"/>
                  </a:lnTo>
                  <a:lnTo>
                    <a:pt x="17" y="135"/>
                  </a:lnTo>
                  <a:lnTo>
                    <a:pt x="14" y="135"/>
                  </a:lnTo>
                  <a:lnTo>
                    <a:pt x="10" y="136"/>
                  </a:lnTo>
                  <a:lnTo>
                    <a:pt x="8" y="136"/>
                  </a:lnTo>
                  <a:lnTo>
                    <a:pt x="5" y="137"/>
                  </a:lnTo>
                  <a:lnTo>
                    <a:pt x="3" y="138"/>
                  </a:lnTo>
                  <a:lnTo>
                    <a:pt x="0" y="138"/>
                  </a:lnTo>
                  <a:lnTo>
                    <a:pt x="3" y="142"/>
                  </a:lnTo>
                  <a:lnTo>
                    <a:pt x="5" y="142"/>
                  </a:lnTo>
                  <a:lnTo>
                    <a:pt x="3" y="142"/>
                  </a:lnTo>
                  <a:lnTo>
                    <a:pt x="5" y="142"/>
                  </a:lnTo>
                  <a:lnTo>
                    <a:pt x="8" y="142"/>
                  </a:lnTo>
                  <a:lnTo>
                    <a:pt x="10" y="142"/>
                  </a:lnTo>
                  <a:lnTo>
                    <a:pt x="14" y="141"/>
                  </a:lnTo>
                  <a:lnTo>
                    <a:pt x="16" y="141"/>
                  </a:lnTo>
                  <a:lnTo>
                    <a:pt x="18" y="138"/>
                  </a:lnTo>
                  <a:lnTo>
                    <a:pt x="22" y="137"/>
                  </a:lnTo>
                  <a:lnTo>
                    <a:pt x="23" y="135"/>
                  </a:lnTo>
                  <a:lnTo>
                    <a:pt x="23" y="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7" name="Freeform 217">
              <a:extLst>
                <a:ext uri="{FF2B5EF4-FFF2-40B4-BE49-F238E27FC236}">
                  <a16:creationId xmlns:a16="http://schemas.microsoft.com/office/drawing/2014/main" id="{F9EAAFFA-9246-4AC8-BF31-01A1F48A5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088" y="2274888"/>
              <a:ext cx="203200" cy="104775"/>
            </a:xfrm>
            <a:custGeom>
              <a:avLst/>
              <a:gdLst>
                <a:gd name="T0" fmla="*/ 27 w 128"/>
                <a:gd name="T1" fmla="*/ 66 h 66"/>
                <a:gd name="T2" fmla="*/ 25 w 128"/>
                <a:gd name="T3" fmla="*/ 65 h 66"/>
                <a:gd name="T4" fmla="*/ 22 w 128"/>
                <a:gd name="T5" fmla="*/ 66 h 66"/>
                <a:gd name="T6" fmla="*/ 25 w 128"/>
                <a:gd name="T7" fmla="*/ 65 h 66"/>
                <a:gd name="T8" fmla="*/ 27 w 128"/>
                <a:gd name="T9" fmla="*/ 64 h 66"/>
                <a:gd name="T10" fmla="*/ 31 w 128"/>
                <a:gd name="T11" fmla="*/ 64 h 66"/>
                <a:gd name="T12" fmla="*/ 27 w 128"/>
                <a:gd name="T13" fmla="*/ 66 h 66"/>
                <a:gd name="T14" fmla="*/ 27 w 128"/>
                <a:gd name="T15" fmla="*/ 66 h 66"/>
                <a:gd name="T16" fmla="*/ 11 w 128"/>
                <a:gd name="T17" fmla="*/ 0 h 66"/>
                <a:gd name="T18" fmla="*/ 6 w 128"/>
                <a:gd name="T19" fmla="*/ 0 h 66"/>
                <a:gd name="T20" fmla="*/ 2 w 128"/>
                <a:gd name="T21" fmla="*/ 0 h 66"/>
                <a:gd name="T22" fmla="*/ 0 w 128"/>
                <a:gd name="T23" fmla="*/ 0 h 66"/>
                <a:gd name="T24" fmla="*/ 1 w 128"/>
                <a:gd name="T25" fmla="*/ 3 h 66"/>
                <a:gd name="T26" fmla="*/ 4 w 128"/>
                <a:gd name="T27" fmla="*/ 4 h 66"/>
                <a:gd name="T28" fmla="*/ 6 w 128"/>
                <a:gd name="T29" fmla="*/ 5 h 66"/>
                <a:gd name="T30" fmla="*/ 9 w 128"/>
                <a:gd name="T31" fmla="*/ 5 h 66"/>
                <a:gd name="T32" fmla="*/ 11 w 128"/>
                <a:gd name="T33" fmla="*/ 5 h 66"/>
                <a:gd name="T34" fmla="*/ 15 w 128"/>
                <a:gd name="T35" fmla="*/ 4 h 66"/>
                <a:gd name="T36" fmla="*/ 17 w 128"/>
                <a:gd name="T37" fmla="*/ 4 h 66"/>
                <a:gd name="T38" fmla="*/ 21 w 128"/>
                <a:gd name="T39" fmla="*/ 4 h 66"/>
                <a:gd name="T40" fmla="*/ 18 w 128"/>
                <a:gd name="T41" fmla="*/ 1 h 66"/>
                <a:gd name="T42" fmla="*/ 16 w 128"/>
                <a:gd name="T43" fmla="*/ 0 h 66"/>
                <a:gd name="T44" fmla="*/ 13 w 128"/>
                <a:gd name="T45" fmla="*/ 0 h 66"/>
                <a:gd name="T46" fmla="*/ 11 w 128"/>
                <a:gd name="T47" fmla="*/ 0 h 66"/>
                <a:gd name="T48" fmla="*/ 11 w 128"/>
                <a:gd name="T49" fmla="*/ 0 h 66"/>
                <a:gd name="T50" fmla="*/ 128 w 128"/>
                <a:gd name="T51" fmla="*/ 4 h 66"/>
                <a:gd name="T52" fmla="*/ 125 w 128"/>
                <a:gd name="T53" fmla="*/ 6 h 66"/>
                <a:gd name="T54" fmla="*/ 124 w 128"/>
                <a:gd name="T55" fmla="*/ 10 h 66"/>
                <a:gd name="T56" fmla="*/ 122 w 128"/>
                <a:gd name="T57" fmla="*/ 12 h 66"/>
                <a:gd name="T58" fmla="*/ 119 w 128"/>
                <a:gd name="T59" fmla="*/ 12 h 66"/>
                <a:gd name="T60" fmla="*/ 115 w 128"/>
                <a:gd name="T61" fmla="*/ 12 h 66"/>
                <a:gd name="T62" fmla="*/ 111 w 128"/>
                <a:gd name="T63" fmla="*/ 11 h 66"/>
                <a:gd name="T64" fmla="*/ 103 w 128"/>
                <a:gd name="T65" fmla="*/ 11 h 66"/>
                <a:gd name="T66" fmla="*/ 100 w 128"/>
                <a:gd name="T67" fmla="*/ 12 h 66"/>
                <a:gd name="T68" fmla="*/ 98 w 128"/>
                <a:gd name="T69" fmla="*/ 12 h 66"/>
                <a:gd name="T70" fmla="*/ 92 w 128"/>
                <a:gd name="T71" fmla="*/ 12 h 66"/>
                <a:gd name="T72" fmla="*/ 88 w 128"/>
                <a:gd name="T73" fmla="*/ 11 h 66"/>
                <a:gd name="T74" fmla="*/ 86 w 128"/>
                <a:gd name="T75" fmla="*/ 9 h 66"/>
                <a:gd name="T76" fmla="*/ 85 w 128"/>
                <a:gd name="T77" fmla="*/ 6 h 66"/>
                <a:gd name="T78" fmla="*/ 87 w 128"/>
                <a:gd name="T79" fmla="*/ 4 h 66"/>
                <a:gd name="T80" fmla="*/ 91 w 128"/>
                <a:gd name="T81" fmla="*/ 3 h 66"/>
                <a:gd name="T82" fmla="*/ 93 w 128"/>
                <a:gd name="T83" fmla="*/ 3 h 66"/>
                <a:gd name="T84" fmla="*/ 96 w 128"/>
                <a:gd name="T85" fmla="*/ 2 h 66"/>
                <a:gd name="T86" fmla="*/ 99 w 128"/>
                <a:gd name="T87" fmla="*/ 3 h 66"/>
                <a:gd name="T88" fmla="*/ 102 w 128"/>
                <a:gd name="T89" fmla="*/ 3 h 66"/>
                <a:gd name="T90" fmla="*/ 105 w 128"/>
                <a:gd name="T91" fmla="*/ 3 h 66"/>
                <a:gd name="T92" fmla="*/ 108 w 128"/>
                <a:gd name="T93" fmla="*/ 2 h 66"/>
                <a:gd name="T94" fmla="*/ 110 w 128"/>
                <a:gd name="T95" fmla="*/ 3 h 66"/>
                <a:gd name="T96" fmla="*/ 113 w 128"/>
                <a:gd name="T97" fmla="*/ 3 h 66"/>
                <a:gd name="T98" fmla="*/ 116 w 128"/>
                <a:gd name="T99" fmla="*/ 3 h 66"/>
                <a:gd name="T100" fmla="*/ 119 w 128"/>
                <a:gd name="T101" fmla="*/ 4 h 66"/>
                <a:gd name="T102" fmla="*/ 122 w 128"/>
                <a:gd name="T103" fmla="*/ 3 h 66"/>
                <a:gd name="T104" fmla="*/ 125 w 128"/>
                <a:gd name="T105" fmla="*/ 3 h 66"/>
                <a:gd name="T106" fmla="*/ 127 w 128"/>
                <a:gd name="T107" fmla="*/ 4 h 66"/>
                <a:gd name="T108" fmla="*/ 128 w 128"/>
                <a:gd name="T109" fmla="*/ 4 h 66"/>
                <a:gd name="T110" fmla="*/ 128 w 128"/>
                <a:gd name="T111" fmla="*/ 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" h="66">
                  <a:moveTo>
                    <a:pt x="27" y="66"/>
                  </a:moveTo>
                  <a:lnTo>
                    <a:pt x="25" y="65"/>
                  </a:lnTo>
                  <a:lnTo>
                    <a:pt x="22" y="66"/>
                  </a:lnTo>
                  <a:lnTo>
                    <a:pt x="25" y="65"/>
                  </a:lnTo>
                  <a:lnTo>
                    <a:pt x="27" y="64"/>
                  </a:lnTo>
                  <a:lnTo>
                    <a:pt x="31" y="64"/>
                  </a:lnTo>
                  <a:lnTo>
                    <a:pt x="27" y="66"/>
                  </a:lnTo>
                  <a:lnTo>
                    <a:pt x="27" y="66"/>
                  </a:lnTo>
                  <a:close/>
                  <a:moveTo>
                    <a:pt x="11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1" y="3"/>
                  </a:lnTo>
                  <a:lnTo>
                    <a:pt x="4" y="4"/>
                  </a:lnTo>
                  <a:lnTo>
                    <a:pt x="6" y="5"/>
                  </a:lnTo>
                  <a:lnTo>
                    <a:pt x="9" y="5"/>
                  </a:lnTo>
                  <a:lnTo>
                    <a:pt x="11" y="5"/>
                  </a:lnTo>
                  <a:lnTo>
                    <a:pt x="15" y="4"/>
                  </a:lnTo>
                  <a:lnTo>
                    <a:pt x="17" y="4"/>
                  </a:lnTo>
                  <a:lnTo>
                    <a:pt x="21" y="4"/>
                  </a:lnTo>
                  <a:lnTo>
                    <a:pt x="18" y="1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1" y="0"/>
                  </a:lnTo>
                  <a:close/>
                  <a:moveTo>
                    <a:pt x="128" y="4"/>
                  </a:moveTo>
                  <a:lnTo>
                    <a:pt x="125" y="6"/>
                  </a:lnTo>
                  <a:lnTo>
                    <a:pt x="124" y="10"/>
                  </a:lnTo>
                  <a:lnTo>
                    <a:pt x="122" y="12"/>
                  </a:lnTo>
                  <a:lnTo>
                    <a:pt x="119" y="12"/>
                  </a:lnTo>
                  <a:lnTo>
                    <a:pt x="115" y="12"/>
                  </a:lnTo>
                  <a:lnTo>
                    <a:pt x="111" y="11"/>
                  </a:lnTo>
                  <a:lnTo>
                    <a:pt x="103" y="11"/>
                  </a:lnTo>
                  <a:lnTo>
                    <a:pt x="100" y="12"/>
                  </a:lnTo>
                  <a:lnTo>
                    <a:pt x="98" y="12"/>
                  </a:lnTo>
                  <a:lnTo>
                    <a:pt x="92" y="12"/>
                  </a:lnTo>
                  <a:lnTo>
                    <a:pt x="88" y="11"/>
                  </a:lnTo>
                  <a:lnTo>
                    <a:pt x="86" y="9"/>
                  </a:lnTo>
                  <a:lnTo>
                    <a:pt x="85" y="6"/>
                  </a:lnTo>
                  <a:lnTo>
                    <a:pt x="87" y="4"/>
                  </a:lnTo>
                  <a:lnTo>
                    <a:pt x="91" y="3"/>
                  </a:lnTo>
                  <a:lnTo>
                    <a:pt x="93" y="3"/>
                  </a:lnTo>
                  <a:lnTo>
                    <a:pt x="96" y="2"/>
                  </a:lnTo>
                  <a:lnTo>
                    <a:pt x="99" y="3"/>
                  </a:lnTo>
                  <a:lnTo>
                    <a:pt x="102" y="3"/>
                  </a:lnTo>
                  <a:lnTo>
                    <a:pt x="105" y="3"/>
                  </a:lnTo>
                  <a:lnTo>
                    <a:pt x="108" y="2"/>
                  </a:lnTo>
                  <a:lnTo>
                    <a:pt x="110" y="3"/>
                  </a:lnTo>
                  <a:lnTo>
                    <a:pt x="113" y="3"/>
                  </a:lnTo>
                  <a:lnTo>
                    <a:pt x="116" y="3"/>
                  </a:lnTo>
                  <a:lnTo>
                    <a:pt x="119" y="4"/>
                  </a:lnTo>
                  <a:lnTo>
                    <a:pt x="122" y="3"/>
                  </a:lnTo>
                  <a:lnTo>
                    <a:pt x="125" y="3"/>
                  </a:lnTo>
                  <a:lnTo>
                    <a:pt x="127" y="4"/>
                  </a:lnTo>
                  <a:lnTo>
                    <a:pt x="128" y="4"/>
                  </a:lnTo>
                  <a:lnTo>
                    <a:pt x="128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8" name="Freeform 218">
              <a:extLst>
                <a:ext uri="{FF2B5EF4-FFF2-40B4-BE49-F238E27FC236}">
                  <a16:creationId xmlns:a16="http://schemas.microsoft.com/office/drawing/2014/main" id="{695A1E9C-3242-419D-ADB1-86E45A8AAB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0850" y="1982788"/>
              <a:ext cx="1325562" cy="979488"/>
            </a:xfrm>
            <a:custGeom>
              <a:avLst/>
              <a:gdLst>
                <a:gd name="T0" fmla="*/ 711 w 835"/>
                <a:gd name="T1" fmla="*/ 101 h 617"/>
                <a:gd name="T2" fmla="*/ 827 w 835"/>
                <a:gd name="T3" fmla="*/ 64 h 617"/>
                <a:gd name="T4" fmla="*/ 721 w 835"/>
                <a:gd name="T5" fmla="*/ 67 h 617"/>
                <a:gd name="T6" fmla="*/ 682 w 835"/>
                <a:gd name="T7" fmla="*/ 53 h 617"/>
                <a:gd name="T8" fmla="*/ 597 w 835"/>
                <a:gd name="T9" fmla="*/ 57 h 617"/>
                <a:gd name="T10" fmla="*/ 612 w 835"/>
                <a:gd name="T11" fmla="*/ 49 h 617"/>
                <a:gd name="T12" fmla="*/ 648 w 835"/>
                <a:gd name="T13" fmla="*/ 30 h 617"/>
                <a:gd name="T14" fmla="*/ 537 w 835"/>
                <a:gd name="T15" fmla="*/ 26 h 617"/>
                <a:gd name="T16" fmla="*/ 637 w 835"/>
                <a:gd name="T17" fmla="*/ 15 h 617"/>
                <a:gd name="T18" fmla="*/ 527 w 835"/>
                <a:gd name="T19" fmla="*/ 2 h 617"/>
                <a:gd name="T20" fmla="*/ 483 w 835"/>
                <a:gd name="T21" fmla="*/ 21 h 617"/>
                <a:gd name="T22" fmla="*/ 380 w 835"/>
                <a:gd name="T23" fmla="*/ 17 h 617"/>
                <a:gd name="T24" fmla="*/ 423 w 835"/>
                <a:gd name="T25" fmla="*/ 26 h 617"/>
                <a:gd name="T26" fmla="*/ 392 w 835"/>
                <a:gd name="T27" fmla="*/ 39 h 617"/>
                <a:gd name="T28" fmla="*/ 344 w 835"/>
                <a:gd name="T29" fmla="*/ 45 h 617"/>
                <a:gd name="T30" fmla="*/ 285 w 835"/>
                <a:gd name="T31" fmla="*/ 56 h 617"/>
                <a:gd name="T32" fmla="*/ 199 w 835"/>
                <a:gd name="T33" fmla="*/ 51 h 617"/>
                <a:gd name="T34" fmla="*/ 166 w 835"/>
                <a:gd name="T35" fmla="*/ 83 h 617"/>
                <a:gd name="T36" fmla="*/ 84 w 835"/>
                <a:gd name="T37" fmla="*/ 118 h 617"/>
                <a:gd name="T38" fmla="*/ 49 w 835"/>
                <a:gd name="T39" fmla="*/ 156 h 617"/>
                <a:gd name="T40" fmla="*/ 39 w 835"/>
                <a:gd name="T41" fmla="*/ 193 h 617"/>
                <a:gd name="T42" fmla="*/ 89 w 835"/>
                <a:gd name="T43" fmla="*/ 205 h 617"/>
                <a:gd name="T44" fmla="*/ 65 w 835"/>
                <a:gd name="T45" fmla="*/ 219 h 617"/>
                <a:gd name="T46" fmla="*/ 122 w 835"/>
                <a:gd name="T47" fmla="*/ 230 h 617"/>
                <a:gd name="T48" fmla="*/ 221 w 835"/>
                <a:gd name="T49" fmla="*/ 270 h 617"/>
                <a:gd name="T50" fmla="*/ 252 w 835"/>
                <a:gd name="T51" fmla="*/ 321 h 617"/>
                <a:gd name="T52" fmla="*/ 262 w 835"/>
                <a:gd name="T53" fmla="*/ 354 h 617"/>
                <a:gd name="T54" fmla="*/ 282 w 835"/>
                <a:gd name="T55" fmla="*/ 364 h 617"/>
                <a:gd name="T56" fmla="*/ 277 w 835"/>
                <a:gd name="T57" fmla="*/ 376 h 617"/>
                <a:gd name="T58" fmla="*/ 307 w 835"/>
                <a:gd name="T59" fmla="*/ 407 h 617"/>
                <a:gd name="T60" fmla="*/ 280 w 835"/>
                <a:gd name="T61" fmla="*/ 436 h 617"/>
                <a:gd name="T62" fmla="*/ 286 w 835"/>
                <a:gd name="T63" fmla="*/ 444 h 617"/>
                <a:gd name="T64" fmla="*/ 311 w 835"/>
                <a:gd name="T65" fmla="*/ 449 h 617"/>
                <a:gd name="T66" fmla="*/ 311 w 835"/>
                <a:gd name="T67" fmla="*/ 461 h 617"/>
                <a:gd name="T68" fmla="*/ 277 w 835"/>
                <a:gd name="T69" fmla="*/ 476 h 617"/>
                <a:gd name="T70" fmla="*/ 288 w 835"/>
                <a:gd name="T71" fmla="*/ 477 h 617"/>
                <a:gd name="T72" fmla="*/ 298 w 835"/>
                <a:gd name="T73" fmla="*/ 494 h 617"/>
                <a:gd name="T74" fmla="*/ 315 w 835"/>
                <a:gd name="T75" fmla="*/ 514 h 617"/>
                <a:gd name="T76" fmla="*/ 297 w 835"/>
                <a:gd name="T77" fmla="*/ 537 h 617"/>
                <a:gd name="T78" fmla="*/ 318 w 835"/>
                <a:gd name="T79" fmla="*/ 569 h 617"/>
                <a:gd name="T80" fmla="*/ 340 w 835"/>
                <a:gd name="T81" fmla="*/ 602 h 617"/>
                <a:gd name="T82" fmla="*/ 380 w 835"/>
                <a:gd name="T83" fmla="*/ 607 h 617"/>
                <a:gd name="T84" fmla="*/ 413 w 835"/>
                <a:gd name="T85" fmla="*/ 600 h 617"/>
                <a:gd name="T86" fmla="*/ 413 w 835"/>
                <a:gd name="T87" fmla="*/ 562 h 617"/>
                <a:gd name="T88" fmla="*/ 442 w 835"/>
                <a:gd name="T89" fmla="*/ 530 h 617"/>
                <a:gd name="T90" fmla="*/ 483 w 835"/>
                <a:gd name="T91" fmla="*/ 480 h 617"/>
                <a:gd name="T92" fmla="*/ 551 w 835"/>
                <a:gd name="T93" fmla="*/ 449 h 617"/>
                <a:gd name="T94" fmla="*/ 631 w 835"/>
                <a:gd name="T95" fmla="*/ 427 h 617"/>
                <a:gd name="T96" fmla="*/ 668 w 835"/>
                <a:gd name="T97" fmla="*/ 390 h 617"/>
                <a:gd name="T98" fmla="*/ 611 w 835"/>
                <a:gd name="T99" fmla="*/ 382 h 617"/>
                <a:gd name="T100" fmla="*/ 617 w 835"/>
                <a:gd name="T101" fmla="*/ 355 h 617"/>
                <a:gd name="T102" fmla="*/ 694 w 835"/>
                <a:gd name="T103" fmla="*/ 381 h 617"/>
                <a:gd name="T104" fmla="*/ 668 w 835"/>
                <a:gd name="T105" fmla="*/ 337 h 617"/>
                <a:gd name="T106" fmla="*/ 653 w 835"/>
                <a:gd name="T107" fmla="*/ 316 h 617"/>
                <a:gd name="T108" fmla="*/ 668 w 835"/>
                <a:gd name="T109" fmla="*/ 299 h 617"/>
                <a:gd name="T110" fmla="*/ 700 w 835"/>
                <a:gd name="T111" fmla="*/ 295 h 617"/>
                <a:gd name="T112" fmla="*/ 717 w 835"/>
                <a:gd name="T113" fmla="*/ 267 h 617"/>
                <a:gd name="T114" fmla="*/ 730 w 835"/>
                <a:gd name="T115" fmla="*/ 262 h 617"/>
                <a:gd name="T116" fmla="*/ 704 w 835"/>
                <a:gd name="T117" fmla="*/ 228 h 617"/>
                <a:gd name="T118" fmla="*/ 748 w 835"/>
                <a:gd name="T119" fmla="*/ 214 h 617"/>
                <a:gd name="T120" fmla="*/ 724 w 835"/>
                <a:gd name="T121" fmla="*/ 184 h 617"/>
                <a:gd name="T122" fmla="*/ 732 w 835"/>
                <a:gd name="T123" fmla="*/ 141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35" h="617">
                  <a:moveTo>
                    <a:pt x="721" y="119"/>
                  </a:moveTo>
                  <a:lnTo>
                    <a:pt x="719" y="118"/>
                  </a:lnTo>
                  <a:lnTo>
                    <a:pt x="720" y="116"/>
                  </a:lnTo>
                  <a:lnTo>
                    <a:pt x="723" y="115"/>
                  </a:lnTo>
                  <a:lnTo>
                    <a:pt x="726" y="113"/>
                  </a:lnTo>
                  <a:lnTo>
                    <a:pt x="729" y="111"/>
                  </a:lnTo>
                  <a:lnTo>
                    <a:pt x="731" y="110"/>
                  </a:lnTo>
                  <a:lnTo>
                    <a:pt x="734" y="110"/>
                  </a:lnTo>
                  <a:lnTo>
                    <a:pt x="738" y="111"/>
                  </a:lnTo>
                  <a:lnTo>
                    <a:pt x="740" y="111"/>
                  </a:lnTo>
                  <a:lnTo>
                    <a:pt x="742" y="112"/>
                  </a:lnTo>
                  <a:lnTo>
                    <a:pt x="746" y="112"/>
                  </a:lnTo>
                  <a:lnTo>
                    <a:pt x="749" y="112"/>
                  </a:lnTo>
                  <a:lnTo>
                    <a:pt x="751" y="112"/>
                  </a:lnTo>
                  <a:lnTo>
                    <a:pt x="755" y="112"/>
                  </a:lnTo>
                  <a:lnTo>
                    <a:pt x="757" y="112"/>
                  </a:lnTo>
                  <a:lnTo>
                    <a:pt x="760" y="112"/>
                  </a:lnTo>
                  <a:lnTo>
                    <a:pt x="766" y="112"/>
                  </a:lnTo>
                  <a:lnTo>
                    <a:pt x="768" y="111"/>
                  </a:lnTo>
                  <a:lnTo>
                    <a:pt x="772" y="110"/>
                  </a:lnTo>
                  <a:lnTo>
                    <a:pt x="774" y="109"/>
                  </a:lnTo>
                  <a:lnTo>
                    <a:pt x="773" y="107"/>
                  </a:lnTo>
                  <a:lnTo>
                    <a:pt x="775" y="108"/>
                  </a:lnTo>
                  <a:lnTo>
                    <a:pt x="779" y="106"/>
                  </a:lnTo>
                  <a:lnTo>
                    <a:pt x="780" y="102"/>
                  </a:lnTo>
                  <a:lnTo>
                    <a:pt x="777" y="102"/>
                  </a:lnTo>
                  <a:lnTo>
                    <a:pt x="772" y="101"/>
                  </a:lnTo>
                  <a:lnTo>
                    <a:pt x="768" y="101"/>
                  </a:lnTo>
                  <a:lnTo>
                    <a:pt x="765" y="100"/>
                  </a:lnTo>
                  <a:lnTo>
                    <a:pt x="763" y="100"/>
                  </a:lnTo>
                  <a:lnTo>
                    <a:pt x="759" y="101"/>
                  </a:lnTo>
                  <a:lnTo>
                    <a:pt x="757" y="101"/>
                  </a:lnTo>
                  <a:lnTo>
                    <a:pt x="754" y="102"/>
                  </a:lnTo>
                  <a:lnTo>
                    <a:pt x="751" y="102"/>
                  </a:lnTo>
                  <a:lnTo>
                    <a:pt x="748" y="102"/>
                  </a:lnTo>
                  <a:lnTo>
                    <a:pt x="746" y="101"/>
                  </a:lnTo>
                  <a:lnTo>
                    <a:pt x="742" y="101"/>
                  </a:lnTo>
                  <a:lnTo>
                    <a:pt x="739" y="101"/>
                  </a:lnTo>
                  <a:lnTo>
                    <a:pt x="737" y="101"/>
                  </a:lnTo>
                  <a:lnTo>
                    <a:pt x="733" y="100"/>
                  </a:lnTo>
                  <a:lnTo>
                    <a:pt x="730" y="99"/>
                  </a:lnTo>
                  <a:lnTo>
                    <a:pt x="728" y="99"/>
                  </a:lnTo>
                  <a:lnTo>
                    <a:pt x="725" y="100"/>
                  </a:lnTo>
                  <a:lnTo>
                    <a:pt x="722" y="101"/>
                  </a:lnTo>
                  <a:lnTo>
                    <a:pt x="720" y="102"/>
                  </a:lnTo>
                  <a:lnTo>
                    <a:pt x="716" y="103"/>
                  </a:lnTo>
                  <a:lnTo>
                    <a:pt x="713" y="102"/>
                  </a:lnTo>
                  <a:lnTo>
                    <a:pt x="711" y="101"/>
                  </a:lnTo>
                  <a:lnTo>
                    <a:pt x="713" y="101"/>
                  </a:lnTo>
                  <a:lnTo>
                    <a:pt x="716" y="101"/>
                  </a:lnTo>
                  <a:lnTo>
                    <a:pt x="720" y="101"/>
                  </a:lnTo>
                  <a:lnTo>
                    <a:pt x="722" y="100"/>
                  </a:lnTo>
                  <a:lnTo>
                    <a:pt x="724" y="98"/>
                  </a:lnTo>
                  <a:lnTo>
                    <a:pt x="728" y="98"/>
                  </a:lnTo>
                  <a:lnTo>
                    <a:pt x="733" y="99"/>
                  </a:lnTo>
                  <a:lnTo>
                    <a:pt x="737" y="99"/>
                  </a:lnTo>
                  <a:lnTo>
                    <a:pt x="739" y="99"/>
                  </a:lnTo>
                  <a:lnTo>
                    <a:pt x="742" y="100"/>
                  </a:lnTo>
                  <a:lnTo>
                    <a:pt x="746" y="100"/>
                  </a:lnTo>
                  <a:lnTo>
                    <a:pt x="748" y="99"/>
                  </a:lnTo>
                  <a:lnTo>
                    <a:pt x="751" y="98"/>
                  </a:lnTo>
                  <a:lnTo>
                    <a:pt x="754" y="96"/>
                  </a:lnTo>
                  <a:lnTo>
                    <a:pt x="755" y="94"/>
                  </a:lnTo>
                  <a:lnTo>
                    <a:pt x="757" y="94"/>
                  </a:lnTo>
                  <a:lnTo>
                    <a:pt x="760" y="96"/>
                  </a:lnTo>
                  <a:lnTo>
                    <a:pt x="763" y="96"/>
                  </a:lnTo>
                  <a:lnTo>
                    <a:pt x="766" y="95"/>
                  </a:lnTo>
                  <a:lnTo>
                    <a:pt x="768" y="96"/>
                  </a:lnTo>
                  <a:lnTo>
                    <a:pt x="772" y="96"/>
                  </a:lnTo>
                  <a:lnTo>
                    <a:pt x="774" y="96"/>
                  </a:lnTo>
                  <a:lnTo>
                    <a:pt x="777" y="96"/>
                  </a:lnTo>
                  <a:lnTo>
                    <a:pt x="780" y="96"/>
                  </a:lnTo>
                  <a:lnTo>
                    <a:pt x="783" y="96"/>
                  </a:lnTo>
                  <a:lnTo>
                    <a:pt x="785" y="93"/>
                  </a:lnTo>
                  <a:lnTo>
                    <a:pt x="788" y="92"/>
                  </a:lnTo>
                  <a:lnTo>
                    <a:pt x="797" y="92"/>
                  </a:lnTo>
                  <a:lnTo>
                    <a:pt x="800" y="91"/>
                  </a:lnTo>
                  <a:lnTo>
                    <a:pt x="800" y="89"/>
                  </a:lnTo>
                  <a:lnTo>
                    <a:pt x="797" y="86"/>
                  </a:lnTo>
                  <a:lnTo>
                    <a:pt x="797" y="84"/>
                  </a:lnTo>
                  <a:lnTo>
                    <a:pt x="800" y="83"/>
                  </a:lnTo>
                  <a:lnTo>
                    <a:pt x="808" y="83"/>
                  </a:lnTo>
                  <a:lnTo>
                    <a:pt x="811" y="83"/>
                  </a:lnTo>
                  <a:lnTo>
                    <a:pt x="815" y="81"/>
                  </a:lnTo>
                  <a:lnTo>
                    <a:pt x="817" y="78"/>
                  </a:lnTo>
                  <a:lnTo>
                    <a:pt x="819" y="78"/>
                  </a:lnTo>
                  <a:lnTo>
                    <a:pt x="823" y="77"/>
                  </a:lnTo>
                  <a:lnTo>
                    <a:pt x="825" y="75"/>
                  </a:lnTo>
                  <a:lnTo>
                    <a:pt x="827" y="74"/>
                  </a:lnTo>
                  <a:lnTo>
                    <a:pt x="831" y="73"/>
                  </a:lnTo>
                  <a:lnTo>
                    <a:pt x="833" y="72"/>
                  </a:lnTo>
                  <a:lnTo>
                    <a:pt x="835" y="70"/>
                  </a:lnTo>
                  <a:lnTo>
                    <a:pt x="835" y="67"/>
                  </a:lnTo>
                  <a:lnTo>
                    <a:pt x="833" y="67"/>
                  </a:lnTo>
                  <a:lnTo>
                    <a:pt x="830" y="65"/>
                  </a:lnTo>
                  <a:lnTo>
                    <a:pt x="827" y="64"/>
                  </a:lnTo>
                  <a:lnTo>
                    <a:pt x="825" y="62"/>
                  </a:lnTo>
                  <a:lnTo>
                    <a:pt x="822" y="61"/>
                  </a:lnTo>
                  <a:lnTo>
                    <a:pt x="819" y="61"/>
                  </a:lnTo>
                  <a:lnTo>
                    <a:pt x="816" y="61"/>
                  </a:lnTo>
                  <a:lnTo>
                    <a:pt x="814" y="61"/>
                  </a:lnTo>
                  <a:lnTo>
                    <a:pt x="810" y="60"/>
                  </a:lnTo>
                  <a:lnTo>
                    <a:pt x="808" y="59"/>
                  </a:lnTo>
                  <a:lnTo>
                    <a:pt x="805" y="59"/>
                  </a:lnTo>
                  <a:lnTo>
                    <a:pt x="801" y="58"/>
                  </a:lnTo>
                  <a:lnTo>
                    <a:pt x="799" y="58"/>
                  </a:lnTo>
                  <a:lnTo>
                    <a:pt x="796" y="57"/>
                  </a:lnTo>
                  <a:lnTo>
                    <a:pt x="793" y="58"/>
                  </a:lnTo>
                  <a:lnTo>
                    <a:pt x="790" y="58"/>
                  </a:lnTo>
                  <a:lnTo>
                    <a:pt x="786" y="58"/>
                  </a:lnTo>
                  <a:lnTo>
                    <a:pt x="784" y="58"/>
                  </a:lnTo>
                  <a:lnTo>
                    <a:pt x="782" y="57"/>
                  </a:lnTo>
                  <a:lnTo>
                    <a:pt x="779" y="58"/>
                  </a:lnTo>
                  <a:lnTo>
                    <a:pt x="776" y="58"/>
                  </a:lnTo>
                  <a:lnTo>
                    <a:pt x="773" y="57"/>
                  </a:lnTo>
                  <a:lnTo>
                    <a:pt x="770" y="60"/>
                  </a:lnTo>
                  <a:lnTo>
                    <a:pt x="767" y="59"/>
                  </a:lnTo>
                  <a:lnTo>
                    <a:pt x="765" y="60"/>
                  </a:lnTo>
                  <a:lnTo>
                    <a:pt x="762" y="60"/>
                  </a:lnTo>
                  <a:lnTo>
                    <a:pt x="763" y="62"/>
                  </a:lnTo>
                  <a:lnTo>
                    <a:pt x="764" y="65"/>
                  </a:lnTo>
                  <a:lnTo>
                    <a:pt x="760" y="64"/>
                  </a:lnTo>
                  <a:lnTo>
                    <a:pt x="757" y="65"/>
                  </a:lnTo>
                  <a:lnTo>
                    <a:pt x="757" y="67"/>
                  </a:lnTo>
                  <a:lnTo>
                    <a:pt x="759" y="68"/>
                  </a:lnTo>
                  <a:lnTo>
                    <a:pt x="757" y="69"/>
                  </a:lnTo>
                  <a:lnTo>
                    <a:pt x="754" y="70"/>
                  </a:lnTo>
                  <a:lnTo>
                    <a:pt x="755" y="73"/>
                  </a:lnTo>
                  <a:lnTo>
                    <a:pt x="753" y="73"/>
                  </a:lnTo>
                  <a:lnTo>
                    <a:pt x="750" y="73"/>
                  </a:lnTo>
                  <a:lnTo>
                    <a:pt x="747" y="72"/>
                  </a:lnTo>
                  <a:lnTo>
                    <a:pt x="743" y="72"/>
                  </a:lnTo>
                  <a:lnTo>
                    <a:pt x="741" y="70"/>
                  </a:lnTo>
                  <a:lnTo>
                    <a:pt x="739" y="69"/>
                  </a:lnTo>
                  <a:lnTo>
                    <a:pt x="736" y="69"/>
                  </a:lnTo>
                  <a:lnTo>
                    <a:pt x="732" y="70"/>
                  </a:lnTo>
                  <a:lnTo>
                    <a:pt x="730" y="72"/>
                  </a:lnTo>
                  <a:lnTo>
                    <a:pt x="726" y="73"/>
                  </a:lnTo>
                  <a:lnTo>
                    <a:pt x="724" y="74"/>
                  </a:lnTo>
                  <a:lnTo>
                    <a:pt x="724" y="72"/>
                  </a:lnTo>
                  <a:lnTo>
                    <a:pt x="724" y="68"/>
                  </a:lnTo>
                  <a:lnTo>
                    <a:pt x="728" y="67"/>
                  </a:lnTo>
                  <a:lnTo>
                    <a:pt x="724" y="67"/>
                  </a:lnTo>
                  <a:lnTo>
                    <a:pt x="721" y="67"/>
                  </a:lnTo>
                  <a:lnTo>
                    <a:pt x="719" y="68"/>
                  </a:lnTo>
                  <a:lnTo>
                    <a:pt x="715" y="69"/>
                  </a:lnTo>
                  <a:lnTo>
                    <a:pt x="713" y="72"/>
                  </a:lnTo>
                  <a:lnTo>
                    <a:pt x="709" y="73"/>
                  </a:lnTo>
                  <a:lnTo>
                    <a:pt x="707" y="76"/>
                  </a:lnTo>
                  <a:lnTo>
                    <a:pt x="704" y="77"/>
                  </a:lnTo>
                  <a:lnTo>
                    <a:pt x="702" y="81"/>
                  </a:lnTo>
                  <a:lnTo>
                    <a:pt x="698" y="81"/>
                  </a:lnTo>
                  <a:lnTo>
                    <a:pt x="695" y="83"/>
                  </a:lnTo>
                  <a:lnTo>
                    <a:pt x="692" y="84"/>
                  </a:lnTo>
                  <a:lnTo>
                    <a:pt x="690" y="86"/>
                  </a:lnTo>
                  <a:lnTo>
                    <a:pt x="687" y="89"/>
                  </a:lnTo>
                  <a:lnTo>
                    <a:pt x="685" y="90"/>
                  </a:lnTo>
                  <a:lnTo>
                    <a:pt x="681" y="91"/>
                  </a:lnTo>
                  <a:lnTo>
                    <a:pt x="679" y="91"/>
                  </a:lnTo>
                  <a:lnTo>
                    <a:pt x="679" y="94"/>
                  </a:lnTo>
                  <a:lnTo>
                    <a:pt x="677" y="95"/>
                  </a:lnTo>
                  <a:lnTo>
                    <a:pt x="674" y="98"/>
                  </a:lnTo>
                  <a:lnTo>
                    <a:pt x="672" y="100"/>
                  </a:lnTo>
                  <a:lnTo>
                    <a:pt x="669" y="101"/>
                  </a:lnTo>
                  <a:lnTo>
                    <a:pt x="666" y="102"/>
                  </a:lnTo>
                  <a:lnTo>
                    <a:pt x="668" y="100"/>
                  </a:lnTo>
                  <a:lnTo>
                    <a:pt x="670" y="98"/>
                  </a:lnTo>
                  <a:lnTo>
                    <a:pt x="668" y="98"/>
                  </a:lnTo>
                  <a:lnTo>
                    <a:pt x="671" y="96"/>
                  </a:lnTo>
                  <a:lnTo>
                    <a:pt x="673" y="95"/>
                  </a:lnTo>
                  <a:lnTo>
                    <a:pt x="673" y="92"/>
                  </a:lnTo>
                  <a:lnTo>
                    <a:pt x="675" y="90"/>
                  </a:lnTo>
                  <a:lnTo>
                    <a:pt x="679" y="87"/>
                  </a:lnTo>
                  <a:lnTo>
                    <a:pt x="681" y="85"/>
                  </a:lnTo>
                  <a:lnTo>
                    <a:pt x="683" y="83"/>
                  </a:lnTo>
                  <a:lnTo>
                    <a:pt x="687" y="82"/>
                  </a:lnTo>
                  <a:lnTo>
                    <a:pt x="688" y="79"/>
                  </a:lnTo>
                  <a:lnTo>
                    <a:pt x="691" y="77"/>
                  </a:lnTo>
                  <a:lnTo>
                    <a:pt x="694" y="75"/>
                  </a:lnTo>
                  <a:lnTo>
                    <a:pt x="697" y="73"/>
                  </a:lnTo>
                  <a:lnTo>
                    <a:pt x="698" y="69"/>
                  </a:lnTo>
                  <a:lnTo>
                    <a:pt x="699" y="67"/>
                  </a:lnTo>
                  <a:lnTo>
                    <a:pt x="699" y="64"/>
                  </a:lnTo>
                  <a:lnTo>
                    <a:pt x="699" y="61"/>
                  </a:lnTo>
                  <a:lnTo>
                    <a:pt x="699" y="59"/>
                  </a:lnTo>
                  <a:lnTo>
                    <a:pt x="699" y="56"/>
                  </a:lnTo>
                  <a:lnTo>
                    <a:pt x="697" y="53"/>
                  </a:lnTo>
                  <a:lnTo>
                    <a:pt x="694" y="52"/>
                  </a:lnTo>
                  <a:lnTo>
                    <a:pt x="691" y="52"/>
                  </a:lnTo>
                  <a:lnTo>
                    <a:pt x="688" y="53"/>
                  </a:lnTo>
                  <a:lnTo>
                    <a:pt x="686" y="53"/>
                  </a:lnTo>
                  <a:lnTo>
                    <a:pt x="682" y="53"/>
                  </a:lnTo>
                  <a:lnTo>
                    <a:pt x="680" y="53"/>
                  </a:lnTo>
                  <a:lnTo>
                    <a:pt x="677" y="53"/>
                  </a:lnTo>
                  <a:lnTo>
                    <a:pt x="674" y="55"/>
                  </a:lnTo>
                  <a:lnTo>
                    <a:pt x="671" y="56"/>
                  </a:lnTo>
                  <a:lnTo>
                    <a:pt x="671" y="58"/>
                  </a:lnTo>
                  <a:lnTo>
                    <a:pt x="670" y="61"/>
                  </a:lnTo>
                  <a:lnTo>
                    <a:pt x="670" y="64"/>
                  </a:lnTo>
                  <a:lnTo>
                    <a:pt x="668" y="65"/>
                  </a:lnTo>
                  <a:lnTo>
                    <a:pt x="664" y="65"/>
                  </a:lnTo>
                  <a:lnTo>
                    <a:pt x="661" y="65"/>
                  </a:lnTo>
                  <a:lnTo>
                    <a:pt x="658" y="66"/>
                  </a:lnTo>
                  <a:lnTo>
                    <a:pt x="656" y="67"/>
                  </a:lnTo>
                  <a:lnTo>
                    <a:pt x="649" y="68"/>
                  </a:lnTo>
                  <a:lnTo>
                    <a:pt x="647" y="69"/>
                  </a:lnTo>
                  <a:lnTo>
                    <a:pt x="640" y="70"/>
                  </a:lnTo>
                  <a:lnTo>
                    <a:pt x="638" y="72"/>
                  </a:lnTo>
                  <a:lnTo>
                    <a:pt x="635" y="73"/>
                  </a:lnTo>
                  <a:lnTo>
                    <a:pt x="632" y="74"/>
                  </a:lnTo>
                  <a:lnTo>
                    <a:pt x="630" y="75"/>
                  </a:lnTo>
                  <a:lnTo>
                    <a:pt x="627" y="75"/>
                  </a:lnTo>
                  <a:lnTo>
                    <a:pt x="623" y="75"/>
                  </a:lnTo>
                  <a:lnTo>
                    <a:pt x="627" y="75"/>
                  </a:lnTo>
                  <a:lnTo>
                    <a:pt x="623" y="73"/>
                  </a:lnTo>
                  <a:lnTo>
                    <a:pt x="627" y="70"/>
                  </a:lnTo>
                  <a:lnTo>
                    <a:pt x="632" y="69"/>
                  </a:lnTo>
                  <a:lnTo>
                    <a:pt x="636" y="68"/>
                  </a:lnTo>
                  <a:lnTo>
                    <a:pt x="638" y="67"/>
                  </a:lnTo>
                  <a:lnTo>
                    <a:pt x="645" y="66"/>
                  </a:lnTo>
                  <a:lnTo>
                    <a:pt x="651" y="64"/>
                  </a:lnTo>
                  <a:lnTo>
                    <a:pt x="653" y="62"/>
                  </a:lnTo>
                  <a:lnTo>
                    <a:pt x="655" y="60"/>
                  </a:lnTo>
                  <a:lnTo>
                    <a:pt x="654" y="57"/>
                  </a:lnTo>
                  <a:lnTo>
                    <a:pt x="652" y="55"/>
                  </a:lnTo>
                  <a:lnTo>
                    <a:pt x="648" y="55"/>
                  </a:lnTo>
                  <a:lnTo>
                    <a:pt x="646" y="55"/>
                  </a:lnTo>
                  <a:lnTo>
                    <a:pt x="643" y="55"/>
                  </a:lnTo>
                  <a:lnTo>
                    <a:pt x="635" y="55"/>
                  </a:lnTo>
                  <a:lnTo>
                    <a:pt x="631" y="55"/>
                  </a:lnTo>
                  <a:lnTo>
                    <a:pt x="626" y="55"/>
                  </a:lnTo>
                  <a:lnTo>
                    <a:pt x="623" y="55"/>
                  </a:lnTo>
                  <a:lnTo>
                    <a:pt x="617" y="55"/>
                  </a:lnTo>
                  <a:lnTo>
                    <a:pt x="614" y="55"/>
                  </a:lnTo>
                  <a:lnTo>
                    <a:pt x="612" y="55"/>
                  </a:lnTo>
                  <a:lnTo>
                    <a:pt x="609" y="55"/>
                  </a:lnTo>
                  <a:lnTo>
                    <a:pt x="605" y="55"/>
                  </a:lnTo>
                  <a:lnTo>
                    <a:pt x="603" y="56"/>
                  </a:lnTo>
                  <a:lnTo>
                    <a:pt x="600" y="56"/>
                  </a:lnTo>
                  <a:lnTo>
                    <a:pt x="597" y="57"/>
                  </a:lnTo>
                  <a:lnTo>
                    <a:pt x="594" y="59"/>
                  </a:lnTo>
                  <a:lnTo>
                    <a:pt x="592" y="57"/>
                  </a:lnTo>
                  <a:lnTo>
                    <a:pt x="585" y="58"/>
                  </a:lnTo>
                  <a:lnTo>
                    <a:pt x="583" y="59"/>
                  </a:lnTo>
                  <a:lnTo>
                    <a:pt x="579" y="59"/>
                  </a:lnTo>
                  <a:lnTo>
                    <a:pt x="577" y="59"/>
                  </a:lnTo>
                  <a:lnTo>
                    <a:pt x="570" y="60"/>
                  </a:lnTo>
                  <a:lnTo>
                    <a:pt x="568" y="60"/>
                  </a:lnTo>
                  <a:lnTo>
                    <a:pt x="564" y="61"/>
                  </a:lnTo>
                  <a:lnTo>
                    <a:pt x="562" y="61"/>
                  </a:lnTo>
                  <a:lnTo>
                    <a:pt x="559" y="62"/>
                  </a:lnTo>
                  <a:lnTo>
                    <a:pt x="557" y="64"/>
                  </a:lnTo>
                  <a:lnTo>
                    <a:pt x="553" y="66"/>
                  </a:lnTo>
                  <a:lnTo>
                    <a:pt x="551" y="66"/>
                  </a:lnTo>
                  <a:lnTo>
                    <a:pt x="550" y="64"/>
                  </a:lnTo>
                  <a:lnTo>
                    <a:pt x="549" y="60"/>
                  </a:lnTo>
                  <a:lnTo>
                    <a:pt x="552" y="59"/>
                  </a:lnTo>
                  <a:lnTo>
                    <a:pt x="555" y="59"/>
                  </a:lnTo>
                  <a:lnTo>
                    <a:pt x="558" y="58"/>
                  </a:lnTo>
                  <a:lnTo>
                    <a:pt x="560" y="58"/>
                  </a:lnTo>
                  <a:lnTo>
                    <a:pt x="563" y="57"/>
                  </a:lnTo>
                  <a:lnTo>
                    <a:pt x="566" y="57"/>
                  </a:lnTo>
                  <a:lnTo>
                    <a:pt x="569" y="57"/>
                  </a:lnTo>
                  <a:lnTo>
                    <a:pt x="571" y="56"/>
                  </a:lnTo>
                  <a:lnTo>
                    <a:pt x="574" y="56"/>
                  </a:lnTo>
                  <a:lnTo>
                    <a:pt x="577" y="55"/>
                  </a:lnTo>
                  <a:lnTo>
                    <a:pt x="588" y="52"/>
                  </a:lnTo>
                  <a:lnTo>
                    <a:pt x="591" y="52"/>
                  </a:lnTo>
                  <a:lnTo>
                    <a:pt x="588" y="50"/>
                  </a:lnTo>
                  <a:lnTo>
                    <a:pt x="586" y="49"/>
                  </a:lnTo>
                  <a:lnTo>
                    <a:pt x="583" y="49"/>
                  </a:lnTo>
                  <a:lnTo>
                    <a:pt x="574" y="49"/>
                  </a:lnTo>
                  <a:lnTo>
                    <a:pt x="568" y="49"/>
                  </a:lnTo>
                  <a:lnTo>
                    <a:pt x="571" y="49"/>
                  </a:lnTo>
                  <a:lnTo>
                    <a:pt x="574" y="48"/>
                  </a:lnTo>
                  <a:lnTo>
                    <a:pt x="577" y="48"/>
                  </a:lnTo>
                  <a:lnTo>
                    <a:pt x="580" y="49"/>
                  </a:lnTo>
                  <a:lnTo>
                    <a:pt x="583" y="49"/>
                  </a:lnTo>
                  <a:lnTo>
                    <a:pt x="586" y="49"/>
                  </a:lnTo>
                  <a:lnTo>
                    <a:pt x="588" y="49"/>
                  </a:lnTo>
                  <a:lnTo>
                    <a:pt x="592" y="50"/>
                  </a:lnTo>
                  <a:lnTo>
                    <a:pt x="594" y="50"/>
                  </a:lnTo>
                  <a:lnTo>
                    <a:pt x="597" y="50"/>
                  </a:lnTo>
                  <a:lnTo>
                    <a:pt x="600" y="50"/>
                  </a:lnTo>
                  <a:lnTo>
                    <a:pt x="603" y="50"/>
                  </a:lnTo>
                  <a:lnTo>
                    <a:pt x="606" y="49"/>
                  </a:lnTo>
                  <a:lnTo>
                    <a:pt x="609" y="49"/>
                  </a:lnTo>
                  <a:lnTo>
                    <a:pt x="612" y="49"/>
                  </a:lnTo>
                  <a:lnTo>
                    <a:pt x="615" y="49"/>
                  </a:lnTo>
                  <a:lnTo>
                    <a:pt x="618" y="49"/>
                  </a:lnTo>
                  <a:lnTo>
                    <a:pt x="621" y="49"/>
                  </a:lnTo>
                  <a:lnTo>
                    <a:pt x="625" y="49"/>
                  </a:lnTo>
                  <a:lnTo>
                    <a:pt x="630" y="49"/>
                  </a:lnTo>
                  <a:lnTo>
                    <a:pt x="634" y="49"/>
                  </a:lnTo>
                  <a:lnTo>
                    <a:pt x="639" y="50"/>
                  </a:lnTo>
                  <a:lnTo>
                    <a:pt x="643" y="50"/>
                  </a:lnTo>
                  <a:lnTo>
                    <a:pt x="645" y="50"/>
                  </a:lnTo>
                  <a:lnTo>
                    <a:pt x="657" y="50"/>
                  </a:lnTo>
                  <a:lnTo>
                    <a:pt x="660" y="49"/>
                  </a:lnTo>
                  <a:lnTo>
                    <a:pt x="663" y="49"/>
                  </a:lnTo>
                  <a:lnTo>
                    <a:pt x="665" y="48"/>
                  </a:lnTo>
                  <a:lnTo>
                    <a:pt x="669" y="47"/>
                  </a:lnTo>
                  <a:lnTo>
                    <a:pt x="671" y="47"/>
                  </a:lnTo>
                  <a:lnTo>
                    <a:pt x="674" y="45"/>
                  </a:lnTo>
                  <a:lnTo>
                    <a:pt x="683" y="45"/>
                  </a:lnTo>
                  <a:lnTo>
                    <a:pt x="687" y="45"/>
                  </a:lnTo>
                  <a:lnTo>
                    <a:pt x="689" y="44"/>
                  </a:lnTo>
                  <a:lnTo>
                    <a:pt x="691" y="44"/>
                  </a:lnTo>
                  <a:lnTo>
                    <a:pt x="695" y="43"/>
                  </a:lnTo>
                  <a:lnTo>
                    <a:pt x="696" y="40"/>
                  </a:lnTo>
                  <a:lnTo>
                    <a:pt x="699" y="40"/>
                  </a:lnTo>
                  <a:lnTo>
                    <a:pt x="703" y="39"/>
                  </a:lnTo>
                  <a:lnTo>
                    <a:pt x="705" y="38"/>
                  </a:lnTo>
                  <a:lnTo>
                    <a:pt x="708" y="36"/>
                  </a:lnTo>
                  <a:lnTo>
                    <a:pt x="707" y="34"/>
                  </a:lnTo>
                  <a:lnTo>
                    <a:pt x="704" y="32"/>
                  </a:lnTo>
                  <a:lnTo>
                    <a:pt x="700" y="31"/>
                  </a:lnTo>
                  <a:lnTo>
                    <a:pt x="698" y="31"/>
                  </a:lnTo>
                  <a:lnTo>
                    <a:pt x="695" y="30"/>
                  </a:lnTo>
                  <a:lnTo>
                    <a:pt x="691" y="29"/>
                  </a:lnTo>
                  <a:lnTo>
                    <a:pt x="689" y="30"/>
                  </a:lnTo>
                  <a:lnTo>
                    <a:pt x="687" y="29"/>
                  </a:lnTo>
                  <a:lnTo>
                    <a:pt x="683" y="29"/>
                  </a:lnTo>
                  <a:lnTo>
                    <a:pt x="681" y="26"/>
                  </a:lnTo>
                  <a:lnTo>
                    <a:pt x="678" y="26"/>
                  </a:lnTo>
                  <a:lnTo>
                    <a:pt x="674" y="29"/>
                  </a:lnTo>
                  <a:lnTo>
                    <a:pt x="672" y="30"/>
                  </a:lnTo>
                  <a:lnTo>
                    <a:pt x="672" y="26"/>
                  </a:lnTo>
                  <a:lnTo>
                    <a:pt x="670" y="25"/>
                  </a:lnTo>
                  <a:lnTo>
                    <a:pt x="666" y="25"/>
                  </a:lnTo>
                  <a:lnTo>
                    <a:pt x="664" y="25"/>
                  </a:lnTo>
                  <a:lnTo>
                    <a:pt x="661" y="26"/>
                  </a:lnTo>
                  <a:lnTo>
                    <a:pt x="657" y="27"/>
                  </a:lnTo>
                  <a:lnTo>
                    <a:pt x="655" y="27"/>
                  </a:lnTo>
                  <a:lnTo>
                    <a:pt x="652" y="29"/>
                  </a:lnTo>
                  <a:lnTo>
                    <a:pt x="648" y="30"/>
                  </a:lnTo>
                  <a:lnTo>
                    <a:pt x="652" y="27"/>
                  </a:lnTo>
                  <a:lnTo>
                    <a:pt x="655" y="26"/>
                  </a:lnTo>
                  <a:lnTo>
                    <a:pt x="657" y="24"/>
                  </a:lnTo>
                  <a:lnTo>
                    <a:pt x="661" y="23"/>
                  </a:lnTo>
                  <a:lnTo>
                    <a:pt x="660" y="19"/>
                  </a:lnTo>
                  <a:lnTo>
                    <a:pt x="660" y="17"/>
                  </a:lnTo>
                  <a:lnTo>
                    <a:pt x="656" y="16"/>
                  </a:lnTo>
                  <a:lnTo>
                    <a:pt x="651" y="16"/>
                  </a:lnTo>
                  <a:lnTo>
                    <a:pt x="648" y="17"/>
                  </a:lnTo>
                  <a:lnTo>
                    <a:pt x="645" y="17"/>
                  </a:lnTo>
                  <a:lnTo>
                    <a:pt x="643" y="17"/>
                  </a:lnTo>
                  <a:lnTo>
                    <a:pt x="639" y="18"/>
                  </a:lnTo>
                  <a:lnTo>
                    <a:pt x="636" y="19"/>
                  </a:lnTo>
                  <a:lnTo>
                    <a:pt x="634" y="19"/>
                  </a:lnTo>
                  <a:lnTo>
                    <a:pt x="630" y="19"/>
                  </a:lnTo>
                  <a:lnTo>
                    <a:pt x="627" y="19"/>
                  </a:lnTo>
                  <a:lnTo>
                    <a:pt x="625" y="19"/>
                  </a:lnTo>
                  <a:lnTo>
                    <a:pt x="622" y="18"/>
                  </a:lnTo>
                  <a:lnTo>
                    <a:pt x="619" y="18"/>
                  </a:lnTo>
                  <a:lnTo>
                    <a:pt x="617" y="19"/>
                  </a:lnTo>
                  <a:lnTo>
                    <a:pt x="613" y="19"/>
                  </a:lnTo>
                  <a:lnTo>
                    <a:pt x="611" y="18"/>
                  </a:lnTo>
                  <a:lnTo>
                    <a:pt x="608" y="17"/>
                  </a:lnTo>
                  <a:lnTo>
                    <a:pt x="604" y="17"/>
                  </a:lnTo>
                  <a:lnTo>
                    <a:pt x="602" y="17"/>
                  </a:lnTo>
                  <a:lnTo>
                    <a:pt x="598" y="17"/>
                  </a:lnTo>
                  <a:lnTo>
                    <a:pt x="593" y="17"/>
                  </a:lnTo>
                  <a:lnTo>
                    <a:pt x="589" y="17"/>
                  </a:lnTo>
                  <a:lnTo>
                    <a:pt x="587" y="17"/>
                  </a:lnTo>
                  <a:lnTo>
                    <a:pt x="584" y="18"/>
                  </a:lnTo>
                  <a:lnTo>
                    <a:pt x="581" y="18"/>
                  </a:lnTo>
                  <a:lnTo>
                    <a:pt x="578" y="18"/>
                  </a:lnTo>
                  <a:lnTo>
                    <a:pt x="575" y="19"/>
                  </a:lnTo>
                  <a:lnTo>
                    <a:pt x="572" y="21"/>
                  </a:lnTo>
                  <a:lnTo>
                    <a:pt x="569" y="22"/>
                  </a:lnTo>
                  <a:lnTo>
                    <a:pt x="567" y="24"/>
                  </a:lnTo>
                  <a:lnTo>
                    <a:pt x="563" y="22"/>
                  </a:lnTo>
                  <a:lnTo>
                    <a:pt x="560" y="22"/>
                  </a:lnTo>
                  <a:lnTo>
                    <a:pt x="557" y="22"/>
                  </a:lnTo>
                  <a:lnTo>
                    <a:pt x="554" y="22"/>
                  </a:lnTo>
                  <a:lnTo>
                    <a:pt x="552" y="23"/>
                  </a:lnTo>
                  <a:lnTo>
                    <a:pt x="547" y="23"/>
                  </a:lnTo>
                  <a:lnTo>
                    <a:pt x="545" y="23"/>
                  </a:lnTo>
                  <a:lnTo>
                    <a:pt x="543" y="23"/>
                  </a:lnTo>
                  <a:lnTo>
                    <a:pt x="540" y="24"/>
                  </a:lnTo>
                  <a:lnTo>
                    <a:pt x="540" y="26"/>
                  </a:lnTo>
                  <a:lnTo>
                    <a:pt x="536" y="29"/>
                  </a:lnTo>
                  <a:lnTo>
                    <a:pt x="537" y="26"/>
                  </a:lnTo>
                  <a:lnTo>
                    <a:pt x="535" y="24"/>
                  </a:lnTo>
                  <a:lnTo>
                    <a:pt x="528" y="24"/>
                  </a:lnTo>
                  <a:lnTo>
                    <a:pt x="526" y="24"/>
                  </a:lnTo>
                  <a:lnTo>
                    <a:pt x="523" y="25"/>
                  </a:lnTo>
                  <a:lnTo>
                    <a:pt x="519" y="25"/>
                  </a:lnTo>
                  <a:lnTo>
                    <a:pt x="517" y="27"/>
                  </a:lnTo>
                  <a:lnTo>
                    <a:pt x="515" y="30"/>
                  </a:lnTo>
                  <a:lnTo>
                    <a:pt x="516" y="27"/>
                  </a:lnTo>
                  <a:lnTo>
                    <a:pt x="514" y="24"/>
                  </a:lnTo>
                  <a:lnTo>
                    <a:pt x="517" y="24"/>
                  </a:lnTo>
                  <a:lnTo>
                    <a:pt x="520" y="24"/>
                  </a:lnTo>
                  <a:lnTo>
                    <a:pt x="523" y="24"/>
                  </a:lnTo>
                  <a:lnTo>
                    <a:pt x="526" y="24"/>
                  </a:lnTo>
                  <a:lnTo>
                    <a:pt x="532" y="24"/>
                  </a:lnTo>
                  <a:lnTo>
                    <a:pt x="534" y="23"/>
                  </a:lnTo>
                  <a:lnTo>
                    <a:pt x="537" y="23"/>
                  </a:lnTo>
                  <a:lnTo>
                    <a:pt x="541" y="22"/>
                  </a:lnTo>
                  <a:lnTo>
                    <a:pt x="543" y="22"/>
                  </a:lnTo>
                  <a:lnTo>
                    <a:pt x="550" y="21"/>
                  </a:lnTo>
                  <a:lnTo>
                    <a:pt x="552" y="21"/>
                  </a:lnTo>
                  <a:lnTo>
                    <a:pt x="555" y="21"/>
                  </a:lnTo>
                  <a:lnTo>
                    <a:pt x="552" y="18"/>
                  </a:lnTo>
                  <a:lnTo>
                    <a:pt x="550" y="17"/>
                  </a:lnTo>
                  <a:lnTo>
                    <a:pt x="546" y="17"/>
                  </a:lnTo>
                  <a:lnTo>
                    <a:pt x="543" y="17"/>
                  </a:lnTo>
                  <a:lnTo>
                    <a:pt x="546" y="16"/>
                  </a:lnTo>
                  <a:lnTo>
                    <a:pt x="550" y="17"/>
                  </a:lnTo>
                  <a:lnTo>
                    <a:pt x="552" y="17"/>
                  </a:lnTo>
                  <a:lnTo>
                    <a:pt x="555" y="18"/>
                  </a:lnTo>
                  <a:lnTo>
                    <a:pt x="561" y="19"/>
                  </a:lnTo>
                  <a:lnTo>
                    <a:pt x="567" y="19"/>
                  </a:lnTo>
                  <a:lnTo>
                    <a:pt x="572" y="18"/>
                  </a:lnTo>
                  <a:lnTo>
                    <a:pt x="576" y="17"/>
                  </a:lnTo>
                  <a:lnTo>
                    <a:pt x="578" y="17"/>
                  </a:lnTo>
                  <a:lnTo>
                    <a:pt x="581" y="16"/>
                  </a:lnTo>
                  <a:lnTo>
                    <a:pt x="584" y="16"/>
                  </a:lnTo>
                  <a:lnTo>
                    <a:pt x="591" y="15"/>
                  </a:lnTo>
                  <a:lnTo>
                    <a:pt x="596" y="15"/>
                  </a:lnTo>
                  <a:lnTo>
                    <a:pt x="598" y="15"/>
                  </a:lnTo>
                  <a:lnTo>
                    <a:pt x="602" y="15"/>
                  </a:lnTo>
                  <a:lnTo>
                    <a:pt x="605" y="15"/>
                  </a:lnTo>
                  <a:lnTo>
                    <a:pt x="608" y="16"/>
                  </a:lnTo>
                  <a:lnTo>
                    <a:pt x="617" y="16"/>
                  </a:lnTo>
                  <a:lnTo>
                    <a:pt x="619" y="16"/>
                  </a:lnTo>
                  <a:lnTo>
                    <a:pt x="622" y="17"/>
                  </a:lnTo>
                  <a:lnTo>
                    <a:pt x="626" y="16"/>
                  </a:lnTo>
                  <a:lnTo>
                    <a:pt x="631" y="16"/>
                  </a:lnTo>
                  <a:lnTo>
                    <a:pt x="637" y="15"/>
                  </a:lnTo>
                  <a:lnTo>
                    <a:pt x="639" y="15"/>
                  </a:lnTo>
                  <a:lnTo>
                    <a:pt x="643" y="14"/>
                  </a:lnTo>
                  <a:lnTo>
                    <a:pt x="645" y="14"/>
                  </a:lnTo>
                  <a:lnTo>
                    <a:pt x="648" y="13"/>
                  </a:lnTo>
                  <a:lnTo>
                    <a:pt x="645" y="9"/>
                  </a:lnTo>
                  <a:lnTo>
                    <a:pt x="642" y="8"/>
                  </a:lnTo>
                  <a:lnTo>
                    <a:pt x="639" y="8"/>
                  </a:lnTo>
                  <a:lnTo>
                    <a:pt x="636" y="7"/>
                  </a:lnTo>
                  <a:lnTo>
                    <a:pt x="631" y="6"/>
                  </a:lnTo>
                  <a:lnTo>
                    <a:pt x="628" y="6"/>
                  </a:lnTo>
                  <a:lnTo>
                    <a:pt x="626" y="5"/>
                  </a:lnTo>
                  <a:lnTo>
                    <a:pt x="622" y="5"/>
                  </a:lnTo>
                  <a:lnTo>
                    <a:pt x="619" y="5"/>
                  </a:lnTo>
                  <a:lnTo>
                    <a:pt x="617" y="5"/>
                  </a:lnTo>
                  <a:lnTo>
                    <a:pt x="613" y="5"/>
                  </a:lnTo>
                  <a:lnTo>
                    <a:pt x="610" y="7"/>
                  </a:lnTo>
                  <a:lnTo>
                    <a:pt x="608" y="6"/>
                  </a:lnTo>
                  <a:lnTo>
                    <a:pt x="604" y="5"/>
                  </a:lnTo>
                  <a:lnTo>
                    <a:pt x="608" y="5"/>
                  </a:lnTo>
                  <a:lnTo>
                    <a:pt x="604" y="4"/>
                  </a:lnTo>
                  <a:lnTo>
                    <a:pt x="602" y="5"/>
                  </a:lnTo>
                  <a:lnTo>
                    <a:pt x="598" y="2"/>
                  </a:lnTo>
                  <a:lnTo>
                    <a:pt x="595" y="2"/>
                  </a:lnTo>
                  <a:lnTo>
                    <a:pt x="593" y="1"/>
                  </a:lnTo>
                  <a:lnTo>
                    <a:pt x="589" y="1"/>
                  </a:lnTo>
                  <a:lnTo>
                    <a:pt x="587" y="0"/>
                  </a:lnTo>
                  <a:lnTo>
                    <a:pt x="584" y="0"/>
                  </a:lnTo>
                  <a:lnTo>
                    <a:pt x="580" y="0"/>
                  </a:lnTo>
                  <a:lnTo>
                    <a:pt x="577" y="1"/>
                  </a:lnTo>
                  <a:lnTo>
                    <a:pt x="571" y="1"/>
                  </a:lnTo>
                  <a:lnTo>
                    <a:pt x="569" y="1"/>
                  </a:lnTo>
                  <a:lnTo>
                    <a:pt x="566" y="0"/>
                  </a:lnTo>
                  <a:lnTo>
                    <a:pt x="563" y="0"/>
                  </a:lnTo>
                  <a:lnTo>
                    <a:pt x="560" y="1"/>
                  </a:lnTo>
                  <a:lnTo>
                    <a:pt x="557" y="0"/>
                  </a:lnTo>
                  <a:lnTo>
                    <a:pt x="554" y="0"/>
                  </a:lnTo>
                  <a:lnTo>
                    <a:pt x="551" y="0"/>
                  </a:lnTo>
                  <a:lnTo>
                    <a:pt x="547" y="0"/>
                  </a:lnTo>
                  <a:lnTo>
                    <a:pt x="545" y="0"/>
                  </a:lnTo>
                  <a:lnTo>
                    <a:pt x="542" y="0"/>
                  </a:lnTo>
                  <a:lnTo>
                    <a:pt x="540" y="0"/>
                  </a:lnTo>
                  <a:lnTo>
                    <a:pt x="536" y="0"/>
                  </a:lnTo>
                  <a:lnTo>
                    <a:pt x="536" y="4"/>
                  </a:lnTo>
                  <a:lnTo>
                    <a:pt x="538" y="5"/>
                  </a:lnTo>
                  <a:lnTo>
                    <a:pt x="536" y="5"/>
                  </a:lnTo>
                  <a:lnTo>
                    <a:pt x="533" y="4"/>
                  </a:lnTo>
                  <a:lnTo>
                    <a:pt x="530" y="0"/>
                  </a:lnTo>
                  <a:lnTo>
                    <a:pt x="527" y="2"/>
                  </a:lnTo>
                  <a:lnTo>
                    <a:pt x="525" y="0"/>
                  </a:lnTo>
                  <a:lnTo>
                    <a:pt x="521" y="1"/>
                  </a:lnTo>
                  <a:lnTo>
                    <a:pt x="519" y="2"/>
                  </a:lnTo>
                  <a:lnTo>
                    <a:pt x="516" y="2"/>
                  </a:lnTo>
                  <a:lnTo>
                    <a:pt x="510" y="2"/>
                  </a:lnTo>
                  <a:lnTo>
                    <a:pt x="507" y="2"/>
                  </a:lnTo>
                  <a:lnTo>
                    <a:pt x="503" y="2"/>
                  </a:lnTo>
                  <a:lnTo>
                    <a:pt x="500" y="2"/>
                  </a:lnTo>
                  <a:lnTo>
                    <a:pt x="498" y="2"/>
                  </a:lnTo>
                  <a:lnTo>
                    <a:pt x="500" y="6"/>
                  </a:lnTo>
                  <a:lnTo>
                    <a:pt x="502" y="8"/>
                  </a:lnTo>
                  <a:lnTo>
                    <a:pt x="499" y="8"/>
                  </a:lnTo>
                  <a:lnTo>
                    <a:pt x="497" y="6"/>
                  </a:lnTo>
                  <a:lnTo>
                    <a:pt x="493" y="6"/>
                  </a:lnTo>
                  <a:lnTo>
                    <a:pt x="491" y="6"/>
                  </a:lnTo>
                  <a:lnTo>
                    <a:pt x="487" y="5"/>
                  </a:lnTo>
                  <a:lnTo>
                    <a:pt x="485" y="4"/>
                  </a:lnTo>
                  <a:lnTo>
                    <a:pt x="482" y="5"/>
                  </a:lnTo>
                  <a:lnTo>
                    <a:pt x="481" y="7"/>
                  </a:lnTo>
                  <a:lnTo>
                    <a:pt x="484" y="8"/>
                  </a:lnTo>
                  <a:lnTo>
                    <a:pt x="481" y="8"/>
                  </a:lnTo>
                  <a:lnTo>
                    <a:pt x="477" y="8"/>
                  </a:lnTo>
                  <a:lnTo>
                    <a:pt x="475" y="7"/>
                  </a:lnTo>
                  <a:lnTo>
                    <a:pt x="473" y="7"/>
                  </a:lnTo>
                  <a:lnTo>
                    <a:pt x="469" y="6"/>
                  </a:lnTo>
                  <a:lnTo>
                    <a:pt x="469" y="9"/>
                  </a:lnTo>
                  <a:lnTo>
                    <a:pt x="470" y="12"/>
                  </a:lnTo>
                  <a:lnTo>
                    <a:pt x="473" y="15"/>
                  </a:lnTo>
                  <a:lnTo>
                    <a:pt x="476" y="15"/>
                  </a:lnTo>
                  <a:lnTo>
                    <a:pt x="478" y="14"/>
                  </a:lnTo>
                  <a:lnTo>
                    <a:pt x="482" y="15"/>
                  </a:lnTo>
                  <a:lnTo>
                    <a:pt x="485" y="15"/>
                  </a:lnTo>
                  <a:lnTo>
                    <a:pt x="489" y="16"/>
                  </a:lnTo>
                  <a:lnTo>
                    <a:pt x="492" y="16"/>
                  </a:lnTo>
                  <a:lnTo>
                    <a:pt x="494" y="16"/>
                  </a:lnTo>
                  <a:lnTo>
                    <a:pt x="492" y="17"/>
                  </a:lnTo>
                  <a:lnTo>
                    <a:pt x="489" y="17"/>
                  </a:lnTo>
                  <a:lnTo>
                    <a:pt x="483" y="17"/>
                  </a:lnTo>
                  <a:lnTo>
                    <a:pt x="480" y="17"/>
                  </a:lnTo>
                  <a:lnTo>
                    <a:pt x="477" y="17"/>
                  </a:lnTo>
                  <a:lnTo>
                    <a:pt x="472" y="18"/>
                  </a:lnTo>
                  <a:lnTo>
                    <a:pt x="474" y="21"/>
                  </a:lnTo>
                  <a:lnTo>
                    <a:pt x="477" y="21"/>
                  </a:lnTo>
                  <a:lnTo>
                    <a:pt x="481" y="19"/>
                  </a:lnTo>
                  <a:lnTo>
                    <a:pt x="483" y="19"/>
                  </a:lnTo>
                  <a:lnTo>
                    <a:pt x="489" y="21"/>
                  </a:lnTo>
                  <a:lnTo>
                    <a:pt x="485" y="21"/>
                  </a:lnTo>
                  <a:lnTo>
                    <a:pt x="483" y="21"/>
                  </a:lnTo>
                  <a:lnTo>
                    <a:pt x="480" y="21"/>
                  </a:lnTo>
                  <a:lnTo>
                    <a:pt x="476" y="21"/>
                  </a:lnTo>
                  <a:lnTo>
                    <a:pt x="474" y="21"/>
                  </a:lnTo>
                  <a:lnTo>
                    <a:pt x="468" y="21"/>
                  </a:lnTo>
                  <a:lnTo>
                    <a:pt x="465" y="22"/>
                  </a:lnTo>
                  <a:lnTo>
                    <a:pt x="468" y="23"/>
                  </a:lnTo>
                  <a:lnTo>
                    <a:pt x="469" y="26"/>
                  </a:lnTo>
                  <a:lnTo>
                    <a:pt x="473" y="27"/>
                  </a:lnTo>
                  <a:lnTo>
                    <a:pt x="469" y="29"/>
                  </a:lnTo>
                  <a:lnTo>
                    <a:pt x="467" y="26"/>
                  </a:lnTo>
                  <a:lnTo>
                    <a:pt x="464" y="24"/>
                  </a:lnTo>
                  <a:lnTo>
                    <a:pt x="461" y="23"/>
                  </a:lnTo>
                  <a:lnTo>
                    <a:pt x="458" y="23"/>
                  </a:lnTo>
                  <a:lnTo>
                    <a:pt x="455" y="23"/>
                  </a:lnTo>
                  <a:lnTo>
                    <a:pt x="452" y="23"/>
                  </a:lnTo>
                  <a:lnTo>
                    <a:pt x="449" y="23"/>
                  </a:lnTo>
                  <a:lnTo>
                    <a:pt x="447" y="23"/>
                  </a:lnTo>
                  <a:lnTo>
                    <a:pt x="443" y="22"/>
                  </a:lnTo>
                  <a:lnTo>
                    <a:pt x="441" y="21"/>
                  </a:lnTo>
                  <a:lnTo>
                    <a:pt x="438" y="19"/>
                  </a:lnTo>
                  <a:lnTo>
                    <a:pt x="434" y="18"/>
                  </a:lnTo>
                  <a:lnTo>
                    <a:pt x="432" y="17"/>
                  </a:lnTo>
                  <a:lnTo>
                    <a:pt x="429" y="17"/>
                  </a:lnTo>
                  <a:lnTo>
                    <a:pt x="426" y="14"/>
                  </a:lnTo>
                  <a:lnTo>
                    <a:pt x="424" y="14"/>
                  </a:lnTo>
                  <a:lnTo>
                    <a:pt x="421" y="14"/>
                  </a:lnTo>
                  <a:lnTo>
                    <a:pt x="417" y="13"/>
                  </a:lnTo>
                  <a:lnTo>
                    <a:pt x="415" y="12"/>
                  </a:lnTo>
                  <a:lnTo>
                    <a:pt x="412" y="12"/>
                  </a:lnTo>
                  <a:lnTo>
                    <a:pt x="409" y="13"/>
                  </a:lnTo>
                  <a:lnTo>
                    <a:pt x="412" y="14"/>
                  </a:lnTo>
                  <a:lnTo>
                    <a:pt x="408" y="14"/>
                  </a:lnTo>
                  <a:lnTo>
                    <a:pt x="406" y="14"/>
                  </a:lnTo>
                  <a:lnTo>
                    <a:pt x="404" y="14"/>
                  </a:lnTo>
                  <a:lnTo>
                    <a:pt x="400" y="14"/>
                  </a:lnTo>
                  <a:lnTo>
                    <a:pt x="404" y="15"/>
                  </a:lnTo>
                  <a:lnTo>
                    <a:pt x="406" y="16"/>
                  </a:lnTo>
                  <a:lnTo>
                    <a:pt x="413" y="17"/>
                  </a:lnTo>
                  <a:lnTo>
                    <a:pt x="409" y="17"/>
                  </a:lnTo>
                  <a:lnTo>
                    <a:pt x="406" y="16"/>
                  </a:lnTo>
                  <a:lnTo>
                    <a:pt x="404" y="17"/>
                  </a:lnTo>
                  <a:lnTo>
                    <a:pt x="400" y="17"/>
                  </a:lnTo>
                  <a:lnTo>
                    <a:pt x="398" y="16"/>
                  </a:lnTo>
                  <a:lnTo>
                    <a:pt x="395" y="16"/>
                  </a:lnTo>
                  <a:lnTo>
                    <a:pt x="389" y="16"/>
                  </a:lnTo>
                  <a:lnTo>
                    <a:pt x="386" y="17"/>
                  </a:lnTo>
                  <a:lnTo>
                    <a:pt x="383" y="16"/>
                  </a:lnTo>
                  <a:lnTo>
                    <a:pt x="380" y="17"/>
                  </a:lnTo>
                  <a:lnTo>
                    <a:pt x="378" y="17"/>
                  </a:lnTo>
                  <a:lnTo>
                    <a:pt x="380" y="18"/>
                  </a:lnTo>
                  <a:lnTo>
                    <a:pt x="383" y="19"/>
                  </a:lnTo>
                  <a:lnTo>
                    <a:pt x="386" y="22"/>
                  </a:lnTo>
                  <a:lnTo>
                    <a:pt x="389" y="22"/>
                  </a:lnTo>
                  <a:lnTo>
                    <a:pt x="391" y="23"/>
                  </a:lnTo>
                  <a:lnTo>
                    <a:pt x="395" y="23"/>
                  </a:lnTo>
                  <a:lnTo>
                    <a:pt x="397" y="24"/>
                  </a:lnTo>
                  <a:lnTo>
                    <a:pt x="400" y="24"/>
                  </a:lnTo>
                  <a:lnTo>
                    <a:pt x="406" y="24"/>
                  </a:lnTo>
                  <a:lnTo>
                    <a:pt x="401" y="24"/>
                  </a:lnTo>
                  <a:lnTo>
                    <a:pt x="398" y="24"/>
                  </a:lnTo>
                  <a:lnTo>
                    <a:pt x="395" y="24"/>
                  </a:lnTo>
                  <a:lnTo>
                    <a:pt x="391" y="23"/>
                  </a:lnTo>
                  <a:lnTo>
                    <a:pt x="389" y="23"/>
                  </a:lnTo>
                  <a:lnTo>
                    <a:pt x="383" y="24"/>
                  </a:lnTo>
                  <a:lnTo>
                    <a:pt x="383" y="24"/>
                  </a:lnTo>
                  <a:lnTo>
                    <a:pt x="382" y="22"/>
                  </a:lnTo>
                  <a:lnTo>
                    <a:pt x="379" y="21"/>
                  </a:lnTo>
                  <a:lnTo>
                    <a:pt x="375" y="21"/>
                  </a:lnTo>
                  <a:lnTo>
                    <a:pt x="373" y="18"/>
                  </a:lnTo>
                  <a:lnTo>
                    <a:pt x="370" y="18"/>
                  </a:lnTo>
                  <a:lnTo>
                    <a:pt x="367" y="19"/>
                  </a:lnTo>
                  <a:lnTo>
                    <a:pt x="364" y="19"/>
                  </a:lnTo>
                  <a:lnTo>
                    <a:pt x="362" y="22"/>
                  </a:lnTo>
                  <a:lnTo>
                    <a:pt x="364" y="22"/>
                  </a:lnTo>
                  <a:lnTo>
                    <a:pt x="367" y="22"/>
                  </a:lnTo>
                  <a:lnTo>
                    <a:pt x="371" y="24"/>
                  </a:lnTo>
                  <a:lnTo>
                    <a:pt x="367" y="23"/>
                  </a:lnTo>
                  <a:lnTo>
                    <a:pt x="364" y="23"/>
                  </a:lnTo>
                  <a:lnTo>
                    <a:pt x="361" y="24"/>
                  </a:lnTo>
                  <a:lnTo>
                    <a:pt x="364" y="25"/>
                  </a:lnTo>
                  <a:lnTo>
                    <a:pt x="366" y="26"/>
                  </a:lnTo>
                  <a:lnTo>
                    <a:pt x="370" y="26"/>
                  </a:lnTo>
                  <a:lnTo>
                    <a:pt x="373" y="26"/>
                  </a:lnTo>
                  <a:lnTo>
                    <a:pt x="375" y="25"/>
                  </a:lnTo>
                  <a:lnTo>
                    <a:pt x="379" y="26"/>
                  </a:lnTo>
                  <a:lnTo>
                    <a:pt x="381" y="26"/>
                  </a:lnTo>
                  <a:lnTo>
                    <a:pt x="384" y="24"/>
                  </a:lnTo>
                  <a:lnTo>
                    <a:pt x="387" y="25"/>
                  </a:lnTo>
                  <a:lnTo>
                    <a:pt x="390" y="26"/>
                  </a:lnTo>
                  <a:lnTo>
                    <a:pt x="396" y="26"/>
                  </a:lnTo>
                  <a:lnTo>
                    <a:pt x="399" y="26"/>
                  </a:lnTo>
                  <a:lnTo>
                    <a:pt x="401" y="26"/>
                  </a:lnTo>
                  <a:lnTo>
                    <a:pt x="405" y="26"/>
                  </a:lnTo>
                  <a:lnTo>
                    <a:pt x="410" y="26"/>
                  </a:lnTo>
                  <a:lnTo>
                    <a:pt x="413" y="26"/>
                  </a:lnTo>
                  <a:lnTo>
                    <a:pt x="423" y="26"/>
                  </a:lnTo>
                  <a:lnTo>
                    <a:pt x="425" y="26"/>
                  </a:lnTo>
                  <a:lnTo>
                    <a:pt x="429" y="27"/>
                  </a:lnTo>
                  <a:lnTo>
                    <a:pt x="438" y="29"/>
                  </a:lnTo>
                  <a:lnTo>
                    <a:pt x="441" y="30"/>
                  </a:lnTo>
                  <a:lnTo>
                    <a:pt x="443" y="31"/>
                  </a:lnTo>
                  <a:lnTo>
                    <a:pt x="447" y="31"/>
                  </a:lnTo>
                  <a:lnTo>
                    <a:pt x="450" y="31"/>
                  </a:lnTo>
                  <a:lnTo>
                    <a:pt x="453" y="32"/>
                  </a:lnTo>
                  <a:lnTo>
                    <a:pt x="455" y="34"/>
                  </a:lnTo>
                  <a:lnTo>
                    <a:pt x="453" y="38"/>
                  </a:lnTo>
                  <a:lnTo>
                    <a:pt x="455" y="40"/>
                  </a:lnTo>
                  <a:lnTo>
                    <a:pt x="455" y="43"/>
                  </a:lnTo>
                  <a:lnTo>
                    <a:pt x="451" y="41"/>
                  </a:lnTo>
                  <a:lnTo>
                    <a:pt x="451" y="38"/>
                  </a:lnTo>
                  <a:lnTo>
                    <a:pt x="449" y="35"/>
                  </a:lnTo>
                  <a:lnTo>
                    <a:pt x="446" y="35"/>
                  </a:lnTo>
                  <a:lnTo>
                    <a:pt x="443" y="34"/>
                  </a:lnTo>
                  <a:lnTo>
                    <a:pt x="440" y="33"/>
                  </a:lnTo>
                  <a:lnTo>
                    <a:pt x="438" y="32"/>
                  </a:lnTo>
                  <a:lnTo>
                    <a:pt x="434" y="31"/>
                  </a:lnTo>
                  <a:lnTo>
                    <a:pt x="432" y="31"/>
                  </a:lnTo>
                  <a:lnTo>
                    <a:pt x="429" y="32"/>
                  </a:lnTo>
                  <a:lnTo>
                    <a:pt x="431" y="34"/>
                  </a:lnTo>
                  <a:lnTo>
                    <a:pt x="432" y="38"/>
                  </a:lnTo>
                  <a:lnTo>
                    <a:pt x="429" y="39"/>
                  </a:lnTo>
                  <a:lnTo>
                    <a:pt x="427" y="35"/>
                  </a:lnTo>
                  <a:lnTo>
                    <a:pt x="427" y="33"/>
                  </a:lnTo>
                  <a:lnTo>
                    <a:pt x="425" y="32"/>
                  </a:lnTo>
                  <a:lnTo>
                    <a:pt x="423" y="30"/>
                  </a:lnTo>
                  <a:lnTo>
                    <a:pt x="419" y="29"/>
                  </a:lnTo>
                  <a:lnTo>
                    <a:pt x="417" y="29"/>
                  </a:lnTo>
                  <a:lnTo>
                    <a:pt x="414" y="29"/>
                  </a:lnTo>
                  <a:lnTo>
                    <a:pt x="412" y="29"/>
                  </a:lnTo>
                  <a:lnTo>
                    <a:pt x="402" y="29"/>
                  </a:lnTo>
                  <a:lnTo>
                    <a:pt x="399" y="29"/>
                  </a:lnTo>
                  <a:lnTo>
                    <a:pt x="397" y="30"/>
                  </a:lnTo>
                  <a:lnTo>
                    <a:pt x="391" y="30"/>
                  </a:lnTo>
                  <a:lnTo>
                    <a:pt x="388" y="29"/>
                  </a:lnTo>
                  <a:lnTo>
                    <a:pt x="384" y="29"/>
                  </a:lnTo>
                  <a:lnTo>
                    <a:pt x="382" y="29"/>
                  </a:lnTo>
                  <a:lnTo>
                    <a:pt x="379" y="29"/>
                  </a:lnTo>
                  <a:lnTo>
                    <a:pt x="375" y="31"/>
                  </a:lnTo>
                  <a:lnTo>
                    <a:pt x="379" y="32"/>
                  </a:lnTo>
                  <a:lnTo>
                    <a:pt x="381" y="33"/>
                  </a:lnTo>
                  <a:lnTo>
                    <a:pt x="384" y="34"/>
                  </a:lnTo>
                  <a:lnTo>
                    <a:pt x="387" y="35"/>
                  </a:lnTo>
                  <a:lnTo>
                    <a:pt x="390" y="36"/>
                  </a:lnTo>
                  <a:lnTo>
                    <a:pt x="392" y="39"/>
                  </a:lnTo>
                  <a:lnTo>
                    <a:pt x="396" y="40"/>
                  </a:lnTo>
                  <a:lnTo>
                    <a:pt x="398" y="40"/>
                  </a:lnTo>
                  <a:lnTo>
                    <a:pt x="401" y="41"/>
                  </a:lnTo>
                  <a:lnTo>
                    <a:pt x="400" y="44"/>
                  </a:lnTo>
                  <a:lnTo>
                    <a:pt x="404" y="44"/>
                  </a:lnTo>
                  <a:lnTo>
                    <a:pt x="406" y="45"/>
                  </a:lnTo>
                  <a:lnTo>
                    <a:pt x="409" y="45"/>
                  </a:lnTo>
                  <a:lnTo>
                    <a:pt x="413" y="45"/>
                  </a:lnTo>
                  <a:lnTo>
                    <a:pt x="415" y="45"/>
                  </a:lnTo>
                  <a:lnTo>
                    <a:pt x="418" y="47"/>
                  </a:lnTo>
                  <a:lnTo>
                    <a:pt x="421" y="48"/>
                  </a:lnTo>
                  <a:lnTo>
                    <a:pt x="417" y="48"/>
                  </a:lnTo>
                  <a:lnTo>
                    <a:pt x="415" y="47"/>
                  </a:lnTo>
                  <a:lnTo>
                    <a:pt x="412" y="47"/>
                  </a:lnTo>
                  <a:lnTo>
                    <a:pt x="408" y="47"/>
                  </a:lnTo>
                  <a:lnTo>
                    <a:pt x="406" y="47"/>
                  </a:lnTo>
                  <a:lnTo>
                    <a:pt x="402" y="45"/>
                  </a:lnTo>
                  <a:lnTo>
                    <a:pt x="400" y="45"/>
                  </a:lnTo>
                  <a:lnTo>
                    <a:pt x="397" y="44"/>
                  </a:lnTo>
                  <a:lnTo>
                    <a:pt x="393" y="44"/>
                  </a:lnTo>
                  <a:lnTo>
                    <a:pt x="391" y="45"/>
                  </a:lnTo>
                  <a:lnTo>
                    <a:pt x="388" y="47"/>
                  </a:lnTo>
                  <a:lnTo>
                    <a:pt x="389" y="49"/>
                  </a:lnTo>
                  <a:lnTo>
                    <a:pt x="391" y="52"/>
                  </a:lnTo>
                  <a:lnTo>
                    <a:pt x="389" y="53"/>
                  </a:lnTo>
                  <a:lnTo>
                    <a:pt x="386" y="56"/>
                  </a:lnTo>
                  <a:lnTo>
                    <a:pt x="388" y="56"/>
                  </a:lnTo>
                  <a:lnTo>
                    <a:pt x="391" y="57"/>
                  </a:lnTo>
                  <a:lnTo>
                    <a:pt x="389" y="57"/>
                  </a:lnTo>
                  <a:lnTo>
                    <a:pt x="391" y="59"/>
                  </a:lnTo>
                  <a:lnTo>
                    <a:pt x="393" y="61"/>
                  </a:lnTo>
                  <a:lnTo>
                    <a:pt x="391" y="61"/>
                  </a:lnTo>
                  <a:lnTo>
                    <a:pt x="388" y="62"/>
                  </a:lnTo>
                  <a:lnTo>
                    <a:pt x="386" y="62"/>
                  </a:lnTo>
                  <a:lnTo>
                    <a:pt x="382" y="61"/>
                  </a:lnTo>
                  <a:lnTo>
                    <a:pt x="380" y="60"/>
                  </a:lnTo>
                  <a:lnTo>
                    <a:pt x="376" y="58"/>
                  </a:lnTo>
                  <a:lnTo>
                    <a:pt x="373" y="57"/>
                  </a:lnTo>
                  <a:lnTo>
                    <a:pt x="371" y="57"/>
                  </a:lnTo>
                  <a:lnTo>
                    <a:pt x="370" y="53"/>
                  </a:lnTo>
                  <a:lnTo>
                    <a:pt x="366" y="52"/>
                  </a:lnTo>
                  <a:lnTo>
                    <a:pt x="364" y="51"/>
                  </a:lnTo>
                  <a:lnTo>
                    <a:pt x="361" y="51"/>
                  </a:lnTo>
                  <a:lnTo>
                    <a:pt x="358" y="50"/>
                  </a:lnTo>
                  <a:lnTo>
                    <a:pt x="355" y="50"/>
                  </a:lnTo>
                  <a:lnTo>
                    <a:pt x="353" y="49"/>
                  </a:lnTo>
                  <a:lnTo>
                    <a:pt x="347" y="47"/>
                  </a:lnTo>
                  <a:lnTo>
                    <a:pt x="344" y="45"/>
                  </a:lnTo>
                  <a:lnTo>
                    <a:pt x="341" y="44"/>
                  </a:lnTo>
                  <a:lnTo>
                    <a:pt x="338" y="44"/>
                  </a:lnTo>
                  <a:lnTo>
                    <a:pt x="335" y="44"/>
                  </a:lnTo>
                  <a:lnTo>
                    <a:pt x="332" y="42"/>
                  </a:lnTo>
                  <a:lnTo>
                    <a:pt x="329" y="40"/>
                  </a:lnTo>
                  <a:lnTo>
                    <a:pt x="327" y="39"/>
                  </a:lnTo>
                  <a:lnTo>
                    <a:pt x="321" y="38"/>
                  </a:lnTo>
                  <a:lnTo>
                    <a:pt x="318" y="38"/>
                  </a:lnTo>
                  <a:lnTo>
                    <a:pt x="314" y="38"/>
                  </a:lnTo>
                  <a:lnTo>
                    <a:pt x="312" y="38"/>
                  </a:lnTo>
                  <a:lnTo>
                    <a:pt x="308" y="38"/>
                  </a:lnTo>
                  <a:lnTo>
                    <a:pt x="303" y="38"/>
                  </a:lnTo>
                  <a:lnTo>
                    <a:pt x="302" y="41"/>
                  </a:lnTo>
                  <a:lnTo>
                    <a:pt x="304" y="43"/>
                  </a:lnTo>
                  <a:lnTo>
                    <a:pt x="305" y="45"/>
                  </a:lnTo>
                  <a:lnTo>
                    <a:pt x="306" y="49"/>
                  </a:lnTo>
                  <a:lnTo>
                    <a:pt x="308" y="50"/>
                  </a:lnTo>
                  <a:lnTo>
                    <a:pt x="312" y="51"/>
                  </a:lnTo>
                  <a:lnTo>
                    <a:pt x="314" y="53"/>
                  </a:lnTo>
                  <a:lnTo>
                    <a:pt x="316" y="55"/>
                  </a:lnTo>
                  <a:lnTo>
                    <a:pt x="320" y="56"/>
                  </a:lnTo>
                  <a:lnTo>
                    <a:pt x="322" y="57"/>
                  </a:lnTo>
                  <a:lnTo>
                    <a:pt x="320" y="59"/>
                  </a:lnTo>
                  <a:lnTo>
                    <a:pt x="316" y="59"/>
                  </a:lnTo>
                  <a:lnTo>
                    <a:pt x="314" y="58"/>
                  </a:lnTo>
                  <a:lnTo>
                    <a:pt x="311" y="58"/>
                  </a:lnTo>
                  <a:lnTo>
                    <a:pt x="308" y="58"/>
                  </a:lnTo>
                  <a:lnTo>
                    <a:pt x="305" y="57"/>
                  </a:lnTo>
                  <a:lnTo>
                    <a:pt x="302" y="57"/>
                  </a:lnTo>
                  <a:lnTo>
                    <a:pt x="304" y="59"/>
                  </a:lnTo>
                  <a:lnTo>
                    <a:pt x="306" y="60"/>
                  </a:lnTo>
                  <a:lnTo>
                    <a:pt x="310" y="62"/>
                  </a:lnTo>
                  <a:lnTo>
                    <a:pt x="312" y="62"/>
                  </a:lnTo>
                  <a:lnTo>
                    <a:pt x="315" y="64"/>
                  </a:lnTo>
                  <a:lnTo>
                    <a:pt x="318" y="66"/>
                  </a:lnTo>
                  <a:lnTo>
                    <a:pt x="321" y="67"/>
                  </a:lnTo>
                  <a:lnTo>
                    <a:pt x="319" y="68"/>
                  </a:lnTo>
                  <a:lnTo>
                    <a:pt x="315" y="67"/>
                  </a:lnTo>
                  <a:lnTo>
                    <a:pt x="313" y="66"/>
                  </a:lnTo>
                  <a:lnTo>
                    <a:pt x="311" y="64"/>
                  </a:lnTo>
                  <a:lnTo>
                    <a:pt x="308" y="64"/>
                  </a:lnTo>
                  <a:lnTo>
                    <a:pt x="305" y="62"/>
                  </a:lnTo>
                  <a:lnTo>
                    <a:pt x="303" y="60"/>
                  </a:lnTo>
                  <a:lnTo>
                    <a:pt x="299" y="59"/>
                  </a:lnTo>
                  <a:lnTo>
                    <a:pt x="297" y="58"/>
                  </a:lnTo>
                  <a:lnTo>
                    <a:pt x="290" y="58"/>
                  </a:lnTo>
                  <a:lnTo>
                    <a:pt x="288" y="57"/>
                  </a:lnTo>
                  <a:lnTo>
                    <a:pt x="285" y="56"/>
                  </a:lnTo>
                  <a:lnTo>
                    <a:pt x="281" y="55"/>
                  </a:lnTo>
                  <a:lnTo>
                    <a:pt x="279" y="55"/>
                  </a:lnTo>
                  <a:lnTo>
                    <a:pt x="277" y="53"/>
                  </a:lnTo>
                  <a:lnTo>
                    <a:pt x="276" y="57"/>
                  </a:lnTo>
                  <a:lnTo>
                    <a:pt x="276" y="59"/>
                  </a:lnTo>
                  <a:lnTo>
                    <a:pt x="273" y="61"/>
                  </a:lnTo>
                  <a:lnTo>
                    <a:pt x="271" y="64"/>
                  </a:lnTo>
                  <a:lnTo>
                    <a:pt x="268" y="66"/>
                  </a:lnTo>
                  <a:lnTo>
                    <a:pt x="268" y="68"/>
                  </a:lnTo>
                  <a:lnTo>
                    <a:pt x="268" y="70"/>
                  </a:lnTo>
                  <a:lnTo>
                    <a:pt x="265" y="70"/>
                  </a:lnTo>
                  <a:lnTo>
                    <a:pt x="264" y="68"/>
                  </a:lnTo>
                  <a:lnTo>
                    <a:pt x="263" y="65"/>
                  </a:lnTo>
                  <a:lnTo>
                    <a:pt x="265" y="62"/>
                  </a:lnTo>
                  <a:lnTo>
                    <a:pt x="268" y="59"/>
                  </a:lnTo>
                  <a:lnTo>
                    <a:pt x="268" y="57"/>
                  </a:lnTo>
                  <a:lnTo>
                    <a:pt x="267" y="53"/>
                  </a:lnTo>
                  <a:lnTo>
                    <a:pt x="268" y="51"/>
                  </a:lnTo>
                  <a:lnTo>
                    <a:pt x="264" y="49"/>
                  </a:lnTo>
                  <a:lnTo>
                    <a:pt x="262" y="45"/>
                  </a:lnTo>
                  <a:lnTo>
                    <a:pt x="259" y="44"/>
                  </a:lnTo>
                  <a:lnTo>
                    <a:pt x="256" y="43"/>
                  </a:lnTo>
                  <a:lnTo>
                    <a:pt x="253" y="43"/>
                  </a:lnTo>
                  <a:lnTo>
                    <a:pt x="251" y="43"/>
                  </a:lnTo>
                  <a:lnTo>
                    <a:pt x="247" y="44"/>
                  </a:lnTo>
                  <a:lnTo>
                    <a:pt x="245" y="44"/>
                  </a:lnTo>
                  <a:lnTo>
                    <a:pt x="242" y="44"/>
                  </a:lnTo>
                  <a:lnTo>
                    <a:pt x="239" y="45"/>
                  </a:lnTo>
                  <a:lnTo>
                    <a:pt x="242" y="45"/>
                  </a:lnTo>
                  <a:lnTo>
                    <a:pt x="245" y="47"/>
                  </a:lnTo>
                  <a:lnTo>
                    <a:pt x="246" y="49"/>
                  </a:lnTo>
                  <a:lnTo>
                    <a:pt x="243" y="49"/>
                  </a:lnTo>
                  <a:lnTo>
                    <a:pt x="241" y="47"/>
                  </a:lnTo>
                  <a:lnTo>
                    <a:pt x="238" y="47"/>
                  </a:lnTo>
                  <a:lnTo>
                    <a:pt x="235" y="45"/>
                  </a:lnTo>
                  <a:lnTo>
                    <a:pt x="233" y="47"/>
                  </a:lnTo>
                  <a:lnTo>
                    <a:pt x="230" y="49"/>
                  </a:lnTo>
                  <a:lnTo>
                    <a:pt x="228" y="48"/>
                  </a:lnTo>
                  <a:lnTo>
                    <a:pt x="225" y="48"/>
                  </a:lnTo>
                  <a:lnTo>
                    <a:pt x="222" y="48"/>
                  </a:lnTo>
                  <a:lnTo>
                    <a:pt x="219" y="49"/>
                  </a:lnTo>
                  <a:lnTo>
                    <a:pt x="216" y="49"/>
                  </a:lnTo>
                  <a:lnTo>
                    <a:pt x="213" y="49"/>
                  </a:lnTo>
                  <a:lnTo>
                    <a:pt x="210" y="50"/>
                  </a:lnTo>
                  <a:lnTo>
                    <a:pt x="208" y="50"/>
                  </a:lnTo>
                  <a:lnTo>
                    <a:pt x="204" y="50"/>
                  </a:lnTo>
                  <a:lnTo>
                    <a:pt x="202" y="51"/>
                  </a:lnTo>
                  <a:lnTo>
                    <a:pt x="199" y="51"/>
                  </a:lnTo>
                  <a:lnTo>
                    <a:pt x="196" y="52"/>
                  </a:lnTo>
                  <a:lnTo>
                    <a:pt x="193" y="53"/>
                  </a:lnTo>
                  <a:lnTo>
                    <a:pt x="187" y="55"/>
                  </a:lnTo>
                  <a:lnTo>
                    <a:pt x="191" y="57"/>
                  </a:lnTo>
                  <a:lnTo>
                    <a:pt x="193" y="57"/>
                  </a:lnTo>
                  <a:lnTo>
                    <a:pt x="195" y="58"/>
                  </a:lnTo>
                  <a:lnTo>
                    <a:pt x="199" y="59"/>
                  </a:lnTo>
                  <a:lnTo>
                    <a:pt x="201" y="61"/>
                  </a:lnTo>
                  <a:lnTo>
                    <a:pt x="203" y="65"/>
                  </a:lnTo>
                  <a:lnTo>
                    <a:pt x="207" y="66"/>
                  </a:lnTo>
                  <a:lnTo>
                    <a:pt x="209" y="66"/>
                  </a:lnTo>
                  <a:lnTo>
                    <a:pt x="212" y="68"/>
                  </a:lnTo>
                  <a:lnTo>
                    <a:pt x="216" y="69"/>
                  </a:lnTo>
                  <a:lnTo>
                    <a:pt x="218" y="72"/>
                  </a:lnTo>
                  <a:lnTo>
                    <a:pt x="221" y="74"/>
                  </a:lnTo>
                  <a:lnTo>
                    <a:pt x="224" y="75"/>
                  </a:lnTo>
                  <a:lnTo>
                    <a:pt x="227" y="76"/>
                  </a:lnTo>
                  <a:lnTo>
                    <a:pt x="224" y="75"/>
                  </a:lnTo>
                  <a:lnTo>
                    <a:pt x="218" y="74"/>
                  </a:lnTo>
                  <a:lnTo>
                    <a:pt x="216" y="72"/>
                  </a:lnTo>
                  <a:lnTo>
                    <a:pt x="212" y="70"/>
                  </a:lnTo>
                  <a:lnTo>
                    <a:pt x="210" y="68"/>
                  </a:lnTo>
                  <a:lnTo>
                    <a:pt x="207" y="68"/>
                  </a:lnTo>
                  <a:lnTo>
                    <a:pt x="204" y="67"/>
                  </a:lnTo>
                  <a:lnTo>
                    <a:pt x="201" y="67"/>
                  </a:lnTo>
                  <a:lnTo>
                    <a:pt x="199" y="66"/>
                  </a:lnTo>
                  <a:lnTo>
                    <a:pt x="196" y="64"/>
                  </a:lnTo>
                  <a:lnTo>
                    <a:pt x="195" y="60"/>
                  </a:lnTo>
                  <a:lnTo>
                    <a:pt x="193" y="59"/>
                  </a:lnTo>
                  <a:lnTo>
                    <a:pt x="186" y="58"/>
                  </a:lnTo>
                  <a:lnTo>
                    <a:pt x="184" y="58"/>
                  </a:lnTo>
                  <a:lnTo>
                    <a:pt x="180" y="57"/>
                  </a:lnTo>
                  <a:lnTo>
                    <a:pt x="178" y="57"/>
                  </a:lnTo>
                  <a:lnTo>
                    <a:pt x="176" y="57"/>
                  </a:lnTo>
                  <a:lnTo>
                    <a:pt x="174" y="58"/>
                  </a:lnTo>
                  <a:lnTo>
                    <a:pt x="170" y="58"/>
                  </a:lnTo>
                  <a:lnTo>
                    <a:pt x="168" y="59"/>
                  </a:lnTo>
                  <a:lnTo>
                    <a:pt x="165" y="60"/>
                  </a:lnTo>
                  <a:lnTo>
                    <a:pt x="162" y="61"/>
                  </a:lnTo>
                  <a:lnTo>
                    <a:pt x="159" y="62"/>
                  </a:lnTo>
                  <a:lnTo>
                    <a:pt x="161" y="66"/>
                  </a:lnTo>
                  <a:lnTo>
                    <a:pt x="163" y="68"/>
                  </a:lnTo>
                  <a:lnTo>
                    <a:pt x="167" y="70"/>
                  </a:lnTo>
                  <a:lnTo>
                    <a:pt x="167" y="73"/>
                  </a:lnTo>
                  <a:lnTo>
                    <a:pt x="165" y="74"/>
                  </a:lnTo>
                  <a:lnTo>
                    <a:pt x="162" y="77"/>
                  </a:lnTo>
                  <a:lnTo>
                    <a:pt x="163" y="79"/>
                  </a:lnTo>
                  <a:lnTo>
                    <a:pt x="166" y="83"/>
                  </a:lnTo>
                  <a:lnTo>
                    <a:pt x="163" y="84"/>
                  </a:lnTo>
                  <a:lnTo>
                    <a:pt x="160" y="84"/>
                  </a:lnTo>
                  <a:lnTo>
                    <a:pt x="158" y="85"/>
                  </a:lnTo>
                  <a:lnTo>
                    <a:pt x="154" y="84"/>
                  </a:lnTo>
                  <a:lnTo>
                    <a:pt x="152" y="83"/>
                  </a:lnTo>
                  <a:lnTo>
                    <a:pt x="149" y="82"/>
                  </a:lnTo>
                  <a:lnTo>
                    <a:pt x="147" y="81"/>
                  </a:lnTo>
                  <a:lnTo>
                    <a:pt x="143" y="81"/>
                  </a:lnTo>
                  <a:lnTo>
                    <a:pt x="140" y="81"/>
                  </a:lnTo>
                  <a:lnTo>
                    <a:pt x="137" y="81"/>
                  </a:lnTo>
                  <a:lnTo>
                    <a:pt x="134" y="82"/>
                  </a:lnTo>
                  <a:lnTo>
                    <a:pt x="133" y="84"/>
                  </a:lnTo>
                  <a:lnTo>
                    <a:pt x="134" y="87"/>
                  </a:lnTo>
                  <a:lnTo>
                    <a:pt x="136" y="90"/>
                  </a:lnTo>
                  <a:lnTo>
                    <a:pt x="139" y="92"/>
                  </a:lnTo>
                  <a:lnTo>
                    <a:pt x="141" y="95"/>
                  </a:lnTo>
                  <a:lnTo>
                    <a:pt x="139" y="94"/>
                  </a:lnTo>
                  <a:lnTo>
                    <a:pt x="136" y="92"/>
                  </a:lnTo>
                  <a:lnTo>
                    <a:pt x="134" y="89"/>
                  </a:lnTo>
                  <a:lnTo>
                    <a:pt x="132" y="86"/>
                  </a:lnTo>
                  <a:lnTo>
                    <a:pt x="131" y="84"/>
                  </a:lnTo>
                  <a:lnTo>
                    <a:pt x="128" y="83"/>
                  </a:lnTo>
                  <a:lnTo>
                    <a:pt x="125" y="85"/>
                  </a:lnTo>
                  <a:lnTo>
                    <a:pt x="123" y="86"/>
                  </a:lnTo>
                  <a:lnTo>
                    <a:pt x="119" y="87"/>
                  </a:lnTo>
                  <a:lnTo>
                    <a:pt x="117" y="87"/>
                  </a:lnTo>
                  <a:lnTo>
                    <a:pt x="114" y="87"/>
                  </a:lnTo>
                  <a:lnTo>
                    <a:pt x="113" y="91"/>
                  </a:lnTo>
                  <a:lnTo>
                    <a:pt x="110" y="92"/>
                  </a:lnTo>
                  <a:lnTo>
                    <a:pt x="109" y="94"/>
                  </a:lnTo>
                  <a:lnTo>
                    <a:pt x="107" y="95"/>
                  </a:lnTo>
                  <a:lnTo>
                    <a:pt x="103" y="96"/>
                  </a:lnTo>
                  <a:lnTo>
                    <a:pt x="101" y="98"/>
                  </a:lnTo>
                  <a:lnTo>
                    <a:pt x="103" y="99"/>
                  </a:lnTo>
                  <a:lnTo>
                    <a:pt x="101" y="99"/>
                  </a:lnTo>
                  <a:lnTo>
                    <a:pt x="98" y="98"/>
                  </a:lnTo>
                  <a:lnTo>
                    <a:pt x="94" y="100"/>
                  </a:lnTo>
                  <a:lnTo>
                    <a:pt x="92" y="101"/>
                  </a:lnTo>
                  <a:lnTo>
                    <a:pt x="89" y="101"/>
                  </a:lnTo>
                  <a:lnTo>
                    <a:pt x="86" y="102"/>
                  </a:lnTo>
                  <a:lnTo>
                    <a:pt x="85" y="106"/>
                  </a:lnTo>
                  <a:lnTo>
                    <a:pt x="82" y="107"/>
                  </a:lnTo>
                  <a:lnTo>
                    <a:pt x="80" y="108"/>
                  </a:lnTo>
                  <a:lnTo>
                    <a:pt x="76" y="109"/>
                  </a:lnTo>
                  <a:lnTo>
                    <a:pt x="76" y="111"/>
                  </a:lnTo>
                  <a:lnTo>
                    <a:pt x="79" y="115"/>
                  </a:lnTo>
                  <a:lnTo>
                    <a:pt x="82" y="116"/>
                  </a:lnTo>
                  <a:lnTo>
                    <a:pt x="84" y="118"/>
                  </a:lnTo>
                  <a:lnTo>
                    <a:pt x="88" y="117"/>
                  </a:lnTo>
                  <a:lnTo>
                    <a:pt x="90" y="117"/>
                  </a:lnTo>
                  <a:lnTo>
                    <a:pt x="93" y="117"/>
                  </a:lnTo>
                  <a:lnTo>
                    <a:pt x="96" y="119"/>
                  </a:lnTo>
                  <a:lnTo>
                    <a:pt x="99" y="119"/>
                  </a:lnTo>
                  <a:lnTo>
                    <a:pt x="101" y="118"/>
                  </a:lnTo>
                  <a:lnTo>
                    <a:pt x="105" y="117"/>
                  </a:lnTo>
                  <a:lnTo>
                    <a:pt x="108" y="117"/>
                  </a:lnTo>
                  <a:lnTo>
                    <a:pt x="110" y="117"/>
                  </a:lnTo>
                  <a:lnTo>
                    <a:pt x="113" y="117"/>
                  </a:lnTo>
                  <a:lnTo>
                    <a:pt x="116" y="117"/>
                  </a:lnTo>
                  <a:lnTo>
                    <a:pt x="119" y="116"/>
                  </a:lnTo>
                  <a:lnTo>
                    <a:pt x="122" y="113"/>
                  </a:lnTo>
                  <a:lnTo>
                    <a:pt x="124" y="115"/>
                  </a:lnTo>
                  <a:lnTo>
                    <a:pt x="127" y="115"/>
                  </a:lnTo>
                  <a:lnTo>
                    <a:pt x="122" y="116"/>
                  </a:lnTo>
                  <a:lnTo>
                    <a:pt x="118" y="117"/>
                  </a:lnTo>
                  <a:lnTo>
                    <a:pt x="113" y="118"/>
                  </a:lnTo>
                  <a:lnTo>
                    <a:pt x="109" y="119"/>
                  </a:lnTo>
                  <a:lnTo>
                    <a:pt x="110" y="122"/>
                  </a:lnTo>
                  <a:lnTo>
                    <a:pt x="110" y="125"/>
                  </a:lnTo>
                  <a:lnTo>
                    <a:pt x="111" y="127"/>
                  </a:lnTo>
                  <a:lnTo>
                    <a:pt x="110" y="130"/>
                  </a:lnTo>
                  <a:lnTo>
                    <a:pt x="113" y="133"/>
                  </a:lnTo>
                  <a:lnTo>
                    <a:pt x="109" y="138"/>
                  </a:lnTo>
                  <a:lnTo>
                    <a:pt x="106" y="139"/>
                  </a:lnTo>
                  <a:lnTo>
                    <a:pt x="103" y="141"/>
                  </a:lnTo>
                  <a:lnTo>
                    <a:pt x="100" y="144"/>
                  </a:lnTo>
                  <a:lnTo>
                    <a:pt x="98" y="146"/>
                  </a:lnTo>
                  <a:lnTo>
                    <a:pt x="94" y="146"/>
                  </a:lnTo>
                  <a:lnTo>
                    <a:pt x="91" y="145"/>
                  </a:lnTo>
                  <a:lnTo>
                    <a:pt x="89" y="145"/>
                  </a:lnTo>
                  <a:lnTo>
                    <a:pt x="86" y="146"/>
                  </a:lnTo>
                  <a:lnTo>
                    <a:pt x="83" y="146"/>
                  </a:lnTo>
                  <a:lnTo>
                    <a:pt x="80" y="146"/>
                  </a:lnTo>
                  <a:lnTo>
                    <a:pt x="77" y="146"/>
                  </a:lnTo>
                  <a:lnTo>
                    <a:pt x="75" y="147"/>
                  </a:lnTo>
                  <a:lnTo>
                    <a:pt x="72" y="149"/>
                  </a:lnTo>
                  <a:lnTo>
                    <a:pt x="69" y="147"/>
                  </a:lnTo>
                  <a:lnTo>
                    <a:pt x="66" y="149"/>
                  </a:lnTo>
                  <a:lnTo>
                    <a:pt x="64" y="149"/>
                  </a:lnTo>
                  <a:lnTo>
                    <a:pt x="60" y="150"/>
                  </a:lnTo>
                  <a:lnTo>
                    <a:pt x="58" y="150"/>
                  </a:lnTo>
                  <a:lnTo>
                    <a:pt x="55" y="151"/>
                  </a:lnTo>
                  <a:lnTo>
                    <a:pt x="57" y="153"/>
                  </a:lnTo>
                  <a:lnTo>
                    <a:pt x="55" y="154"/>
                  </a:lnTo>
                  <a:lnTo>
                    <a:pt x="51" y="155"/>
                  </a:lnTo>
                  <a:lnTo>
                    <a:pt x="49" y="156"/>
                  </a:lnTo>
                  <a:lnTo>
                    <a:pt x="46" y="156"/>
                  </a:lnTo>
                  <a:lnTo>
                    <a:pt x="43" y="156"/>
                  </a:lnTo>
                  <a:lnTo>
                    <a:pt x="42" y="156"/>
                  </a:lnTo>
                  <a:lnTo>
                    <a:pt x="42" y="158"/>
                  </a:lnTo>
                  <a:lnTo>
                    <a:pt x="39" y="158"/>
                  </a:lnTo>
                  <a:lnTo>
                    <a:pt x="37" y="159"/>
                  </a:lnTo>
                  <a:lnTo>
                    <a:pt x="33" y="159"/>
                  </a:lnTo>
                  <a:lnTo>
                    <a:pt x="31" y="162"/>
                  </a:lnTo>
                  <a:lnTo>
                    <a:pt x="29" y="162"/>
                  </a:lnTo>
                  <a:lnTo>
                    <a:pt x="25" y="161"/>
                  </a:lnTo>
                  <a:lnTo>
                    <a:pt x="22" y="161"/>
                  </a:lnTo>
                  <a:lnTo>
                    <a:pt x="20" y="162"/>
                  </a:lnTo>
                  <a:lnTo>
                    <a:pt x="16" y="163"/>
                  </a:lnTo>
                  <a:lnTo>
                    <a:pt x="14" y="163"/>
                  </a:lnTo>
                  <a:lnTo>
                    <a:pt x="11" y="164"/>
                  </a:lnTo>
                  <a:lnTo>
                    <a:pt x="8" y="164"/>
                  </a:lnTo>
                  <a:lnTo>
                    <a:pt x="5" y="167"/>
                  </a:lnTo>
                  <a:lnTo>
                    <a:pt x="4" y="170"/>
                  </a:lnTo>
                  <a:lnTo>
                    <a:pt x="6" y="171"/>
                  </a:lnTo>
                  <a:lnTo>
                    <a:pt x="4" y="173"/>
                  </a:lnTo>
                  <a:lnTo>
                    <a:pt x="0" y="175"/>
                  </a:lnTo>
                  <a:lnTo>
                    <a:pt x="4" y="176"/>
                  </a:lnTo>
                  <a:lnTo>
                    <a:pt x="6" y="178"/>
                  </a:lnTo>
                  <a:lnTo>
                    <a:pt x="9" y="178"/>
                  </a:lnTo>
                  <a:lnTo>
                    <a:pt x="12" y="181"/>
                  </a:lnTo>
                  <a:lnTo>
                    <a:pt x="14" y="183"/>
                  </a:lnTo>
                  <a:lnTo>
                    <a:pt x="17" y="184"/>
                  </a:lnTo>
                  <a:lnTo>
                    <a:pt x="20" y="183"/>
                  </a:lnTo>
                  <a:lnTo>
                    <a:pt x="23" y="184"/>
                  </a:lnTo>
                  <a:lnTo>
                    <a:pt x="25" y="184"/>
                  </a:lnTo>
                  <a:lnTo>
                    <a:pt x="22" y="186"/>
                  </a:lnTo>
                  <a:lnTo>
                    <a:pt x="25" y="187"/>
                  </a:lnTo>
                  <a:lnTo>
                    <a:pt x="31" y="187"/>
                  </a:lnTo>
                  <a:lnTo>
                    <a:pt x="34" y="186"/>
                  </a:lnTo>
                  <a:lnTo>
                    <a:pt x="37" y="184"/>
                  </a:lnTo>
                  <a:lnTo>
                    <a:pt x="40" y="185"/>
                  </a:lnTo>
                  <a:lnTo>
                    <a:pt x="42" y="185"/>
                  </a:lnTo>
                  <a:lnTo>
                    <a:pt x="42" y="185"/>
                  </a:lnTo>
                  <a:lnTo>
                    <a:pt x="39" y="185"/>
                  </a:lnTo>
                  <a:lnTo>
                    <a:pt x="37" y="187"/>
                  </a:lnTo>
                  <a:lnTo>
                    <a:pt x="33" y="188"/>
                  </a:lnTo>
                  <a:lnTo>
                    <a:pt x="37" y="189"/>
                  </a:lnTo>
                  <a:lnTo>
                    <a:pt x="39" y="189"/>
                  </a:lnTo>
                  <a:lnTo>
                    <a:pt x="42" y="189"/>
                  </a:lnTo>
                  <a:lnTo>
                    <a:pt x="45" y="189"/>
                  </a:lnTo>
                  <a:lnTo>
                    <a:pt x="48" y="188"/>
                  </a:lnTo>
                  <a:lnTo>
                    <a:pt x="45" y="190"/>
                  </a:lnTo>
                  <a:lnTo>
                    <a:pt x="39" y="193"/>
                  </a:lnTo>
                  <a:lnTo>
                    <a:pt x="42" y="194"/>
                  </a:lnTo>
                  <a:lnTo>
                    <a:pt x="45" y="194"/>
                  </a:lnTo>
                  <a:lnTo>
                    <a:pt x="48" y="195"/>
                  </a:lnTo>
                  <a:lnTo>
                    <a:pt x="50" y="196"/>
                  </a:lnTo>
                  <a:lnTo>
                    <a:pt x="54" y="196"/>
                  </a:lnTo>
                  <a:lnTo>
                    <a:pt x="56" y="195"/>
                  </a:lnTo>
                  <a:lnTo>
                    <a:pt x="59" y="195"/>
                  </a:lnTo>
                  <a:lnTo>
                    <a:pt x="60" y="193"/>
                  </a:lnTo>
                  <a:lnTo>
                    <a:pt x="64" y="193"/>
                  </a:lnTo>
                  <a:lnTo>
                    <a:pt x="64" y="195"/>
                  </a:lnTo>
                  <a:lnTo>
                    <a:pt x="71" y="194"/>
                  </a:lnTo>
                  <a:lnTo>
                    <a:pt x="73" y="194"/>
                  </a:lnTo>
                  <a:lnTo>
                    <a:pt x="76" y="194"/>
                  </a:lnTo>
                  <a:lnTo>
                    <a:pt x="79" y="193"/>
                  </a:lnTo>
                  <a:lnTo>
                    <a:pt x="81" y="190"/>
                  </a:lnTo>
                  <a:lnTo>
                    <a:pt x="84" y="189"/>
                  </a:lnTo>
                  <a:lnTo>
                    <a:pt x="86" y="188"/>
                  </a:lnTo>
                  <a:lnTo>
                    <a:pt x="90" y="190"/>
                  </a:lnTo>
                  <a:lnTo>
                    <a:pt x="92" y="192"/>
                  </a:lnTo>
                  <a:lnTo>
                    <a:pt x="94" y="194"/>
                  </a:lnTo>
                  <a:lnTo>
                    <a:pt x="96" y="197"/>
                  </a:lnTo>
                  <a:lnTo>
                    <a:pt x="92" y="197"/>
                  </a:lnTo>
                  <a:lnTo>
                    <a:pt x="90" y="197"/>
                  </a:lnTo>
                  <a:lnTo>
                    <a:pt x="90" y="200"/>
                  </a:lnTo>
                  <a:lnTo>
                    <a:pt x="92" y="201"/>
                  </a:lnTo>
                  <a:lnTo>
                    <a:pt x="90" y="201"/>
                  </a:lnTo>
                  <a:lnTo>
                    <a:pt x="86" y="200"/>
                  </a:lnTo>
                  <a:lnTo>
                    <a:pt x="83" y="198"/>
                  </a:lnTo>
                  <a:lnTo>
                    <a:pt x="81" y="198"/>
                  </a:lnTo>
                  <a:lnTo>
                    <a:pt x="75" y="198"/>
                  </a:lnTo>
                  <a:lnTo>
                    <a:pt x="72" y="198"/>
                  </a:lnTo>
                  <a:lnTo>
                    <a:pt x="68" y="198"/>
                  </a:lnTo>
                  <a:lnTo>
                    <a:pt x="66" y="198"/>
                  </a:lnTo>
                  <a:lnTo>
                    <a:pt x="64" y="198"/>
                  </a:lnTo>
                  <a:lnTo>
                    <a:pt x="60" y="200"/>
                  </a:lnTo>
                  <a:lnTo>
                    <a:pt x="58" y="201"/>
                  </a:lnTo>
                  <a:lnTo>
                    <a:pt x="55" y="201"/>
                  </a:lnTo>
                  <a:lnTo>
                    <a:pt x="58" y="203"/>
                  </a:lnTo>
                  <a:lnTo>
                    <a:pt x="60" y="203"/>
                  </a:lnTo>
                  <a:lnTo>
                    <a:pt x="64" y="203"/>
                  </a:lnTo>
                  <a:lnTo>
                    <a:pt x="66" y="203"/>
                  </a:lnTo>
                  <a:lnTo>
                    <a:pt x="68" y="203"/>
                  </a:lnTo>
                  <a:lnTo>
                    <a:pt x="72" y="203"/>
                  </a:lnTo>
                  <a:lnTo>
                    <a:pt x="74" y="203"/>
                  </a:lnTo>
                  <a:lnTo>
                    <a:pt x="77" y="204"/>
                  </a:lnTo>
                  <a:lnTo>
                    <a:pt x="83" y="205"/>
                  </a:lnTo>
                  <a:lnTo>
                    <a:pt x="85" y="205"/>
                  </a:lnTo>
                  <a:lnTo>
                    <a:pt x="89" y="205"/>
                  </a:lnTo>
                  <a:lnTo>
                    <a:pt x="94" y="204"/>
                  </a:lnTo>
                  <a:lnTo>
                    <a:pt x="91" y="205"/>
                  </a:lnTo>
                  <a:lnTo>
                    <a:pt x="89" y="205"/>
                  </a:lnTo>
                  <a:lnTo>
                    <a:pt x="85" y="205"/>
                  </a:lnTo>
                  <a:lnTo>
                    <a:pt x="83" y="205"/>
                  </a:lnTo>
                  <a:lnTo>
                    <a:pt x="80" y="205"/>
                  </a:lnTo>
                  <a:lnTo>
                    <a:pt x="77" y="204"/>
                  </a:lnTo>
                  <a:lnTo>
                    <a:pt x="74" y="204"/>
                  </a:lnTo>
                  <a:lnTo>
                    <a:pt x="72" y="203"/>
                  </a:lnTo>
                  <a:lnTo>
                    <a:pt x="69" y="204"/>
                  </a:lnTo>
                  <a:lnTo>
                    <a:pt x="66" y="204"/>
                  </a:lnTo>
                  <a:lnTo>
                    <a:pt x="64" y="204"/>
                  </a:lnTo>
                  <a:lnTo>
                    <a:pt x="60" y="204"/>
                  </a:lnTo>
                  <a:lnTo>
                    <a:pt x="58" y="204"/>
                  </a:lnTo>
                  <a:lnTo>
                    <a:pt x="55" y="203"/>
                  </a:lnTo>
                  <a:lnTo>
                    <a:pt x="51" y="203"/>
                  </a:lnTo>
                  <a:lnTo>
                    <a:pt x="49" y="203"/>
                  </a:lnTo>
                  <a:lnTo>
                    <a:pt x="47" y="203"/>
                  </a:lnTo>
                  <a:lnTo>
                    <a:pt x="43" y="203"/>
                  </a:lnTo>
                  <a:lnTo>
                    <a:pt x="42" y="202"/>
                  </a:lnTo>
                  <a:lnTo>
                    <a:pt x="39" y="202"/>
                  </a:lnTo>
                  <a:lnTo>
                    <a:pt x="37" y="203"/>
                  </a:lnTo>
                  <a:lnTo>
                    <a:pt x="31" y="204"/>
                  </a:lnTo>
                  <a:lnTo>
                    <a:pt x="29" y="205"/>
                  </a:lnTo>
                  <a:lnTo>
                    <a:pt x="25" y="205"/>
                  </a:lnTo>
                  <a:lnTo>
                    <a:pt x="23" y="209"/>
                  </a:lnTo>
                  <a:lnTo>
                    <a:pt x="25" y="211"/>
                  </a:lnTo>
                  <a:lnTo>
                    <a:pt x="29" y="211"/>
                  </a:lnTo>
                  <a:lnTo>
                    <a:pt x="31" y="211"/>
                  </a:lnTo>
                  <a:lnTo>
                    <a:pt x="29" y="212"/>
                  </a:lnTo>
                  <a:lnTo>
                    <a:pt x="31" y="214"/>
                  </a:lnTo>
                  <a:lnTo>
                    <a:pt x="34" y="215"/>
                  </a:lnTo>
                  <a:lnTo>
                    <a:pt x="38" y="215"/>
                  </a:lnTo>
                  <a:lnTo>
                    <a:pt x="40" y="213"/>
                  </a:lnTo>
                  <a:lnTo>
                    <a:pt x="42" y="212"/>
                  </a:lnTo>
                  <a:lnTo>
                    <a:pt x="42" y="212"/>
                  </a:lnTo>
                  <a:lnTo>
                    <a:pt x="45" y="210"/>
                  </a:lnTo>
                  <a:lnTo>
                    <a:pt x="48" y="210"/>
                  </a:lnTo>
                  <a:lnTo>
                    <a:pt x="45" y="211"/>
                  </a:lnTo>
                  <a:lnTo>
                    <a:pt x="42" y="213"/>
                  </a:lnTo>
                  <a:lnTo>
                    <a:pt x="42" y="216"/>
                  </a:lnTo>
                  <a:lnTo>
                    <a:pt x="45" y="216"/>
                  </a:lnTo>
                  <a:lnTo>
                    <a:pt x="48" y="218"/>
                  </a:lnTo>
                  <a:lnTo>
                    <a:pt x="50" y="218"/>
                  </a:lnTo>
                  <a:lnTo>
                    <a:pt x="54" y="219"/>
                  </a:lnTo>
                  <a:lnTo>
                    <a:pt x="59" y="219"/>
                  </a:lnTo>
                  <a:lnTo>
                    <a:pt x="63" y="219"/>
                  </a:lnTo>
                  <a:lnTo>
                    <a:pt x="65" y="219"/>
                  </a:lnTo>
                  <a:lnTo>
                    <a:pt x="67" y="218"/>
                  </a:lnTo>
                  <a:lnTo>
                    <a:pt x="69" y="221"/>
                  </a:lnTo>
                  <a:lnTo>
                    <a:pt x="66" y="221"/>
                  </a:lnTo>
                  <a:lnTo>
                    <a:pt x="64" y="221"/>
                  </a:lnTo>
                  <a:lnTo>
                    <a:pt x="60" y="221"/>
                  </a:lnTo>
                  <a:lnTo>
                    <a:pt x="58" y="222"/>
                  </a:lnTo>
                  <a:lnTo>
                    <a:pt x="56" y="223"/>
                  </a:lnTo>
                  <a:lnTo>
                    <a:pt x="52" y="224"/>
                  </a:lnTo>
                  <a:lnTo>
                    <a:pt x="49" y="226"/>
                  </a:lnTo>
                  <a:lnTo>
                    <a:pt x="49" y="228"/>
                  </a:lnTo>
                  <a:lnTo>
                    <a:pt x="51" y="229"/>
                  </a:lnTo>
                  <a:lnTo>
                    <a:pt x="55" y="230"/>
                  </a:lnTo>
                  <a:lnTo>
                    <a:pt x="58" y="231"/>
                  </a:lnTo>
                  <a:lnTo>
                    <a:pt x="60" y="233"/>
                  </a:lnTo>
                  <a:lnTo>
                    <a:pt x="64" y="233"/>
                  </a:lnTo>
                  <a:lnTo>
                    <a:pt x="64" y="236"/>
                  </a:lnTo>
                  <a:lnTo>
                    <a:pt x="67" y="236"/>
                  </a:lnTo>
                  <a:lnTo>
                    <a:pt x="72" y="237"/>
                  </a:lnTo>
                  <a:lnTo>
                    <a:pt x="75" y="237"/>
                  </a:lnTo>
                  <a:lnTo>
                    <a:pt x="77" y="237"/>
                  </a:lnTo>
                  <a:lnTo>
                    <a:pt x="81" y="238"/>
                  </a:lnTo>
                  <a:lnTo>
                    <a:pt x="83" y="238"/>
                  </a:lnTo>
                  <a:lnTo>
                    <a:pt x="86" y="239"/>
                  </a:lnTo>
                  <a:lnTo>
                    <a:pt x="89" y="238"/>
                  </a:lnTo>
                  <a:lnTo>
                    <a:pt x="86" y="237"/>
                  </a:lnTo>
                  <a:lnTo>
                    <a:pt x="83" y="235"/>
                  </a:lnTo>
                  <a:lnTo>
                    <a:pt x="81" y="232"/>
                  </a:lnTo>
                  <a:lnTo>
                    <a:pt x="83" y="230"/>
                  </a:lnTo>
                  <a:lnTo>
                    <a:pt x="86" y="231"/>
                  </a:lnTo>
                  <a:lnTo>
                    <a:pt x="89" y="235"/>
                  </a:lnTo>
                  <a:lnTo>
                    <a:pt x="92" y="235"/>
                  </a:lnTo>
                  <a:lnTo>
                    <a:pt x="92" y="232"/>
                  </a:lnTo>
                  <a:lnTo>
                    <a:pt x="94" y="230"/>
                  </a:lnTo>
                  <a:lnTo>
                    <a:pt x="98" y="230"/>
                  </a:lnTo>
                  <a:lnTo>
                    <a:pt x="100" y="230"/>
                  </a:lnTo>
                  <a:lnTo>
                    <a:pt x="103" y="231"/>
                  </a:lnTo>
                  <a:lnTo>
                    <a:pt x="100" y="232"/>
                  </a:lnTo>
                  <a:lnTo>
                    <a:pt x="100" y="236"/>
                  </a:lnTo>
                  <a:lnTo>
                    <a:pt x="103" y="237"/>
                  </a:lnTo>
                  <a:lnTo>
                    <a:pt x="106" y="237"/>
                  </a:lnTo>
                  <a:lnTo>
                    <a:pt x="106" y="233"/>
                  </a:lnTo>
                  <a:lnTo>
                    <a:pt x="111" y="235"/>
                  </a:lnTo>
                  <a:lnTo>
                    <a:pt x="113" y="232"/>
                  </a:lnTo>
                  <a:lnTo>
                    <a:pt x="115" y="233"/>
                  </a:lnTo>
                  <a:lnTo>
                    <a:pt x="116" y="230"/>
                  </a:lnTo>
                  <a:lnTo>
                    <a:pt x="119" y="230"/>
                  </a:lnTo>
                  <a:lnTo>
                    <a:pt x="120" y="228"/>
                  </a:lnTo>
                  <a:lnTo>
                    <a:pt x="122" y="230"/>
                  </a:lnTo>
                  <a:lnTo>
                    <a:pt x="123" y="233"/>
                  </a:lnTo>
                  <a:lnTo>
                    <a:pt x="125" y="233"/>
                  </a:lnTo>
                  <a:lnTo>
                    <a:pt x="128" y="231"/>
                  </a:lnTo>
                  <a:lnTo>
                    <a:pt x="131" y="229"/>
                  </a:lnTo>
                  <a:lnTo>
                    <a:pt x="134" y="227"/>
                  </a:lnTo>
                  <a:lnTo>
                    <a:pt x="140" y="229"/>
                  </a:lnTo>
                  <a:lnTo>
                    <a:pt x="142" y="230"/>
                  </a:lnTo>
                  <a:lnTo>
                    <a:pt x="145" y="230"/>
                  </a:lnTo>
                  <a:lnTo>
                    <a:pt x="148" y="230"/>
                  </a:lnTo>
                  <a:lnTo>
                    <a:pt x="151" y="231"/>
                  </a:lnTo>
                  <a:lnTo>
                    <a:pt x="153" y="231"/>
                  </a:lnTo>
                  <a:lnTo>
                    <a:pt x="156" y="232"/>
                  </a:lnTo>
                  <a:lnTo>
                    <a:pt x="159" y="233"/>
                  </a:lnTo>
                  <a:lnTo>
                    <a:pt x="161" y="232"/>
                  </a:lnTo>
                  <a:lnTo>
                    <a:pt x="165" y="233"/>
                  </a:lnTo>
                  <a:lnTo>
                    <a:pt x="167" y="235"/>
                  </a:lnTo>
                  <a:lnTo>
                    <a:pt x="168" y="237"/>
                  </a:lnTo>
                  <a:lnTo>
                    <a:pt x="176" y="237"/>
                  </a:lnTo>
                  <a:lnTo>
                    <a:pt x="179" y="238"/>
                  </a:lnTo>
                  <a:lnTo>
                    <a:pt x="179" y="239"/>
                  </a:lnTo>
                  <a:lnTo>
                    <a:pt x="182" y="239"/>
                  </a:lnTo>
                  <a:lnTo>
                    <a:pt x="185" y="240"/>
                  </a:lnTo>
                  <a:lnTo>
                    <a:pt x="182" y="243"/>
                  </a:lnTo>
                  <a:lnTo>
                    <a:pt x="185" y="243"/>
                  </a:lnTo>
                  <a:lnTo>
                    <a:pt x="187" y="241"/>
                  </a:lnTo>
                  <a:lnTo>
                    <a:pt x="191" y="241"/>
                  </a:lnTo>
                  <a:lnTo>
                    <a:pt x="190" y="244"/>
                  </a:lnTo>
                  <a:lnTo>
                    <a:pt x="192" y="245"/>
                  </a:lnTo>
                  <a:lnTo>
                    <a:pt x="195" y="246"/>
                  </a:lnTo>
                  <a:lnTo>
                    <a:pt x="197" y="245"/>
                  </a:lnTo>
                  <a:lnTo>
                    <a:pt x="201" y="245"/>
                  </a:lnTo>
                  <a:lnTo>
                    <a:pt x="202" y="248"/>
                  </a:lnTo>
                  <a:lnTo>
                    <a:pt x="203" y="250"/>
                  </a:lnTo>
                  <a:lnTo>
                    <a:pt x="203" y="253"/>
                  </a:lnTo>
                  <a:lnTo>
                    <a:pt x="200" y="254"/>
                  </a:lnTo>
                  <a:lnTo>
                    <a:pt x="197" y="255"/>
                  </a:lnTo>
                  <a:lnTo>
                    <a:pt x="200" y="255"/>
                  </a:lnTo>
                  <a:lnTo>
                    <a:pt x="203" y="254"/>
                  </a:lnTo>
                  <a:lnTo>
                    <a:pt x="201" y="257"/>
                  </a:lnTo>
                  <a:lnTo>
                    <a:pt x="203" y="260"/>
                  </a:lnTo>
                  <a:lnTo>
                    <a:pt x="205" y="260"/>
                  </a:lnTo>
                  <a:lnTo>
                    <a:pt x="205" y="263"/>
                  </a:lnTo>
                  <a:lnTo>
                    <a:pt x="208" y="264"/>
                  </a:lnTo>
                  <a:lnTo>
                    <a:pt x="211" y="265"/>
                  </a:lnTo>
                  <a:lnTo>
                    <a:pt x="212" y="266"/>
                  </a:lnTo>
                  <a:lnTo>
                    <a:pt x="216" y="267"/>
                  </a:lnTo>
                  <a:lnTo>
                    <a:pt x="218" y="267"/>
                  </a:lnTo>
                  <a:lnTo>
                    <a:pt x="221" y="270"/>
                  </a:lnTo>
                  <a:lnTo>
                    <a:pt x="218" y="271"/>
                  </a:lnTo>
                  <a:lnTo>
                    <a:pt x="220" y="274"/>
                  </a:lnTo>
                  <a:lnTo>
                    <a:pt x="222" y="274"/>
                  </a:lnTo>
                  <a:lnTo>
                    <a:pt x="226" y="275"/>
                  </a:lnTo>
                  <a:lnTo>
                    <a:pt x="228" y="278"/>
                  </a:lnTo>
                  <a:lnTo>
                    <a:pt x="231" y="278"/>
                  </a:lnTo>
                  <a:lnTo>
                    <a:pt x="228" y="280"/>
                  </a:lnTo>
                  <a:lnTo>
                    <a:pt x="226" y="280"/>
                  </a:lnTo>
                  <a:lnTo>
                    <a:pt x="222" y="280"/>
                  </a:lnTo>
                  <a:lnTo>
                    <a:pt x="226" y="281"/>
                  </a:lnTo>
                  <a:lnTo>
                    <a:pt x="231" y="281"/>
                  </a:lnTo>
                  <a:lnTo>
                    <a:pt x="229" y="283"/>
                  </a:lnTo>
                  <a:lnTo>
                    <a:pt x="226" y="283"/>
                  </a:lnTo>
                  <a:lnTo>
                    <a:pt x="228" y="284"/>
                  </a:lnTo>
                  <a:lnTo>
                    <a:pt x="226" y="286"/>
                  </a:lnTo>
                  <a:lnTo>
                    <a:pt x="222" y="287"/>
                  </a:lnTo>
                  <a:lnTo>
                    <a:pt x="220" y="288"/>
                  </a:lnTo>
                  <a:lnTo>
                    <a:pt x="218" y="288"/>
                  </a:lnTo>
                  <a:lnTo>
                    <a:pt x="220" y="289"/>
                  </a:lnTo>
                  <a:lnTo>
                    <a:pt x="224" y="289"/>
                  </a:lnTo>
                  <a:lnTo>
                    <a:pt x="226" y="288"/>
                  </a:lnTo>
                  <a:lnTo>
                    <a:pt x="229" y="287"/>
                  </a:lnTo>
                  <a:lnTo>
                    <a:pt x="231" y="284"/>
                  </a:lnTo>
                  <a:lnTo>
                    <a:pt x="230" y="288"/>
                  </a:lnTo>
                  <a:lnTo>
                    <a:pt x="229" y="290"/>
                  </a:lnTo>
                  <a:lnTo>
                    <a:pt x="233" y="291"/>
                  </a:lnTo>
                  <a:lnTo>
                    <a:pt x="235" y="293"/>
                  </a:lnTo>
                  <a:lnTo>
                    <a:pt x="237" y="296"/>
                  </a:lnTo>
                  <a:lnTo>
                    <a:pt x="235" y="298"/>
                  </a:lnTo>
                  <a:lnTo>
                    <a:pt x="238" y="300"/>
                  </a:lnTo>
                  <a:lnTo>
                    <a:pt x="236" y="299"/>
                  </a:lnTo>
                  <a:lnTo>
                    <a:pt x="233" y="301"/>
                  </a:lnTo>
                  <a:lnTo>
                    <a:pt x="236" y="303"/>
                  </a:lnTo>
                  <a:lnTo>
                    <a:pt x="238" y="304"/>
                  </a:lnTo>
                  <a:lnTo>
                    <a:pt x="241" y="306"/>
                  </a:lnTo>
                  <a:lnTo>
                    <a:pt x="243" y="307"/>
                  </a:lnTo>
                  <a:lnTo>
                    <a:pt x="246" y="308"/>
                  </a:lnTo>
                  <a:lnTo>
                    <a:pt x="246" y="309"/>
                  </a:lnTo>
                  <a:lnTo>
                    <a:pt x="243" y="309"/>
                  </a:lnTo>
                  <a:lnTo>
                    <a:pt x="242" y="312"/>
                  </a:lnTo>
                  <a:lnTo>
                    <a:pt x="244" y="313"/>
                  </a:lnTo>
                  <a:lnTo>
                    <a:pt x="242" y="314"/>
                  </a:lnTo>
                  <a:lnTo>
                    <a:pt x="238" y="315"/>
                  </a:lnTo>
                  <a:lnTo>
                    <a:pt x="242" y="317"/>
                  </a:lnTo>
                  <a:lnTo>
                    <a:pt x="244" y="318"/>
                  </a:lnTo>
                  <a:lnTo>
                    <a:pt x="247" y="317"/>
                  </a:lnTo>
                  <a:lnTo>
                    <a:pt x="250" y="318"/>
                  </a:lnTo>
                  <a:lnTo>
                    <a:pt x="252" y="321"/>
                  </a:lnTo>
                  <a:lnTo>
                    <a:pt x="252" y="324"/>
                  </a:lnTo>
                  <a:lnTo>
                    <a:pt x="250" y="324"/>
                  </a:lnTo>
                  <a:lnTo>
                    <a:pt x="252" y="325"/>
                  </a:lnTo>
                  <a:lnTo>
                    <a:pt x="251" y="327"/>
                  </a:lnTo>
                  <a:lnTo>
                    <a:pt x="247" y="330"/>
                  </a:lnTo>
                  <a:lnTo>
                    <a:pt x="251" y="332"/>
                  </a:lnTo>
                  <a:lnTo>
                    <a:pt x="253" y="332"/>
                  </a:lnTo>
                  <a:lnTo>
                    <a:pt x="255" y="332"/>
                  </a:lnTo>
                  <a:lnTo>
                    <a:pt x="253" y="332"/>
                  </a:lnTo>
                  <a:lnTo>
                    <a:pt x="251" y="332"/>
                  </a:lnTo>
                  <a:lnTo>
                    <a:pt x="247" y="332"/>
                  </a:lnTo>
                  <a:lnTo>
                    <a:pt x="243" y="332"/>
                  </a:lnTo>
                  <a:lnTo>
                    <a:pt x="239" y="332"/>
                  </a:lnTo>
                  <a:lnTo>
                    <a:pt x="243" y="334"/>
                  </a:lnTo>
                  <a:lnTo>
                    <a:pt x="245" y="335"/>
                  </a:lnTo>
                  <a:lnTo>
                    <a:pt x="247" y="334"/>
                  </a:lnTo>
                  <a:lnTo>
                    <a:pt x="251" y="335"/>
                  </a:lnTo>
                  <a:lnTo>
                    <a:pt x="248" y="338"/>
                  </a:lnTo>
                  <a:lnTo>
                    <a:pt x="246" y="340"/>
                  </a:lnTo>
                  <a:lnTo>
                    <a:pt x="246" y="340"/>
                  </a:lnTo>
                  <a:lnTo>
                    <a:pt x="244" y="343"/>
                  </a:lnTo>
                  <a:lnTo>
                    <a:pt x="242" y="346"/>
                  </a:lnTo>
                  <a:lnTo>
                    <a:pt x="244" y="347"/>
                  </a:lnTo>
                  <a:lnTo>
                    <a:pt x="247" y="347"/>
                  </a:lnTo>
                  <a:lnTo>
                    <a:pt x="250" y="346"/>
                  </a:lnTo>
                  <a:lnTo>
                    <a:pt x="253" y="344"/>
                  </a:lnTo>
                  <a:lnTo>
                    <a:pt x="254" y="341"/>
                  </a:lnTo>
                  <a:lnTo>
                    <a:pt x="253" y="344"/>
                  </a:lnTo>
                  <a:lnTo>
                    <a:pt x="251" y="346"/>
                  </a:lnTo>
                  <a:lnTo>
                    <a:pt x="248" y="348"/>
                  </a:lnTo>
                  <a:lnTo>
                    <a:pt x="245" y="348"/>
                  </a:lnTo>
                  <a:lnTo>
                    <a:pt x="243" y="348"/>
                  </a:lnTo>
                  <a:lnTo>
                    <a:pt x="244" y="350"/>
                  </a:lnTo>
                  <a:lnTo>
                    <a:pt x="241" y="350"/>
                  </a:lnTo>
                  <a:lnTo>
                    <a:pt x="238" y="351"/>
                  </a:lnTo>
                  <a:lnTo>
                    <a:pt x="235" y="354"/>
                  </a:lnTo>
                  <a:lnTo>
                    <a:pt x="238" y="355"/>
                  </a:lnTo>
                  <a:lnTo>
                    <a:pt x="239" y="357"/>
                  </a:lnTo>
                  <a:lnTo>
                    <a:pt x="243" y="360"/>
                  </a:lnTo>
                  <a:lnTo>
                    <a:pt x="245" y="358"/>
                  </a:lnTo>
                  <a:lnTo>
                    <a:pt x="247" y="359"/>
                  </a:lnTo>
                  <a:lnTo>
                    <a:pt x="251" y="361"/>
                  </a:lnTo>
                  <a:lnTo>
                    <a:pt x="253" y="361"/>
                  </a:lnTo>
                  <a:lnTo>
                    <a:pt x="256" y="360"/>
                  </a:lnTo>
                  <a:lnTo>
                    <a:pt x="259" y="360"/>
                  </a:lnTo>
                  <a:lnTo>
                    <a:pt x="261" y="359"/>
                  </a:lnTo>
                  <a:lnTo>
                    <a:pt x="263" y="357"/>
                  </a:lnTo>
                  <a:lnTo>
                    <a:pt x="262" y="354"/>
                  </a:lnTo>
                  <a:lnTo>
                    <a:pt x="264" y="354"/>
                  </a:lnTo>
                  <a:lnTo>
                    <a:pt x="264" y="351"/>
                  </a:lnTo>
                  <a:lnTo>
                    <a:pt x="267" y="351"/>
                  </a:lnTo>
                  <a:lnTo>
                    <a:pt x="269" y="349"/>
                  </a:lnTo>
                  <a:lnTo>
                    <a:pt x="268" y="346"/>
                  </a:lnTo>
                  <a:lnTo>
                    <a:pt x="267" y="343"/>
                  </a:lnTo>
                  <a:lnTo>
                    <a:pt x="264" y="341"/>
                  </a:lnTo>
                  <a:lnTo>
                    <a:pt x="263" y="339"/>
                  </a:lnTo>
                  <a:lnTo>
                    <a:pt x="263" y="335"/>
                  </a:lnTo>
                  <a:lnTo>
                    <a:pt x="267" y="335"/>
                  </a:lnTo>
                  <a:lnTo>
                    <a:pt x="263" y="337"/>
                  </a:lnTo>
                  <a:lnTo>
                    <a:pt x="264" y="340"/>
                  </a:lnTo>
                  <a:lnTo>
                    <a:pt x="267" y="342"/>
                  </a:lnTo>
                  <a:lnTo>
                    <a:pt x="269" y="344"/>
                  </a:lnTo>
                  <a:lnTo>
                    <a:pt x="270" y="347"/>
                  </a:lnTo>
                  <a:lnTo>
                    <a:pt x="272" y="349"/>
                  </a:lnTo>
                  <a:lnTo>
                    <a:pt x="276" y="349"/>
                  </a:lnTo>
                  <a:lnTo>
                    <a:pt x="276" y="346"/>
                  </a:lnTo>
                  <a:lnTo>
                    <a:pt x="279" y="344"/>
                  </a:lnTo>
                  <a:lnTo>
                    <a:pt x="276" y="347"/>
                  </a:lnTo>
                  <a:lnTo>
                    <a:pt x="275" y="350"/>
                  </a:lnTo>
                  <a:lnTo>
                    <a:pt x="271" y="352"/>
                  </a:lnTo>
                  <a:lnTo>
                    <a:pt x="275" y="352"/>
                  </a:lnTo>
                  <a:lnTo>
                    <a:pt x="280" y="352"/>
                  </a:lnTo>
                  <a:lnTo>
                    <a:pt x="282" y="354"/>
                  </a:lnTo>
                  <a:lnTo>
                    <a:pt x="286" y="355"/>
                  </a:lnTo>
                  <a:lnTo>
                    <a:pt x="288" y="354"/>
                  </a:lnTo>
                  <a:lnTo>
                    <a:pt x="290" y="354"/>
                  </a:lnTo>
                  <a:lnTo>
                    <a:pt x="294" y="352"/>
                  </a:lnTo>
                  <a:lnTo>
                    <a:pt x="291" y="355"/>
                  </a:lnTo>
                  <a:lnTo>
                    <a:pt x="286" y="356"/>
                  </a:lnTo>
                  <a:lnTo>
                    <a:pt x="284" y="356"/>
                  </a:lnTo>
                  <a:lnTo>
                    <a:pt x="280" y="357"/>
                  </a:lnTo>
                  <a:lnTo>
                    <a:pt x="278" y="358"/>
                  </a:lnTo>
                  <a:lnTo>
                    <a:pt x="276" y="359"/>
                  </a:lnTo>
                  <a:lnTo>
                    <a:pt x="278" y="360"/>
                  </a:lnTo>
                  <a:lnTo>
                    <a:pt x="281" y="360"/>
                  </a:lnTo>
                  <a:lnTo>
                    <a:pt x="284" y="360"/>
                  </a:lnTo>
                  <a:lnTo>
                    <a:pt x="286" y="359"/>
                  </a:lnTo>
                  <a:lnTo>
                    <a:pt x="289" y="358"/>
                  </a:lnTo>
                  <a:lnTo>
                    <a:pt x="291" y="357"/>
                  </a:lnTo>
                  <a:lnTo>
                    <a:pt x="295" y="357"/>
                  </a:lnTo>
                  <a:lnTo>
                    <a:pt x="297" y="358"/>
                  </a:lnTo>
                  <a:lnTo>
                    <a:pt x="295" y="358"/>
                  </a:lnTo>
                  <a:lnTo>
                    <a:pt x="289" y="359"/>
                  </a:lnTo>
                  <a:lnTo>
                    <a:pt x="286" y="360"/>
                  </a:lnTo>
                  <a:lnTo>
                    <a:pt x="285" y="363"/>
                  </a:lnTo>
                  <a:lnTo>
                    <a:pt x="282" y="364"/>
                  </a:lnTo>
                  <a:lnTo>
                    <a:pt x="285" y="365"/>
                  </a:lnTo>
                  <a:lnTo>
                    <a:pt x="288" y="364"/>
                  </a:lnTo>
                  <a:lnTo>
                    <a:pt x="290" y="361"/>
                  </a:lnTo>
                  <a:lnTo>
                    <a:pt x="294" y="361"/>
                  </a:lnTo>
                  <a:lnTo>
                    <a:pt x="295" y="364"/>
                  </a:lnTo>
                  <a:lnTo>
                    <a:pt x="291" y="364"/>
                  </a:lnTo>
                  <a:lnTo>
                    <a:pt x="289" y="365"/>
                  </a:lnTo>
                  <a:lnTo>
                    <a:pt x="286" y="366"/>
                  </a:lnTo>
                  <a:lnTo>
                    <a:pt x="289" y="367"/>
                  </a:lnTo>
                  <a:lnTo>
                    <a:pt x="291" y="366"/>
                  </a:lnTo>
                  <a:lnTo>
                    <a:pt x="295" y="367"/>
                  </a:lnTo>
                  <a:lnTo>
                    <a:pt x="297" y="366"/>
                  </a:lnTo>
                  <a:lnTo>
                    <a:pt x="298" y="369"/>
                  </a:lnTo>
                  <a:lnTo>
                    <a:pt x="302" y="369"/>
                  </a:lnTo>
                  <a:lnTo>
                    <a:pt x="298" y="370"/>
                  </a:lnTo>
                  <a:lnTo>
                    <a:pt x="296" y="369"/>
                  </a:lnTo>
                  <a:lnTo>
                    <a:pt x="293" y="369"/>
                  </a:lnTo>
                  <a:lnTo>
                    <a:pt x="290" y="368"/>
                  </a:lnTo>
                  <a:lnTo>
                    <a:pt x="293" y="370"/>
                  </a:lnTo>
                  <a:lnTo>
                    <a:pt x="296" y="372"/>
                  </a:lnTo>
                  <a:lnTo>
                    <a:pt x="298" y="373"/>
                  </a:lnTo>
                  <a:lnTo>
                    <a:pt x="302" y="374"/>
                  </a:lnTo>
                  <a:lnTo>
                    <a:pt x="304" y="373"/>
                  </a:lnTo>
                  <a:lnTo>
                    <a:pt x="306" y="376"/>
                  </a:lnTo>
                  <a:lnTo>
                    <a:pt x="303" y="376"/>
                  </a:lnTo>
                  <a:lnTo>
                    <a:pt x="301" y="375"/>
                  </a:lnTo>
                  <a:lnTo>
                    <a:pt x="297" y="376"/>
                  </a:lnTo>
                  <a:lnTo>
                    <a:pt x="299" y="377"/>
                  </a:lnTo>
                  <a:lnTo>
                    <a:pt x="306" y="378"/>
                  </a:lnTo>
                  <a:lnTo>
                    <a:pt x="303" y="380"/>
                  </a:lnTo>
                  <a:lnTo>
                    <a:pt x="305" y="381"/>
                  </a:lnTo>
                  <a:lnTo>
                    <a:pt x="303" y="382"/>
                  </a:lnTo>
                  <a:lnTo>
                    <a:pt x="299" y="381"/>
                  </a:lnTo>
                  <a:lnTo>
                    <a:pt x="303" y="383"/>
                  </a:lnTo>
                  <a:lnTo>
                    <a:pt x="305" y="384"/>
                  </a:lnTo>
                  <a:lnTo>
                    <a:pt x="308" y="382"/>
                  </a:lnTo>
                  <a:lnTo>
                    <a:pt x="307" y="384"/>
                  </a:lnTo>
                  <a:lnTo>
                    <a:pt x="304" y="386"/>
                  </a:lnTo>
                  <a:lnTo>
                    <a:pt x="302" y="385"/>
                  </a:lnTo>
                  <a:lnTo>
                    <a:pt x="298" y="385"/>
                  </a:lnTo>
                  <a:lnTo>
                    <a:pt x="296" y="384"/>
                  </a:lnTo>
                  <a:lnTo>
                    <a:pt x="294" y="383"/>
                  </a:lnTo>
                  <a:lnTo>
                    <a:pt x="290" y="382"/>
                  </a:lnTo>
                  <a:lnTo>
                    <a:pt x="288" y="381"/>
                  </a:lnTo>
                  <a:lnTo>
                    <a:pt x="285" y="380"/>
                  </a:lnTo>
                  <a:lnTo>
                    <a:pt x="282" y="377"/>
                  </a:lnTo>
                  <a:lnTo>
                    <a:pt x="279" y="376"/>
                  </a:lnTo>
                  <a:lnTo>
                    <a:pt x="277" y="376"/>
                  </a:lnTo>
                  <a:lnTo>
                    <a:pt x="273" y="375"/>
                  </a:lnTo>
                  <a:lnTo>
                    <a:pt x="271" y="376"/>
                  </a:lnTo>
                  <a:lnTo>
                    <a:pt x="268" y="376"/>
                  </a:lnTo>
                  <a:lnTo>
                    <a:pt x="265" y="375"/>
                  </a:lnTo>
                  <a:lnTo>
                    <a:pt x="262" y="375"/>
                  </a:lnTo>
                  <a:lnTo>
                    <a:pt x="260" y="374"/>
                  </a:lnTo>
                  <a:lnTo>
                    <a:pt x="256" y="375"/>
                  </a:lnTo>
                  <a:lnTo>
                    <a:pt x="254" y="376"/>
                  </a:lnTo>
                  <a:lnTo>
                    <a:pt x="254" y="380"/>
                  </a:lnTo>
                  <a:lnTo>
                    <a:pt x="258" y="381"/>
                  </a:lnTo>
                  <a:lnTo>
                    <a:pt x="260" y="384"/>
                  </a:lnTo>
                  <a:lnTo>
                    <a:pt x="263" y="385"/>
                  </a:lnTo>
                  <a:lnTo>
                    <a:pt x="265" y="385"/>
                  </a:lnTo>
                  <a:lnTo>
                    <a:pt x="269" y="386"/>
                  </a:lnTo>
                  <a:lnTo>
                    <a:pt x="271" y="386"/>
                  </a:lnTo>
                  <a:lnTo>
                    <a:pt x="273" y="387"/>
                  </a:lnTo>
                  <a:lnTo>
                    <a:pt x="277" y="387"/>
                  </a:lnTo>
                  <a:lnTo>
                    <a:pt x="280" y="389"/>
                  </a:lnTo>
                  <a:lnTo>
                    <a:pt x="282" y="392"/>
                  </a:lnTo>
                  <a:lnTo>
                    <a:pt x="285" y="393"/>
                  </a:lnTo>
                  <a:lnTo>
                    <a:pt x="288" y="393"/>
                  </a:lnTo>
                  <a:lnTo>
                    <a:pt x="290" y="394"/>
                  </a:lnTo>
                  <a:lnTo>
                    <a:pt x="294" y="394"/>
                  </a:lnTo>
                  <a:lnTo>
                    <a:pt x="295" y="394"/>
                  </a:lnTo>
                  <a:lnTo>
                    <a:pt x="295" y="395"/>
                  </a:lnTo>
                  <a:lnTo>
                    <a:pt x="297" y="394"/>
                  </a:lnTo>
                  <a:lnTo>
                    <a:pt x="299" y="393"/>
                  </a:lnTo>
                  <a:lnTo>
                    <a:pt x="303" y="394"/>
                  </a:lnTo>
                  <a:lnTo>
                    <a:pt x="301" y="394"/>
                  </a:lnTo>
                  <a:lnTo>
                    <a:pt x="303" y="395"/>
                  </a:lnTo>
                  <a:lnTo>
                    <a:pt x="306" y="394"/>
                  </a:lnTo>
                  <a:lnTo>
                    <a:pt x="307" y="394"/>
                  </a:lnTo>
                  <a:lnTo>
                    <a:pt x="310" y="393"/>
                  </a:lnTo>
                  <a:lnTo>
                    <a:pt x="312" y="393"/>
                  </a:lnTo>
                  <a:lnTo>
                    <a:pt x="313" y="394"/>
                  </a:lnTo>
                  <a:lnTo>
                    <a:pt x="312" y="395"/>
                  </a:lnTo>
                  <a:lnTo>
                    <a:pt x="308" y="397"/>
                  </a:lnTo>
                  <a:lnTo>
                    <a:pt x="312" y="398"/>
                  </a:lnTo>
                  <a:lnTo>
                    <a:pt x="313" y="401"/>
                  </a:lnTo>
                  <a:lnTo>
                    <a:pt x="311" y="400"/>
                  </a:lnTo>
                  <a:lnTo>
                    <a:pt x="307" y="400"/>
                  </a:lnTo>
                  <a:lnTo>
                    <a:pt x="305" y="402"/>
                  </a:lnTo>
                  <a:lnTo>
                    <a:pt x="307" y="402"/>
                  </a:lnTo>
                  <a:lnTo>
                    <a:pt x="311" y="404"/>
                  </a:lnTo>
                  <a:lnTo>
                    <a:pt x="307" y="403"/>
                  </a:lnTo>
                  <a:lnTo>
                    <a:pt x="305" y="404"/>
                  </a:lnTo>
                  <a:lnTo>
                    <a:pt x="304" y="408"/>
                  </a:lnTo>
                  <a:lnTo>
                    <a:pt x="307" y="407"/>
                  </a:lnTo>
                  <a:lnTo>
                    <a:pt x="310" y="406"/>
                  </a:lnTo>
                  <a:lnTo>
                    <a:pt x="312" y="407"/>
                  </a:lnTo>
                  <a:lnTo>
                    <a:pt x="310" y="407"/>
                  </a:lnTo>
                  <a:lnTo>
                    <a:pt x="307" y="408"/>
                  </a:lnTo>
                  <a:lnTo>
                    <a:pt x="304" y="409"/>
                  </a:lnTo>
                  <a:lnTo>
                    <a:pt x="303" y="411"/>
                  </a:lnTo>
                  <a:lnTo>
                    <a:pt x="302" y="415"/>
                  </a:lnTo>
                  <a:lnTo>
                    <a:pt x="304" y="415"/>
                  </a:lnTo>
                  <a:lnTo>
                    <a:pt x="307" y="414"/>
                  </a:lnTo>
                  <a:lnTo>
                    <a:pt x="310" y="411"/>
                  </a:lnTo>
                  <a:lnTo>
                    <a:pt x="310" y="415"/>
                  </a:lnTo>
                  <a:lnTo>
                    <a:pt x="312" y="416"/>
                  </a:lnTo>
                  <a:lnTo>
                    <a:pt x="310" y="416"/>
                  </a:lnTo>
                  <a:lnTo>
                    <a:pt x="307" y="417"/>
                  </a:lnTo>
                  <a:lnTo>
                    <a:pt x="310" y="418"/>
                  </a:lnTo>
                  <a:lnTo>
                    <a:pt x="312" y="418"/>
                  </a:lnTo>
                  <a:lnTo>
                    <a:pt x="310" y="418"/>
                  </a:lnTo>
                  <a:lnTo>
                    <a:pt x="312" y="421"/>
                  </a:lnTo>
                  <a:lnTo>
                    <a:pt x="308" y="419"/>
                  </a:lnTo>
                  <a:lnTo>
                    <a:pt x="307" y="417"/>
                  </a:lnTo>
                  <a:lnTo>
                    <a:pt x="304" y="416"/>
                  </a:lnTo>
                  <a:lnTo>
                    <a:pt x="302" y="416"/>
                  </a:lnTo>
                  <a:lnTo>
                    <a:pt x="301" y="419"/>
                  </a:lnTo>
                  <a:lnTo>
                    <a:pt x="302" y="421"/>
                  </a:lnTo>
                  <a:lnTo>
                    <a:pt x="303" y="420"/>
                  </a:lnTo>
                  <a:lnTo>
                    <a:pt x="299" y="423"/>
                  </a:lnTo>
                  <a:lnTo>
                    <a:pt x="299" y="425"/>
                  </a:lnTo>
                  <a:lnTo>
                    <a:pt x="303" y="424"/>
                  </a:lnTo>
                  <a:lnTo>
                    <a:pt x="305" y="424"/>
                  </a:lnTo>
                  <a:lnTo>
                    <a:pt x="304" y="427"/>
                  </a:lnTo>
                  <a:lnTo>
                    <a:pt x="302" y="427"/>
                  </a:lnTo>
                  <a:lnTo>
                    <a:pt x="299" y="429"/>
                  </a:lnTo>
                  <a:lnTo>
                    <a:pt x="297" y="429"/>
                  </a:lnTo>
                  <a:lnTo>
                    <a:pt x="295" y="431"/>
                  </a:lnTo>
                  <a:lnTo>
                    <a:pt x="291" y="431"/>
                  </a:lnTo>
                  <a:lnTo>
                    <a:pt x="289" y="429"/>
                  </a:lnTo>
                  <a:lnTo>
                    <a:pt x="284" y="429"/>
                  </a:lnTo>
                  <a:lnTo>
                    <a:pt x="280" y="431"/>
                  </a:lnTo>
                  <a:lnTo>
                    <a:pt x="284" y="431"/>
                  </a:lnTo>
                  <a:lnTo>
                    <a:pt x="280" y="432"/>
                  </a:lnTo>
                  <a:lnTo>
                    <a:pt x="278" y="434"/>
                  </a:lnTo>
                  <a:lnTo>
                    <a:pt x="275" y="435"/>
                  </a:lnTo>
                  <a:lnTo>
                    <a:pt x="272" y="435"/>
                  </a:lnTo>
                  <a:lnTo>
                    <a:pt x="275" y="436"/>
                  </a:lnTo>
                  <a:lnTo>
                    <a:pt x="278" y="435"/>
                  </a:lnTo>
                  <a:lnTo>
                    <a:pt x="280" y="435"/>
                  </a:lnTo>
                  <a:lnTo>
                    <a:pt x="278" y="436"/>
                  </a:lnTo>
                  <a:lnTo>
                    <a:pt x="280" y="436"/>
                  </a:lnTo>
                  <a:lnTo>
                    <a:pt x="284" y="438"/>
                  </a:lnTo>
                  <a:lnTo>
                    <a:pt x="286" y="437"/>
                  </a:lnTo>
                  <a:lnTo>
                    <a:pt x="288" y="437"/>
                  </a:lnTo>
                  <a:lnTo>
                    <a:pt x="291" y="437"/>
                  </a:lnTo>
                  <a:lnTo>
                    <a:pt x="294" y="436"/>
                  </a:lnTo>
                  <a:lnTo>
                    <a:pt x="297" y="434"/>
                  </a:lnTo>
                  <a:lnTo>
                    <a:pt x="294" y="433"/>
                  </a:lnTo>
                  <a:lnTo>
                    <a:pt x="297" y="433"/>
                  </a:lnTo>
                  <a:lnTo>
                    <a:pt x="299" y="433"/>
                  </a:lnTo>
                  <a:lnTo>
                    <a:pt x="303" y="432"/>
                  </a:lnTo>
                  <a:lnTo>
                    <a:pt x="305" y="432"/>
                  </a:lnTo>
                  <a:lnTo>
                    <a:pt x="303" y="432"/>
                  </a:lnTo>
                  <a:lnTo>
                    <a:pt x="299" y="433"/>
                  </a:lnTo>
                  <a:lnTo>
                    <a:pt x="299" y="436"/>
                  </a:lnTo>
                  <a:lnTo>
                    <a:pt x="297" y="436"/>
                  </a:lnTo>
                  <a:lnTo>
                    <a:pt x="299" y="437"/>
                  </a:lnTo>
                  <a:lnTo>
                    <a:pt x="303" y="438"/>
                  </a:lnTo>
                  <a:lnTo>
                    <a:pt x="299" y="438"/>
                  </a:lnTo>
                  <a:lnTo>
                    <a:pt x="297" y="438"/>
                  </a:lnTo>
                  <a:lnTo>
                    <a:pt x="299" y="440"/>
                  </a:lnTo>
                  <a:lnTo>
                    <a:pt x="303" y="441"/>
                  </a:lnTo>
                  <a:lnTo>
                    <a:pt x="305" y="442"/>
                  </a:lnTo>
                  <a:lnTo>
                    <a:pt x="308" y="443"/>
                  </a:lnTo>
                  <a:lnTo>
                    <a:pt x="313" y="444"/>
                  </a:lnTo>
                  <a:lnTo>
                    <a:pt x="311" y="444"/>
                  </a:lnTo>
                  <a:lnTo>
                    <a:pt x="308" y="445"/>
                  </a:lnTo>
                  <a:lnTo>
                    <a:pt x="305" y="444"/>
                  </a:lnTo>
                  <a:lnTo>
                    <a:pt x="303" y="443"/>
                  </a:lnTo>
                  <a:lnTo>
                    <a:pt x="299" y="441"/>
                  </a:lnTo>
                  <a:lnTo>
                    <a:pt x="294" y="441"/>
                  </a:lnTo>
                  <a:lnTo>
                    <a:pt x="291" y="442"/>
                  </a:lnTo>
                  <a:lnTo>
                    <a:pt x="289" y="441"/>
                  </a:lnTo>
                  <a:lnTo>
                    <a:pt x="286" y="441"/>
                  </a:lnTo>
                  <a:lnTo>
                    <a:pt x="284" y="440"/>
                  </a:lnTo>
                  <a:lnTo>
                    <a:pt x="280" y="438"/>
                  </a:lnTo>
                  <a:lnTo>
                    <a:pt x="278" y="438"/>
                  </a:lnTo>
                  <a:lnTo>
                    <a:pt x="280" y="440"/>
                  </a:lnTo>
                  <a:lnTo>
                    <a:pt x="284" y="441"/>
                  </a:lnTo>
                  <a:lnTo>
                    <a:pt x="280" y="441"/>
                  </a:lnTo>
                  <a:lnTo>
                    <a:pt x="278" y="440"/>
                  </a:lnTo>
                  <a:lnTo>
                    <a:pt x="275" y="438"/>
                  </a:lnTo>
                  <a:lnTo>
                    <a:pt x="272" y="438"/>
                  </a:lnTo>
                  <a:lnTo>
                    <a:pt x="269" y="438"/>
                  </a:lnTo>
                  <a:lnTo>
                    <a:pt x="272" y="440"/>
                  </a:lnTo>
                  <a:lnTo>
                    <a:pt x="275" y="441"/>
                  </a:lnTo>
                  <a:lnTo>
                    <a:pt x="278" y="443"/>
                  </a:lnTo>
                  <a:lnTo>
                    <a:pt x="280" y="443"/>
                  </a:lnTo>
                  <a:lnTo>
                    <a:pt x="286" y="444"/>
                  </a:lnTo>
                  <a:lnTo>
                    <a:pt x="284" y="444"/>
                  </a:lnTo>
                  <a:lnTo>
                    <a:pt x="280" y="444"/>
                  </a:lnTo>
                  <a:lnTo>
                    <a:pt x="278" y="443"/>
                  </a:lnTo>
                  <a:lnTo>
                    <a:pt x="275" y="442"/>
                  </a:lnTo>
                  <a:lnTo>
                    <a:pt x="272" y="442"/>
                  </a:lnTo>
                  <a:lnTo>
                    <a:pt x="275" y="443"/>
                  </a:lnTo>
                  <a:lnTo>
                    <a:pt x="272" y="443"/>
                  </a:lnTo>
                  <a:lnTo>
                    <a:pt x="271" y="446"/>
                  </a:lnTo>
                  <a:lnTo>
                    <a:pt x="269" y="445"/>
                  </a:lnTo>
                  <a:lnTo>
                    <a:pt x="271" y="446"/>
                  </a:lnTo>
                  <a:lnTo>
                    <a:pt x="269" y="448"/>
                  </a:lnTo>
                  <a:lnTo>
                    <a:pt x="265" y="448"/>
                  </a:lnTo>
                  <a:lnTo>
                    <a:pt x="268" y="450"/>
                  </a:lnTo>
                  <a:lnTo>
                    <a:pt x="264" y="452"/>
                  </a:lnTo>
                  <a:lnTo>
                    <a:pt x="268" y="453"/>
                  </a:lnTo>
                  <a:lnTo>
                    <a:pt x="270" y="452"/>
                  </a:lnTo>
                  <a:lnTo>
                    <a:pt x="273" y="450"/>
                  </a:lnTo>
                  <a:lnTo>
                    <a:pt x="276" y="449"/>
                  </a:lnTo>
                  <a:lnTo>
                    <a:pt x="278" y="448"/>
                  </a:lnTo>
                  <a:lnTo>
                    <a:pt x="281" y="448"/>
                  </a:lnTo>
                  <a:lnTo>
                    <a:pt x="284" y="445"/>
                  </a:lnTo>
                  <a:lnTo>
                    <a:pt x="286" y="445"/>
                  </a:lnTo>
                  <a:lnTo>
                    <a:pt x="289" y="445"/>
                  </a:lnTo>
                  <a:lnTo>
                    <a:pt x="291" y="444"/>
                  </a:lnTo>
                  <a:lnTo>
                    <a:pt x="289" y="445"/>
                  </a:lnTo>
                  <a:lnTo>
                    <a:pt x="286" y="445"/>
                  </a:lnTo>
                  <a:lnTo>
                    <a:pt x="289" y="449"/>
                  </a:lnTo>
                  <a:lnTo>
                    <a:pt x="291" y="448"/>
                  </a:lnTo>
                  <a:lnTo>
                    <a:pt x="294" y="449"/>
                  </a:lnTo>
                  <a:lnTo>
                    <a:pt x="297" y="449"/>
                  </a:lnTo>
                  <a:lnTo>
                    <a:pt x="296" y="445"/>
                  </a:lnTo>
                  <a:lnTo>
                    <a:pt x="298" y="444"/>
                  </a:lnTo>
                  <a:lnTo>
                    <a:pt x="302" y="443"/>
                  </a:lnTo>
                  <a:lnTo>
                    <a:pt x="298" y="445"/>
                  </a:lnTo>
                  <a:lnTo>
                    <a:pt x="299" y="448"/>
                  </a:lnTo>
                  <a:lnTo>
                    <a:pt x="302" y="448"/>
                  </a:lnTo>
                  <a:lnTo>
                    <a:pt x="304" y="448"/>
                  </a:lnTo>
                  <a:lnTo>
                    <a:pt x="305" y="445"/>
                  </a:lnTo>
                  <a:lnTo>
                    <a:pt x="308" y="445"/>
                  </a:lnTo>
                  <a:lnTo>
                    <a:pt x="311" y="446"/>
                  </a:lnTo>
                  <a:lnTo>
                    <a:pt x="308" y="446"/>
                  </a:lnTo>
                  <a:lnTo>
                    <a:pt x="305" y="448"/>
                  </a:lnTo>
                  <a:lnTo>
                    <a:pt x="303" y="449"/>
                  </a:lnTo>
                  <a:lnTo>
                    <a:pt x="299" y="449"/>
                  </a:lnTo>
                  <a:lnTo>
                    <a:pt x="303" y="451"/>
                  </a:lnTo>
                  <a:lnTo>
                    <a:pt x="305" y="451"/>
                  </a:lnTo>
                  <a:lnTo>
                    <a:pt x="308" y="450"/>
                  </a:lnTo>
                  <a:lnTo>
                    <a:pt x="311" y="449"/>
                  </a:lnTo>
                  <a:lnTo>
                    <a:pt x="313" y="449"/>
                  </a:lnTo>
                  <a:lnTo>
                    <a:pt x="316" y="450"/>
                  </a:lnTo>
                  <a:lnTo>
                    <a:pt x="316" y="450"/>
                  </a:lnTo>
                  <a:lnTo>
                    <a:pt x="313" y="449"/>
                  </a:lnTo>
                  <a:lnTo>
                    <a:pt x="311" y="450"/>
                  </a:lnTo>
                  <a:lnTo>
                    <a:pt x="308" y="451"/>
                  </a:lnTo>
                  <a:lnTo>
                    <a:pt x="305" y="452"/>
                  </a:lnTo>
                  <a:lnTo>
                    <a:pt x="308" y="454"/>
                  </a:lnTo>
                  <a:lnTo>
                    <a:pt x="311" y="454"/>
                  </a:lnTo>
                  <a:lnTo>
                    <a:pt x="313" y="454"/>
                  </a:lnTo>
                  <a:lnTo>
                    <a:pt x="311" y="454"/>
                  </a:lnTo>
                  <a:lnTo>
                    <a:pt x="308" y="454"/>
                  </a:lnTo>
                  <a:lnTo>
                    <a:pt x="305" y="454"/>
                  </a:lnTo>
                  <a:lnTo>
                    <a:pt x="303" y="452"/>
                  </a:lnTo>
                  <a:lnTo>
                    <a:pt x="299" y="451"/>
                  </a:lnTo>
                  <a:lnTo>
                    <a:pt x="297" y="450"/>
                  </a:lnTo>
                  <a:lnTo>
                    <a:pt x="294" y="451"/>
                  </a:lnTo>
                  <a:lnTo>
                    <a:pt x="291" y="451"/>
                  </a:lnTo>
                  <a:lnTo>
                    <a:pt x="288" y="450"/>
                  </a:lnTo>
                  <a:lnTo>
                    <a:pt x="286" y="449"/>
                  </a:lnTo>
                  <a:lnTo>
                    <a:pt x="284" y="449"/>
                  </a:lnTo>
                  <a:lnTo>
                    <a:pt x="280" y="449"/>
                  </a:lnTo>
                  <a:lnTo>
                    <a:pt x="278" y="449"/>
                  </a:lnTo>
                  <a:lnTo>
                    <a:pt x="280" y="449"/>
                  </a:lnTo>
                  <a:lnTo>
                    <a:pt x="275" y="450"/>
                  </a:lnTo>
                  <a:lnTo>
                    <a:pt x="272" y="452"/>
                  </a:lnTo>
                  <a:lnTo>
                    <a:pt x="269" y="454"/>
                  </a:lnTo>
                  <a:lnTo>
                    <a:pt x="267" y="454"/>
                  </a:lnTo>
                  <a:lnTo>
                    <a:pt x="264" y="457"/>
                  </a:lnTo>
                  <a:lnTo>
                    <a:pt x="263" y="459"/>
                  </a:lnTo>
                  <a:lnTo>
                    <a:pt x="265" y="461"/>
                  </a:lnTo>
                  <a:lnTo>
                    <a:pt x="271" y="459"/>
                  </a:lnTo>
                  <a:lnTo>
                    <a:pt x="275" y="459"/>
                  </a:lnTo>
                  <a:lnTo>
                    <a:pt x="277" y="459"/>
                  </a:lnTo>
                  <a:lnTo>
                    <a:pt x="280" y="458"/>
                  </a:lnTo>
                  <a:lnTo>
                    <a:pt x="282" y="458"/>
                  </a:lnTo>
                  <a:lnTo>
                    <a:pt x="285" y="457"/>
                  </a:lnTo>
                  <a:lnTo>
                    <a:pt x="288" y="458"/>
                  </a:lnTo>
                  <a:lnTo>
                    <a:pt x="294" y="458"/>
                  </a:lnTo>
                  <a:lnTo>
                    <a:pt x="296" y="457"/>
                  </a:lnTo>
                  <a:lnTo>
                    <a:pt x="299" y="457"/>
                  </a:lnTo>
                  <a:lnTo>
                    <a:pt x="296" y="458"/>
                  </a:lnTo>
                  <a:lnTo>
                    <a:pt x="297" y="460"/>
                  </a:lnTo>
                  <a:lnTo>
                    <a:pt x="299" y="462"/>
                  </a:lnTo>
                  <a:lnTo>
                    <a:pt x="303" y="462"/>
                  </a:lnTo>
                  <a:lnTo>
                    <a:pt x="305" y="461"/>
                  </a:lnTo>
                  <a:lnTo>
                    <a:pt x="308" y="461"/>
                  </a:lnTo>
                  <a:lnTo>
                    <a:pt x="311" y="461"/>
                  </a:lnTo>
                  <a:lnTo>
                    <a:pt x="308" y="462"/>
                  </a:lnTo>
                  <a:lnTo>
                    <a:pt x="305" y="462"/>
                  </a:lnTo>
                  <a:lnTo>
                    <a:pt x="303" y="462"/>
                  </a:lnTo>
                  <a:lnTo>
                    <a:pt x="299" y="463"/>
                  </a:lnTo>
                  <a:lnTo>
                    <a:pt x="297" y="461"/>
                  </a:lnTo>
                  <a:lnTo>
                    <a:pt x="295" y="459"/>
                  </a:lnTo>
                  <a:lnTo>
                    <a:pt x="293" y="458"/>
                  </a:lnTo>
                  <a:lnTo>
                    <a:pt x="289" y="458"/>
                  </a:lnTo>
                  <a:lnTo>
                    <a:pt x="287" y="458"/>
                  </a:lnTo>
                  <a:lnTo>
                    <a:pt x="285" y="458"/>
                  </a:lnTo>
                  <a:lnTo>
                    <a:pt x="281" y="459"/>
                  </a:lnTo>
                  <a:lnTo>
                    <a:pt x="279" y="459"/>
                  </a:lnTo>
                  <a:lnTo>
                    <a:pt x="276" y="460"/>
                  </a:lnTo>
                  <a:lnTo>
                    <a:pt x="271" y="460"/>
                  </a:lnTo>
                  <a:lnTo>
                    <a:pt x="268" y="460"/>
                  </a:lnTo>
                  <a:lnTo>
                    <a:pt x="265" y="462"/>
                  </a:lnTo>
                  <a:lnTo>
                    <a:pt x="263" y="462"/>
                  </a:lnTo>
                  <a:lnTo>
                    <a:pt x="265" y="463"/>
                  </a:lnTo>
                  <a:lnTo>
                    <a:pt x="268" y="463"/>
                  </a:lnTo>
                  <a:lnTo>
                    <a:pt x="265" y="464"/>
                  </a:lnTo>
                  <a:lnTo>
                    <a:pt x="268" y="466"/>
                  </a:lnTo>
                  <a:lnTo>
                    <a:pt x="271" y="466"/>
                  </a:lnTo>
                  <a:lnTo>
                    <a:pt x="268" y="467"/>
                  </a:lnTo>
                  <a:lnTo>
                    <a:pt x="265" y="467"/>
                  </a:lnTo>
                  <a:lnTo>
                    <a:pt x="268" y="468"/>
                  </a:lnTo>
                  <a:lnTo>
                    <a:pt x="271" y="468"/>
                  </a:lnTo>
                  <a:lnTo>
                    <a:pt x="273" y="468"/>
                  </a:lnTo>
                  <a:lnTo>
                    <a:pt x="277" y="468"/>
                  </a:lnTo>
                  <a:lnTo>
                    <a:pt x="279" y="468"/>
                  </a:lnTo>
                  <a:lnTo>
                    <a:pt x="281" y="467"/>
                  </a:lnTo>
                  <a:lnTo>
                    <a:pt x="285" y="468"/>
                  </a:lnTo>
                  <a:lnTo>
                    <a:pt x="281" y="469"/>
                  </a:lnTo>
                  <a:lnTo>
                    <a:pt x="279" y="469"/>
                  </a:lnTo>
                  <a:lnTo>
                    <a:pt x="277" y="470"/>
                  </a:lnTo>
                  <a:lnTo>
                    <a:pt x="273" y="470"/>
                  </a:lnTo>
                  <a:lnTo>
                    <a:pt x="277" y="470"/>
                  </a:lnTo>
                  <a:lnTo>
                    <a:pt x="279" y="470"/>
                  </a:lnTo>
                  <a:lnTo>
                    <a:pt x="277" y="471"/>
                  </a:lnTo>
                  <a:lnTo>
                    <a:pt x="273" y="471"/>
                  </a:lnTo>
                  <a:lnTo>
                    <a:pt x="277" y="472"/>
                  </a:lnTo>
                  <a:lnTo>
                    <a:pt x="279" y="472"/>
                  </a:lnTo>
                  <a:lnTo>
                    <a:pt x="277" y="474"/>
                  </a:lnTo>
                  <a:lnTo>
                    <a:pt x="273" y="474"/>
                  </a:lnTo>
                  <a:lnTo>
                    <a:pt x="271" y="474"/>
                  </a:lnTo>
                  <a:lnTo>
                    <a:pt x="269" y="475"/>
                  </a:lnTo>
                  <a:lnTo>
                    <a:pt x="271" y="476"/>
                  </a:lnTo>
                  <a:lnTo>
                    <a:pt x="273" y="476"/>
                  </a:lnTo>
                  <a:lnTo>
                    <a:pt x="277" y="476"/>
                  </a:lnTo>
                  <a:lnTo>
                    <a:pt x="279" y="476"/>
                  </a:lnTo>
                  <a:lnTo>
                    <a:pt x="281" y="476"/>
                  </a:lnTo>
                  <a:lnTo>
                    <a:pt x="279" y="477"/>
                  </a:lnTo>
                  <a:lnTo>
                    <a:pt x="277" y="476"/>
                  </a:lnTo>
                  <a:lnTo>
                    <a:pt x="273" y="477"/>
                  </a:lnTo>
                  <a:lnTo>
                    <a:pt x="271" y="477"/>
                  </a:lnTo>
                  <a:lnTo>
                    <a:pt x="269" y="477"/>
                  </a:lnTo>
                  <a:lnTo>
                    <a:pt x="265" y="479"/>
                  </a:lnTo>
                  <a:lnTo>
                    <a:pt x="265" y="483"/>
                  </a:lnTo>
                  <a:lnTo>
                    <a:pt x="269" y="483"/>
                  </a:lnTo>
                  <a:lnTo>
                    <a:pt x="271" y="483"/>
                  </a:lnTo>
                  <a:lnTo>
                    <a:pt x="269" y="484"/>
                  </a:lnTo>
                  <a:lnTo>
                    <a:pt x="265" y="486"/>
                  </a:lnTo>
                  <a:lnTo>
                    <a:pt x="267" y="486"/>
                  </a:lnTo>
                  <a:lnTo>
                    <a:pt x="269" y="486"/>
                  </a:lnTo>
                  <a:lnTo>
                    <a:pt x="272" y="486"/>
                  </a:lnTo>
                  <a:lnTo>
                    <a:pt x="275" y="485"/>
                  </a:lnTo>
                  <a:lnTo>
                    <a:pt x="277" y="483"/>
                  </a:lnTo>
                  <a:lnTo>
                    <a:pt x="280" y="480"/>
                  </a:lnTo>
                  <a:lnTo>
                    <a:pt x="282" y="479"/>
                  </a:lnTo>
                  <a:lnTo>
                    <a:pt x="286" y="477"/>
                  </a:lnTo>
                  <a:lnTo>
                    <a:pt x="288" y="475"/>
                  </a:lnTo>
                  <a:lnTo>
                    <a:pt x="290" y="474"/>
                  </a:lnTo>
                  <a:lnTo>
                    <a:pt x="294" y="471"/>
                  </a:lnTo>
                  <a:lnTo>
                    <a:pt x="296" y="470"/>
                  </a:lnTo>
                  <a:lnTo>
                    <a:pt x="299" y="468"/>
                  </a:lnTo>
                  <a:lnTo>
                    <a:pt x="302" y="467"/>
                  </a:lnTo>
                  <a:lnTo>
                    <a:pt x="304" y="466"/>
                  </a:lnTo>
                  <a:lnTo>
                    <a:pt x="307" y="466"/>
                  </a:lnTo>
                  <a:lnTo>
                    <a:pt x="310" y="464"/>
                  </a:lnTo>
                  <a:lnTo>
                    <a:pt x="307" y="466"/>
                  </a:lnTo>
                  <a:lnTo>
                    <a:pt x="310" y="466"/>
                  </a:lnTo>
                  <a:lnTo>
                    <a:pt x="313" y="467"/>
                  </a:lnTo>
                  <a:lnTo>
                    <a:pt x="315" y="467"/>
                  </a:lnTo>
                  <a:lnTo>
                    <a:pt x="313" y="467"/>
                  </a:lnTo>
                  <a:lnTo>
                    <a:pt x="307" y="466"/>
                  </a:lnTo>
                  <a:lnTo>
                    <a:pt x="305" y="467"/>
                  </a:lnTo>
                  <a:lnTo>
                    <a:pt x="304" y="469"/>
                  </a:lnTo>
                  <a:lnTo>
                    <a:pt x="307" y="469"/>
                  </a:lnTo>
                  <a:lnTo>
                    <a:pt x="310" y="469"/>
                  </a:lnTo>
                  <a:lnTo>
                    <a:pt x="307" y="469"/>
                  </a:lnTo>
                  <a:lnTo>
                    <a:pt x="304" y="470"/>
                  </a:lnTo>
                  <a:lnTo>
                    <a:pt x="302" y="469"/>
                  </a:lnTo>
                  <a:lnTo>
                    <a:pt x="299" y="469"/>
                  </a:lnTo>
                  <a:lnTo>
                    <a:pt x="296" y="471"/>
                  </a:lnTo>
                  <a:lnTo>
                    <a:pt x="294" y="472"/>
                  </a:lnTo>
                  <a:lnTo>
                    <a:pt x="290" y="474"/>
                  </a:lnTo>
                  <a:lnTo>
                    <a:pt x="288" y="477"/>
                  </a:lnTo>
                  <a:lnTo>
                    <a:pt x="286" y="478"/>
                  </a:lnTo>
                  <a:lnTo>
                    <a:pt x="282" y="479"/>
                  </a:lnTo>
                  <a:lnTo>
                    <a:pt x="280" y="481"/>
                  </a:lnTo>
                  <a:lnTo>
                    <a:pt x="277" y="484"/>
                  </a:lnTo>
                  <a:lnTo>
                    <a:pt x="275" y="485"/>
                  </a:lnTo>
                  <a:lnTo>
                    <a:pt x="272" y="486"/>
                  </a:lnTo>
                  <a:lnTo>
                    <a:pt x="269" y="487"/>
                  </a:lnTo>
                  <a:lnTo>
                    <a:pt x="272" y="488"/>
                  </a:lnTo>
                  <a:lnTo>
                    <a:pt x="269" y="489"/>
                  </a:lnTo>
                  <a:lnTo>
                    <a:pt x="272" y="491"/>
                  </a:lnTo>
                  <a:lnTo>
                    <a:pt x="275" y="488"/>
                  </a:lnTo>
                  <a:lnTo>
                    <a:pt x="272" y="491"/>
                  </a:lnTo>
                  <a:lnTo>
                    <a:pt x="275" y="492"/>
                  </a:lnTo>
                  <a:lnTo>
                    <a:pt x="280" y="489"/>
                  </a:lnTo>
                  <a:lnTo>
                    <a:pt x="282" y="491"/>
                  </a:lnTo>
                  <a:lnTo>
                    <a:pt x="286" y="489"/>
                  </a:lnTo>
                  <a:lnTo>
                    <a:pt x="288" y="488"/>
                  </a:lnTo>
                  <a:lnTo>
                    <a:pt x="290" y="487"/>
                  </a:lnTo>
                  <a:lnTo>
                    <a:pt x="293" y="491"/>
                  </a:lnTo>
                  <a:lnTo>
                    <a:pt x="290" y="488"/>
                  </a:lnTo>
                  <a:lnTo>
                    <a:pt x="287" y="489"/>
                  </a:lnTo>
                  <a:lnTo>
                    <a:pt x="285" y="493"/>
                  </a:lnTo>
                  <a:lnTo>
                    <a:pt x="281" y="492"/>
                  </a:lnTo>
                  <a:lnTo>
                    <a:pt x="279" y="491"/>
                  </a:lnTo>
                  <a:lnTo>
                    <a:pt x="277" y="492"/>
                  </a:lnTo>
                  <a:lnTo>
                    <a:pt x="273" y="493"/>
                  </a:lnTo>
                  <a:lnTo>
                    <a:pt x="277" y="493"/>
                  </a:lnTo>
                  <a:lnTo>
                    <a:pt x="273" y="495"/>
                  </a:lnTo>
                  <a:lnTo>
                    <a:pt x="277" y="496"/>
                  </a:lnTo>
                  <a:lnTo>
                    <a:pt x="279" y="493"/>
                  </a:lnTo>
                  <a:lnTo>
                    <a:pt x="279" y="496"/>
                  </a:lnTo>
                  <a:lnTo>
                    <a:pt x="278" y="498"/>
                  </a:lnTo>
                  <a:lnTo>
                    <a:pt x="281" y="498"/>
                  </a:lnTo>
                  <a:lnTo>
                    <a:pt x="280" y="501"/>
                  </a:lnTo>
                  <a:lnTo>
                    <a:pt x="282" y="502"/>
                  </a:lnTo>
                  <a:lnTo>
                    <a:pt x="286" y="501"/>
                  </a:lnTo>
                  <a:lnTo>
                    <a:pt x="288" y="500"/>
                  </a:lnTo>
                  <a:lnTo>
                    <a:pt x="289" y="497"/>
                  </a:lnTo>
                  <a:lnTo>
                    <a:pt x="291" y="496"/>
                  </a:lnTo>
                  <a:lnTo>
                    <a:pt x="295" y="495"/>
                  </a:lnTo>
                  <a:lnTo>
                    <a:pt x="297" y="494"/>
                  </a:lnTo>
                  <a:lnTo>
                    <a:pt x="299" y="494"/>
                  </a:lnTo>
                  <a:lnTo>
                    <a:pt x="303" y="494"/>
                  </a:lnTo>
                  <a:lnTo>
                    <a:pt x="305" y="494"/>
                  </a:lnTo>
                  <a:lnTo>
                    <a:pt x="306" y="494"/>
                  </a:lnTo>
                  <a:lnTo>
                    <a:pt x="306" y="496"/>
                  </a:lnTo>
                  <a:lnTo>
                    <a:pt x="304" y="494"/>
                  </a:lnTo>
                  <a:lnTo>
                    <a:pt x="298" y="494"/>
                  </a:lnTo>
                  <a:lnTo>
                    <a:pt x="295" y="495"/>
                  </a:lnTo>
                  <a:lnTo>
                    <a:pt x="293" y="496"/>
                  </a:lnTo>
                  <a:lnTo>
                    <a:pt x="290" y="498"/>
                  </a:lnTo>
                  <a:lnTo>
                    <a:pt x="288" y="501"/>
                  </a:lnTo>
                  <a:lnTo>
                    <a:pt x="286" y="502"/>
                  </a:lnTo>
                  <a:lnTo>
                    <a:pt x="282" y="503"/>
                  </a:lnTo>
                  <a:lnTo>
                    <a:pt x="284" y="505"/>
                  </a:lnTo>
                  <a:lnTo>
                    <a:pt x="286" y="504"/>
                  </a:lnTo>
                  <a:lnTo>
                    <a:pt x="286" y="506"/>
                  </a:lnTo>
                  <a:lnTo>
                    <a:pt x="288" y="505"/>
                  </a:lnTo>
                  <a:lnTo>
                    <a:pt x="286" y="508"/>
                  </a:lnTo>
                  <a:lnTo>
                    <a:pt x="286" y="510"/>
                  </a:lnTo>
                  <a:lnTo>
                    <a:pt x="287" y="513"/>
                  </a:lnTo>
                  <a:lnTo>
                    <a:pt x="286" y="515"/>
                  </a:lnTo>
                  <a:lnTo>
                    <a:pt x="288" y="515"/>
                  </a:lnTo>
                  <a:lnTo>
                    <a:pt x="291" y="513"/>
                  </a:lnTo>
                  <a:lnTo>
                    <a:pt x="293" y="511"/>
                  </a:lnTo>
                  <a:lnTo>
                    <a:pt x="295" y="513"/>
                  </a:lnTo>
                  <a:lnTo>
                    <a:pt x="298" y="512"/>
                  </a:lnTo>
                  <a:lnTo>
                    <a:pt x="295" y="514"/>
                  </a:lnTo>
                  <a:lnTo>
                    <a:pt x="293" y="514"/>
                  </a:lnTo>
                  <a:lnTo>
                    <a:pt x="289" y="515"/>
                  </a:lnTo>
                  <a:lnTo>
                    <a:pt x="287" y="518"/>
                  </a:lnTo>
                  <a:lnTo>
                    <a:pt x="288" y="520"/>
                  </a:lnTo>
                  <a:lnTo>
                    <a:pt x="287" y="523"/>
                  </a:lnTo>
                  <a:lnTo>
                    <a:pt x="288" y="526"/>
                  </a:lnTo>
                  <a:lnTo>
                    <a:pt x="289" y="529"/>
                  </a:lnTo>
                  <a:lnTo>
                    <a:pt x="291" y="528"/>
                  </a:lnTo>
                  <a:lnTo>
                    <a:pt x="293" y="525"/>
                  </a:lnTo>
                  <a:lnTo>
                    <a:pt x="296" y="522"/>
                  </a:lnTo>
                  <a:lnTo>
                    <a:pt x="296" y="520"/>
                  </a:lnTo>
                  <a:lnTo>
                    <a:pt x="298" y="518"/>
                  </a:lnTo>
                  <a:lnTo>
                    <a:pt x="301" y="517"/>
                  </a:lnTo>
                  <a:lnTo>
                    <a:pt x="301" y="520"/>
                  </a:lnTo>
                  <a:lnTo>
                    <a:pt x="304" y="518"/>
                  </a:lnTo>
                  <a:lnTo>
                    <a:pt x="306" y="515"/>
                  </a:lnTo>
                  <a:lnTo>
                    <a:pt x="306" y="513"/>
                  </a:lnTo>
                  <a:lnTo>
                    <a:pt x="304" y="510"/>
                  </a:lnTo>
                  <a:lnTo>
                    <a:pt x="304" y="508"/>
                  </a:lnTo>
                  <a:lnTo>
                    <a:pt x="306" y="508"/>
                  </a:lnTo>
                  <a:lnTo>
                    <a:pt x="305" y="510"/>
                  </a:lnTo>
                  <a:lnTo>
                    <a:pt x="306" y="512"/>
                  </a:lnTo>
                  <a:lnTo>
                    <a:pt x="308" y="515"/>
                  </a:lnTo>
                  <a:lnTo>
                    <a:pt x="311" y="517"/>
                  </a:lnTo>
                  <a:lnTo>
                    <a:pt x="313" y="515"/>
                  </a:lnTo>
                  <a:lnTo>
                    <a:pt x="316" y="514"/>
                  </a:lnTo>
                  <a:lnTo>
                    <a:pt x="316" y="514"/>
                  </a:lnTo>
                  <a:lnTo>
                    <a:pt x="315" y="514"/>
                  </a:lnTo>
                  <a:lnTo>
                    <a:pt x="313" y="518"/>
                  </a:lnTo>
                  <a:lnTo>
                    <a:pt x="316" y="518"/>
                  </a:lnTo>
                  <a:lnTo>
                    <a:pt x="316" y="519"/>
                  </a:lnTo>
                  <a:lnTo>
                    <a:pt x="314" y="519"/>
                  </a:lnTo>
                  <a:lnTo>
                    <a:pt x="316" y="522"/>
                  </a:lnTo>
                  <a:lnTo>
                    <a:pt x="319" y="523"/>
                  </a:lnTo>
                  <a:lnTo>
                    <a:pt x="321" y="526"/>
                  </a:lnTo>
                  <a:lnTo>
                    <a:pt x="319" y="525"/>
                  </a:lnTo>
                  <a:lnTo>
                    <a:pt x="316" y="523"/>
                  </a:lnTo>
                  <a:lnTo>
                    <a:pt x="313" y="522"/>
                  </a:lnTo>
                  <a:lnTo>
                    <a:pt x="312" y="519"/>
                  </a:lnTo>
                  <a:lnTo>
                    <a:pt x="310" y="518"/>
                  </a:lnTo>
                  <a:lnTo>
                    <a:pt x="307" y="518"/>
                  </a:lnTo>
                  <a:lnTo>
                    <a:pt x="310" y="519"/>
                  </a:lnTo>
                  <a:lnTo>
                    <a:pt x="307" y="519"/>
                  </a:lnTo>
                  <a:lnTo>
                    <a:pt x="304" y="519"/>
                  </a:lnTo>
                  <a:lnTo>
                    <a:pt x="307" y="520"/>
                  </a:lnTo>
                  <a:lnTo>
                    <a:pt x="310" y="521"/>
                  </a:lnTo>
                  <a:lnTo>
                    <a:pt x="311" y="523"/>
                  </a:lnTo>
                  <a:lnTo>
                    <a:pt x="313" y="523"/>
                  </a:lnTo>
                  <a:lnTo>
                    <a:pt x="311" y="525"/>
                  </a:lnTo>
                  <a:lnTo>
                    <a:pt x="307" y="523"/>
                  </a:lnTo>
                  <a:lnTo>
                    <a:pt x="305" y="523"/>
                  </a:lnTo>
                  <a:lnTo>
                    <a:pt x="303" y="527"/>
                  </a:lnTo>
                  <a:lnTo>
                    <a:pt x="299" y="529"/>
                  </a:lnTo>
                  <a:lnTo>
                    <a:pt x="297" y="529"/>
                  </a:lnTo>
                  <a:lnTo>
                    <a:pt x="295" y="528"/>
                  </a:lnTo>
                  <a:lnTo>
                    <a:pt x="297" y="530"/>
                  </a:lnTo>
                  <a:lnTo>
                    <a:pt x="295" y="530"/>
                  </a:lnTo>
                  <a:lnTo>
                    <a:pt x="297" y="531"/>
                  </a:lnTo>
                  <a:lnTo>
                    <a:pt x="299" y="531"/>
                  </a:lnTo>
                  <a:lnTo>
                    <a:pt x="303" y="530"/>
                  </a:lnTo>
                  <a:lnTo>
                    <a:pt x="308" y="528"/>
                  </a:lnTo>
                  <a:lnTo>
                    <a:pt x="311" y="526"/>
                  </a:lnTo>
                  <a:lnTo>
                    <a:pt x="308" y="528"/>
                  </a:lnTo>
                  <a:lnTo>
                    <a:pt x="312" y="529"/>
                  </a:lnTo>
                  <a:lnTo>
                    <a:pt x="314" y="528"/>
                  </a:lnTo>
                  <a:lnTo>
                    <a:pt x="315" y="531"/>
                  </a:lnTo>
                  <a:lnTo>
                    <a:pt x="312" y="529"/>
                  </a:lnTo>
                  <a:lnTo>
                    <a:pt x="310" y="530"/>
                  </a:lnTo>
                  <a:lnTo>
                    <a:pt x="307" y="529"/>
                  </a:lnTo>
                  <a:lnTo>
                    <a:pt x="304" y="531"/>
                  </a:lnTo>
                  <a:lnTo>
                    <a:pt x="302" y="531"/>
                  </a:lnTo>
                  <a:lnTo>
                    <a:pt x="299" y="531"/>
                  </a:lnTo>
                  <a:lnTo>
                    <a:pt x="296" y="532"/>
                  </a:lnTo>
                  <a:lnTo>
                    <a:pt x="295" y="532"/>
                  </a:lnTo>
                  <a:lnTo>
                    <a:pt x="297" y="534"/>
                  </a:lnTo>
                  <a:lnTo>
                    <a:pt x="297" y="537"/>
                  </a:lnTo>
                  <a:lnTo>
                    <a:pt x="299" y="536"/>
                  </a:lnTo>
                  <a:lnTo>
                    <a:pt x="303" y="535"/>
                  </a:lnTo>
                  <a:lnTo>
                    <a:pt x="299" y="537"/>
                  </a:lnTo>
                  <a:lnTo>
                    <a:pt x="297" y="538"/>
                  </a:lnTo>
                  <a:lnTo>
                    <a:pt x="295" y="540"/>
                  </a:lnTo>
                  <a:lnTo>
                    <a:pt x="298" y="541"/>
                  </a:lnTo>
                  <a:lnTo>
                    <a:pt x="301" y="540"/>
                  </a:lnTo>
                  <a:lnTo>
                    <a:pt x="304" y="541"/>
                  </a:lnTo>
                  <a:lnTo>
                    <a:pt x="306" y="540"/>
                  </a:lnTo>
                  <a:lnTo>
                    <a:pt x="308" y="540"/>
                  </a:lnTo>
                  <a:lnTo>
                    <a:pt x="306" y="541"/>
                  </a:lnTo>
                  <a:lnTo>
                    <a:pt x="304" y="541"/>
                  </a:lnTo>
                  <a:lnTo>
                    <a:pt x="301" y="541"/>
                  </a:lnTo>
                  <a:lnTo>
                    <a:pt x="304" y="544"/>
                  </a:lnTo>
                  <a:lnTo>
                    <a:pt x="301" y="545"/>
                  </a:lnTo>
                  <a:lnTo>
                    <a:pt x="304" y="547"/>
                  </a:lnTo>
                  <a:lnTo>
                    <a:pt x="306" y="546"/>
                  </a:lnTo>
                  <a:lnTo>
                    <a:pt x="308" y="546"/>
                  </a:lnTo>
                  <a:lnTo>
                    <a:pt x="312" y="546"/>
                  </a:lnTo>
                  <a:lnTo>
                    <a:pt x="308" y="547"/>
                  </a:lnTo>
                  <a:lnTo>
                    <a:pt x="306" y="547"/>
                  </a:lnTo>
                  <a:lnTo>
                    <a:pt x="304" y="547"/>
                  </a:lnTo>
                  <a:lnTo>
                    <a:pt x="301" y="547"/>
                  </a:lnTo>
                  <a:lnTo>
                    <a:pt x="302" y="551"/>
                  </a:lnTo>
                  <a:lnTo>
                    <a:pt x="304" y="549"/>
                  </a:lnTo>
                  <a:lnTo>
                    <a:pt x="307" y="551"/>
                  </a:lnTo>
                  <a:lnTo>
                    <a:pt x="310" y="551"/>
                  </a:lnTo>
                  <a:lnTo>
                    <a:pt x="312" y="549"/>
                  </a:lnTo>
                  <a:lnTo>
                    <a:pt x="315" y="549"/>
                  </a:lnTo>
                  <a:lnTo>
                    <a:pt x="312" y="551"/>
                  </a:lnTo>
                  <a:lnTo>
                    <a:pt x="310" y="552"/>
                  </a:lnTo>
                  <a:lnTo>
                    <a:pt x="308" y="555"/>
                  </a:lnTo>
                  <a:lnTo>
                    <a:pt x="312" y="555"/>
                  </a:lnTo>
                  <a:lnTo>
                    <a:pt x="311" y="558"/>
                  </a:lnTo>
                  <a:lnTo>
                    <a:pt x="313" y="556"/>
                  </a:lnTo>
                  <a:lnTo>
                    <a:pt x="316" y="555"/>
                  </a:lnTo>
                  <a:lnTo>
                    <a:pt x="319" y="554"/>
                  </a:lnTo>
                  <a:lnTo>
                    <a:pt x="316" y="555"/>
                  </a:lnTo>
                  <a:lnTo>
                    <a:pt x="314" y="556"/>
                  </a:lnTo>
                  <a:lnTo>
                    <a:pt x="313" y="560"/>
                  </a:lnTo>
                  <a:lnTo>
                    <a:pt x="316" y="558"/>
                  </a:lnTo>
                  <a:lnTo>
                    <a:pt x="316" y="558"/>
                  </a:lnTo>
                  <a:lnTo>
                    <a:pt x="315" y="560"/>
                  </a:lnTo>
                  <a:lnTo>
                    <a:pt x="313" y="562"/>
                  </a:lnTo>
                  <a:lnTo>
                    <a:pt x="312" y="565"/>
                  </a:lnTo>
                  <a:lnTo>
                    <a:pt x="313" y="568"/>
                  </a:lnTo>
                  <a:lnTo>
                    <a:pt x="316" y="570"/>
                  </a:lnTo>
                  <a:lnTo>
                    <a:pt x="318" y="569"/>
                  </a:lnTo>
                  <a:lnTo>
                    <a:pt x="319" y="571"/>
                  </a:lnTo>
                  <a:lnTo>
                    <a:pt x="321" y="571"/>
                  </a:lnTo>
                  <a:lnTo>
                    <a:pt x="323" y="571"/>
                  </a:lnTo>
                  <a:lnTo>
                    <a:pt x="321" y="573"/>
                  </a:lnTo>
                  <a:lnTo>
                    <a:pt x="323" y="574"/>
                  </a:lnTo>
                  <a:lnTo>
                    <a:pt x="321" y="573"/>
                  </a:lnTo>
                  <a:lnTo>
                    <a:pt x="322" y="577"/>
                  </a:lnTo>
                  <a:lnTo>
                    <a:pt x="325" y="577"/>
                  </a:lnTo>
                  <a:lnTo>
                    <a:pt x="328" y="575"/>
                  </a:lnTo>
                  <a:lnTo>
                    <a:pt x="329" y="573"/>
                  </a:lnTo>
                  <a:lnTo>
                    <a:pt x="330" y="575"/>
                  </a:lnTo>
                  <a:lnTo>
                    <a:pt x="327" y="577"/>
                  </a:lnTo>
                  <a:lnTo>
                    <a:pt x="324" y="578"/>
                  </a:lnTo>
                  <a:lnTo>
                    <a:pt x="324" y="580"/>
                  </a:lnTo>
                  <a:lnTo>
                    <a:pt x="327" y="580"/>
                  </a:lnTo>
                  <a:lnTo>
                    <a:pt x="330" y="578"/>
                  </a:lnTo>
                  <a:lnTo>
                    <a:pt x="332" y="577"/>
                  </a:lnTo>
                  <a:lnTo>
                    <a:pt x="330" y="579"/>
                  </a:lnTo>
                  <a:lnTo>
                    <a:pt x="329" y="582"/>
                  </a:lnTo>
                  <a:lnTo>
                    <a:pt x="331" y="581"/>
                  </a:lnTo>
                  <a:lnTo>
                    <a:pt x="331" y="585"/>
                  </a:lnTo>
                  <a:lnTo>
                    <a:pt x="333" y="585"/>
                  </a:lnTo>
                  <a:lnTo>
                    <a:pt x="331" y="585"/>
                  </a:lnTo>
                  <a:lnTo>
                    <a:pt x="329" y="585"/>
                  </a:lnTo>
                  <a:lnTo>
                    <a:pt x="325" y="586"/>
                  </a:lnTo>
                  <a:lnTo>
                    <a:pt x="329" y="587"/>
                  </a:lnTo>
                  <a:lnTo>
                    <a:pt x="331" y="587"/>
                  </a:lnTo>
                  <a:lnTo>
                    <a:pt x="333" y="587"/>
                  </a:lnTo>
                  <a:lnTo>
                    <a:pt x="337" y="586"/>
                  </a:lnTo>
                  <a:lnTo>
                    <a:pt x="339" y="586"/>
                  </a:lnTo>
                  <a:lnTo>
                    <a:pt x="337" y="587"/>
                  </a:lnTo>
                  <a:lnTo>
                    <a:pt x="333" y="588"/>
                  </a:lnTo>
                  <a:lnTo>
                    <a:pt x="331" y="589"/>
                  </a:lnTo>
                  <a:lnTo>
                    <a:pt x="333" y="589"/>
                  </a:lnTo>
                  <a:lnTo>
                    <a:pt x="337" y="589"/>
                  </a:lnTo>
                  <a:lnTo>
                    <a:pt x="337" y="591"/>
                  </a:lnTo>
                  <a:lnTo>
                    <a:pt x="338" y="595"/>
                  </a:lnTo>
                  <a:lnTo>
                    <a:pt x="340" y="592"/>
                  </a:lnTo>
                  <a:lnTo>
                    <a:pt x="342" y="591"/>
                  </a:lnTo>
                  <a:lnTo>
                    <a:pt x="340" y="594"/>
                  </a:lnTo>
                  <a:lnTo>
                    <a:pt x="342" y="595"/>
                  </a:lnTo>
                  <a:lnTo>
                    <a:pt x="346" y="594"/>
                  </a:lnTo>
                  <a:lnTo>
                    <a:pt x="342" y="596"/>
                  </a:lnTo>
                  <a:lnTo>
                    <a:pt x="340" y="597"/>
                  </a:lnTo>
                  <a:lnTo>
                    <a:pt x="342" y="597"/>
                  </a:lnTo>
                  <a:lnTo>
                    <a:pt x="346" y="598"/>
                  </a:lnTo>
                  <a:lnTo>
                    <a:pt x="342" y="599"/>
                  </a:lnTo>
                  <a:lnTo>
                    <a:pt x="340" y="602"/>
                  </a:lnTo>
                  <a:lnTo>
                    <a:pt x="342" y="600"/>
                  </a:lnTo>
                  <a:lnTo>
                    <a:pt x="346" y="600"/>
                  </a:lnTo>
                  <a:lnTo>
                    <a:pt x="348" y="602"/>
                  </a:lnTo>
                  <a:lnTo>
                    <a:pt x="352" y="599"/>
                  </a:lnTo>
                  <a:lnTo>
                    <a:pt x="346" y="599"/>
                  </a:lnTo>
                  <a:lnTo>
                    <a:pt x="352" y="598"/>
                  </a:lnTo>
                  <a:lnTo>
                    <a:pt x="354" y="599"/>
                  </a:lnTo>
                  <a:lnTo>
                    <a:pt x="357" y="598"/>
                  </a:lnTo>
                  <a:lnTo>
                    <a:pt x="356" y="600"/>
                  </a:lnTo>
                  <a:lnTo>
                    <a:pt x="359" y="602"/>
                  </a:lnTo>
                  <a:lnTo>
                    <a:pt x="361" y="598"/>
                  </a:lnTo>
                  <a:lnTo>
                    <a:pt x="364" y="597"/>
                  </a:lnTo>
                  <a:lnTo>
                    <a:pt x="366" y="596"/>
                  </a:lnTo>
                  <a:lnTo>
                    <a:pt x="369" y="596"/>
                  </a:lnTo>
                  <a:lnTo>
                    <a:pt x="372" y="595"/>
                  </a:lnTo>
                  <a:lnTo>
                    <a:pt x="372" y="592"/>
                  </a:lnTo>
                  <a:lnTo>
                    <a:pt x="374" y="590"/>
                  </a:lnTo>
                  <a:lnTo>
                    <a:pt x="373" y="592"/>
                  </a:lnTo>
                  <a:lnTo>
                    <a:pt x="375" y="596"/>
                  </a:lnTo>
                  <a:lnTo>
                    <a:pt x="373" y="596"/>
                  </a:lnTo>
                  <a:lnTo>
                    <a:pt x="370" y="598"/>
                  </a:lnTo>
                  <a:lnTo>
                    <a:pt x="373" y="598"/>
                  </a:lnTo>
                  <a:lnTo>
                    <a:pt x="375" y="597"/>
                  </a:lnTo>
                  <a:lnTo>
                    <a:pt x="378" y="595"/>
                  </a:lnTo>
                  <a:lnTo>
                    <a:pt x="378" y="592"/>
                  </a:lnTo>
                  <a:lnTo>
                    <a:pt x="379" y="595"/>
                  </a:lnTo>
                  <a:lnTo>
                    <a:pt x="382" y="592"/>
                  </a:lnTo>
                  <a:lnTo>
                    <a:pt x="379" y="596"/>
                  </a:lnTo>
                  <a:lnTo>
                    <a:pt x="376" y="598"/>
                  </a:lnTo>
                  <a:lnTo>
                    <a:pt x="374" y="598"/>
                  </a:lnTo>
                  <a:lnTo>
                    <a:pt x="371" y="599"/>
                  </a:lnTo>
                  <a:lnTo>
                    <a:pt x="369" y="602"/>
                  </a:lnTo>
                  <a:lnTo>
                    <a:pt x="371" y="600"/>
                  </a:lnTo>
                  <a:lnTo>
                    <a:pt x="370" y="603"/>
                  </a:lnTo>
                  <a:lnTo>
                    <a:pt x="373" y="603"/>
                  </a:lnTo>
                  <a:lnTo>
                    <a:pt x="375" y="602"/>
                  </a:lnTo>
                  <a:lnTo>
                    <a:pt x="378" y="599"/>
                  </a:lnTo>
                  <a:lnTo>
                    <a:pt x="381" y="599"/>
                  </a:lnTo>
                  <a:lnTo>
                    <a:pt x="378" y="600"/>
                  </a:lnTo>
                  <a:lnTo>
                    <a:pt x="375" y="603"/>
                  </a:lnTo>
                  <a:lnTo>
                    <a:pt x="373" y="604"/>
                  </a:lnTo>
                  <a:lnTo>
                    <a:pt x="375" y="604"/>
                  </a:lnTo>
                  <a:lnTo>
                    <a:pt x="373" y="606"/>
                  </a:lnTo>
                  <a:lnTo>
                    <a:pt x="375" y="605"/>
                  </a:lnTo>
                  <a:lnTo>
                    <a:pt x="376" y="607"/>
                  </a:lnTo>
                  <a:lnTo>
                    <a:pt x="378" y="605"/>
                  </a:lnTo>
                  <a:lnTo>
                    <a:pt x="381" y="605"/>
                  </a:lnTo>
                  <a:lnTo>
                    <a:pt x="380" y="607"/>
                  </a:lnTo>
                  <a:lnTo>
                    <a:pt x="382" y="606"/>
                  </a:lnTo>
                  <a:lnTo>
                    <a:pt x="381" y="608"/>
                  </a:lnTo>
                  <a:lnTo>
                    <a:pt x="383" y="608"/>
                  </a:lnTo>
                  <a:lnTo>
                    <a:pt x="387" y="606"/>
                  </a:lnTo>
                  <a:lnTo>
                    <a:pt x="389" y="603"/>
                  </a:lnTo>
                  <a:lnTo>
                    <a:pt x="388" y="606"/>
                  </a:lnTo>
                  <a:lnTo>
                    <a:pt x="384" y="612"/>
                  </a:lnTo>
                  <a:lnTo>
                    <a:pt x="383" y="614"/>
                  </a:lnTo>
                  <a:lnTo>
                    <a:pt x="386" y="614"/>
                  </a:lnTo>
                  <a:lnTo>
                    <a:pt x="388" y="611"/>
                  </a:lnTo>
                  <a:lnTo>
                    <a:pt x="390" y="608"/>
                  </a:lnTo>
                  <a:lnTo>
                    <a:pt x="388" y="612"/>
                  </a:lnTo>
                  <a:lnTo>
                    <a:pt x="387" y="614"/>
                  </a:lnTo>
                  <a:lnTo>
                    <a:pt x="383" y="616"/>
                  </a:lnTo>
                  <a:lnTo>
                    <a:pt x="387" y="615"/>
                  </a:lnTo>
                  <a:lnTo>
                    <a:pt x="388" y="617"/>
                  </a:lnTo>
                  <a:lnTo>
                    <a:pt x="390" y="617"/>
                  </a:lnTo>
                  <a:lnTo>
                    <a:pt x="391" y="615"/>
                  </a:lnTo>
                  <a:lnTo>
                    <a:pt x="395" y="615"/>
                  </a:lnTo>
                  <a:lnTo>
                    <a:pt x="396" y="612"/>
                  </a:lnTo>
                  <a:lnTo>
                    <a:pt x="398" y="612"/>
                  </a:lnTo>
                  <a:lnTo>
                    <a:pt x="398" y="614"/>
                  </a:lnTo>
                  <a:lnTo>
                    <a:pt x="401" y="615"/>
                  </a:lnTo>
                  <a:lnTo>
                    <a:pt x="404" y="615"/>
                  </a:lnTo>
                  <a:lnTo>
                    <a:pt x="406" y="615"/>
                  </a:lnTo>
                  <a:lnTo>
                    <a:pt x="409" y="615"/>
                  </a:lnTo>
                  <a:lnTo>
                    <a:pt x="409" y="613"/>
                  </a:lnTo>
                  <a:lnTo>
                    <a:pt x="408" y="609"/>
                  </a:lnTo>
                  <a:lnTo>
                    <a:pt x="405" y="611"/>
                  </a:lnTo>
                  <a:lnTo>
                    <a:pt x="406" y="608"/>
                  </a:lnTo>
                  <a:lnTo>
                    <a:pt x="402" y="607"/>
                  </a:lnTo>
                  <a:lnTo>
                    <a:pt x="400" y="606"/>
                  </a:lnTo>
                  <a:lnTo>
                    <a:pt x="397" y="606"/>
                  </a:lnTo>
                  <a:lnTo>
                    <a:pt x="400" y="606"/>
                  </a:lnTo>
                  <a:lnTo>
                    <a:pt x="402" y="604"/>
                  </a:lnTo>
                  <a:lnTo>
                    <a:pt x="404" y="607"/>
                  </a:lnTo>
                  <a:lnTo>
                    <a:pt x="407" y="607"/>
                  </a:lnTo>
                  <a:lnTo>
                    <a:pt x="409" y="607"/>
                  </a:lnTo>
                  <a:lnTo>
                    <a:pt x="413" y="606"/>
                  </a:lnTo>
                  <a:lnTo>
                    <a:pt x="415" y="604"/>
                  </a:lnTo>
                  <a:lnTo>
                    <a:pt x="413" y="605"/>
                  </a:lnTo>
                  <a:lnTo>
                    <a:pt x="409" y="604"/>
                  </a:lnTo>
                  <a:lnTo>
                    <a:pt x="413" y="605"/>
                  </a:lnTo>
                  <a:lnTo>
                    <a:pt x="413" y="602"/>
                  </a:lnTo>
                  <a:lnTo>
                    <a:pt x="409" y="602"/>
                  </a:lnTo>
                  <a:lnTo>
                    <a:pt x="407" y="600"/>
                  </a:lnTo>
                  <a:lnTo>
                    <a:pt x="410" y="602"/>
                  </a:lnTo>
                  <a:lnTo>
                    <a:pt x="413" y="600"/>
                  </a:lnTo>
                  <a:lnTo>
                    <a:pt x="410" y="600"/>
                  </a:lnTo>
                  <a:lnTo>
                    <a:pt x="407" y="599"/>
                  </a:lnTo>
                  <a:lnTo>
                    <a:pt x="410" y="599"/>
                  </a:lnTo>
                  <a:lnTo>
                    <a:pt x="413" y="599"/>
                  </a:lnTo>
                  <a:lnTo>
                    <a:pt x="416" y="598"/>
                  </a:lnTo>
                  <a:lnTo>
                    <a:pt x="416" y="596"/>
                  </a:lnTo>
                  <a:lnTo>
                    <a:pt x="413" y="596"/>
                  </a:lnTo>
                  <a:lnTo>
                    <a:pt x="410" y="595"/>
                  </a:lnTo>
                  <a:lnTo>
                    <a:pt x="408" y="595"/>
                  </a:lnTo>
                  <a:lnTo>
                    <a:pt x="406" y="595"/>
                  </a:lnTo>
                  <a:lnTo>
                    <a:pt x="408" y="595"/>
                  </a:lnTo>
                  <a:lnTo>
                    <a:pt x="414" y="595"/>
                  </a:lnTo>
                  <a:lnTo>
                    <a:pt x="416" y="595"/>
                  </a:lnTo>
                  <a:lnTo>
                    <a:pt x="412" y="592"/>
                  </a:lnTo>
                  <a:lnTo>
                    <a:pt x="414" y="592"/>
                  </a:lnTo>
                  <a:lnTo>
                    <a:pt x="416" y="591"/>
                  </a:lnTo>
                  <a:lnTo>
                    <a:pt x="412" y="590"/>
                  </a:lnTo>
                  <a:lnTo>
                    <a:pt x="414" y="590"/>
                  </a:lnTo>
                  <a:lnTo>
                    <a:pt x="416" y="590"/>
                  </a:lnTo>
                  <a:lnTo>
                    <a:pt x="419" y="588"/>
                  </a:lnTo>
                  <a:lnTo>
                    <a:pt x="417" y="586"/>
                  </a:lnTo>
                  <a:lnTo>
                    <a:pt x="414" y="586"/>
                  </a:lnTo>
                  <a:lnTo>
                    <a:pt x="412" y="585"/>
                  </a:lnTo>
                  <a:lnTo>
                    <a:pt x="414" y="586"/>
                  </a:lnTo>
                  <a:lnTo>
                    <a:pt x="417" y="586"/>
                  </a:lnTo>
                  <a:lnTo>
                    <a:pt x="419" y="585"/>
                  </a:lnTo>
                  <a:lnTo>
                    <a:pt x="421" y="582"/>
                  </a:lnTo>
                  <a:lnTo>
                    <a:pt x="418" y="582"/>
                  </a:lnTo>
                  <a:lnTo>
                    <a:pt x="416" y="581"/>
                  </a:lnTo>
                  <a:lnTo>
                    <a:pt x="418" y="582"/>
                  </a:lnTo>
                  <a:lnTo>
                    <a:pt x="421" y="581"/>
                  </a:lnTo>
                  <a:lnTo>
                    <a:pt x="421" y="579"/>
                  </a:lnTo>
                  <a:lnTo>
                    <a:pt x="422" y="575"/>
                  </a:lnTo>
                  <a:lnTo>
                    <a:pt x="419" y="577"/>
                  </a:lnTo>
                  <a:lnTo>
                    <a:pt x="419" y="575"/>
                  </a:lnTo>
                  <a:lnTo>
                    <a:pt x="422" y="572"/>
                  </a:lnTo>
                  <a:lnTo>
                    <a:pt x="421" y="570"/>
                  </a:lnTo>
                  <a:lnTo>
                    <a:pt x="418" y="569"/>
                  </a:lnTo>
                  <a:lnTo>
                    <a:pt x="415" y="568"/>
                  </a:lnTo>
                  <a:lnTo>
                    <a:pt x="413" y="565"/>
                  </a:lnTo>
                  <a:lnTo>
                    <a:pt x="415" y="565"/>
                  </a:lnTo>
                  <a:lnTo>
                    <a:pt x="418" y="568"/>
                  </a:lnTo>
                  <a:lnTo>
                    <a:pt x="421" y="566"/>
                  </a:lnTo>
                  <a:lnTo>
                    <a:pt x="418" y="565"/>
                  </a:lnTo>
                  <a:lnTo>
                    <a:pt x="421" y="566"/>
                  </a:lnTo>
                  <a:lnTo>
                    <a:pt x="418" y="563"/>
                  </a:lnTo>
                  <a:lnTo>
                    <a:pt x="416" y="563"/>
                  </a:lnTo>
                  <a:lnTo>
                    <a:pt x="413" y="562"/>
                  </a:lnTo>
                  <a:lnTo>
                    <a:pt x="410" y="560"/>
                  </a:lnTo>
                  <a:lnTo>
                    <a:pt x="413" y="561"/>
                  </a:lnTo>
                  <a:lnTo>
                    <a:pt x="416" y="560"/>
                  </a:lnTo>
                  <a:lnTo>
                    <a:pt x="418" y="561"/>
                  </a:lnTo>
                  <a:lnTo>
                    <a:pt x="418" y="557"/>
                  </a:lnTo>
                  <a:lnTo>
                    <a:pt x="421" y="557"/>
                  </a:lnTo>
                  <a:lnTo>
                    <a:pt x="424" y="558"/>
                  </a:lnTo>
                  <a:lnTo>
                    <a:pt x="426" y="558"/>
                  </a:lnTo>
                  <a:lnTo>
                    <a:pt x="429" y="558"/>
                  </a:lnTo>
                  <a:lnTo>
                    <a:pt x="431" y="555"/>
                  </a:lnTo>
                  <a:lnTo>
                    <a:pt x="429" y="554"/>
                  </a:lnTo>
                  <a:lnTo>
                    <a:pt x="425" y="554"/>
                  </a:lnTo>
                  <a:lnTo>
                    <a:pt x="423" y="551"/>
                  </a:lnTo>
                  <a:lnTo>
                    <a:pt x="426" y="554"/>
                  </a:lnTo>
                  <a:lnTo>
                    <a:pt x="429" y="554"/>
                  </a:lnTo>
                  <a:lnTo>
                    <a:pt x="432" y="554"/>
                  </a:lnTo>
                  <a:lnTo>
                    <a:pt x="429" y="552"/>
                  </a:lnTo>
                  <a:lnTo>
                    <a:pt x="426" y="551"/>
                  </a:lnTo>
                  <a:lnTo>
                    <a:pt x="429" y="551"/>
                  </a:lnTo>
                  <a:lnTo>
                    <a:pt x="432" y="553"/>
                  </a:lnTo>
                  <a:lnTo>
                    <a:pt x="433" y="551"/>
                  </a:lnTo>
                  <a:lnTo>
                    <a:pt x="430" y="548"/>
                  </a:lnTo>
                  <a:lnTo>
                    <a:pt x="427" y="546"/>
                  </a:lnTo>
                  <a:lnTo>
                    <a:pt x="429" y="544"/>
                  </a:lnTo>
                  <a:lnTo>
                    <a:pt x="432" y="546"/>
                  </a:lnTo>
                  <a:lnTo>
                    <a:pt x="434" y="547"/>
                  </a:lnTo>
                  <a:lnTo>
                    <a:pt x="438" y="548"/>
                  </a:lnTo>
                  <a:lnTo>
                    <a:pt x="434" y="546"/>
                  </a:lnTo>
                  <a:lnTo>
                    <a:pt x="432" y="545"/>
                  </a:lnTo>
                  <a:lnTo>
                    <a:pt x="434" y="546"/>
                  </a:lnTo>
                  <a:lnTo>
                    <a:pt x="433" y="543"/>
                  </a:lnTo>
                  <a:lnTo>
                    <a:pt x="436" y="545"/>
                  </a:lnTo>
                  <a:lnTo>
                    <a:pt x="439" y="546"/>
                  </a:lnTo>
                  <a:lnTo>
                    <a:pt x="436" y="544"/>
                  </a:lnTo>
                  <a:lnTo>
                    <a:pt x="439" y="545"/>
                  </a:lnTo>
                  <a:lnTo>
                    <a:pt x="441" y="544"/>
                  </a:lnTo>
                  <a:lnTo>
                    <a:pt x="441" y="541"/>
                  </a:lnTo>
                  <a:lnTo>
                    <a:pt x="439" y="540"/>
                  </a:lnTo>
                  <a:lnTo>
                    <a:pt x="436" y="540"/>
                  </a:lnTo>
                  <a:lnTo>
                    <a:pt x="433" y="538"/>
                  </a:lnTo>
                  <a:lnTo>
                    <a:pt x="435" y="538"/>
                  </a:lnTo>
                  <a:lnTo>
                    <a:pt x="439" y="539"/>
                  </a:lnTo>
                  <a:lnTo>
                    <a:pt x="441" y="540"/>
                  </a:lnTo>
                  <a:lnTo>
                    <a:pt x="444" y="539"/>
                  </a:lnTo>
                  <a:lnTo>
                    <a:pt x="446" y="537"/>
                  </a:lnTo>
                  <a:lnTo>
                    <a:pt x="442" y="535"/>
                  </a:lnTo>
                  <a:lnTo>
                    <a:pt x="446" y="532"/>
                  </a:lnTo>
                  <a:lnTo>
                    <a:pt x="442" y="530"/>
                  </a:lnTo>
                  <a:lnTo>
                    <a:pt x="440" y="530"/>
                  </a:lnTo>
                  <a:lnTo>
                    <a:pt x="436" y="530"/>
                  </a:lnTo>
                  <a:lnTo>
                    <a:pt x="434" y="529"/>
                  </a:lnTo>
                  <a:lnTo>
                    <a:pt x="432" y="528"/>
                  </a:lnTo>
                  <a:lnTo>
                    <a:pt x="434" y="526"/>
                  </a:lnTo>
                  <a:lnTo>
                    <a:pt x="436" y="527"/>
                  </a:lnTo>
                  <a:lnTo>
                    <a:pt x="440" y="527"/>
                  </a:lnTo>
                  <a:lnTo>
                    <a:pt x="442" y="526"/>
                  </a:lnTo>
                  <a:lnTo>
                    <a:pt x="446" y="526"/>
                  </a:lnTo>
                  <a:lnTo>
                    <a:pt x="448" y="526"/>
                  </a:lnTo>
                  <a:lnTo>
                    <a:pt x="446" y="523"/>
                  </a:lnTo>
                  <a:lnTo>
                    <a:pt x="444" y="521"/>
                  </a:lnTo>
                  <a:lnTo>
                    <a:pt x="443" y="518"/>
                  </a:lnTo>
                  <a:lnTo>
                    <a:pt x="441" y="515"/>
                  </a:lnTo>
                  <a:lnTo>
                    <a:pt x="438" y="513"/>
                  </a:lnTo>
                  <a:lnTo>
                    <a:pt x="439" y="511"/>
                  </a:lnTo>
                  <a:lnTo>
                    <a:pt x="442" y="510"/>
                  </a:lnTo>
                  <a:lnTo>
                    <a:pt x="444" y="508"/>
                  </a:lnTo>
                  <a:lnTo>
                    <a:pt x="447" y="511"/>
                  </a:lnTo>
                  <a:lnTo>
                    <a:pt x="450" y="510"/>
                  </a:lnTo>
                  <a:lnTo>
                    <a:pt x="452" y="510"/>
                  </a:lnTo>
                  <a:lnTo>
                    <a:pt x="452" y="510"/>
                  </a:lnTo>
                  <a:lnTo>
                    <a:pt x="452" y="506"/>
                  </a:lnTo>
                  <a:lnTo>
                    <a:pt x="456" y="506"/>
                  </a:lnTo>
                  <a:lnTo>
                    <a:pt x="453" y="503"/>
                  </a:lnTo>
                  <a:lnTo>
                    <a:pt x="452" y="502"/>
                  </a:lnTo>
                  <a:lnTo>
                    <a:pt x="450" y="501"/>
                  </a:lnTo>
                  <a:lnTo>
                    <a:pt x="452" y="498"/>
                  </a:lnTo>
                  <a:lnTo>
                    <a:pt x="456" y="500"/>
                  </a:lnTo>
                  <a:lnTo>
                    <a:pt x="457" y="497"/>
                  </a:lnTo>
                  <a:lnTo>
                    <a:pt x="459" y="497"/>
                  </a:lnTo>
                  <a:lnTo>
                    <a:pt x="463" y="500"/>
                  </a:lnTo>
                  <a:lnTo>
                    <a:pt x="464" y="496"/>
                  </a:lnTo>
                  <a:lnTo>
                    <a:pt x="467" y="498"/>
                  </a:lnTo>
                  <a:lnTo>
                    <a:pt x="469" y="496"/>
                  </a:lnTo>
                  <a:lnTo>
                    <a:pt x="473" y="497"/>
                  </a:lnTo>
                  <a:lnTo>
                    <a:pt x="475" y="497"/>
                  </a:lnTo>
                  <a:lnTo>
                    <a:pt x="477" y="495"/>
                  </a:lnTo>
                  <a:lnTo>
                    <a:pt x="477" y="493"/>
                  </a:lnTo>
                  <a:lnTo>
                    <a:pt x="475" y="492"/>
                  </a:lnTo>
                  <a:lnTo>
                    <a:pt x="475" y="488"/>
                  </a:lnTo>
                  <a:lnTo>
                    <a:pt x="477" y="489"/>
                  </a:lnTo>
                  <a:lnTo>
                    <a:pt x="481" y="488"/>
                  </a:lnTo>
                  <a:lnTo>
                    <a:pt x="481" y="486"/>
                  </a:lnTo>
                  <a:lnTo>
                    <a:pt x="481" y="484"/>
                  </a:lnTo>
                  <a:lnTo>
                    <a:pt x="483" y="483"/>
                  </a:lnTo>
                  <a:lnTo>
                    <a:pt x="481" y="480"/>
                  </a:lnTo>
                  <a:lnTo>
                    <a:pt x="483" y="480"/>
                  </a:lnTo>
                  <a:lnTo>
                    <a:pt x="486" y="481"/>
                  </a:lnTo>
                  <a:lnTo>
                    <a:pt x="489" y="481"/>
                  </a:lnTo>
                  <a:lnTo>
                    <a:pt x="491" y="481"/>
                  </a:lnTo>
                  <a:lnTo>
                    <a:pt x="489" y="484"/>
                  </a:lnTo>
                  <a:lnTo>
                    <a:pt x="486" y="486"/>
                  </a:lnTo>
                  <a:lnTo>
                    <a:pt x="483" y="488"/>
                  </a:lnTo>
                  <a:lnTo>
                    <a:pt x="483" y="491"/>
                  </a:lnTo>
                  <a:lnTo>
                    <a:pt x="486" y="491"/>
                  </a:lnTo>
                  <a:lnTo>
                    <a:pt x="489" y="493"/>
                  </a:lnTo>
                  <a:lnTo>
                    <a:pt x="491" y="494"/>
                  </a:lnTo>
                  <a:lnTo>
                    <a:pt x="492" y="491"/>
                  </a:lnTo>
                  <a:lnTo>
                    <a:pt x="493" y="488"/>
                  </a:lnTo>
                  <a:lnTo>
                    <a:pt x="493" y="491"/>
                  </a:lnTo>
                  <a:lnTo>
                    <a:pt x="495" y="491"/>
                  </a:lnTo>
                  <a:lnTo>
                    <a:pt x="499" y="489"/>
                  </a:lnTo>
                  <a:lnTo>
                    <a:pt x="501" y="487"/>
                  </a:lnTo>
                  <a:lnTo>
                    <a:pt x="503" y="489"/>
                  </a:lnTo>
                  <a:lnTo>
                    <a:pt x="507" y="491"/>
                  </a:lnTo>
                  <a:lnTo>
                    <a:pt x="509" y="488"/>
                  </a:lnTo>
                  <a:lnTo>
                    <a:pt x="509" y="486"/>
                  </a:lnTo>
                  <a:lnTo>
                    <a:pt x="512" y="486"/>
                  </a:lnTo>
                  <a:lnTo>
                    <a:pt x="514" y="484"/>
                  </a:lnTo>
                  <a:lnTo>
                    <a:pt x="511" y="480"/>
                  </a:lnTo>
                  <a:lnTo>
                    <a:pt x="514" y="483"/>
                  </a:lnTo>
                  <a:lnTo>
                    <a:pt x="517" y="483"/>
                  </a:lnTo>
                  <a:lnTo>
                    <a:pt x="519" y="484"/>
                  </a:lnTo>
                  <a:lnTo>
                    <a:pt x="518" y="480"/>
                  </a:lnTo>
                  <a:lnTo>
                    <a:pt x="521" y="481"/>
                  </a:lnTo>
                  <a:lnTo>
                    <a:pt x="524" y="480"/>
                  </a:lnTo>
                  <a:lnTo>
                    <a:pt x="526" y="480"/>
                  </a:lnTo>
                  <a:lnTo>
                    <a:pt x="528" y="478"/>
                  </a:lnTo>
                  <a:lnTo>
                    <a:pt x="528" y="475"/>
                  </a:lnTo>
                  <a:lnTo>
                    <a:pt x="529" y="472"/>
                  </a:lnTo>
                  <a:lnTo>
                    <a:pt x="529" y="475"/>
                  </a:lnTo>
                  <a:lnTo>
                    <a:pt x="533" y="474"/>
                  </a:lnTo>
                  <a:lnTo>
                    <a:pt x="534" y="471"/>
                  </a:lnTo>
                  <a:lnTo>
                    <a:pt x="535" y="469"/>
                  </a:lnTo>
                  <a:lnTo>
                    <a:pt x="536" y="467"/>
                  </a:lnTo>
                  <a:lnTo>
                    <a:pt x="538" y="464"/>
                  </a:lnTo>
                  <a:lnTo>
                    <a:pt x="541" y="463"/>
                  </a:lnTo>
                  <a:lnTo>
                    <a:pt x="541" y="461"/>
                  </a:lnTo>
                  <a:lnTo>
                    <a:pt x="544" y="460"/>
                  </a:lnTo>
                  <a:lnTo>
                    <a:pt x="542" y="458"/>
                  </a:lnTo>
                  <a:lnTo>
                    <a:pt x="544" y="457"/>
                  </a:lnTo>
                  <a:lnTo>
                    <a:pt x="544" y="453"/>
                  </a:lnTo>
                  <a:lnTo>
                    <a:pt x="546" y="453"/>
                  </a:lnTo>
                  <a:lnTo>
                    <a:pt x="549" y="450"/>
                  </a:lnTo>
                  <a:lnTo>
                    <a:pt x="551" y="449"/>
                  </a:lnTo>
                  <a:lnTo>
                    <a:pt x="554" y="448"/>
                  </a:lnTo>
                  <a:lnTo>
                    <a:pt x="557" y="445"/>
                  </a:lnTo>
                  <a:lnTo>
                    <a:pt x="559" y="446"/>
                  </a:lnTo>
                  <a:lnTo>
                    <a:pt x="562" y="444"/>
                  </a:lnTo>
                  <a:lnTo>
                    <a:pt x="560" y="442"/>
                  </a:lnTo>
                  <a:lnTo>
                    <a:pt x="561" y="440"/>
                  </a:lnTo>
                  <a:lnTo>
                    <a:pt x="558" y="437"/>
                  </a:lnTo>
                  <a:lnTo>
                    <a:pt x="561" y="437"/>
                  </a:lnTo>
                  <a:lnTo>
                    <a:pt x="559" y="434"/>
                  </a:lnTo>
                  <a:lnTo>
                    <a:pt x="557" y="434"/>
                  </a:lnTo>
                  <a:lnTo>
                    <a:pt x="555" y="431"/>
                  </a:lnTo>
                  <a:lnTo>
                    <a:pt x="558" y="429"/>
                  </a:lnTo>
                  <a:lnTo>
                    <a:pt x="559" y="433"/>
                  </a:lnTo>
                  <a:lnTo>
                    <a:pt x="561" y="434"/>
                  </a:lnTo>
                  <a:lnTo>
                    <a:pt x="563" y="436"/>
                  </a:lnTo>
                  <a:lnTo>
                    <a:pt x="567" y="437"/>
                  </a:lnTo>
                  <a:lnTo>
                    <a:pt x="568" y="441"/>
                  </a:lnTo>
                  <a:lnTo>
                    <a:pt x="570" y="440"/>
                  </a:lnTo>
                  <a:lnTo>
                    <a:pt x="572" y="441"/>
                  </a:lnTo>
                  <a:lnTo>
                    <a:pt x="576" y="442"/>
                  </a:lnTo>
                  <a:lnTo>
                    <a:pt x="578" y="441"/>
                  </a:lnTo>
                  <a:lnTo>
                    <a:pt x="581" y="441"/>
                  </a:lnTo>
                  <a:lnTo>
                    <a:pt x="584" y="441"/>
                  </a:lnTo>
                  <a:lnTo>
                    <a:pt x="581" y="437"/>
                  </a:lnTo>
                  <a:lnTo>
                    <a:pt x="579" y="436"/>
                  </a:lnTo>
                  <a:lnTo>
                    <a:pt x="581" y="437"/>
                  </a:lnTo>
                  <a:lnTo>
                    <a:pt x="584" y="437"/>
                  </a:lnTo>
                  <a:lnTo>
                    <a:pt x="586" y="441"/>
                  </a:lnTo>
                  <a:lnTo>
                    <a:pt x="589" y="440"/>
                  </a:lnTo>
                  <a:lnTo>
                    <a:pt x="587" y="436"/>
                  </a:lnTo>
                  <a:lnTo>
                    <a:pt x="589" y="437"/>
                  </a:lnTo>
                  <a:lnTo>
                    <a:pt x="589" y="434"/>
                  </a:lnTo>
                  <a:lnTo>
                    <a:pt x="592" y="433"/>
                  </a:lnTo>
                  <a:lnTo>
                    <a:pt x="594" y="436"/>
                  </a:lnTo>
                  <a:lnTo>
                    <a:pt x="597" y="436"/>
                  </a:lnTo>
                  <a:lnTo>
                    <a:pt x="600" y="435"/>
                  </a:lnTo>
                  <a:lnTo>
                    <a:pt x="603" y="434"/>
                  </a:lnTo>
                  <a:lnTo>
                    <a:pt x="605" y="435"/>
                  </a:lnTo>
                  <a:lnTo>
                    <a:pt x="608" y="434"/>
                  </a:lnTo>
                  <a:lnTo>
                    <a:pt x="611" y="432"/>
                  </a:lnTo>
                  <a:lnTo>
                    <a:pt x="613" y="431"/>
                  </a:lnTo>
                  <a:lnTo>
                    <a:pt x="617" y="432"/>
                  </a:lnTo>
                  <a:lnTo>
                    <a:pt x="619" y="432"/>
                  </a:lnTo>
                  <a:lnTo>
                    <a:pt x="622" y="431"/>
                  </a:lnTo>
                  <a:lnTo>
                    <a:pt x="625" y="431"/>
                  </a:lnTo>
                  <a:lnTo>
                    <a:pt x="628" y="428"/>
                  </a:lnTo>
                  <a:lnTo>
                    <a:pt x="630" y="429"/>
                  </a:lnTo>
                  <a:lnTo>
                    <a:pt x="631" y="427"/>
                  </a:lnTo>
                  <a:lnTo>
                    <a:pt x="635" y="426"/>
                  </a:lnTo>
                  <a:lnTo>
                    <a:pt x="637" y="427"/>
                  </a:lnTo>
                  <a:lnTo>
                    <a:pt x="639" y="427"/>
                  </a:lnTo>
                  <a:lnTo>
                    <a:pt x="643" y="424"/>
                  </a:lnTo>
                  <a:lnTo>
                    <a:pt x="645" y="424"/>
                  </a:lnTo>
                  <a:lnTo>
                    <a:pt x="647" y="423"/>
                  </a:lnTo>
                  <a:lnTo>
                    <a:pt x="649" y="419"/>
                  </a:lnTo>
                  <a:lnTo>
                    <a:pt x="652" y="419"/>
                  </a:lnTo>
                  <a:lnTo>
                    <a:pt x="651" y="417"/>
                  </a:lnTo>
                  <a:lnTo>
                    <a:pt x="653" y="418"/>
                  </a:lnTo>
                  <a:lnTo>
                    <a:pt x="656" y="416"/>
                  </a:lnTo>
                  <a:lnTo>
                    <a:pt x="658" y="414"/>
                  </a:lnTo>
                  <a:lnTo>
                    <a:pt x="655" y="414"/>
                  </a:lnTo>
                  <a:lnTo>
                    <a:pt x="658" y="412"/>
                  </a:lnTo>
                  <a:lnTo>
                    <a:pt x="661" y="412"/>
                  </a:lnTo>
                  <a:lnTo>
                    <a:pt x="663" y="412"/>
                  </a:lnTo>
                  <a:lnTo>
                    <a:pt x="663" y="410"/>
                  </a:lnTo>
                  <a:lnTo>
                    <a:pt x="665" y="410"/>
                  </a:lnTo>
                  <a:lnTo>
                    <a:pt x="669" y="408"/>
                  </a:lnTo>
                  <a:lnTo>
                    <a:pt x="671" y="408"/>
                  </a:lnTo>
                  <a:lnTo>
                    <a:pt x="669" y="406"/>
                  </a:lnTo>
                  <a:lnTo>
                    <a:pt x="671" y="406"/>
                  </a:lnTo>
                  <a:lnTo>
                    <a:pt x="673" y="407"/>
                  </a:lnTo>
                  <a:lnTo>
                    <a:pt x="677" y="406"/>
                  </a:lnTo>
                  <a:lnTo>
                    <a:pt x="677" y="403"/>
                  </a:lnTo>
                  <a:lnTo>
                    <a:pt x="674" y="401"/>
                  </a:lnTo>
                  <a:lnTo>
                    <a:pt x="677" y="401"/>
                  </a:lnTo>
                  <a:lnTo>
                    <a:pt x="680" y="401"/>
                  </a:lnTo>
                  <a:lnTo>
                    <a:pt x="682" y="401"/>
                  </a:lnTo>
                  <a:lnTo>
                    <a:pt x="686" y="401"/>
                  </a:lnTo>
                  <a:lnTo>
                    <a:pt x="682" y="398"/>
                  </a:lnTo>
                  <a:lnTo>
                    <a:pt x="686" y="398"/>
                  </a:lnTo>
                  <a:lnTo>
                    <a:pt x="688" y="398"/>
                  </a:lnTo>
                  <a:lnTo>
                    <a:pt x="690" y="397"/>
                  </a:lnTo>
                  <a:lnTo>
                    <a:pt x="692" y="394"/>
                  </a:lnTo>
                  <a:lnTo>
                    <a:pt x="695" y="394"/>
                  </a:lnTo>
                  <a:lnTo>
                    <a:pt x="698" y="392"/>
                  </a:lnTo>
                  <a:lnTo>
                    <a:pt x="695" y="392"/>
                  </a:lnTo>
                  <a:lnTo>
                    <a:pt x="692" y="392"/>
                  </a:lnTo>
                  <a:lnTo>
                    <a:pt x="690" y="393"/>
                  </a:lnTo>
                  <a:lnTo>
                    <a:pt x="687" y="393"/>
                  </a:lnTo>
                  <a:lnTo>
                    <a:pt x="685" y="392"/>
                  </a:lnTo>
                  <a:lnTo>
                    <a:pt x="681" y="392"/>
                  </a:lnTo>
                  <a:lnTo>
                    <a:pt x="679" y="392"/>
                  </a:lnTo>
                  <a:lnTo>
                    <a:pt x="677" y="391"/>
                  </a:lnTo>
                  <a:lnTo>
                    <a:pt x="673" y="391"/>
                  </a:lnTo>
                  <a:lnTo>
                    <a:pt x="671" y="390"/>
                  </a:lnTo>
                  <a:lnTo>
                    <a:pt x="668" y="390"/>
                  </a:lnTo>
                  <a:lnTo>
                    <a:pt x="665" y="389"/>
                  </a:lnTo>
                  <a:lnTo>
                    <a:pt x="662" y="387"/>
                  </a:lnTo>
                  <a:lnTo>
                    <a:pt x="660" y="387"/>
                  </a:lnTo>
                  <a:lnTo>
                    <a:pt x="657" y="386"/>
                  </a:lnTo>
                  <a:lnTo>
                    <a:pt x="654" y="387"/>
                  </a:lnTo>
                  <a:lnTo>
                    <a:pt x="655" y="385"/>
                  </a:lnTo>
                  <a:lnTo>
                    <a:pt x="652" y="385"/>
                  </a:lnTo>
                  <a:lnTo>
                    <a:pt x="649" y="386"/>
                  </a:lnTo>
                  <a:lnTo>
                    <a:pt x="647" y="387"/>
                  </a:lnTo>
                  <a:lnTo>
                    <a:pt x="644" y="389"/>
                  </a:lnTo>
                  <a:lnTo>
                    <a:pt x="642" y="390"/>
                  </a:lnTo>
                  <a:lnTo>
                    <a:pt x="638" y="390"/>
                  </a:lnTo>
                  <a:lnTo>
                    <a:pt x="636" y="389"/>
                  </a:lnTo>
                  <a:lnTo>
                    <a:pt x="634" y="389"/>
                  </a:lnTo>
                  <a:lnTo>
                    <a:pt x="630" y="390"/>
                  </a:lnTo>
                  <a:lnTo>
                    <a:pt x="628" y="393"/>
                  </a:lnTo>
                  <a:lnTo>
                    <a:pt x="627" y="394"/>
                  </a:lnTo>
                  <a:lnTo>
                    <a:pt x="625" y="395"/>
                  </a:lnTo>
                  <a:lnTo>
                    <a:pt x="623" y="394"/>
                  </a:lnTo>
                  <a:lnTo>
                    <a:pt x="623" y="393"/>
                  </a:lnTo>
                  <a:lnTo>
                    <a:pt x="620" y="394"/>
                  </a:lnTo>
                  <a:lnTo>
                    <a:pt x="618" y="394"/>
                  </a:lnTo>
                  <a:lnTo>
                    <a:pt x="615" y="393"/>
                  </a:lnTo>
                  <a:lnTo>
                    <a:pt x="612" y="393"/>
                  </a:lnTo>
                  <a:lnTo>
                    <a:pt x="610" y="392"/>
                  </a:lnTo>
                  <a:lnTo>
                    <a:pt x="612" y="392"/>
                  </a:lnTo>
                  <a:lnTo>
                    <a:pt x="614" y="391"/>
                  </a:lnTo>
                  <a:lnTo>
                    <a:pt x="618" y="392"/>
                  </a:lnTo>
                  <a:lnTo>
                    <a:pt x="620" y="392"/>
                  </a:lnTo>
                  <a:lnTo>
                    <a:pt x="623" y="391"/>
                  </a:lnTo>
                  <a:lnTo>
                    <a:pt x="626" y="390"/>
                  </a:lnTo>
                  <a:lnTo>
                    <a:pt x="629" y="387"/>
                  </a:lnTo>
                  <a:lnTo>
                    <a:pt x="631" y="386"/>
                  </a:lnTo>
                  <a:lnTo>
                    <a:pt x="634" y="387"/>
                  </a:lnTo>
                  <a:lnTo>
                    <a:pt x="637" y="387"/>
                  </a:lnTo>
                  <a:lnTo>
                    <a:pt x="639" y="386"/>
                  </a:lnTo>
                  <a:lnTo>
                    <a:pt x="638" y="383"/>
                  </a:lnTo>
                  <a:lnTo>
                    <a:pt x="635" y="383"/>
                  </a:lnTo>
                  <a:lnTo>
                    <a:pt x="632" y="384"/>
                  </a:lnTo>
                  <a:lnTo>
                    <a:pt x="630" y="384"/>
                  </a:lnTo>
                  <a:lnTo>
                    <a:pt x="627" y="384"/>
                  </a:lnTo>
                  <a:lnTo>
                    <a:pt x="625" y="384"/>
                  </a:lnTo>
                  <a:lnTo>
                    <a:pt x="621" y="384"/>
                  </a:lnTo>
                  <a:lnTo>
                    <a:pt x="619" y="385"/>
                  </a:lnTo>
                  <a:lnTo>
                    <a:pt x="615" y="385"/>
                  </a:lnTo>
                  <a:lnTo>
                    <a:pt x="613" y="385"/>
                  </a:lnTo>
                  <a:lnTo>
                    <a:pt x="613" y="382"/>
                  </a:lnTo>
                  <a:lnTo>
                    <a:pt x="611" y="382"/>
                  </a:lnTo>
                  <a:lnTo>
                    <a:pt x="608" y="383"/>
                  </a:lnTo>
                  <a:lnTo>
                    <a:pt x="605" y="384"/>
                  </a:lnTo>
                  <a:lnTo>
                    <a:pt x="602" y="383"/>
                  </a:lnTo>
                  <a:lnTo>
                    <a:pt x="605" y="382"/>
                  </a:lnTo>
                  <a:lnTo>
                    <a:pt x="608" y="382"/>
                  </a:lnTo>
                  <a:lnTo>
                    <a:pt x="611" y="382"/>
                  </a:lnTo>
                  <a:lnTo>
                    <a:pt x="613" y="380"/>
                  </a:lnTo>
                  <a:lnTo>
                    <a:pt x="615" y="378"/>
                  </a:lnTo>
                  <a:lnTo>
                    <a:pt x="618" y="375"/>
                  </a:lnTo>
                  <a:lnTo>
                    <a:pt x="617" y="373"/>
                  </a:lnTo>
                  <a:lnTo>
                    <a:pt x="614" y="372"/>
                  </a:lnTo>
                  <a:lnTo>
                    <a:pt x="612" y="370"/>
                  </a:lnTo>
                  <a:lnTo>
                    <a:pt x="614" y="370"/>
                  </a:lnTo>
                  <a:lnTo>
                    <a:pt x="617" y="370"/>
                  </a:lnTo>
                  <a:lnTo>
                    <a:pt x="620" y="370"/>
                  </a:lnTo>
                  <a:lnTo>
                    <a:pt x="622" y="370"/>
                  </a:lnTo>
                  <a:lnTo>
                    <a:pt x="620" y="369"/>
                  </a:lnTo>
                  <a:lnTo>
                    <a:pt x="620" y="366"/>
                  </a:lnTo>
                  <a:lnTo>
                    <a:pt x="622" y="369"/>
                  </a:lnTo>
                  <a:lnTo>
                    <a:pt x="625" y="372"/>
                  </a:lnTo>
                  <a:lnTo>
                    <a:pt x="628" y="372"/>
                  </a:lnTo>
                  <a:lnTo>
                    <a:pt x="630" y="372"/>
                  </a:lnTo>
                  <a:lnTo>
                    <a:pt x="634" y="372"/>
                  </a:lnTo>
                  <a:lnTo>
                    <a:pt x="636" y="372"/>
                  </a:lnTo>
                  <a:lnTo>
                    <a:pt x="638" y="370"/>
                  </a:lnTo>
                  <a:lnTo>
                    <a:pt x="642" y="369"/>
                  </a:lnTo>
                  <a:lnTo>
                    <a:pt x="644" y="368"/>
                  </a:lnTo>
                  <a:lnTo>
                    <a:pt x="647" y="367"/>
                  </a:lnTo>
                  <a:lnTo>
                    <a:pt x="647" y="367"/>
                  </a:lnTo>
                  <a:lnTo>
                    <a:pt x="649" y="364"/>
                  </a:lnTo>
                  <a:lnTo>
                    <a:pt x="653" y="363"/>
                  </a:lnTo>
                  <a:lnTo>
                    <a:pt x="651" y="360"/>
                  </a:lnTo>
                  <a:lnTo>
                    <a:pt x="648" y="358"/>
                  </a:lnTo>
                  <a:lnTo>
                    <a:pt x="645" y="358"/>
                  </a:lnTo>
                  <a:lnTo>
                    <a:pt x="643" y="358"/>
                  </a:lnTo>
                  <a:lnTo>
                    <a:pt x="639" y="357"/>
                  </a:lnTo>
                  <a:lnTo>
                    <a:pt x="637" y="358"/>
                  </a:lnTo>
                  <a:lnTo>
                    <a:pt x="634" y="357"/>
                  </a:lnTo>
                  <a:lnTo>
                    <a:pt x="631" y="357"/>
                  </a:lnTo>
                  <a:lnTo>
                    <a:pt x="629" y="356"/>
                  </a:lnTo>
                  <a:lnTo>
                    <a:pt x="626" y="355"/>
                  </a:lnTo>
                  <a:lnTo>
                    <a:pt x="623" y="355"/>
                  </a:lnTo>
                  <a:lnTo>
                    <a:pt x="620" y="355"/>
                  </a:lnTo>
                  <a:lnTo>
                    <a:pt x="618" y="356"/>
                  </a:lnTo>
                  <a:lnTo>
                    <a:pt x="614" y="356"/>
                  </a:lnTo>
                  <a:lnTo>
                    <a:pt x="612" y="356"/>
                  </a:lnTo>
                  <a:lnTo>
                    <a:pt x="614" y="356"/>
                  </a:lnTo>
                  <a:lnTo>
                    <a:pt x="617" y="355"/>
                  </a:lnTo>
                  <a:lnTo>
                    <a:pt x="620" y="355"/>
                  </a:lnTo>
                  <a:lnTo>
                    <a:pt x="622" y="354"/>
                  </a:lnTo>
                  <a:lnTo>
                    <a:pt x="626" y="354"/>
                  </a:lnTo>
                  <a:lnTo>
                    <a:pt x="625" y="351"/>
                  </a:lnTo>
                  <a:lnTo>
                    <a:pt x="621" y="350"/>
                  </a:lnTo>
                  <a:lnTo>
                    <a:pt x="619" y="347"/>
                  </a:lnTo>
                  <a:lnTo>
                    <a:pt x="617" y="347"/>
                  </a:lnTo>
                  <a:lnTo>
                    <a:pt x="613" y="347"/>
                  </a:lnTo>
                  <a:lnTo>
                    <a:pt x="611" y="346"/>
                  </a:lnTo>
                  <a:lnTo>
                    <a:pt x="611" y="343"/>
                  </a:lnTo>
                  <a:lnTo>
                    <a:pt x="608" y="342"/>
                  </a:lnTo>
                  <a:lnTo>
                    <a:pt x="611" y="342"/>
                  </a:lnTo>
                  <a:lnTo>
                    <a:pt x="613" y="343"/>
                  </a:lnTo>
                  <a:lnTo>
                    <a:pt x="617" y="346"/>
                  </a:lnTo>
                  <a:lnTo>
                    <a:pt x="619" y="346"/>
                  </a:lnTo>
                  <a:lnTo>
                    <a:pt x="621" y="347"/>
                  </a:lnTo>
                  <a:lnTo>
                    <a:pt x="625" y="349"/>
                  </a:lnTo>
                  <a:lnTo>
                    <a:pt x="627" y="350"/>
                  </a:lnTo>
                  <a:lnTo>
                    <a:pt x="629" y="354"/>
                  </a:lnTo>
                  <a:lnTo>
                    <a:pt x="632" y="356"/>
                  </a:lnTo>
                  <a:lnTo>
                    <a:pt x="635" y="356"/>
                  </a:lnTo>
                  <a:lnTo>
                    <a:pt x="637" y="356"/>
                  </a:lnTo>
                  <a:lnTo>
                    <a:pt x="640" y="356"/>
                  </a:lnTo>
                  <a:lnTo>
                    <a:pt x="643" y="355"/>
                  </a:lnTo>
                  <a:lnTo>
                    <a:pt x="646" y="356"/>
                  </a:lnTo>
                  <a:lnTo>
                    <a:pt x="648" y="357"/>
                  </a:lnTo>
                  <a:lnTo>
                    <a:pt x="649" y="357"/>
                  </a:lnTo>
                  <a:lnTo>
                    <a:pt x="655" y="360"/>
                  </a:lnTo>
                  <a:lnTo>
                    <a:pt x="657" y="363"/>
                  </a:lnTo>
                  <a:lnTo>
                    <a:pt x="660" y="363"/>
                  </a:lnTo>
                  <a:lnTo>
                    <a:pt x="663" y="363"/>
                  </a:lnTo>
                  <a:lnTo>
                    <a:pt x="665" y="366"/>
                  </a:lnTo>
                  <a:lnTo>
                    <a:pt x="669" y="368"/>
                  </a:lnTo>
                  <a:lnTo>
                    <a:pt x="669" y="370"/>
                  </a:lnTo>
                  <a:lnTo>
                    <a:pt x="669" y="374"/>
                  </a:lnTo>
                  <a:lnTo>
                    <a:pt x="670" y="376"/>
                  </a:lnTo>
                  <a:lnTo>
                    <a:pt x="672" y="378"/>
                  </a:lnTo>
                  <a:lnTo>
                    <a:pt x="674" y="381"/>
                  </a:lnTo>
                  <a:lnTo>
                    <a:pt x="678" y="382"/>
                  </a:lnTo>
                  <a:lnTo>
                    <a:pt x="680" y="384"/>
                  </a:lnTo>
                  <a:lnTo>
                    <a:pt x="683" y="384"/>
                  </a:lnTo>
                  <a:lnTo>
                    <a:pt x="689" y="384"/>
                  </a:lnTo>
                  <a:lnTo>
                    <a:pt x="691" y="382"/>
                  </a:lnTo>
                  <a:lnTo>
                    <a:pt x="691" y="380"/>
                  </a:lnTo>
                  <a:lnTo>
                    <a:pt x="691" y="377"/>
                  </a:lnTo>
                  <a:lnTo>
                    <a:pt x="694" y="375"/>
                  </a:lnTo>
                  <a:lnTo>
                    <a:pt x="692" y="378"/>
                  </a:lnTo>
                  <a:lnTo>
                    <a:pt x="694" y="381"/>
                  </a:lnTo>
                  <a:lnTo>
                    <a:pt x="696" y="384"/>
                  </a:lnTo>
                  <a:lnTo>
                    <a:pt x="699" y="383"/>
                  </a:lnTo>
                  <a:lnTo>
                    <a:pt x="702" y="384"/>
                  </a:lnTo>
                  <a:lnTo>
                    <a:pt x="704" y="384"/>
                  </a:lnTo>
                  <a:lnTo>
                    <a:pt x="705" y="381"/>
                  </a:lnTo>
                  <a:lnTo>
                    <a:pt x="704" y="378"/>
                  </a:lnTo>
                  <a:lnTo>
                    <a:pt x="704" y="375"/>
                  </a:lnTo>
                  <a:lnTo>
                    <a:pt x="703" y="373"/>
                  </a:lnTo>
                  <a:lnTo>
                    <a:pt x="703" y="370"/>
                  </a:lnTo>
                  <a:lnTo>
                    <a:pt x="700" y="370"/>
                  </a:lnTo>
                  <a:lnTo>
                    <a:pt x="704" y="368"/>
                  </a:lnTo>
                  <a:lnTo>
                    <a:pt x="697" y="369"/>
                  </a:lnTo>
                  <a:lnTo>
                    <a:pt x="695" y="368"/>
                  </a:lnTo>
                  <a:lnTo>
                    <a:pt x="697" y="368"/>
                  </a:lnTo>
                  <a:lnTo>
                    <a:pt x="704" y="367"/>
                  </a:lnTo>
                  <a:lnTo>
                    <a:pt x="704" y="365"/>
                  </a:lnTo>
                  <a:lnTo>
                    <a:pt x="700" y="363"/>
                  </a:lnTo>
                  <a:lnTo>
                    <a:pt x="704" y="363"/>
                  </a:lnTo>
                  <a:lnTo>
                    <a:pt x="704" y="359"/>
                  </a:lnTo>
                  <a:lnTo>
                    <a:pt x="702" y="357"/>
                  </a:lnTo>
                  <a:lnTo>
                    <a:pt x="698" y="358"/>
                  </a:lnTo>
                  <a:lnTo>
                    <a:pt x="696" y="359"/>
                  </a:lnTo>
                  <a:lnTo>
                    <a:pt x="695" y="361"/>
                  </a:lnTo>
                  <a:lnTo>
                    <a:pt x="692" y="359"/>
                  </a:lnTo>
                  <a:lnTo>
                    <a:pt x="692" y="356"/>
                  </a:lnTo>
                  <a:lnTo>
                    <a:pt x="695" y="355"/>
                  </a:lnTo>
                  <a:lnTo>
                    <a:pt x="698" y="355"/>
                  </a:lnTo>
                  <a:lnTo>
                    <a:pt x="700" y="352"/>
                  </a:lnTo>
                  <a:lnTo>
                    <a:pt x="697" y="352"/>
                  </a:lnTo>
                  <a:lnTo>
                    <a:pt x="695" y="354"/>
                  </a:lnTo>
                  <a:lnTo>
                    <a:pt x="692" y="354"/>
                  </a:lnTo>
                  <a:lnTo>
                    <a:pt x="692" y="351"/>
                  </a:lnTo>
                  <a:lnTo>
                    <a:pt x="690" y="351"/>
                  </a:lnTo>
                  <a:lnTo>
                    <a:pt x="688" y="352"/>
                  </a:lnTo>
                  <a:lnTo>
                    <a:pt x="685" y="354"/>
                  </a:lnTo>
                  <a:lnTo>
                    <a:pt x="686" y="351"/>
                  </a:lnTo>
                  <a:lnTo>
                    <a:pt x="688" y="350"/>
                  </a:lnTo>
                  <a:lnTo>
                    <a:pt x="691" y="348"/>
                  </a:lnTo>
                  <a:lnTo>
                    <a:pt x="689" y="346"/>
                  </a:lnTo>
                  <a:lnTo>
                    <a:pt x="686" y="344"/>
                  </a:lnTo>
                  <a:lnTo>
                    <a:pt x="683" y="344"/>
                  </a:lnTo>
                  <a:lnTo>
                    <a:pt x="680" y="342"/>
                  </a:lnTo>
                  <a:lnTo>
                    <a:pt x="678" y="341"/>
                  </a:lnTo>
                  <a:lnTo>
                    <a:pt x="674" y="342"/>
                  </a:lnTo>
                  <a:lnTo>
                    <a:pt x="675" y="339"/>
                  </a:lnTo>
                  <a:lnTo>
                    <a:pt x="673" y="338"/>
                  </a:lnTo>
                  <a:lnTo>
                    <a:pt x="671" y="338"/>
                  </a:lnTo>
                  <a:lnTo>
                    <a:pt x="668" y="337"/>
                  </a:lnTo>
                  <a:lnTo>
                    <a:pt x="665" y="334"/>
                  </a:lnTo>
                  <a:lnTo>
                    <a:pt x="662" y="334"/>
                  </a:lnTo>
                  <a:lnTo>
                    <a:pt x="660" y="334"/>
                  </a:lnTo>
                  <a:lnTo>
                    <a:pt x="658" y="335"/>
                  </a:lnTo>
                  <a:lnTo>
                    <a:pt x="656" y="335"/>
                  </a:lnTo>
                  <a:lnTo>
                    <a:pt x="654" y="338"/>
                  </a:lnTo>
                  <a:lnTo>
                    <a:pt x="652" y="340"/>
                  </a:lnTo>
                  <a:lnTo>
                    <a:pt x="653" y="337"/>
                  </a:lnTo>
                  <a:lnTo>
                    <a:pt x="653" y="334"/>
                  </a:lnTo>
                  <a:lnTo>
                    <a:pt x="651" y="334"/>
                  </a:lnTo>
                  <a:lnTo>
                    <a:pt x="647" y="333"/>
                  </a:lnTo>
                  <a:lnTo>
                    <a:pt x="649" y="333"/>
                  </a:lnTo>
                  <a:lnTo>
                    <a:pt x="653" y="333"/>
                  </a:lnTo>
                  <a:lnTo>
                    <a:pt x="655" y="333"/>
                  </a:lnTo>
                  <a:lnTo>
                    <a:pt x="658" y="333"/>
                  </a:lnTo>
                  <a:lnTo>
                    <a:pt x="661" y="332"/>
                  </a:lnTo>
                  <a:lnTo>
                    <a:pt x="662" y="330"/>
                  </a:lnTo>
                  <a:lnTo>
                    <a:pt x="662" y="326"/>
                  </a:lnTo>
                  <a:lnTo>
                    <a:pt x="658" y="326"/>
                  </a:lnTo>
                  <a:lnTo>
                    <a:pt x="656" y="325"/>
                  </a:lnTo>
                  <a:lnTo>
                    <a:pt x="653" y="324"/>
                  </a:lnTo>
                  <a:lnTo>
                    <a:pt x="651" y="323"/>
                  </a:lnTo>
                  <a:lnTo>
                    <a:pt x="647" y="325"/>
                  </a:lnTo>
                  <a:lnTo>
                    <a:pt x="645" y="326"/>
                  </a:lnTo>
                  <a:lnTo>
                    <a:pt x="643" y="326"/>
                  </a:lnTo>
                  <a:lnTo>
                    <a:pt x="639" y="329"/>
                  </a:lnTo>
                  <a:lnTo>
                    <a:pt x="639" y="325"/>
                  </a:lnTo>
                  <a:lnTo>
                    <a:pt x="637" y="326"/>
                  </a:lnTo>
                  <a:lnTo>
                    <a:pt x="634" y="326"/>
                  </a:lnTo>
                  <a:lnTo>
                    <a:pt x="637" y="324"/>
                  </a:lnTo>
                  <a:lnTo>
                    <a:pt x="635" y="323"/>
                  </a:lnTo>
                  <a:lnTo>
                    <a:pt x="631" y="323"/>
                  </a:lnTo>
                  <a:lnTo>
                    <a:pt x="629" y="324"/>
                  </a:lnTo>
                  <a:lnTo>
                    <a:pt x="626" y="323"/>
                  </a:lnTo>
                  <a:lnTo>
                    <a:pt x="629" y="323"/>
                  </a:lnTo>
                  <a:lnTo>
                    <a:pt x="631" y="323"/>
                  </a:lnTo>
                  <a:lnTo>
                    <a:pt x="634" y="322"/>
                  </a:lnTo>
                  <a:lnTo>
                    <a:pt x="637" y="323"/>
                  </a:lnTo>
                  <a:lnTo>
                    <a:pt x="639" y="324"/>
                  </a:lnTo>
                  <a:lnTo>
                    <a:pt x="643" y="324"/>
                  </a:lnTo>
                  <a:lnTo>
                    <a:pt x="645" y="324"/>
                  </a:lnTo>
                  <a:lnTo>
                    <a:pt x="647" y="322"/>
                  </a:lnTo>
                  <a:lnTo>
                    <a:pt x="651" y="322"/>
                  </a:lnTo>
                  <a:lnTo>
                    <a:pt x="653" y="322"/>
                  </a:lnTo>
                  <a:lnTo>
                    <a:pt x="656" y="321"/>
                  </a:lnTo>
                  <a:lnTo>
                    <a:pt x="658" y="318"/>
                  </a:lnTo>
                  <a:lnTo>
                    <a:pt x="656" y="316"/>
                  </a:lnTo>
                  <a:lnTo>
                    <a:pt x="653" y="316"/>
                  </a:lnTo>
                  <a:lnTo>
                    <a:pt x="651" y="316"/>
                  </a:lnTo>
                  <a:lnTo>
                    <a:pt x="647" y="314"/>
                  </a:lnTo>
                  <a:lnTo>
                    <a:pt x="645" y="314"/>
                  </a:lnTo>
                  <a:lnTo>
                    <a:pt x="642" y="314"/>
                  </a:lnTo>
                  <a:lnTo>
                    <a:pt x="638" y="314"/>
                  </a:lnTo>
                  <a:lnTo>
                    <a:pt x="636" y="316"/>
                  </a:lnTo>
                  <a:lnTo>
                    <a:pt x="634" y="316"/>
                  </a:lnTo>
                  <a:lnTo>
                    <a:pt x="630" y="315"/>
                  </a:lnTo>
                  <a:lnTo>
                    <a:pt x="628" y="315"/>
                  </a:lnTo>
                  <a:lnTo>
                    <a:pt x="626" y="318"/>
                  </a:lnTo>
                  <a:lnTo>
                    <a:pt x="626" y="315"/>
                  </a:lnTo>
                  <a:lnTo>
                    <a:pt x="622" y="315"/>
                  </a:lnTo>
                  <a:lnTo>
                    <a:pt x="626" y="315"/>
                  </a:lnTo>
                  <a:lnTo>
                    <a:pt x="628" y="314"/>
                  </a:lnTo>
                  <a:lnTo>
                    <a:pt x="630" y="314"/>
                  </a:lnTo>
                  <a:lnTo>
                    <a:pt x="634" y="315"/>
                  </a:lnTo>
                  <a:lnTo>
                    <a:pt x="636" y="314"/>
                  </a:lnTo>
                  <a:lnTo>
                    <a:pt x="637" y="312"/>
                  </a:lnTo>
                  <a:lnTo>
                    <a:pt x="634" y="310"/>
                  </a:lnTo>
                  <a:lnTo>
                    <a:pt x="631" y="309"/>
                  </a:lnTo>
                  <a:lnTo>
                    <a:pt x="628" y="309"/>
                  </a:lnTo>
                  <a:lnTo>
                    <a:pt x="626" y="306"/>
                  </a:lnTo>
                  <a:lnTo>
                    <a:pt x="628" y="307"/>
                  </a:lnTo>
                  <a:lnTo>
                    <a:pt x="631" y="309"/>
                  </a:lnTo>
                  <a:lnTo>
                    <a:pt x="634" y="310"/>
                  </a:lnTo>
                  <a:lnTo>
                    <a:pt x="637" y="310"/>
                  </a:lnTo>
                  <a:lnTo>
                    <a:pt x="639" y="310"/>
                  </a:lnTo>
                  <a:lnTo>
                    <a:pt x="643" y="313"/>
                  </a:lnTo>
                  <a:lnTo>
                    <a:pt x="647" y="313"/>
                  </a:lnTo>
                  <a:lnTo>
                    <a:pt x="651" y="310"/>
                  </a:lnTo>
                  <a:lnTo>
                    <a:pt x="652" y="308"/>
                  </a:lnTo>
                  <a:lnTo>
                    <a:pt x="655" y="306"/>
                  </a:lnTo>
                  <a:lnTo>
                    <a:pt x="657" y="306"/>
                  </a:lnTo>
                  <a:lnTo>
                    <a:pt x="661" y="306"/>
                  </a:lnTo>
                  <a:lnTo>
                    <a:pt x="658" y="304"/>
                  </a:lnTo>
                  <a:lnTo>
                    <a:pt x="657" y="300"/>
                  </a:lnTo>
                  <a:lnTo>
                    <a:pt x="654" y="299"/>
                  </a:lnTo>
                  <a:lnTo>
                    <a:pt x="652" y="298"/>
                  </a:lnTo>
                  <a:lnTo>
                    <a:pt x="649" y="295"/>
                  </a:lnTo>
                  <a:lnTo>
                    <a:pt x="652" y="296"/>
                  </a:lnTo>
                  <a:lnTo>
                    <a:pt x="655" y="298"/>
                  </a:lnTo>
                  <a:lnTo>
                    <a:pt x="657" y="299"/>
                  </a:lnTo>
                  <a:lnTo>
                    <a:pt x="658" y="303"/>
                  </a:lnTo>
                  <a:lnTo>
                    <a:pt x="661" y="304"/>
                  </a:lnTo>
                  <a:lnTo>
                    <a:pt x="664" y="304"/>
                  </a:lnTo>
                  <a:lnTo>
                    <a:pt x="666" y="305"/>
                  </a:lnTo>
                  <a:lnTo>
                    <a:pt x="665" y="301"/>
                  </a:lnTo>
                  <a:lnTo>
                    <a:pt x="668" y="299"/>
                  </a:lnTo>
                  <a:lnTo>
                    <a:pt x="670" y="298"/>
                  </a:lnTo>
                  <a:lnTo>
                    <a:pt x="673" y="298"/>
                  </a:lnTo>
                  <a:lnTo>
                    <a:pt x="675" y="299"/>
                  </a:lnTo>
                  <a:lnTo>
                    <a:pt x="678" y="299"/>
                  </a:lnTo>
                  <a:lnTo>
                    <a:pt x="681" y="300"/>
                  </a:lnTo>
                  <a:lnTo>
                    <a:pt x="683" y="301"/>
                  </a:lnTo>
                  <a:lnTo>
                    <a:pt x="687" y="303"/>
                  </a:lnTo>
                  <a:lnTo>
                    <a:pt x="689" y="304"/>
                  </a:lnTo>
                  <a:lnTo>
                    <a:pt x="691" y="304"/>
                  </a:lnTo>
                  <a:lnTo>
                    <a:pt x="695" y="303"/>
                  </a:lnTo>
                  <a:lnTo>
                    <a:pt x="691" y="304"/>
                  </a:lnTo>
                  <a:lnTo>
                    <a:pt x="689" y="305"/>
                  </a:lnTo>
                  <a:lnTo>
                    <a:pt x="683" y="303"/>
                  </a:lnTo>
                  <a:lnTo>
                    <a:pt x="680" y="301"/>
                  </a:lnTo>
                  <a:lnTo>
                    <a:pt x="678" y="300"/>
                  </a:lnTo>
                  <a:lnTo>
                    <a:pt x="674" y="300"/>
                  </a:lnTo>
                  <a:lnTo>
                    <a:pt x="672" y="300"/>
                  </a:lnTo>
                  <a:lnTo>
                    <a:pt x="672" y="303"/>
                  </a:lnTo>
                  <a:lnTo>
                    <a:pt x="674" y="305"/>
                  </a:lnTo>
                  <a:lnTo>
                    <a:pt x="678" y="306"/>
                  </a:lnTo>
                  <a:lnTo>
                    <a:pt x="680" y="308"/>
                  </a:lnTo>
                  <a:lnTo>
                    <a:pt x="682" y="308"/>
                  </a:lnTo>
                  <a:lnTo>
                    <a:pt x="686" y="309"/>
                  </a:lnTo>
                  <a:lnTo>
                    <a:pt x="688" y="310"/>
                  </a:lnTo>
                  <a:lnTo>
                    <a:pt x="691" y="312"/>
                  </a:lnTo>
                  <a:lnTo>
                    <a:pt x="694" y="312"/>
                  </a:lnTo>
                  <a:lnTo>
                    <a:pt x="697" y="313"/>
                  </a:lnTo>
                  <a:lnTo>
                    <a:pt x="699" y="310"/>
                  </a:lnTo>
                  <a:lnTo>
                    <a:pt x="703" y="309"/>
                  </a:lnTo>
                  <a:lnTo>
                    <a:pt x="705" y="308"/>
                  </a:lnTo>
                  <a:lnTo>
                    <a:pt x="708" y="306"/>
                  </a:lnTo>
                  <a:lnTo>
                    <a:pt x="711" y="307"/>
                  </a:lnTo>
                  <a:lnTo>
                    <a:pt x="713" y="307"/>
                  </a:lnTo>
                  <a:lnTo>
                    <a:pt x="716" y="307"/>
                  </a:lnTo>
                  <a:lnTo>
                    <a:pt x="719" y="307"/>
                  </a:lnTo>
                  <a:lnTo>
                    <a:pt x="722" y="305"/>
                  </a:lnTo>
                  <a:lnTo>
                    <a:pt x="721" y="303"/>
                  </a:lnTo>
                  <a:lnTo>
                    <a:pt x="721" y="299"/>
                  </a:lnTo>
                  <a:lnTo>
                    <a:pt x="723" y="297"/>
                  </a:lnTo>
                  <a:lnTo>
                    <a:pt x="721" y="296"/>
                  </a:lnTo>
                  <a:lnTo>
                    <a:pt x="717" y="296"/>
                  </a:lnTo>
                  <a:lnTo>
                    <a:pt x="715" y="295"/>
                  </a:lnTo>
                  <a:lnTo>
                    <a:pt x="712" y="293"/>
                  </a:lnTo>
                  <a:lnTo>
                    <a:pt x="709" y="292"/>
                  </a:lnTo>
                  <a:lnTo>
                    <a:pt x="706" y="291"/>
                  </a:lnTo>
                  <a:lnTo>
                    <a:pt x="704" y="291"/>
                  </a:lnTo>
                  <a:lnTo>
                    <a:pt x="700" y="291"/>
                  </a:lnTo>
                  <a:lnTo>
                    <a:pt x="700" y="295"/>
                  </a:lnTo>
                  <a:lnTo>
                    <a:pt x="703" y="297"/>
                  </a:lnTo>
                  <a:lnTo>
                    <a:pt x="704" y="300"/>
                  </a:lnTo>
                  <a:lnTo>
                    <a:pt x="702" y="297"/>
                  </a:lnTo>
                  <a:lnTo>
                    <a:pt x="700" y="295"/>
                  </a:lnTo>
                  <a:lnTo>
                    <a:pt x="698" y="292"/>
                  </a:lnTo>
                  <a:lnTo>
                    <a:pt x="696" y="291"/>
                  </a:lnTo>
                  <a:lnTo>
                    <a:pt x="692" y="290"/>
                  </a:lnTo>
                  <a:lnTo>
                    <a:pt x="696" y="290"/>
                  </a:lnTo>
                  <a:lnTo>
                    <a:pt x="697" y="287"/>
                  </a:lnTo>
                  <a:lnTo>
                    <a:pt x="698" y="284"/>
                  </a:lnTo>
                  <a:lnTo>
                    <a:pt x="696" y="284"/>
                  </a:lnTo>
                  <a:lnTo>
                    <a:pt x="692" y="284"/>
                  </a:lnTo>
                  <a:lnTo>
                    <a:pt x="696" y="284"/>
                  </a:lnTo>
                  <a:lnTo>
                    <a:pt x="698" y="283"/>
                  </a:lnTo>
                  <a:lnTo>
                    <a:pt x="702" y="283"/>
                  </a:lnTo>
                  <a:lnTo>
                    <a:pt x="702" y="280"/>
                  </a:lnTo>
                  <a:lnTo>
                    <a:pt x="699" y="278"/>
                  </a:lnTo>
                  <a:lnTo>
                    <a:pt x="702" y="279"/>
                  </a:lnTo>
                  <a:lnTo>
                    <a:pt x="704" y="280"/>
                  </a:lnTo>
                  <a:lnTo>
                    <a:pt x="707" y="280"/>
                  </a:lnTo>
                  <a:lnTo>
                    <a:pt x="709" y="280"/>
                  </a:lnTo>
                  <a:lnTo>
                    <a:pt x="713" y="280"/>
                  </a:lnTo>
                  <a:lnTo>
                    <a:pt x="716" y="280"/>
                  </a:lnTo>
                  <a:lnTo>
                    <a:pt x="719" y="280"/>
                  </a:lnTo>
                  <a:lnTo>
                    <a:pt x="721" y="280"/>
                  </a:lnTo>
                  <a:lnTo>
                    <a:pt x="723" y="283"/>
                  </a:lnTo>
                  <a:lnTo>
                    <a:pt x="726" y="286"/>
                  </a:lnTo>
                  <a:lnTo>
                    <a:pt x="726" y="286"/>
                  </a:lnTo>
                  <a:lnTo>
                    <a:pt x="729" y="286"/>
                  </a:lnTo>
                  <a:lnTo>
                    <a:pt x="731" y="286"/>
                  </a:lnTo>
                  <a:lnTo>
                    <a:pt x="734" y="286"/>
                  </a:lnTo>
                  <a:lnTo>
                    <a:pt x="737" y="284"/>
                  </a:lnTo>
                  <a:lnTo>
                    <a:pt x="739" y="282"/>
                  </a:lnTo>
                  <a:lnTo>
                    <a:pt x="740" y="279"/>
                  </a:lnTo>
                  <a:lnTo>
                    <a:pt x="737" y="277"/>
                  </a:lnTo>
                  <a:lnTo>
                    <a:pt x="734" y="274"/>
                  </a:lnTo>
                  <a:lnTo>
                    <a:pt x="732" y="275"/>
                  </a:lnTo>
                  <a:lnTo>
                    <a:pt x="730" y="277"/>
                  </a:lnTo>
                  <a:lnTo>
                    <a:pt x="726" y="275"/>
                  </a:lnTo>
                  <a:lnTo>
                    <a:pt x="724" y="274"/>
                  </a:lnTo>
                  <a:lnTo>
                    <a:pt x="721" y="274"/>
                  </a:lnTo>
                  <a:lnTo>
                    <a:pt x="719" y="274"/>
                  </a:lnTo>
                  <a:lnTo>
                    <a:pt x="715" y="275"/>
                  </a:lnTo>
                  <a:lnTo>
                    <a:pt x="713" y="275"/>
                  </a:lnTo>
                  <a:lnTo>
                    <a:pt x="715" y="274"/>
                  </a:lnTo>
                  <a:lnTo>
                    <a:pt x="719" y="273"/>
                  </a:lnTo>
                  <a:lnTo>
                    <a:pt x="716" y="270"/>
                  </a:lnTo>
                  <a:lnTo>
                    <a:pt x="717" y="267"/>
                  </a:lnTo>
                  <a:lnTo>
                    <a:pt x="717" y="264"/>
                  </a:lnTo>
                  <a:lnTo>
                    <a:pt x="712" y="263"/>
                  </a:lnTo>
                  <a:lnTo>
                    <a:pt x="709" y="264"/>
                  </a:lnTo>
                  <a:lnTo>
                    <a:pt x="706" y="266"/>
                  </a:lnTo>
                  <a:lnTo>
                    <a:pt x="704" y="266"/>
                  </a:lnTo>
                  <a:lnTo>
                    <a:pt x="700" y="266"/>
                  </a:lnTo>
                  <a:lnTo>
                    <a:pt x="699" y="263"/>
                  </a:lnTo>
                  <a:lnTo>
                    <a:pt x="696" y="262"/>
                  </a:lnTo>
                  <a:lnTo>
                    <a:pt x="698" y="262"/>
                  </a:lnTo>
                  <a:lnTo>
                    <a:pt x="702" y="264"/>
                  </a:lnTo>
                  <a:lnTo>
                    <a:pt x="704" y="265"/>
                  </a:lnTo>
                  <a:lnTo>
                    <a:pt x="707" y="264"/>
                  </a:lnTo>
                  <a:lnTo>
                    <a:pt x="709" y="263"/>
                  </a:lnTo>
                  <a:lnTo>
                    <a:pt x="713" y="262"/>
                  </a:lnTo>
                  <a:lnTo>
                    <a:pt x="715" y="262"/>
                  </a:lnTo>
                  <a:lnTo>
                    <a:pt x="717" y="262"/>
                  </a:lnTo>
                  <a:lnTo>
                    <a:pt x="717" y="260"/>
                  </a:lnTo>
                  <a:lnTo>
                    <a:pt x="715" y="258"/>
                  </a:lnTo>
                  <a:lnTo>
                    <a:pt x="713" y="256"/>
                  </a:lnTo>
                  <a:lnTo>
                    <a:pt x="709" y="255"/>
                  </a:lnTo>
                  <a:lnTo>
                    <a:pt x="707" y="253"/>
                  </a:lnTo>
                  <a:lnTo>
                    <a:pt x="704" y="253"/>
                  </a:lnTo>
                  <a:lnTo>
                    <a:pt x="702" y="253"/>
                  </a:lnTo>
                  <a:lnTo>
                    <a:pt x="698" y="253"/>
                  </a:lnTo>
                  <a:lnTo>
                    <a:pt x="696" y="252"/>
                  </a:lnTo>
                  <a:lnTo>
                    <a:pt x="692" y="252"/>
                  </a:lnTo>
                  <a:lnTo>
                    <a:pt x="696" y="252"/>
                  </a:lnTo>
                  <a:lnTo>
                    <a:pt x="698" y="253"/>
                  </a:lnTo>
                  <a:lnTo>
                    <a:pt x="702" y="253"/>
                  </a:lnTo>
                  <a:lnTo>
                    <a:pt x="704" y="253"/>
                  </a:lnTo>
                  <a:lnTo>
                    <a:pt x="707" y="253"/>
                  </a:lnTo>
                  <a:lnTo>
                    <a:pt x="704" y="250"/>
                  </a:lnTo>
                  <a:lnTo>
                    <a:pt x="702" y="249"/>
                  </a:lnTo>
                  <a:lnTo>
                    <a:pt x="698" y="248"/>
                  </a:lnTo>
                  <a:lnTo>
                    <a:pt x="696" y="248"/>
                  </a:lnTo>
                  <a:lnTo>
                    <a:pt x="699" y="247"/>
                  </a:lnTo>
                  <a:lnTo>
                    <a:pt x="702" y="248"/>
                  </a:lnTo>
                  <a:lnTo>
                    <a:pt x="704" y="249"/>
                  </a:lnTo>
                  <a:lnTo>
                    <a:pt x="707" y="250"/>
                  </a:lnTo>
                  <a:lnTo>
                    <a:pt x="709" y="253"/>
                  </a:lnTo>
                  <a:lnTo>
                    <a:pt x="713" y="255"/>
                  </a:lnTo>
                  <a:lnTo>
                    <a:pt x="715" y="256"/>
                  </a:lnTo>
                  <a:lnTo>
                    <a:pt x="719" y="257"/>
                  </a:lnTo>
                  <a:lnTo>
                    <a:pt x="721" y="257"/>
                  </a:lnTo>
                  <a:lnTo>
                    <a:pt x="724" y="256"/>
                  </a:lnTo>
                  <a:lnTo>
                    <a:pt x="726" y="257"/>
                  </a:lnTo>
                  <a:lnTo>
                    <a:pt x="726" y="261"/>
                  </a:lnTo>
                  <a:lnTo>
                    <a:pt x="730" y="262"/>
                  </a:lnTo>
                  <a:lnTo>
                    <a:pt x="732" y="262"/>
                  </a:lnTo>
                  <a:lnTo>
                    <a:pt x="734" y="258"/>
                  </a:lnTo>
                  <a:lnTo>
                    <a:pt x="736" y="256"/>
                  </a:lnTo>
                  <a:lnTo>
                    <a:pt x="736" y="254"/>
                  </a:lnTo>
                  <a:lnTo>
                    <a:pt x="736" y="250"/>
                  </a:lnTo>
                  <a:lnTo>
                    <a:pt x="733" y="248"/>
                  </a:lnTo>
                  <a:lnTo>
                    <a:pt x="732" y="245"/>
                  </a:lnTo>
                  <a:lnTo>
                    <a:pt x="736" y="245"/>
                  </a:lnTo>
                  <a:lnTo>
                    <a:pt x="732" y="244"/>
                  </a:lnTo>
                  <a:lnTo>
                    <a:pt x="730" y="240"/>
                  </a:lnTo>
                  <a:lnTo>
                    <a:pt x="728" y="239"/>
                  </a:lnTo>
                  <a:lnTo>
                    <a:pt x="726" y="239"/>
                  </a:lnTo>
                  <a:lnTo>
                    <a:pt x="724" y="240"/>
                  </a:lnTo>
                  <a:lnTo>
                    <a:pt x="721" y="239"/>
                  </a:lnTo>
                  <a:lnTo>
                    <a:pt x="719" y="239"/>
                  </a:lnTo>
                  <a:lnTo>
                    <a:pt x="715" y="239"/>
                  </a:lnTo>
                  <a:lnTo>
                    <a:pt x="713" y="238"/>
                  </a:lnTo>
                  <a:lnTo>
                    <a:pt x="709" y="239"/>
                  </a:lnTo>
                  <a:lnTo>
                    <a:pt x="707" y="239"/>
                  </a:lnTo>
                  <a:lnTo>
                    <a:pt x="702" y="239"/>
                  </a:lnTo>
                  <a:lnTo>
                    <a:pt x="704" y="238"/>
                  </a:lnTo>
                  <a:lnTo>
                    <a:pt x="707" y="238"/>
                  </a:lnTo>
                  <a:lnTo>
                    <a:pt x="709" y="238"/>
                  </a:lnTo>
                  <a:lnTo>
                    <a:pt x="713" y="238"/>
                  </a:lnTo>
                  <a:lnTo>
                    <a:pt x="715" y="238"/>
                  </a:lnTo>
                  <a:lnTo>
                    <a:pt x="717" y="238"/>
                  </a:lnTo>
                  <a:lnTo>
                    <a:pt x="721" y="238"/>
                  </a:lnTo>
                  <a:lnTo>
                    <a:pt x="723" y="238"/>
                  </a:lnTo>
                  <a:lnTo>
                    <a:pt x="726" y="236"/>
                  </a:lnTo>
                  <a:lnTo>
                    <a:pt x="726" y="236"/>
                  </a:lnTo>
                  <a:lnTo>
                    <a:pt x="730" y="236"/>
                  </a:lnTo>
                  <a:lnTo>
                    <a:pt x="731" y="233"/>
                  </a:lnTo>
                  <a:lnTo>
                    <a:pt x="729" y="231"/>
                  </a:lnTo>
                  <a:lnTo>
                    <a:pt x="726" y="230"/>
                  </a:lnTo>
                  <a:lnTo>
                    <a:pt x="724" y="231"/>
                  </a:lnTo>
                  <a:lnTo>
                    <a:pt x="721" y="231"/>
                  </a:lnTo>
                  <a:lnTo>
                    <a:pt x="715" y="229"/>
                  </a:lnTo>
                  <a:lnTo>
                    <a:pt x="713" y="229"/>
                  </a:lnTo>
                  <a:lnTo>
                    <a:pt x="715" y="231"/>
                  </a:lnTo>
                  <a:lnTo>
                    <a:pt x="719" y="232"/>
                  </a:lnTo>
                  <a:lnTo>
                    <a:pt x="721" y="233"/>
                  </a:lnTo>
                  <a:lnTo>
                    <a:pt x="719" y="235"/>
                  </a:lnTo>
                  <a:lnTo>
                    <a:pt x="715" y="231"/>
                  </a:lnTo>
                  <a:lnTo>
                    <a:pt x="713" y="230"/>
                  </a:lnTo>
                  <a:lnTo>
                    <a:pt x="709" y="230"/>
                  </a:lnTo>
                  <a:lnTo>
                    <a:pt x="707" y="230"/>
                  </a:lnTo>
                  <a:lnTo>
                    <a:pt x="704" y="231"/>
                  </a:lnTo>
                  <a:lnTo>
                    <a:pt x="704" y="228"/>
                  </a:lnTo>
                  <a:lnTo>
                    <a:pt x="705" y="226"/>
                  </a:lnTo>
                  <a:lnTo>
                    <a:pt x="703" y="226"/>
                  </a:lnTo>
                  <a:lnTo>
                    <a:pt x="699" y="226"/>
                  </a:lnTo>
                  <a:lnTo>
                    <a:pt x="697" y="226"/>
                  </a:lnTo>
                  <a:lnTo>
                    <a:pt x="695" y="226"/>
                  </a:lnTo>
                  <a:lnTo>
                    <a:pt x="697" y="226"/>
                  </a:lnTo>
                  <a:lnTo>
                    <a:pt x="699" y="226"/>
                  </a:lnTo>
                  <a:lnTo>
                    <a:pt x="703" y="226"/>
                  </a:lnTo>
                  <a:lnTo>
                    <a:pt x="699" y="224"/>
                  </a:lnTo>
                  <a:lnTo>
                    <a:pt x="703" y="223"/>
                  </a:lnTo>
                  <a:lnTo>
                    <a:pt x="699" y="223"/>
                  </a:lnTo>
                  <a:lnTo>
                    <a:pt x="700" y="220"/>
                  </a:lnTo>
                  <a:lnTo>
                    <a:pt x="697" y="220"/>
                  </a:lnTo>
                  <a:lnTo>
                    <a:pt x="695" y="222"/>
                  </a:lnTo>
                  <a:lnTo>
                    <a:pt x="694" y="220"/>
                  </a:lnTo>
                  <a:lnTo>
                    <a:pt x="690" y="219"/>
                  </a:lnTo>
                  <a:lnTo>
                    <a:pt x="694" y="216"/>
                  </a:lnTo>
                  <a:lnTo>
                    <a:pt x="695" y="214"/>
                  </a:lnTo>
                  <a:lnTo>
                    <a:pt x="697" y="213"/>
                  </a:lnTo>
                  <a:lnTo>
                    <a:pt x="699" y="215"/>
                  </a:lnTo>
                  <a:lnTo>
                    <a:pt x="703" y="219"/>
                  </a:lnTo>
                  <a:lnTo>
                    <a:pt x="705" y="219"/>
                  </a:lnTo>
                  <a:lnTo>
                    <a:pt x="707" y="218"/>
                  </a:lnTo>
                  <a:lnTo>
                    <a:pt x="711" y="215"/>
                  </a:lnTo>
                  <a:lnTo>
                    <a:pt x="713" y="214"/>
                  </a:lnTo>
                  <a:lnTo>
                    <a:pt x="716" y="214"/>
                  </a:lnTo>
                  <a:lnTo>
                    <a:pt x="713" y="213"/>
                  </a:lnTo>
                  <a:lnTo>
                    <a:pt x="711" y="213"/>
                  </a:lnTo>
                  <a:lnTo>
                    <a:pt x="708" y="213"/>
                  </a:lnTo>
                  <a:lnTo>
                    <a:pt x="705" y="213"/>
                  </a:lnTo>
                  <a:lnTo>
                    <a:pt x="708" y="212"/>
                  </a:lnTo>
                  <a:lnTo>
                    <a:pt x="711" y="212"/>
                  </a:lnTo>
                  <a:lnTo>
                    <a:pt x="714" y="212"/>
                  </a:lnTo>
                  <a:lnTo>
                    <a:pt x="716" y="213"/>
                  </a:lnTo>
                  <a:lnTo>
                    <a:pt x="714" y="211"/>
                  </a:lnTo>
                  <a:lnTo>
                    <a:pt x="716" y="210"/>
                  </a:lnTo>
                  <a:lnTo>
                    <a:pt x="720" y="210"/>
                  </a:lnTo>
                  <a:lnTo>
                    <a:pt x="722" y="210"/>
                  </a:lnTo>
                  <a:lnTo>
                    <a:pt x="725" y="211"/>
                  </a:lnTo>
                  <a:lnTo>
                    <a:pt x="726" y="210"/>
                  </a:lnTo>
                  <a:lnTo>
                    <a:pt x="729" y="211"/>
                  </a:lnTo>
                  <a:lnTo>
                    <a:pt x="732" y="212"/>
                  </a:lnTo>
                  <a:lnTo>
                    <a:pt x="734" y="213"/>
                  </a:lnTo>
                  <a:lnTo>
                    <a:pt x="738" y="213"/>
                  </a:lnTo>
                  <a:lnTo>
                    <a:pt x="740" y="213"/>
                  </a:lnTo>
                  <a:lnTo>
                    <a:pt x="743" y="214"/>
                  </a:lnTo>
                  <a:lnTo>
                    <a:pt x="746" y="214"/>
                  </a:lnTo>
                  <a:lnTo>
                    <a:pt x="748" y="214"/>
                  </a:lnTo>
                  <a:lnTo>
                    <a:pt x="751" y="213"/>
                  </a:lnTo>
                  <a:lnTo>
                    <a:pt x="753" y="210"/>
                  </a:lnTo>
                  <a:lnTo>
                    <a:pt x="753" y="207"/>
                  </a:lnTo>
                  <a:lnTo>
                    <a:pt x="751" y="205"/>
                  </a:lnTo>
                  <a:lnTo>
                    <a:pt x="751" y="202"/>
                  </a:lnTo>
                  <a:lnTo>
                    <a:pt x="749" y="200"/>
                  </a:lnTo>
                  <a:lnTo>
                    <a:pt x="746" y="200"/>
                  </a:lnTo>
                  <a:lnTo>
                    <a:pt x="743" y="198"/>
                  </a:lnTo>
                  <a:lnTo>
                    <a:pt x="740" y="200"/>
                  </a:lnTo>
                  <a:lnTo>
                    <a:pt x="738" y="202"/>
                  </a:lnTo>
                  <a:lnTo>
                    <a:pt x="734" y="201"/>
                  </a:lnTo>
                  <a:lnTo>
                    <a:pt x="732" y="198"/>
                  </a:lnTo>
                  <a:lnTo>
                    <a:pt x="730" y="197"/>
                  </a:lnTo>
                  <a:lnTo>
                    <a:pt x="726" y="197"/>
                  </a:lnTo>
                  <a:lnTo>
                    <a:pt x="724" y="198"/>
                  </a:lnTo>
                  <a:lnTo>
                    <a:pt x="721" y="197"/>
                  </a:lnTo>
                  <a:lnTo>
                    <a:pt x="719" y="197"/>
                  </a:lnTo>
                  <a:lnTo>
                    <a:pt x="721" y="197"/>
                  </a:lnTo>
                  <a:lnTo>
                    <a:pt x="724" y="197"/>
                  </a:lnTo>
                  <a:lnTo>
                    <a:pt x="726" y="196"/>
                  </a:lnTo>
                  <a:lnTo>
                    <a:pt x="724" y="196"/>
                  </a:lnTo>
                  <a:lnTo>
                    <a:pt x="721" y="195"/>
                  </a:lnTo>
                  <a:lnTo>
                    <a:pt x="719" y="195"/>
                  </a:lnTo>
                  <a:lnTo>
                    <a:pt x="715" y="194"/>
                  </a:lnTo>
                  <a:lnTo>
                    <a:pt x="713" y="194"/>
                  </a:lnTo>
                  <a:lnTo>
                    <a:pt x="715" y="194"/>
                  </a:lnTo>
                  <a:lnTo>
                    <a:pt x="719" y="194"/>
                  </a:lnTo>
                  <a:lnTo>
                    <a:pt x="721" y="195"/>
                  </a:lnTo>
                  <a:lnTo>
                    <a:pt x="719" y="193"/>
                  </a:lnTo>
                  <a:lnTo>
                    <a:pt x="721" y="193"/>
                  </a:lnTo>
                  <a:lnTo>
                    <a:pt x="719" y="190"/>
                  </a:lnTo>
                  <a:lnTo>
                    <a:pt x="715" y="189"/>
                  </a:lnTo>
                  <a:lnTo>
                    <a:pt x="719" y="188"/>
                  </a:lnTo>
                  <a:lnTo>
                    <a:pt x="721" y="189"/>
                  </a:lnTo>
                  <a:lnTo>
                    <a:pt x="724" y="188"/>
                  </a:lnTo>
                  <a:lnTo>
                    <a:pt x="726" y="188"/>
                  </a:lnTo>
                  <a:lnTo>
                    <a:pt x="730" y="189"/>
                  </a:lnTo>
                  <a:lnTo>
                    <a:pt x="732" y="192"/>
                  </a:lnTo>
                  <a:lnTo>
                    <a:pt x="736" y="193"/>
                  </a:lnTo>
                  <a:lnTo>
                    <a:pt x="739" y="192"/>
                  </a:lnTo>
                  <a:lnTo>
                    <a:pt x="741" y="192"/>
                  </a:lnTo>
                  <a:lnTo>
                    <a:pt x="739" y="188"/>
                  </a:lnTo>
                  <a:lnTo>
                    <a:pt x="736" y="187"/>
                  </a:lnTo>
                  <a:lnTo>
                    <a:pt x="733" y="186"/>
                  </a:lnTo>
                  <a:lnTo>
                    <a:pt x="730" y="186"/>
                  </a:lnTo>
                  <a:lnTo>
                    <a:pt x="728" y="185"/>
                  </a:lnTo>
                  <a:lnTo>
                    <a:pt x="726" y="185"/>
                  </a:lnTo>
                  <a:lnTo>
                    <a:pt x="724" y="184"/>
                  </a:lnTo>
                  <a:lnTo>
                    <a:pt x="721" y="184"/>
                  </a:lnTo>
                  <a:lnTo>
                    <a:pt x="719" y="183"/>
                  </a:lnTo>
                  <a:lnTo>
                    <a:pt x="715" y="179"/>
                  </a:lnTo>
                  <a:lnTo>
                    <a:pt x="713" y="180"/>
                  </a:lnTo>
                  <a:lnTo>
                    <a:pt x="709" y="184"/>
                  </a:lnTo>
                  <a:lnTo>
                    <a:pt x="708" y="186"/>
                  </a:lnTo>
                  <a:lnTo>
                    <a:pt x="707" y="189"/>
                  </a:lnTo>
                  <a:lnTo>
                    <a:pt x="706" y="192"/>
                  </a:lnTo>
                  <a:lnTo>
                    <a:pt x="704" y="194"/>
                  </a:lnTo>
                  <a:lnTo>
                    <a:pt x="706" y="190"/>
                  </a:lnTo>
                  <a:lnTo>
                    <a:pt x="703" y="189"/>
                  </a:lnTo>
                  <a:lnTo>
                    <a:pt x="700" y="189"/>
                  </a:lnTo>
                  <a:lnTo>
                    <a:pt x="700" y="187"/>
                  </a:lnTo>
                  <a:lnTo>
                    <a:pt x="703" y="184"/>
                  </a:lnTo>
                  <a:lnTo>
                    <a:pt x="705" y="181"/>
                  </a:lnTo>
                  <a:lnTo>
                    <a:pt x="703" y="183"/>
                  </a:lnTo>
                  <a:lnTo>
                    <a:pt x="704" y="179"/>
                  </a:lnTo>
                  <a:lnTo>
                    <a:pt x="706" y="178"/>
                  </a:lnTo>
                  <a:lnTo>
                    <a:pt x="704" y="176"/>
                  </a:lnTo>
                  <a:lnTo>
                    <a:pt x="706" y="176"/>
                  </a:lnTo>
                  <a:lnTo>
                    <a:pt x="709" y="173"/>
                  </a:lnTo>
                  <a:lnTo>
                    <a:pt x="708" y="171"/>
                  </a:lnTo>
                  <a:lnTo>
                    <a:pt x="709" y="168"/>
                  </a:lnTo>
                  <a:lnTo>
                    <a:pt x="711" y="166"/>
                  </a:lnTo>
                  <a:lnTo>
                    <a:pt x="713" y="162"/>
                  </a:lnTo>
                  <a:lnTo>
                    <a:pt x="711" y="161"/>
                  </a:lnTo>
                  <a:lnTo>
                    <a:pt x="707" y="161"/>
                  </a:lnTo>
                  <a:lnTo>
                    <a:pt x="711" y="160"/>
                  </a:lnTo>
                  <a:lnTo>
                    <a:pt x="713" y="160"/>
                  </a:lnTo>
                  <a:lnTo>
                    <a:pt x="712" y="158"/>
                  </a:lnTo>
                  <a:lnTo>
                    <a:pt x="714" y="155"/>
                  </a:lnTo>
                  <a:lnTo>
                    <a:pt x="717" y="154"/>
                  </a:lnTo>
                  <a:lnTo>
                    <a:pt x="720" y="153"/>
                  </a:lnTo>
                  <a:lnTo>
                    <a:pt x="723" y="154"/>
                  </a:lnTo>
                  <a:lnTo>
                    <a:pt x="725" y="154"/>
                  </a:lnTo>
                  <a:lnTo>
                    <a:pt x="726" y="153"/>
                  </a:lnTo>
                  <a:lnTo>
                    <a:pt x="728" y="151"/>
                  </a:lnTo>
                  <a:lnTo>
                    <a:pt x="726" y="149"/>
                  </a:lnTo>
                  <a:lnTo>
                    <a:pt x="726" y="147"/>
                  </a:lnTo>
                  <a:lnTo>
                    <a:pt x="728" y="146"/>
                  </a:lnTo>
                  <a:lnTo>
                    <a:pt x="731" y="146"/>
                  </a:lnTo>
                  <a:lnTo>
                    <a:pt x="733" y="144"/>
                  </a:lnTo>
                  <a:lnTo>
                    <a:pt x="736" y="142"/>
                  </a:lnTo>
                  <a:lnTo>
                    <a:pt x="739" y="143"/>
                  </a:lnTo>
                  <a:lnTo>
                    <a:pt x="739" y="141"/>
                  </a:lnTo>
                  <a:lnTo>
                    <a:pt x="732" y="141"/>
                  </a:lnTo>
                  <a:lnTo>
                    <a:pt x="730" y="143"/>
                  </a:lnTo>
                  <a:lnTo>
                    <a:pt x="732" y="141"/>
                  </a:lnTo>
                  <a:lnTo>
                    <a:pt x="732" y="137"/>
                  </a:lnTo>
                  <a:lnTo>
                    <a:pt x="731" y="135"/>
                  </a:lnTo>
                  <a:lnTo>
                    <a:pt x="733" y="132"/>
                  </a:lnTo>
                  <a:lnTo>
                    <a:pt x="732" y="129"/>
                  </a:lnTo>
                  <a:lnTo>
                    <a:pt x="736" y="127"/>
                  </a:lnTo>
                  <a:lnTo>
                    <a:pt x="739" y="126"/>
                  </a:lnTo>
                  <a:lnTo>
                    <a:pt x="741" y="126"/>
                  </a:lnTo>
                  <a:lnTo>
                    <a:pt x="743" y="127"/>
                  </a:lnTo>
                  <a:lnTo>
                    <a:pt x="747" y="127"/>
                  </a:lnTo>
                  <a:lnTo>
                    <a:pt x="749" y="127"/>
                  </a:lnTo>
                  <a:lnTo>
                    <a:pt x="753" y="127"/>
                  </a:lnTo>
                  <a:lnTo>
                    <a:pt x="755" y="125"/>
                  </a:lnTo>
                  <a:lnTo>
                    <a:pt x="758" y="122"/>
                  </a:lnTo>
                  <a:lnTo>
                    <a:pt x="760" y="120"/>
                  </a:lnTo>
                  <a:lnTo>
                    <a:pt x="760" y="119"/>
                  </a:lnTo>
                  <a:lnTo>
                    <a:pt x="762" y="117"/>
                  </a:lnTo>
                  <a:lnTo>
                    <a:pt x="759" y="116"/>
                  </a:lnTo>
                  <a:lnTo>
                    <a:pt x="756" y="115"/>
                  </a:lnTo>
                  <a:lnTo>
                    <a:pt x="753" y="115"/>
                  </a:lnTo>
                  <a:lnTo>
                    <a:pt x="747" y="116"/>
                  </a:lnTo>
                  <a:lnTo>
                    <a:pt x="743" y="117"/>
                  </a:lnTo>
                  <a:lnTo>
                    <a:pt x="741" y="117"/>
                  </a:lnTo>
                  <a:lnTo>
                    <a:pt x="739" y="116"/>
                  </a:lnTo>
                  <a:lnTo>
                    <a:pt x="736" y="117"/>
                  </a:lnTo>
                  <a:lnTo>
                    <a:pt x="733" y="118"/>
                  </a:lnTo>
                  <a:lnTo>
                    <a:pt x="730" y="118"/>
                  </a:lnTo>
                  <a:lnTo>
                    <a:pt x="728" y="119"/>
                  </a:lnTo>
                  <a:lnTo>
                    <a:pt x="726" y="119"/>
                  </a:lnTo>
                  <a:lnTo>
                    <a:pt x="725" y="122"/>
                  </a:lnTo>
                  <a:lnTo>
                    <a:pt x="724" y="125"/>
                  </a:lnTo>
                  <a:lnTo>
                    <a:pt x="726" y="125"/>
                  </a:lnTo>
                  <a:lnTo>
                    <a:pt x="726" y="125"/>
                  </a:lnTo>
                  <a:lnTo>
                    <a:pt x="724" y="126"/>
                  </a:lnTo>
                  <a:lnTo>
                    <a:pt x="721" y="125"/>
                  </a:lnTo>
                  <a:lnTo>
                    <a:pt x="719" y="124"/>
                  </a:lnTo>
                  <a:lnTo>
                    <a:pt x="720" y="120"/>
                  </a:lnTo>
                  <a:lnTo>
                    <a:pt x="720" y="119"/>
                  </a:lnTo>
                  <a:lnTo>
                    <a:pt x="721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9" name="Freeform 219">
              <a:extLst>
                <a:ext uri="{FF2B5EF4-FFF2-40B4-BE49-F238E27FC236}">
                  <a16:creationId xmlns:a16="http://schemas.microsoft.com/office/drawing/2014/main" id="{9ADAD2B4-0195-4F26-AA3D-F72523307C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7101" y="2528888"/>
              <a:ext cx="2441575" cy="1749425"/>
            </a:xfrm>
            <a:custGeom>
              <a:avLst/>
              <a:gdLst>
                <a:gd name="T0" fmla="*/ 1511 w 1538"/>
                <a:gd name="T1" fmla="*/ 384 h 1102"/>
                <a:gd name="T2" fmla="*/ 1448 w 1538"/>
                <a:gd name="T3" fmla="*/ 324 h 1102"/>
                <a:gd name="T4" fmla="*/ 1401 w 1538"/>
                <a:gd name="T5" fmla="*/ 296 h 1102"/>
                <a:gd name="T6" fmla="*/ 1350 w 1538"/>
                <a:gd name="T7" fmla="*/ 256 h 1102"/>
                <a:gd name="T8" fmla="*/ 1239 w 1538"/>
                <a:gd name="T9" fmla="*/ 280 h 1102"/>
                <a:gd name="T10" fmla="*/ 1191 w 1538"/>
                <a:gd name="T11" fmla="*/ 427 h 1102"/>
                <a:gd name="T12" fmla="*/ 1019 w 1538"/>
                <a:gd name="T13" fmla="*/ 298 h 1102"/>
                <a:gd name="T14" fmla="*/ 1029 w 1538"/>
                <a:gd name="T15" fmla="*/ 193 h 1102"/>
                <a:gd name="T16" fmla="*/ 1095 w 1538"/>
                <a:gd name="T17" fmla="*/ 159 h 1102"/>
                <a:gd name="T18" fmla="*/ 1187 w 1538"/>
                <a:gd name="T19" fmla="*/ 114 h 1102"/>
                <a:gd name="T20" fmla="*/ 1138 w 1538"/>
                <a:gd name="T21" fmla="*/ 74 h 1102"/>
                <a:gd name="T22" fmla="*/ 1052 w 1538"/>
                <a:gd name="T23" fmla="*/ 62 h 1102"/>
                <a:gd name="T24" fmla="*/ 979 w 1538"/>
                <a:gd name="T25" fmla="*/ 42 h 1102"/>
                <a:gd name="T26" fmla="*/ 984 w 1538"/>
                <a:gd name="T27" fmla="*/ 116 h 1102"/>
                <a:gd name="T28" fmla="*/ 842 w 1538"/>
                <a:gd name="T29" fmla="*/ 79 h 1102"/>
                <a:gd name="T30" fmla="*/ 799 w 1538"/>
                <a:gd name="T31" fmla="*/ 106 h 1102"/>
                <a:gd name="T32" fmla="*/ 589 w 1538"/>
                <a:gd name="T33" fmla="*/ 50 h 1102"/>
                <a:gd name="T34" fmla="*/ 481 w 1538"/>
                <a:gd name="T35" fmla="*/ 72 h 1102"/>
                <a:gd name="T36" fmla="*/ 442 w 1538"/>
                <a:gd name="T37" fmla="*/ 77 h 1102"/>
                <a:gd name="T38" fmla="*/ 276 w 1538"/>
                <a:gd name="T39" fmla="*/ 45 h 1102"/>
                <a:gd name="T40" fmla="*/ 106 w 1538"/>
                <a:gd name="T41" fmla="*/ 39 h 1102"/>
                <a:gd name="T42" fmla="*/ 82 w 1538"/>
                <a:gd name="T43" fmla="*/ 130 h 1102"/>
                <a:gd name="T44" fmla="*/ 67 w 1538"/>
                <a:gd name="T45" fmla="*/ 181 h 1102"/>
                <a:gd name="T46" fmla="*/ 45 w 1538"/>
                <a:gd name="T47" fmla="*/ 241 h 1102"/>
                <a:gd name="T48" fmla="*/ 100 w 1538"/>
                <a:gd name="T49" fmla="*/ 296 h 1102"/>
                <a:gd name="T50" fmla="*/ 65 w 1538"/>
                <a:gd name="T51" fmla="*/ 370 h 1102"/>
                <a:gd name="T52" fmla="*/ 200 w 1538"/>
                <a:gd name="T53" fmla="*/ 297 h 1102"/>
                <a:gd name="T54" fmla="*/ 250 w 1538"/>
                <a:gd name="T55" fmla="*/ 279 h 1102"/>
                <a:gd name="T56" fmla="*/ 347 w 1538"/>
                <a:gd name="T57" fmla="*/ 271 h 1102"/>
                <a:gd name="T58" fmla="*/ 445 w 1538"/>
                <a:gd name="T59" fmla="*/ 289 h 1102"/>
                <a:gd name="T60" fmla="*/ 511 w 1538"/>
                <a:gd name="T61" fmla="*/ 376 h 1102"/>
                <a:gd name="T62" fmla="*/ 548 w 1538"/>
                <a:gd name="T63" fmla="*/ 422 h 1102"/>
                <a:gd name="T64" fmla="*/ 591 w 1538"/>
                <a:gd name="T65" fmla="*/ 448 h 1102"/>
                <a:gd name="T66" fmla="*/ 596 w 1538"/>
                <a:gd name="T67" fmla="*/ 493 h 1102"/>
                <a:gd name="T68" fmla="*/ 626 w 1538"/>
                <a:gd name="T69" fmla="*/ 672 h 1102"/>
                <a:gd name="T70" fmla="*/ 734 w 1538"/>
                <a:gd name="T71" fmla="*/ 821 h 1102"/>
                <a:gd name="T72" fmla="*/ 768 w 1538"/>
                <a:gd name="T73" fmla="*/ 835 h 1102"/>
                <a:gd name="T74" fmla="*/ 803 w 1538"/>
                <a:gd name="T75" fmla="*/ 852 h 1102"/>
                <a:gd name="T76" fmla="*/ 1017 w 1538"/>
                <a:gd name="T77" fmla="*/ 994 h 1102"/>
                <a:gd name="T78" fmla="*/ 1161 w 1538"/>
                <a:gd name="T79" fmla="*/ 1094 h 1102"/>
                <a:gd name="T80" fmla="*/ 1120 w 1538"/>
                <a:gd name="T81" fmla="*/ 994 h 1102"/>
                <a:gd name="T82" fmla="*/ 1040 w 1538"/>
                <a:gd name="T83" fmla="*/ 954 h 1102"/>
                <a:gd name="T84" fmla="*/ 964 w 1538"/>
                <a:gd name="T85" fmla="*/ 828 h 1102"/>
                <a:gd name="T86" fmla="*/ 1082 w 1538"/>
                <a:gd name="T87" fmla="*/ 802 h 1102"/>
                <a:gd name="T88" fmla="*/ 1168 w 1538"/>
                <a:gd name="T89" fmla="*/ 803 h 1102"/>
                <a:gd name="T90" fmla="*/ 1205 w 1538"/>
                <a:gd name="T91" fmla="*/ 750 h 1102"/>
                <a:gd name="T92" fmla="*/ 1251 w 1538"/>
                <a:gd name="T93" fmla="*/ 675 h 1102"/>
                <a:gd name="T94" fmla="*/ 1272 w 1538"/>
                <a:gd name="T95" fmla="*/ 656 h 1102"/>
                <a:gd name="T96" fmla="*/ 1339 w 1538"/>
                <a:gd name="T97" fmla="*/ 573 h 1102"/>
                <a:gd name="T98" fmla="*/ 1397 w 1538"/>
                <a:gd name="T99" fmla="*/ 559 h 1102"/>
                <a:gd name="T100" fmla="*/ 1402 w 1538"/>
                <a:gd name="T101" fmla="*/ 507 h 1102"/>
                <a:gd name="T102" fmla="*/ 1379 w 1538"/>
                <a:gd name="T103" fmla="*/ 475 h 1102"/>
                <a:gd name="T104" fmla="*/ 665 w 1538"/>
                <a:gd name="T105" fmla="*/ 160 h 1102"/>
                <a:gd name="T106" fmla="*/ 590 w 1538"/>
                <a:gd name="T107" fmla="*/ 139 h 1102"/>
                <a:gd name="T108" fmla="*/ 797 w 1538"/>
                <a:gd name="T109" fmla="*/ 217 h 1102"/>
                <a:gd name="T110" fmla="*/ 722 w 1538"/>
                <a:gd name="T111" fmla="*/ 219 h 1102"/>
                <a:gd name="T112" fmla="*/ 945 w 1538"/>
                <a:gd name="T113" fmla="*/ 397 h 1102"/>
                <a:gd name="T114" fmla="*/ 1129 w 1538"/>
                <a:gd name="T115" fmla="*/ 554 h 1102"/>
                <a:gd name="T116" fmla="*/ 1128 w 1538"/>
                <a:gd name="T117" fmla="*/ 534 h 1102"/>
                <a:gd name="T118" fmla="*/ 1076 w 1538"/>
                <a:gd name="T119" fmla="*/ 498 h 1102"/>
                <a:gd name="T120" fmla="*/ 1206 w 1538"/>
                <a:gd name="T121" fmla="*/ 552 h 1102"/>
                <a:gd name="T122" fmla="*/ 1161 w 1538"/>
                <a:gd name="T123" fmla="*/ 601 h 1102"/>
                <a:gd name="T124" fmla="*/ 1224 w 1538"/>
                <a:gd name="T125" fmla="*/ 570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38" h="1102">
                  <a:moveTo>
                    <a:pt x="1531" y="421"/>
                  </a:moveTo>
                  <a:lnTo>
                    <a:pt x="1537" y="422"/>
                  </a:lnTo>
                  <a:lnTo>
                    <a:pt x="1536" y="419"/>
                  </a:lnTo>
                  <a:lnTo>
                    <a:pt x="1533" y="418"/>
                  </a:lnTo>
                  <a:lnTo>
                    <a:pt x="1529" y="418"/>
                  </a:lnTo>
                  <a:lnTo>
                    <a:pt x="1527" y="417"/>
                  </a:lnTo>
                  <a:lnTo>
                    <a:pt x="1530" y="418"/>
                  </a:lnTo>
                  <a:lnTo>
                    <a:pt x="1534" y="416"/>
                  </a:lnTo>
                  <a:lnTo>
                    <a:pt x="1536" y="416"/>
                  </a:lnTo>
                  <a:lnTo>
                    <a:pt x="1534" y="414"/>
                  </a:lnTo>
                  <a:lnTo>
                    <a:pt x="1536" y="414"/>
                  </a:lnTo>
                  <a:lnTo>
                    <a:pt x="1535" y="410"/>
                  </a:lnTo>
                  <a:lnTo>
                    <a:pt x="1533" y="409"/>
                  </a:lnTo>
                  <a:lnTo>
                    <a:pt x="1535" y="409"/>
                  </a:lnTo>
                  <a:lnTo>
                    <a:pt x="1537" y="406"/>
                  </a:lnTo>
                  <a:lnTo>
                    <a:pt x="1536" y="404"/>
                  </a:lnTo>
                  <a:lnTo>
                    <a:pt x="1530" y="399"/>
                  </a:lnTo>
                  <a:lnTo>
                    <a:pt x="1533" y="399"/>
                  </a:lnTo>
                  <a:lnTo>
                    <a:pt x="1530" y="399"/>
                  </a:lnTo>
                  <a:lnTo>
                    <a:pt x="1525" y="397"/>
                  </a:lnTo>
                  <a:lnTo>
                    <a:pt x="1528" y="396"/>
                  </a:lnTo>
                  <a:lnTo>
                    <a:pt x="1525" y="397"/>
                  </a:lnTo>
                  <a:lnTo>
                    <a:pt x="1522" y="397"/>
                  </a:lnTo>
                  <a:lnTo>
                    <a:pt x="1519" y="397"/>
                  </a:lnTo>
                  <a:lnTo>
                    <a:pt x="1518" y="400"/>
                  </a:lnTo>
                  <a:lnTo>
                    <a:pt x="1516" y="401"/>
                  </a:lnTo>
                  <a:lnTo>
                    <a:pt x="1514" y="399"/>
                  </a:lnTo>
                  <a:lnTo>
                    <a:pt x="1514" y="398"/>
                  </a:lnTo>
                  <a:lnTo>
                    <a:pt x="1517" y="397"/>
                  </a:lnTo>
                  <a:lnTo>
                    <a:pt x="1518" y="393"/>
                  </a:lnTo>
                  <a:lnTo>
                    <a:pt x="1514" y="389"/>
                  </a:lnTo>
                  <a:lnTo>
                    <a:pt x="1509" y="388"/>
                  </a:lnTo>
                  <a:lnTo>
                    <a:pt x="1507" y="387"/>
                  </a:lnTo>
                  <a:lnTo>
                    <a:pt x="1504" y="387"/>
                  </a:lnTo>
                  <a:lnTo>
                    <a:pt x="1501" y="388"/>
                  </a:lnTo>
                  <a:lnTo>
                    <a:pt x="1504" y="389"/>
                  </a:lnTo>
                  <a:lnTo>
                    <a:pt x="1507" y="389"/>
                  </a:lnTo>
                  <a:lnTo>
                    <a:pt x="1504" y="390"/>
                  </a:lnTo>
                  <a:lnTo>
                    <a:pt x="1496" y="392"/>
                  </a:lnTo>
                  <a:lnTo>
                    <a:pt x="1493" y="395"/>
                  </a:lnTo>
                  <a:lnTo>
                    <a:pt x="1492" y="397"/>
                  </a:lnTo>
                  <a:lnTo>
                    <a:pt x="1490" y="398"/>
                  </a:lnTo>
                  <a:lnTo>
                    <a:pt x="1484" y="400"/>
                  </a:lnTo>
                  <a:lnTo>
                    <a:pt x="1480" y="400"/>
                  </a:lnTo>
                  <a:lnTo>
                    <a:pt x="1480" y="401"/>
                  </a:lnTo>
                  <a:lnTo>
                    <a:pt x="1476" y="405"/>
                  </a:lnTo>
                  <a:lnTo>
                    <a:pt x="1474" y="405"/>
                  </a:lnTo>
                  <a:lnTo>
                    <a:pt x="1476" y="405"/>
                  </a:lnTo>
                  <a:lnTo>
                    <a:pt x="1477" y="401"/>
                  </a:lnTo>
                  <a:lnTo>
                    <a:pt x="1475" y="399"/>
                  </a:lnTo>
                  <a:lnTo>
                    <a:pt x="1471" y="397"/>
                  </a:lnTo>
                  <a:lnTo>
                    <a:pt x="1466" y="397"/>
                  </a:lnTo>
                  <a:lnTo>
                    <a:pt x="1467" y="395"/>
                  </a:lnTo>
                  <a:lnTo>
                    <a:pt x="1470" y="397"/>
                  </a:lnTo>
                  <a:lnTo>
                    <a:pt x="1473" y="397"/>
                  </a:lnTo>
                  <a:lnTo>
                    <a:pt x="1475" y="399"/>
                  </a:lnTo>
                  <a:lnTo>
                    <a:pt x="1478" y="400"/>
                  </a:lnTo>
                  <a:lnTo>
                    <a:pt x="1478" y="397"/>
                  </a:lnTo>
                  <a:lnTo>
                    <a:pt x="1479" y="396"/>
                  </a:lnTo>
                  <a:lnTo>
                    <a:pt x="1487" y="395"/>
                  </a:lnTo>
                  <a:lnTo>
                    <a:pt x="1495" y="390"/>
                  </a:lnTo>
                  <a:lnTo>
                    <a:pt x="1499" y="390"/>
                  </a:lnTo>
                  <a:lnTo>
                    <a:pt x="1501" y="388"/>
                  </a:lnTo>
                  <a:lnTo>
                    <a:pt x="1490" y="391"/>
                  </a:lnTo>
                  <a:lnTo>
                    <a:pt x="1486" y="391"/>
                  </a:lnTo>
                  <a:lnTo>
                    <a:pt x="1486" y="390"/>
                  </a:lnTo>
                  <a:lnTo>
                    <a:pt x="1490" y="390"/>
                  </a:lnTo>
                  <a:lnTo>
                    <a:pt x="1494" y="389"/>
                  </a:lnTo>
                  <a:lnTo>
                    <a:pt x="1497" y="388"/>
                  </a:lnTo>
                  <a:lnTo>
                    <a:pt x="1500" y="387"/>
                  </a:lnTo>
                  <a:lnTo>
                    <a:pt x="1503" y="387"/>
                  </a:lnTo>
                  <a:lnTo>
                    <a:pt x="1505" y="384"/>
                  </a:lnTo>
                  <a:lnTo>
                    <a:pt x="1511" y="384"/>
                  </a:lnTo>
                  <a:lnTo>
                    <a:pt x="1513" y="382"/>
                  </a:lnTo>
                  <a:lnTo>
                    <a:pt x="1511" y="383"/>
                  </a:lnTo>
                  <a:lnTo>
                    <a:pt x="1512" y="382"/>
                  </a:lnTo>
                  <a:lnTo>
                    <a:pt x="1514" y="380"/>
                  </a:lnTo>
                  <a:lnTo>
                    <a:pt x="1507" y="378"/>
                  </a:lnTo>
                  <a:lnTo>
                    <a:pt x="1504" y="378"/>
                  </a:lnTo>
                  <a:lnTo>
                    <a:pt x="1501" y="376"/>
                  </a:lnTo>
                  <a:lnTo>
                    <a:pt x="1496" y="375"/>
                  </a:lnTo>
                  <a:lnTo>
                    <a:pt x="1492" y="371"/>
                  </a:lnTo>
                  <a:lnTo>
                    <a:pt x="1490" y="371"/>
                  </a:lnTo>
                  <a:lnTo>
                    <a:pt x="1491" y="368"/>
                  </a:lnTo>
                  <a:lnTo>
                    <a:pt x="1487" y="371"/>
                  </a:lnTo>
                  <a:lnTo>
                    <a:pt x="1482" y="374"/>
                  </a:lnTo>
                  <a:lnTo>
                    <a:pt x="1479" y="378"/>
                  </a:lnTo>
                  <a:lnTo>
                    <a:pt x="1482" y="374"/>
                  </a:lnTo>
                  <a:lnTo>
                    <a:pt x="1484" y="372"/>
                  </a:lnTo>
                  <a:lnTo>
                    <a:pt x="1485" y="370"/>
                  </a:lnTo>
                  <a:lnTo>
                    <a:pt x="1482" y="368"/>
                  </a:lnTo>
                  <a:lnTo>
                    <a:pt x="1482" y="366"/>
                  </a:lnTo>
                  <a:lnTo>
                    <a:pt x="1479" y="367"/>
                  </a:lnTo>
                  <a:lnTo>
                    <a:pt x="1477" y="370"/>
                  </a:lnTo>
                  <a:lnTo>
                    <a:pt x="1475" y="372"/>
                  </a:lnTo>
                  <a:lnTo>
                    <a:pt x="1477" y="371"/>
                  </a:lnTo>
                  <a:lnTo>
                    <a:pt x="1478" y="367"/>
                  </a:lnTo>
                  <a:lnTo>
                    <a:pt x="1475" y="368"/>
                  </a:lnTo>
                  <a:lnTo>
                    <a:pt x="1469" y="372"/>
                  </a:lnTo>
                  <a:lnTo>
                    <a:pt x="1475" y="363"/>
                  </a:lnTo>
                  <a:lnTo>
                    <a:pt x="1473" y="365"/>
                  </a:lnTo>
                  <a:lnTo>
                    <a:pt x="1473" y="363"/>
                  </a:lnTo>
                  <a:lnTo>
                    <a:pt x="1473" y="361"/>
                  </a:lnTo>
                  <a:lnTo>
                    <a:pt x="1475" y="357"/>
                  </a:lnTo>
                  <a:lnTo>
                    <a:pt x="1471" y="358"/>
                  </a:lnTo>
                  <a:lnTo>
                    <a:pt x="1470" y="362"/>
                  </a:lnTo>
                  <a:lnTo>
                    <a:pt x="1469" y="358"/>
                  </a:lnTo>
                  <a:lnTo>
                    <a:pt x="1466" y="358"/>
                  </a:lnTo>
                  <a:lnTo>
                    <a:pt x="1467" y="356"/>
                  </a:lnTo>
                  <a:lnTo>
                    <a:pt x="1465" y="356"/>
                  </a:lnTo>
                  <a:lnTo>
                    <a:pt x="1462" y="354"/>
                  </a:lnTo>
                  <a:lnTo>
                    <a:pt x="1459" y="353"/>
                  </a:lnTo>
                  <a:lnTo>
                    <a:pt x="1462" y="353"/>
                  </a:lnTo>
                  <a:lnTo>
                    <a:pt x="1459" y="353"/>
                  </a:lnTo>
                  <a:lnTo>
                    <a:pt x="1458" y="349"/>
                  </a:lnTo>
                  <a:lnTo>
                    <a:pt x="1454" y="349"/>
                  </a:lnTo>
                  <a:lnTo>
                    <a:pt x="1451" y="347"/>
                  </a:lnTo>
                  <a:lnTo>
                    <a:pt x="1454" y="348"/>
                  </a:lnTo>
                  <a:lnTo>
                    <a:pt x="1457" y="347"/>
                  </a:lnTo>
                  <a:lnTo>
                    <a:pt x="1451" y="344"/>
                  </a:lnTo>
                  <a:lnTo>
                    <a:pt x="1454" y="342"/>
                  </a:lnTo>
                  <a:lnTo>
                    <a:pt x="1449" y="341"/>
                  </a:lnTo>
                  <a:lnTo>
                    <a:pt x="1452" y="341"/>
                  </a:lnTo>
                  <a:lnTo>
                    <a:pt x="1448" y="340"/>
                  </a:lnTo>
                  <a:lnTo>
                    <a:pt x="1447" y="339"/>
                  </a:lnTo>
                  <a:lnTo>
                    <a:pt x="1445" y="338"/>
                  </a:lnTo>
                  <a:lnTo>
                    <a:pt x="1447" y="338"/>
                  </a:lnTo>
                  <a:lnTo>
                    <a:pt x="1445" y="337"/>
                  </a:lnTo>
                  <a:lnTo>
                    <a:pt x="1451" y="337"/>
                  </a:lnTo>
                  <a:lnTo>
                    <a:pt x="1448" y="337"/>
                  </a:lnTo>
                  <a:lnTo>
                    <a:pt x="1447" y="338"/>
                  </a:lnTo>
                  <a:lnTo>
                    <a:pt x="1447" y="339"/>
                  </a:lnTo>
                  <a:lnTo>
                    <a:pt x="1453" y="340"/>
                  </a:lnTo>
                  <a:lnTo>
                    <a:pt x="1456" y="340"/>
                  </a:lnTo>
                  <a:lnTo>
                    <a:pt x="1453" y="338"/>
                  </a:lnTo>
                  <a:lnTo>
                    <a:pt x="1457" y="337"/>
                  </a:lnTo>
                  <a:lnTo>
                    <a:pt x="1458" y="335"/>
                  </a:lnTo>
                  <a:lnTo>
                    <a:pt x="1460" y="335"/>
                  </a:lnTo>
                  <a:lnTo>
                    <a:pt x="1460" y="333"/>
                  </a:lnTo>
                  <a:lnTo>
                    <a:pt x="1459" y="331"/>
                  </a:lnTo>
                  <a:lnTo>
                    <a:pt x="1453" y="328"/>
                  </a:lnTo>
                  <a:lnTo>
                    <a:pt x="1453" y="325"/>
                  </a:lnTo>
                  <a:lnTo>
                    <a:pt x="1450" y="324"/>
                  </a:lnTo>
                  <a:lnTo>
                    <a:pt x="1448" y="325"/>
                  </a:lnTo>
                  <a:lnTo>
                    <a:pt x="1444" y="324"/>
                  </a:lnTo>
                  <a:lnTo>
                    <a:pt x="1448" y="324"/>
                  </a:lnTo>
                  <a:lnTo>
                    <a:pt x="1450" y="323"/>
                  </a:lnTo>
                  <a:lnTo>
                    <a:pt x="1453" y="321"/>
                  </a:lnTo>
                  <a:lnTo>
                    <a:pt x="1450" y="319"/>
                  </a:lnTo>
                  <a:lnTo>
                    <a:pt x="1449" y="315"/>
                  </a:lnTo>
                  <a:lnTo>
                    <a:pt x="1445" y="316"/>
                  </a:lnTo>
                  <a:lnTo>
                    <a:pt x="1444" y="314"/>
                  </a:lnTo>
                  <a:lnTo>
                    <a:pt x="1448" y="313"/>
                  </a:lnTo>
                  <a:lnTo>
                    <a:pt x="1444" y="311"/>
                  </a:lnTo>
                  <a:lnTo>
                    <a:pt x="1437" y="313"/>
                  </a:lnTo>
                  <a:lnTo>
                    <a:pt x="1435" y="313"/>
                  </a:lnTo>
                  <a:lnTo>
                    <a:pt x="1437" y="311"/>
                  </a:lnTo>
                  <a:lnTo>
                    <a:pt x="1440" y="311"/>
                  </a:lnTo>
                  <a:lnTo>
                    <a:pt x="1443" y="310"/>
                  </a:lnTo>
                  <a:lnTo>
                    <a:pt x="1441" y="308"/>
                  </a:lnTo>
                  <a:lnTo>
                    <a:pt x="1443" y="307"/>
                  </a:lnTo>
                  <a:lnTo>
                    <a:pt x="1442" y="304"/>
                  </a:lnTo>
                  <a:lnTo>
                    <a:pt x="1439" y="305"/>
                  </a:lnTo>
                  <a:lnTo>
                    <a:pt x="1436" y="305"/>
                  </a:lnTo>
                  <a:lnTo>
                    <a:pt x="1434" y="305"/>
                  </a:lnTo>
                  <a:lnTo>
                    <a:pt x="1431" y="307"/>
                  </a:lnTo>
                  <a:lnTo>
                    <a:pt x="1433" y="304"/>
                  </a:lnTo>
                  <a:lnTo>
                    <a:pt x="1435" y="304"/>
                  </a:lnTo>
                  <a:lnTo>
                    <a:pt x="1439" y="303"/>
                  </a:lnTo>
                  <a:lnTo>
                    <a:pt x="1437" y="301"/>
                  </a:lnTo>
                  <a:lnTo>
                    <a:pt x="1439" y="297"/>
                  </a:lnTo>
                  <a:lnTo>
                    <a:pt x="1435" y="297"/>
                  </a:lnTo>
                  <a:lnTo>
                    <a:pt x="1434" y="295"/>
                  </a:lnTo>
                  <a:lnTo>
                    <a:pt x="1434" y="293"/>
                  </a:lnTo>
                  <a:lnTo>
                    <a:pt x="1430" y="294"/>
                  </a:lnTo>
                  <a:lnTo>
                    <a:pt x="1424" y="293"/>
                  </a:lnTo>
                  <a:lnTo>
                    <a:pt x="1430" y="293"/>
                  </a:lnTo>
                  <a:lnTo>
                    <a:pt x="1433" y="291"/>
                  </a:lnTo>
                  <a:lnTo>
                    <a:pt x="1432" y="288"/>
                  </a:lnTo>
                  <a:lnTo>
                    <a:pt x="1430" y="289"/>
                  </a:lnTo>
                  <a:lnTo>
                    <a:pt x="1430" y="287"/>
                  </a:lnTo>
                  <a:lnTo>
                    <a:pt x="1427" y="287"/>
                  </a:lnTo>
                  <a:lnTo>
                    <a:pt x="1425" y="286"/>
                  </a:lnTo>
                  <a:lnTo>
                    <a:pt x="1427" y="285"/>
                  </a:lnTo>
                  <a:lnTo>
                    <a:pt x="1425" y="281"/>
                  </a:lnTo>
                  <a:lnTo>
                    <a:pt x="1423" y="284"/>
                  </a:lnTo>
                  <a:lnTo>
                    <a:pt x="1424" y="280"/>
                  </a:lnTo>
                  <a:lnTo>
                    <a:pt x="1420" y="279"/>
                  </a:lnTo>
                  <a:lnTo>
                    <a:pt x="1422" y="277"/>
                  </a:lnTo>
                  <a:lnTo>
                    <a:pt x="1422" y="273"/>
                  </a:lnTo>
                  <a:lnTo>
                    <a:pt x="1417" y="273"/>
                  </a:lnTo>
                  <a:lnTo>
                    <a:pt x="1417" y="272"/>
                  </a:lnTo>
                  <a:lnTo>
                    <a:pt x="1414" y="273"/>
                  </a:lnTo>
                  <a:lnTo>
                    <a:pt x="1413" y="273"/>
                  </a:lnTo>
                  <a:lnTo>
                    <a:pt x="1418" y="271"/>
                  </a:lnTo>
                  <a:lnTo>
                    <a:pt x="1417" y="269"/>
                  </a:lnTo>
                  <a:lnTo>
                    <a:pt x="1415" y="269"/>
                  </a:lnTo>
                  <a:lnTo>
                    <a:pt x="1417" y="268"/>
                  </a:lnTo>
                  <a:lnTo>
                    <a:pt x="1415" y="268"/>
                  </a:lnTo>
                  <a:lnTo>
                    <a:pt x="1413" y="269"/>
                  </a:lnTo>
                  <a:lnTo>
                    <a:pt x="1415" y="271"/>
                  </a:lnTo>
                  <a:lnTo>
                    <a:pt x="1413" y="273"/>
                  </a:lnTo>
                  <a:lnTo>
                    <a:pt x="1409" y="273"/>
                  </a:lnTo>
                  <a:lnTo>
                    <a:pt x="1408" y="278"/>
                  </a:lnTo>
                  <a:lnTo>
                    <a:pt x="1410" y="279"/>
                  </a:lnTo>
                  <a:lnTo>
                    <a:pt x="1406" y="278"/>
                  </a:lnTo>
                  <a:lnTo>
                    <a:pt x="1403" y="280"/>
                  </a:lnTo>
                  <a:lnTo>
                    <a:pt x="1405" y="282"/>
                  </a:lnTo>
                  <a:lnTo>
                    <a:pt x="1407" y="285"/>
                  </a:lnTo>
                  <a:lnTo>
                    <a:pt x="1408" y="285"/>
                  </a:lnTo>
                  <a:lnTo>
                    <a:pt x="1410" y="287"/>
                  </a:lnTo>
                  <a:lnTo>
                    <a:pt x="1407" y="285"/>
                  </a:lnTo>
                  <a:lnTo>
                    <a:pt x="1405" y="286"/>
                  </a:lnTo>
                  <a:lnTo>
                    <a:pt x="1403" y="289"/>
                  </a:lnTo>
                  <a:lnTo>
                    <a:pt x="1400" y="290"/>
                  </a:lnTo>
                  <a:lnTo>
                    <a:pt x="1403" y="293"/>
                  </a:lnTo>
                  <a:lnTo>
                    <a:pt x="1406" y="294"/>
                  </a:lnTo>
                  <a:lnTo>
                    <a:pt x="1403" y="293"/>
                  </a:lnTo>
                  <a:lnTo>
                    <a:pt x="1401" y="296"/>
                  </a:lnTo>
                  <a:lnTo>
                    <a:pt x="1399" y="295"/>
                  </a:lnTo>
                  <a:lnTo>
                    <a:pt x="1399" y="297"/>
                  </a:lnTo>
                  <a:lnTo>
                    <a:pt x="1399" y="297"/>
                  </a:lnTo>
                  <a:lnTo>
                    <a:pt x="1397" y="297"/>
                  </a:lnTo>
                  <a:lnTo>
                    <a:pt x="1397" y="299"/>
                  </a:lnTo>
                  <a:lnTo>
                    <a:pt x="1399" y="303"/>
                  </a:lnTo>
                  <a:lnTo>
                    <a:pt x="1398" y="305"/>
                  </a:lnTo>
                  <a:lnTo>
                    <a:pt x="1396" y="307"/>
                  </a:lnTo>
                  <a:lnTo>
                    <a:pt x="1397" y="306"/>
                  </a:lnTo>
                  <a:lnTo>
                    <a:pt x="1397" y="303"/>
                  </a:lnTo>
                  <a:lnTo>
                    <a:pt x="1396" y="301"/>
                  </a:lnTo>
                  <a:lnTo>
                    <a:pt x="1393" y="298"/>
                  </a:lnTo>
                  <a:lnTo>
                    <a:pt x="1390" y="299"/>
                  </a:lnTo>
                  <a:lnTo>
                    <a:pt x="1388" y="304"/>
                  </a:lnTo>
                  <a:lnTo>
                    <a:pt x="1383" y="305"/>
                  </a:lnTo>
                  <a:lnTo>
                    <a:pt x="1381" y="307"/>
                  </a:lnTo>
                  <a:lnTo>
                    <a:pt x="1375" y="310"/>
                  </a:lnTo>
                  <a:lnTo>
                    <a:pt x="1373" y="315"/>
                  </a:lnTo>
                  <a:lnTo>
                    <a:pt x="1373" y="315"/>
                  </a:lnTo>
                  <a:lnTo>
                    <a:pt x="1374" y="310"/>
                  </a:lnTo>
                  <a:lnTo>
                    <a:pt x="1372" y="306"/>
                  </a:lnTo>
                  <a:lnTo>
                    <a:pt x="1372" y="310"/>
                  </a:lnTo>
                  <a:lnTo>
                    <a:pt x="1368" y="311"/>
                  </a:lnTo>
                  <a:lnTo>
                    <a:pt x="1372" y="308"/>
                  </a:lnTo>
                  <a:lnTo>
                    <a:pt x="1369" y="303"/>
                  </a:lnTo>
                  <a:lnTo>
                    <a:pt x="1367" y="305"/>
                  </a:lnTo>
                  <a:lnTo>
                    <a:pt x="1367" y="307"/>
                  </a:lnTo>
                  <a:lnTo>
                    <a:pt x="1364" y="313"/>
                  </a:lnTo>
                  <a:lnTo>
                    <a:pt x="1364" y="313"/>
                  </a:lnTo>
                  <a:lnTo>
                    <a:pt x="1362" y="314"/>
                  </a:lnTo>
                  <a:lnTo>
                    <a:pt x="1356" y="315"/>
                  </a:lnTo>
                  <a:lnTo>
                    <a:pt x="1351" y="319"/>
                  </a:lnTo>
                  <a:lnTo>
                    <a:pt x="1352" y="318"/>
                  </a:lnTo>
                  <a:lnTo>
                    <a:pt x="1355" y="315"/>
                  </a:lnTo>
                  <a:lnTo>
                    <a:pt x="1356" y="315"/>
                  </a:lnTo>
                  <a:lnTo>
                    <a:pt x="1364" y="313"/>
                  </a:lnTo>
                  <a:lnTo>
                    <a:pt x="1365" y="311"/>
                  </a:lnTo>
                  <a:lnTo>
                    <a:pt x="1366" y="305"/>
                  </a:lnTo>
                  <a:lnTo>
                    <a:pt x="1365" y="302"/>
                  </a:lnTo>
                  <a:lnTo>
                    <a:pt x="1364" y="299"/>
                  </a:lnTo>
                  <a:lnTo>
                    <a:pt x="1362" y="297"/>
                  </a:lnTo>
                  <a:lnTo>
                    <a:pt x="1359" y="296"/>
                  </a:lnTo>
                  <a:lnTo>
                    <a:pt x="1357" y="297"/>
                  </a:lnTo>
                  <a:lnTo>
                    <a:pt x="1354" y="296"/>
                  </a:lnTo>
                  <a:lnTo>
                    <a:pt x="1351" y="297"/>
                  </a:lnTo>
                  <a:lnTo>
                    <a:pt x="1346" y="301"/>
                  </a:lnTo>
                  <a:lnTo>
                    <a:pt x="1343" y="301"/>
                  </a:lnTo>
                  <a:lnTo>
                    <a:pt x="1341" y="299"/>
                  </a:lnTo>
                  <a:lnTo>
                    <a:pt x="1339" y="298"/>
                  </a:lnTo>
                  <a:lnTo>
                    <a:pt x="1339" y="298"/>
                  </a:lnTo>
                  <a:lnTo>
                    <a:pt x="1342" y="298"/>
                  </a:lnTo>
                  <a:lnTo>
                    <a:pt x="1345" y="296"/>
                  </a:lnTo>
                  <a:lnTo>
                    <a:pt x="1343" y="293"/>
                  </a:lnTo>
                  <a:lnTo>
                    <a:pt x="1347" y="296"/>
                  </a:lnTo>
                  <a:lnTo>
                    <a:pt x="1348" y="298"/>
                  </a:lnTo>
                  <a:lnTo>
                    <a:pt x="1349" y="296"/>
                  </a:lnTo>
                  <a:lnTo>
                    <a:pt x="1351" y="288"/>
                  </a:lnTo>
                  <a:lnTo>
                    <a:pt x="1347" y="286"/>
                  </a:lnTo>
                  <a:lnTo>
                    <a:pt x="1346" y="284"/>
                  </a:lnTo>
                  <a:lnTo>
                    <a:pt x="1348" y="281"/>
                  </a:lnTo>
                  <a:lnTo>
                    <a:pt x="1347" y="277"/>
                  </a:lnTo>
                  <a:lnTo>
                    <a:pt x="1345" y="274"/>
                  </a:lnTo>
                  <a:lnTo>
                    <a:pt x="1335" y="274"/>
                  </a:lnTo>
                  <a:lnTo>
                    <a:pt x="1328" y="272"/>
                  </a:lnTo>
                  <a:lnTo>
                    <a:pt x="1333" y="273"/>
                  </a:lnTo>
                  <a:lnTo>
                    <a:pt x="1346" y="273"/>
                  </a:lnTo>
                  <a:lnTo>
                    <a:pt x="1345" y="272"/>
                  </a:lnTo>
                  <a:lnTo>
                    <a:pt x="1347" y="272"/>
                  </a:lnTo>
                  <a:lnTo>
                    <a:pt x="1347" y="269"/>
                  </a:lnTo>
                  <a:lnTo>
                    <a:pt x="1346" y="267"/>
                  </a:lnTo>
                  <a:lnTo>
                    <a:pt x="1345" y="264"/>
                  </a:lnTo>
                  <a:lnTo>
                    <a:pt x="1348" y="259"/>
                  </a:lnTo>
                  <a:lnTo>
                    <a:pt x="1350" y="256"/>
                  </a:lnTo>
                  <a:lnTo>
                    <a:pt x="1349" y="253"/>
                  </a:lnTo>
                  <a:lnTo>
                    <a:pt x="1347" y="253"/>
                  </a:lnTo>
                  <a:lnTo>
                    <a:pt x="1345" y="255"/>
                  </a:lnTo>
                  <a:lnTo>
                    <a:pt x="1342" y="256"/>
                  </a:lnTo>
                  <a:lnTo>
                    <a:pt x="1339" y="252"/>
                  </a:lnTo>
                  <a:lnTo>
                    <a:pt x="1337" y="253"/>
                  </a:lnTo>
                  <a:lnTo>
                    <a:pt x="1333" y="253"/>
                  </a:lnTo>
                  <a:lnTo>
                    <a:pt x="1331" y="252"/>
                  </a:lnTo>
                  <a:lnTo>
                    <a:pt x="1329" y="251"/>
                  </a:lnTo>
                  <a:lnTo>
                    <a:pt x="1323" y="250"/>
                  </a:lnTo>
                  <a:lnTo>
                    <a:pt x="1321" y="248"/>
                  </a:lnTo>
                  <a:lnTo>
                    <a:pt x="1317" y="245"/>
                  </a:lnTo>
                  <a:lnTo>
                    <a:pt x="1321" y="245"/>
                  </a:lnTo>
                  <a:lnTo>
                    <a:pt x="1317" y="243"/>
                  </a:lnTo>
                  <a:lnTo>
                    <a:pt x="1317" y="242"/>
                  </a:lnTo>
                  <a:lnTo>
                    <a:pt x="1320" y="241"/>
                  </a:lnTo>
                  <a:lnTo>
                    <a:pt x="1317" y="239"/>
                  </a:lnTo>
                  <a:lnTo>
                    <a:pt x="1315" y="241"/>
                  </a:lnTo>
                  <a:lnTo>
                    <a:pt x="1312" y="241"/>
                  </a:lnTo>
                  <a:lnTo>
                    <a:pt x="1315" y="239"/>
                  </a:lnTo>
                  <a:lnTo>
                    <a:pt x="1312" y="238"/>
                  </a:lnTo>
                  <a:lnTo>
                    <a:pt x="1312" y="235"/>
                  </a:lnTo>
                  <a:lnTo>
                    <a:pt x="1306" y="234"/>
                  </a:lnTo>
                  <a:lnTo>
                    <a:pt x="1306" y="236"/>
                  </a:lnTo>
                  <a:lnTo>
                    <a:pt x="1304" y="236"/>
                  </a:lnTo>
                  <a:lnTo>
                    <a:pt x="1305" y="235"/>
                  </a:lnTo>
                  <a:lnTo>
                    <a:pt x="1306" y="231"/>
                  </a:lnTo>
                  <a:lnTo>
                    <a:pt x="1305" y="229"/>
                  </a:lnTo>
                  <a:lnTo>
                    <a:pt x="1302" y="229"/>
                  </a:lnTo>
                  <a:lnTo>
                    <a:pt x="1299" y="227"/>
                  </a:lnTo>
                  <a:lnTo>
                    <a:pt x="1296" y="225"/>
                  </a:lnTo>
                  <a:lnTo>
                    <a:pt x="1294" y="224"/>
                  </a:lnTo>
                  <a:lnTo>
                    <a:pt x="1291" y="222"/>
                  </a:lnTo>
                  <a:lnTo>
                    <a:pt x="1288" y="224"/>
                  </a:lnTo>
                  <a:lnTo>
                    <a:pt x="1286" y="225"/>
                  </a:lnTo>
                  <a:lnTo>
                    <a:pt x="1280" y="227"/>
                  </a:lnTo>
                  <a:lnTo>
                    <a:pt x="1278" y="227"/>
                  </a:lnTo>
                  <a:lnTo>
                    <a:pt x="1279" y="230"/>
                  </a:lnTo>
                  <a:lnTo>
                    <a:pt x="1273" y="227"/>
                  </a:lnTo>
                  <a:lnTo>
                    <a:pt x="1270" y="226"/>
                  </a:lnTo>
                  <a:lnTo>
                    <a:pt x="1268" y="226"/>
                  </a:lnTo>
                  <a:lnTo>
                    <a:pt x="1262" y="229"/>
                  </a:lnTo>
                  <a:lnTo>
                    <a:pt x="1262" y="228"/>
                  </a:lnTo>
                  <a:lnTo>
                    <a:pt x="1263" y="226"/>
                  </a:lnTo>
                  <a:lnTo>
                    <a:pt x="1261" y="225"/>
                  </a:lnTo>
                  <a:lnTo>
                    <a:pt x="1247" y="221"/>
                  </a:lnTo>
                  <a:lnTo>
                    <a:pt x="1241" y="220"/>
                  </a:lnTo>
                  <a:lnTo>
                    <a:pt x="1238" y="221"/>
                  </a:lnTo>
                  <a:lnTo>
                    <a:pt x="1234" y="224"/>
                  </a:lnTo>
                  <a:lnTo>
                    <a:pt x="1230" y="227"/>
                  </a:lnTo>
                  <a:lnTo>
                    <a:pt x="1230" y="231"/>
                  </a:lnTo>
                  <a:lnTo>
                    <a:pt x="1234" y="238"/>
                  </a:lnTo>
                  <a:lnTo>
                    <a:pt x="1236" y="239"/>
                  </a:lnTo>
                  <a:lnTo>
                    <a:pt x="1238" y="241"/>
                  </a:lnTo>
                  <a:lnTo>
                    <a:pt x="1238" y="244"/>
                  </a:lnTo>
                  <a:lnTo>
                    <a:pt x="1236" y="244"/>
                  </a:lnTo>
                  <a:lnTo>
                    <a:pt x="1236" y="246"/>
                  </a:lnTo>
                  <a:lnTo>
                    <a:pt x="1236" y="250"/>
                  </a:lnTo>
                  <a:lnTo>
                    <a:pt x="1235" y="252"/>
                  </a:lnTo>
                  <a:lnTo>
                    <a:pt x="1231" y="254"/>
                  </a:lnTo>
                  <a:lnTo>
                    <a:pt x="1231" y="258"/>
                  </a:lnTo>
                  <a:lnTo>
                    <a:pt x="1234" y="256"/>
                  </a:lnTo>
                  <a:lnTo>
                    <a:pt x="1234" y="259"/>
                  </a:lnTo>
                  <a:lnTo>
                    <a:pt x="1237" y="259"/>
                  </a:lnTo>
                  <a:lnTo>
                    <a:pt x="1236" y="262"/>
                  </a:lnTo>
                  <a:lnTo>
                    <a:pt x="1238" y="263"/>
                  </a:lnTo>
                  <a:lnTo>
                    <a:pt x="1236" y="265"/>
                  </a:lnTo>
                  <a:lnTo>
                    <a:pt x="1240" y="271"/>
                  </a:lnTo>
                  <a:lnTo>
                    <a:pt x="1238" y="272"/>
                  </a:lnTo>
                  <a:lnTo>
                    <a:pt x="1243" y="273"/>
                  </a:lnTo>
                  <a:lnTo>
                    <a:pt x="1240" y="276"/>
                  </a:lnTo>
                  <a:lnTo>
                    <a:pt x="1241" y="278"/>
                  </a:lnTo>
                  <a:lnTo>
                    <a:pt x="1239" y="280"/>
                  </a:lnTo>
                  <a:lnTo>
                    <a:pt x="1241" y="282"/>
                  </a:lnTo>
                  <a:lnTo>
                    <a:pt x="1239" y="280"/>
                  </a:lnTo>
                  <a:lnTo>
                    <a:pt x="1236" y="281"/>
                  </a:lnTo>
                  <a:lnTo>
                    <a:pt x="1235" y="284"/>
                  </a:lnTo>
                  <a:lnTo>
                    <a:pt x="1235" y="287"/>
                  </a:lnTo>
                  <a:lnTo>
                    <a:pt x="1234" y="288"/>
                  </a:lnTo>
                  <a:lnTo>
                    <a:pt x="1229" y="293"/>
                  </a:lnTo>
                  <a:lnTo>
                    <a:pt x="1228" y="296"/>
                  </a:lnTo>
                  <a:lnTo>
                    <a:pt x="1226" y="297"/>
                  </a:lnTo>
                  <a:lnTo>
                    <a:pt x="1226" y="299"/>
                  </a:lnTo>
                  <a:lnTo>
                    <a:pt x="1226" y="302"/>
                  </a:lnTo>
                  <a:lnTo>
                    <a:pt x="1231" y="305"/>
                  </a:lnTo>
                  <a:lnTo>
                    <a:pt x="1232" y="306"/>
                  </a:lnTo>
                  <a:lnTo>
                    <a:pt x="1238" y="308"/>
                  </a:lnTo>
                  <a:lnTo>
                    <a:pt x="1244" y="313"/>
                  </a:lnTo>
                  <a:lnTo>
                    <a:pt x="1249" y="321"/>
                  </a:lnTo>
                  <a:lnTo>
                    <a:pt x="1253" y="332"/>
                  </a:lnTo>
                  <a:lnTo>
                    <a:pt x="1253" y="345"/>
                  </a:lnTo>
                  <a:lnTo>
                    <a:pt x="1253" y="347"/>
                  </a:lnTo>
                  <a:lnTo>
                    <a:pt x="1251" y="353"/>
                  </a:lnTo>
                  <a:lnTo>
                    <a:pt x="1245" y="358"/>
                  </a:lnTo>
                  <a:lnTo>
                    <a:pt x="1244" y="361"/>
                  </a:lnTo>
                  <a:lnTo>
                    <a:pt x="1236" y="367"/>
                  </a:lnTo>
                  <a:lnTo>
                    <a:pt x="1230" y="370"/>
                  </a:lnTo>
                  <a:lnTo>
                    <a:pt x="1228" y="372"/>
                  </a:lnTo>
                  <a:lnTo>
                    <a:pt x="1224" y="372"/>
                  </a:lnTo>
                  <a:lnTo>
                    <a:pt x="1223" y="373"/>
                  </a:lnTo>
                  <a:lnTo>
                    <a:pt x="1218" y="375"/>
                  </a:lnTo>
                  <a:lnTo>
                    <a:pt x="1215" y="376"/>
                  </a:lnTo>
                  <a:lnTo>
                    <a:pt x="1212" y="378"/>
                  </a:lnTo>
                  <a:lnTo>
                    <a:pt x="1210" y="379"/>
                  </a:lnTo>
                  <a:lnTo>
                    <a:pt x="1212" y="382"/>
                  </a:lnTo>
                  <a:lnTo>
                    <a:pt x="1212" y="384"/>
                  </a:lnTo>
                  <a:lnTo>
                    <a:pt x="1214" y="387"/>
                  </a:lnTo>
                  <a:lnTo>
                    <a:pt x="1215" y="390"/>
                  </a:lnTo>
                  <a:lnTo>
                    <a:pt x="1219" y="390"/>
                  </a:lnTo>
                  <a:lnTo>
                    <a:pt x="1218" y="393"/>
                  </a:lnTo>
                  <a:lnTo>
                    <a:pt x="1220" y="395"/>
                  </a:lnTo>
                  <a:lnTo>
                    <a:pt x="1218" y="397"/>
                  </a:lnTo>
                  <a:lnTo>
                    <a:pt x="1220" y="405"/>
                  </a:lnTo>
                  <a:lnTo>
                    <a:pt x="1220" y="408"/>
                  </a:lnTo>
                  <a:lnTo>
                    <a:pt x="1221" y="410"/>
                  </a:lnTo>
                  <a:lnTo>
                    <a:pt x="1220" y="412"/>
                  </a:lnTo>
                  <a:lnTo>
                    <a:pt x="1221" y="415"/>
                  </a:lnTo>
                  <a:lnTo>
                    <a:pt x="1223" y="417"/>
                  </a:lnTo>
                  <a:lnTo>
                    <a:pt x="1224" y="418"/>
                  </a:lnTo>
                  <a:lnTo>
                    <a:pt x="1226" y="422"/>
                  </a:lnTo>
                  <a:lnTo>
                    <a:pt x="1227" y="424"/>
                  </a:lnTo>
                  <a:lnTo>
                    <a:pt x="1224" y="425"/>
                  </a:lnTo>
                  <a:lnTo>
                    <a:pt x="1219" y="433"/>
                  </a:lnTo>
                  <a:lnTo>
                    <a:pt x="1223" y="438"/>
                  </a:lnTo>
                  <a:lnTo>
                    <a:pt x="1220" y="441"/>
                  </a:lnTo>
                  <a:lnTo>
                    <a:pt x="1221" y="443"/>
                  </a:lnTo>
                  <a:lnTo>
                    <a:pt x="1220" y="443"/>
                  </a:lnTo>
                  <a:lnTo>
                    <a:pt x="1219" y="438"/>
                  </a:lnTo>
                  <a:lnTo>
                    <a:pt x="1213" y="435"/>
                  </a:lnTo>
                  <a:lnTo>
                    <a:pt x="1211" y="439"/>
                  </a:lnTo>
                  <a:lnTo>
                    <a:pt x="1211" y="439"/>
                  </a:lnTo>
                  <a:lnTo>
                    <a:pt x="1210" y="441"/>
                  </a:lnTo>
                  <a:lnTo>
                    <a:pt x="1209" y="444"/>
                  </a:lnTo>
                  <a:lnTo>
                    <a:pt x="1213" y="449"/>
                  </a:lnTo>
                  <a:lnTo>
                    <a:pt x="1214" y="451"/>
                  </a:lnTo>
                  <a:lnTo>
                    <a:pt x="1212" y="448"/>
                  </a:lnTo>
                  <a:lnTo>
                    <a:pt x="1205" y="442"/>
                  </a:lnTo>
                  <a:lnTo>
                    <a:pt x="1200" y="441"/>
                  </a:lnTo>
                  <a:lnTo>
                    <a:pt x="1196" y="443"/>
                  </a:lnTo>
                  <a:lnTo>
                    <a:pt x="1192" y="445"/>
                  </a:lnTo>
                  <a:lnTo>
                    <a:pt x="1196" y="441"/>
                  </a:lnTo>
                  <a:lnTo>
                    <a:pt x="1200" y="440"/>
                  </a:lnTo>
                  <a:lnTo>
                    <a:pt x="1198" y="438"/>
                  </a:lnTo>
                  <a:lnTo>
                    <a:pt x="1195" y="432"/>
                  </a:lnTo>
                  <a:lnTo>
                    <a:pt x="1193" y="430"/>
                  </a:lnTo>
                  <a:lnTo>
                    <a:pt x="1191" y="427"/>
                  </a:lnTo>
                  <a:lnTo>
                    <a:pt x="1187" y="427"/>
                  </a:lnTo>
                  <a:lnTo>
                    <a:pt x="1185" y="424"/>
                  </a:lnTo>
                  <a:lnTo>
                    <a:pt x="1181" y="424"/>
                  </a:lnTo>
                  <a:lnTo>
                    <a:pt x="1179" y="425"/>
                  </a:lnTo>
                  <a:lnTo>
                    <a:pt x="1179" y="424"/>
                  </a:lnTo>
                  <a:lnTo>
                    <a:pt x="1185" y="423"/>
                  </a:lnTo>
                  <a:lnTo>
                    <a:pt x="1184" y="419"/>
                  </a:lnTo>
                  <a:lnTo>
                    <a:pt x="1176" y="412"/>
                  </a:lnTo>
                  <a:lnTo>
                    <a:pt x="1174" y="410"/>
                  </a:lnTo>
                  <a:lnTo>
                    <a:pt x="1175" y="406"/>
                  </a:lnTo>
                  <a:lnTo>
                    <a:pt x="1176" y="404"/>
                  </a:lnTo>
                  <a:lnTo>
                    <a:pt x="1175" y="401"/>
                  </a:lnTo>
                  <a:lnTo>
                    <a:pt x="1175" y="398"/>
                  </a:lnTo>
                  <a:lnTo>
                    <a:pt x="1176" y="396"/>
                  </a:lnTo>
                  <a:lnTo>
                    <a:pt x="1176" y="392"/>
                  </a:lnTo>
                  <a:lnTo>
                    <a:pt x="1174" y="390"/>
                  </a:lnTo>
                  <a:lnTo>
                    <a:pt x="1172" y="387"/>
                  </a:lnTo>
                  <a:lnTo>
                    <a:pt x="1172" y="384"/>
                  </a:lnTo>
                  <a:lnTo>
                    <a:pt x="1175" y="376"/>
                  </a:lnTo>
                  <a:lnTo>
                    <a:pt x="1174" y="370"/>
                  </a:lnTo>
                  <a:lnTo>
                    <a:pt x="1168" y="370"/>
                  </a:lnTo>
                  <a:lnTo>
                    <a:pt x="1166" y="370"/>
                  </a:lnTo>
                  <a:lnTo>
                    <a:pt x="1164" y="371"/>
                  </a:lnTo>
                  <a:lnTo>
                    <a:pt x="1162" y="368"/>
                  </a:lnTo>
                  <a:lnTo>
                    <a:pt x="1157" y="367"/>
                  </a:lnTo>
                  <a:lnTo>
                    <a:pt x="1154" y="368"/>
                  </a:lnTo>
                  <a:lnTo>
                    <a:pt x="1151" y="366"/>
                  </a:lnTo>
                  <a:lnTo>
                    <a:pt x="1149" y="367"/>
                  </a:lnTo>
                  <a:lnTo>
                    <a:pt x="1146" y="366"/>
                  </a:lnTo>
                  <a:lnTo>
                    <a:pt x="1143" y="367"/>
                  </a:lnTo>
                  <a:lnTo>
                    <a:pt x="1135" y="367"/>
                  </a:lnTo>
                  <a:lnTo>
                    <a:pt x="1133" y="370"/>
                  </a:lnTo>
                  <a:lnTo>
                    <a:pt x="1130" y="373"/>
                  </a:lnTo>
                  <a:lnTo>
                    <a:pt x="1132" y="371"/>
                  </a:lnTo>
                  <a:lnTo>
                    <a:pt x="1134" y="367"/>
                  </a:lnTo>
                  <a:lnTo>
                    <a:pt x="1133" y="365"/>
                  </a:lnTo>
                  <a:lnTo>
                    <a:pt x="1129" y="363"/>
                  </a:lnTo>
                  <a:lnTo>
                    <a:pt x="1127" y="361"/>
                  </a:lnTo>
                  <a:lnTo>
                    <a:pt x="1125" y="359"/>
                  </a:lnTo>
                  <a:lnTo>
                    <a:pt x="1121" y="359"/>
                  </a:lnTo>
                  <a:lnTo>
                    <a:pt x="1119" y="358"/>
                  </a:lnTo>
                  <a:lnTo>
                    <a:pt x="1116" y="357"/>
                  </a:lnTo>
                  <a:lnTo>
                    <a:pt x="1111" y="355"/>
                  </a:lnTo>
                  <a:lnTo>
                    <a:pt x="1106" y="354"/>
                  </a:lnTo>
                  <a:lnTo>
                    <a:pt x="1102" y="353"/>
                  </a:lnTo>
                  <a:lnTo>
                    <a:pt x="1101" y="354"/>
                  </a:lnTo>
                  <a:lnTo>
                    <a:pt x="1100" y="350"/>
                  </a:lnTo>
                  <a:lnTo>
                    <a:pt x="1095" y="345"/>
                  </a:lnTo>
                  <a:lnTo>
                    <a:pt x="1090" y="342"/>
                  </a:lnTo>
                  <a:lnTo>
                    <a:pt x="1085" y="338"/>
                  </a:lnTo>
                  <a:lnTo>
                    <a:pt x="1082" y="337"/>
                  </a:lnTo>
                  <a:lnTo>
                    <a:pt x="1076" y="336"/>
                  </a:lnTo>
                  <a:lnTo>
                    <a:pt x="1068" y="333"/>
                  </a:lnTo>
                  <a:lnTo>
                    <a:pt x="1060" y="330"/>
                  </a:lnTo>
                  <a:lnTo>
                    <a:pt x="1055" y="329"/>
                  </a:lnTo>
                  <a:lnTo>
                    <a:pt x="1039" y="333"/>
                  </a:lnTo>
                  <a:lnTo>
                    <a:pt x="1035" y="335"/>
                  </a:lnTo>
                  <a:lnTo>
                    <a:pt x="1034" y="336"/>
                  </a:lnTo>
                  <a:lnTo>
                    <a:pt x="1038" y="333"/>
                  </a:lnTo>
                  <a:lnTo>
                    <a:pt x="1034" y="333"/>
                  </a:lnTo>
                  <a:lnTo>
                    <a:pt x="1032" y="335"/>
                  </a:lnTo>
                  <a:lnTo>
                    <a:pt x="1029" y="336"/>
                  </a:lnTo>
                  <a:lnTo>
                    <a:pt x="1032" y="335"/>
                  </a:lnTo>
                  <a:lnTo>
                    <a:pt x="1033" y="331"/>
                  </a:lnTo>
                  <a:lnTo>
                    <a:pt x="1035" y="329"/>
                  </a:lnTo>
                  <a:lnTo>
                    <a:pt x="1034" y="327"/>
                  </a:lnTo>
                  <a:lnTo>
                    <a:pt x="1031" y="319"/>
                  </a:lnTo>
                  <a:lnTo>
                    <a:pt x="1030" y="313"/>
                  </a:lnTo>
                  <a:lnTo>
                    <a:pt x="1029" y="310"/>
                  </a:lnTo>
                  <a:lnTo>
                    <a:pt x="1025" y="304"/>
                  </a:lnTo>
                  <a:lnTo>
                    <a:pt x="1025" y="299"/>
                  </a:lnTo>
                  <a:lnTo>
                    <a:pt x="1022" y="301"/>
                  </a:lnTo>
                  <a:lnTo>
                    <a:pt x="1019" y="298"/>
                  </a:lnTo>
                  <a:lnTo>
                    <a:pt x="1012" y="299"/>
                  </a:lnTo>
                  <a:lnTo>
                    <a:pt x="1010" y="302"/>
                  </a:lnTo>
                  <a:lnTo>
                    <a:pt x="1010" y="307"/>
                  </a:lnTo>
                  <a:lnTo>
                    <a:pt x="1008" y="310"/>
                  </a:lnTo>
                  <a:lnTo>
                    <a:pt x="1010" y="299"/>
                  </a:lnTo>
                  <a:lnTo>
                    <a:pt x="1007" y="299"/>
                  </a:lnTo>
                  <a:lnTo>
                    <a:pt x="1004" y="295"/>
                  </a:lnTo>
                  <a:lnTo>
                    <a:pt x="1000" y="293"/>
                  </a:lnTo>
                  <a:lnTo>
                    <a:pt x="1002" y="293"/>
                  </a:lnTo>
                  <a:lnTo>
                    <a:pt x="1002" y="289"/>
                  </a:lnTo>
                  <a:lnTo>
                    <a:pt x="1005" y="287"/>
                  </a:lnTo>
                  <a:lnTo>
                    <a:pt x="1002" y="281"/>
                  </a:lnTo>
                  <a:lnTo>
                    <a:pt x="1002" y="279"/>
                  </a:lnTo>
                  <a:lnTo>
                    <a:pt x="1002" y="273"/>
                  </a:lnTo>
                  <a:lnTo>
                    <a:pt x="1004" y="271"/>
                  </a:lnTo>
                  <a:lnTo>
                    <a:pt x="1004" y="269"/>
                  </a:lnTo>
                  <a:lnTo>
                    <a:pt x="1005" y="265"/>
                  </a:lnTo>
                  <a:lnTo>
                    <a:pt x="1002" y="263"/>
                  </a:lnTo>
                  <a:lnTo>
                    <a:pt x="1004" y="263"/>
                  </a:lnTo>
                  <a:lnTo>
                    <a:pt x="1006" y="263"/>
                  </a:lnTo>
                  <a:lnTo>
                    <a:pt x="1008" y="256"/>
                  </a:lnTo>
                  <a:lnTo>
                    <a:pt x="1012" y="253"/>
                  </a:lnTo>
                  <a:lnTo>
                    <a:pt x="1013" y="251"/>
                  </a:lnTo>
                  <a:lnTo>
                    <a:pt x="1013" y="248"/>
                  </a:lnTo>
                  <a:lnTo>
                    <a:pt x="1012" y="246"/>
                  </a:lnTo>
                  <a:lnTo>
                    <a:pt x="1015" y="247"/>
                  </a:lnTo>
                  <a:lnTo>
                    <a:pt x="1014" y="245"/>
                  </a:lnTo>
                  <a:lnTo>
                    <a:pt x="1015" y="242"/>
                  </a:lnTo>
                  <a:lnTo>
                    <a:pt x="1018" y="241"/>
                  </a:lnTo>
                  <a:lnTo>
                    <a:pt x="1024" y="238"/>
                  </a:lnTo>
                  <a:lnTo>
                    <a:pt x="1022" y="236"/>
                  </a:lnTo>
                  <a:lnTo>
                    <a:pt x="1019" y="236"/>
                  </a:lnTo>
                  <a:lnTo>
                    <a:pt x="1022" y="235"/>
                  </a:lnTo>
                  <a:lnTo>
                    <a:pt x="1022" y="231"/>
                  </a:lnTo>
                  <a:lnTo>
                    <a:pt x="1025" y="231"/>
                  </a:lnTo>
                  <a:lnTo>
                    <a:pt x="1029" y="230"/>
                  </a:lnTo>
                  <a:lnTo>
                    <a:pt x="1030" y="227"/>
                  </a:lnTo>
                  <a:lnTo>
                    <a:pt x="1025" y="225"/>
                  </a:lnTo>
                  <a:lnTo>
                    <a:pt x="1030" y="226"/>
                  </a:lnTo>
                  <a:lnTo>
                    <a:pt x="1033" y="229"/>
                  </a:lnTo>
                  <a:lnTo>
                    <a:pt x="1033" y="226"/>
                  </a:lnTo>
                  <a:lnTo>
                    <a:pt x="1030" y="225"/>
                  </a:lnTo>
                  <a:lnTo>
                    <a:pt x="1033" y="222"/>
                  </a:lnTo>
                  <a:lnTo>
                    <a:pt x="1033" y="220"/>
                  </a:lnTo>
                  <a:lnTo>
                    <a:pt x="1035" y="221"/>
                  </a:lnTo>
                  <a:lnTo>
                    <a:pt x="1038" y="219"/>
                  </a:lnTo>
                  <a:lnTo>
                    <a:pt x="1040" y="221"/>
                  </a:lnTo>
                  <a:lnTo>
                    <a:pt x="1042" y="219"/>
                  </a:lnTo>
                  <a:lnTo>
                    <a:pt x="1039" y="218"/>
                  </a:lnTo>
                  <a:lnTo>
                    <a:pt x="1036" y="217"/>
                  </a:lnTo>
                  <a:lnTo>
                    <a:pt x="1035" y="214"/>
                  </a:lnTo>
                  <a:lnTo>
                    <a:pt x="1039" y="214"/>
                  </a:lnTo>
                  <a:lnTo>
                    <a:pt x="1041" y="214"/>
                  </a:lnTo>
                  <a:lnTo>
                    <a:pt x="1050" y="216"/>
                  </a:lnTo>
                  <a:lnTo>
                    <a:pt x="1052" y="213"/>
                  </a:lnTo>
                  <a:lnTo>
                    <a:pt x="1055" y="212"/>
                  </a:lnTo>
                  <a:lnTo>
                    <a:pt x="1058" y="212"/>
                  </a:lnTo>
                  <a:lnTo>
                    <a:pt x="1059" y="209"/>
                  </a:lnTo>
                  <a:lnTo>
                    <a:pt x="1059" y="207"/>
                  </a:lnTo>
                  <a:lnTo>
                    <a:pt x="1058" y="204"/>
                  </a:lnTo>
                  <a:lnTo>
                    <a:pt x="1052" y="201"/>
                  </a:lnTo>
                  <a:lnTo>
                    <a:pt x="1050" y="201"/>
                  </a:lnTo>
                  <a:lnTo>
                    <a:pt x="1047" y="199"/>
                  </a:lnTo>
                  <a:lnTo>
                    <a:pt x="1044" y="196"/>
                  </a:lnTo>
                  <a:lnTo>
                    <a:pt x="1042" y="196"/>
                  </a:lnTo>
                  <a:lnTo>
                    <a:pt x="1036" y="199"/>
                  </a:lnTo>
                  <a:lnTo>
                    <a:pt x="1033" y="199"/>
                  </a:lnTo>
                  <a:lnTo>
                    <a:pt x="1036" y="196"/>
                  </a:lnTo>
                  <a:lnTo>
                    <a:pt x="1039" y="196"/>
                  </a:lnTo>
                  <a:lnTo>
                    <a:pt x="1036" y="195"/>
                  </a:lnTo>
                  <a:lnTo>
                    <a:pt x="1033" y="193"/>
                  </a:lnTo>
                  <a:lnTo>
                    <a:pt x="1031" y="193"/>
                  </a:lnTo>
                  <a:lnTo>
                    <a:pt x="1029" y="193"/>
                  </a:lnTo>
                  <a:lnTo>
                    <a:pt x="1022" y="190"/>
                  </a:lnTo>
                  <a:lnTo>
                    <a:pt x="1023" y="193"/>
                  </a:lnTo>
                  <a:lnTo>
                    <a:pt x="1021" y="193"/>
                  </a:lnTo>
                  <a:lnTo>
                    <a:pt x="1016" y="191"/>
                  </a:lnTo>
                  <a:lnTo>
                    <a:pt x="1016" y="190"/>
                  </a:lnTo>
                  <a:lnTo>
                    <a:pt x="1019" y="190"/>
                  </a:lnTo>
                  <a:lnTo>
                    <a:pt x="1016" y="185"/>
                  </a:lnTo>
                  <a:lnTo>
                    <a:pt x="1019" y="187"/>
                  </a:lnTo>
                  <a:lnTo>
                    <a:pt x="1022" y="190"/>
                  </a:lnTo>
                  <a:lnTo>
                    <a:pt x="1031" y="192"/>
                  </a:lnTo>
                  <a:lnTo>
                    <a:pt x="1035" y="194"/>
                  </a:lnTo>
                  <a:lnTo>
                    <a:pt x="1039" y="195"/>
                  </a:lnTo>
                  <a:lnTo>
                    <a:pt x="1041" y="193"/>
                  </a:lnTo>
                  <a:lnTo>
                    <a:pt x="1044" y="195"/>
                  </a:lnTo>
                  <a:lnTo>
                    <a:pt x="1049" y="195"/>
                  </a:lnTo>
                  <a:lnTo>
                    <a:pt x="1051" y="197"/>
                  </a:lnTo>
                  <a:lnTo>
                    <a:pt x="1057" y="199"/>
                  </a:lnTo>
                  <a:lnTo>
                    <a:pt x="1063" y="196"/>
                  </a:lnTo>
                  <a:lnTo>
                    <a:pt x="1065" y="197"/>
                  </a:lnTo>
                  <a:lnTo>
                    <a:pt x="1068" y="194"/>
                  </a:lnTo>
                  <a:lnTo>
                    <a:pt x="1068" y="193"/>
                  </a:lnTo>
                  <a:lnTo>
                    <a:pt x="1066" y="190"/>
                  </a:lnTo>
                  <a:lnTo>
                    <a:pt x="1068" y="190"/>
                  </a:lnTo>
                  <a:lnTo>
                    <a:pt x="1069" y="187"/>
                  </a:lnTo>
                  <a:lnTo>
                    <a:pt x="1067" y="186"/>
                  </a:lnTo>
                  <a:lnTo>
                    <a:pt x="1068" y="186"/>
                  </a:lnTo>
                  <a:lnTo>
                    <a:pt x="1070" y="185"/>
                  </a:lnTo>
                  <a:lnTo>
                    <a:pt x="1072" y="187"/>
                  </a:lnTo>
                  <a:lnTo>
                    <a:pt x="1074" y="190"/>
                  </a:lnTo>
                  <a:lnTo>
                    <a:pt x="1075" y="191"/>
                  </a:lnTo>
                  <a:lnTo>
                    <a:pt x="1074" y="188"/>
                  </a:lnTo>
                  <a:lnTo>
                    <a:pt x="1077" y="188"/>
                  </a:lnTo>
                  <a:lnTo>
                    <a:pt x="1079" y="190"/>
                  </a:lnTo>
                  <a:lnTo>
                    <a:pt x="1078" y="187"/>
                  </a:lnTo>
                  <a:lnTo>
                    <a:pt x="1082" y="188"/>
                  </a:lnTo>
                  <a:lnTo>
                    <a:pt x="1084" y="190"/>
                  </a:lnTo>
                  <a:lnTo>
                    <a:pt x="1087" y="190"/>
                  </a:lnTo>
                  <a:lnTo>
                    <a:pt x="1095" y="185"/>
                  </a:lnTo>
                  <a:lnTo>
                    <a:pt x="1098" y="179"/>
                  </a:lnTo>
                  <a:lnTo>
                    <a:pt x="1102" y="176"/>
                  </a:lnTo>
                  <a:lnTo>
                    <a:pt x="1103" y="173"/>
                  </a:lnTo>
                  <a:lnTo>
                    <a:pt x="1108" y="168"/>
                  </a:lnTo>
                  <a:lnTo>
                    <a:pt x="1109" y="166"/>
                  </a:lnTo>
                  <a:lnTo>
                    <a:pt x="1109" y="162"/>
                  </a:lnTo>
                  <a:lnTo>
                    <a:pt x="1106" y="161"/>
                  </a:lnTo>
                  <a:lnTo>
                    <a:pt x="1103" y="161"/>
                  </a:lnTo>
                  <a:lnTo>
                    <a:pt x="1100" y="161"/>
                  </a:lnTo>
                  <a:lnTo>
                    <a:pt x="1094" y="161"/>
                  </a:lnTo>
                  <a:lnTo>
                    <a:pt x="1086" y="160"/>
                  </a:lnTo>
                  <a:lnTo>
                    <a:pt x="1082" y="160"/>
                  </a:lnTo>
                  <a:lnTo>
                    <a:pt x="1078" y="158"/>
                  </a:lnTo>
                  <a:lnTo>
                    <a:pt x="1076" y="156"/>
                  </a:lnTo>
                  <a:lnTo>
                    <a:pt x="1074" y="153"/>
                  </a:lnTo>
                  <a:lnTo>
                    <a:pt x="1070" y="151"/>
                  </a:lnTo>
                  <a:lnTo>
                    <a:pt x="1068" y="149"/>
                  </a:lnTo>
                  <a:lnTo>
                    <a:pt x="1060" y="148"/>
                  </a:lnTo>
                  <a:lnTo>
                    <a:pt x="1055" y="147"/>
                  </a:lnTo>
                  <a:lnTo>
                    <a:pt x="1051" y="148"/>
                  </a:lnTo>
                  <a:lnTo>
                    <a:pt x="1049" y="147"/>
                  </a:lnTo>
                  <a:lnTo>
                    <a:pt x="1055" y="147"/>
                  </a:lnTo>
                  <a:lnTo>
                    <a:pt x="1060" y="148"/>
                  </a:lnTo>
                  <a:lnTo>
                    <a:pt x="1063" y="147"/>
                  </a:lnTo>
                  <a:lnTo>
                    <a:pt x="1066" y="148"/>
                  </a:lnTo>
                  <a:lnTo>
                    <a:pt x="1068" y="148"/>
                  </a:lnTo>
                  <a:lnTo>
                    <a:pt x="1070" y="149"/>
                  </a:lnTo>
                  <a:lnTo>
                    <a:pt x="1068" y="147"/>
                  </a:lnTo>
                  <a:lnTo>
                    <a:pt x="1074" y="147"/>
                  </a:lnTo>
                  <a:lnTo>
                    <a:pt x="1082" y="151"/>
                  </a:lnTo>
                  <a:lnTo>
                    <a:pt x="1090" y="153"/>
                  </a:lnTo>
                  <a:lnTo>
                    <a:pt x="1084" y="153"/>
                  </a:lnTo>
                  <a:lnTo>
                    <a:pt x="1090" y="156"/>
                  </a:lnTo>
                  <a:lnTo>
                    <a:pt x="1092" y="158"/>
                  </a:lnTo>
                  <a:lnTo>
                    <a:pt x="1095" y="159"/>
                  </a:lnTo>
                  <a:lnTo>
                    <a:pt x="1098" y="160"/>
                  </a:lnTo>
                  <a:lnTo>
                    <a:pt x="1103" y="160"/>
                  </a:lnTo>
                  <a:lnTo>
                    <a:pt x="1106" y="159"/>
                  </a:lnTo>
                  <a:lnTo>
                    <a:pt x="1108" y="157"/>
                  </a:lnTo>
                  <a:lnTo>
                    <a:pt x="1116" y="151"/>
                  </a:lnTo>
                  <a:lnTo>
                    <a:pt x="1117" y="150"/>
                  </a:lnTo>
                  <a:lnTo>
                    <a:pt x="1117" y="149"/>
                  </a:lnTo>
                  <a:lnTo>
                    <a:pt x="1121" y="145"/>
                  </a:lnTo>
                  <a:lnTo>
                    <a:pt x="1123" y="142"/>
                  </a:lnTo>
                  <a:lnTo>
                    <a:pt x="1123" y="140"/>
                  </a:lnTo>
                  <a:lnTo>
                    <a:pt x="1119" y="139"/>
                  </a:lnTo>
                  <a:lnTo>
                    <a:pt x="1118" y="139"/>
                  </a:lnTo>
                  <a:lnTo>
                    <a:pt x="1113" y="137"/>
                  </a:lnTo>
                  <a:lnTo>
                    <a:pt x="1113" y="134"/>
                  </a:lnTo>
                  <a:lnTo>
                    <a:pt x="1116" y="133"/>
                  </a:lnTo>
                  <a:lnTo>
                    <a:pt x="1119" y="133"/>
                  </a:lnTo>
                  <a:lnTo>
                    <a:pt x="1121" y="133"/>
                  </a:lnTo>
                  <a:lnTo>
                    <a:pt x="1125" y="133"/>
                  </a:lnTo>
                  <a:lnTo>
                    <a:pt x="1127" y="133"/>
                  </a:lnTo>
                  <a:lnTo>
                    <a:pt x="1129" y="132"/>
                  </a:lnTo>
                  <a:lnTo>
                    <a:pt x="1132" y="134"/>
                  </a:lnTo>
                  <a:lnTo>
                    <a:pt x="1133" y="136"/>
                  </a:lnTo>
                  <a:lnTo>
                    <a:pt x="1137" y="139"/>
                  </a:lnTo>
                  <a:lnTo>
                    <a:pt x="1137" y="139"/>
                  </a:lnTo>
                  <a:lnTo>
                    <a:pt x="1138" y="139"/>
                  </a:lnTo>
                  <a:lnTo>
                    <a:pt x="1141" y="140"/>
                  </a:lnTo>
                  <a:lnTo>
                    <a:pt x="1144" y="141"/>
                  </a:lnTo>
                  <a:lnTo>
                    <a:pt x="1143" y="139"/>
                  </a:lnTo>
                  <a:lnTo>
                    <a:pt x="1143" y="135"/>
                  </a:lnTo>
                  <a:lnTo>
                    <a:pt x="1145" y="139"/>
                  </a:lnTo>
                  <a:lnTo>
                    <a:pt x="1147" y="137"/>
                  </a:lnTo>
                  <a:lnTo>
                    <a:pt x="1151" y="140"/>
                  </a:lnTo>
                  <a:lnTo>
                    <a:pt x="1153" y="141"/>
                  </a:lnTo>
                  <a:lnTo>
                    <a:pt x="1153" y="139"/>
                  </a:lnTo>
                  <a:lnTo>
                    <a:pt x="1153" y="137"/>
                  </a:lnTo>
                  <a:lnTo>
                    <a:pt x="1152" y="135"/>
                  </a:lnTo>
                  <a:lnTo>
                    <a:pt x="1150" y="133"/>
                  </a:lnTo>
                  <a:lnTo>
                    <a:pt x="1149" y="130"/>
                  </a:lnTo>
                  <a:lnTo>
                    <a:pt x="1146" y="130"/>
                  </a:lnTo>
                  <a:lnTo>
                    <a:pt x="1143" y="126"/>
                  </a:lnTo>
                  <a:lnTo>
                    <a:pt x="1141" y="125"/>
                  </a:lnTo>
                  <a:lnTo>
                    <a:pt x="1137" y="124"/>
                  </a:lnTo>
                  <a:lnTo>
                    <a:pt x="1135" y="126"/>
                  </a:lnTo>
                  <a:lnTo>
                    <a:pt x="1136" y="123"/>
                  </a:lnTo>
                  <a:lnTo>
                    <a:pt x="1137" y="123"/>
                  </a:lnTo>
                  <a:lnTo>
                    <a:pt x="1137" y="123"/>
                  </a:lnTo>
                  <a:lnTo>
                    <a:pt x="1141" y="123"/>
                  </a:lnTo>
                  <a:lnTo>
                    <a:pt x="1138" y="123"/>
                  </a:lnTo>
                  <a:lnTo>
                    <a:pt x="1142" y="122"/>
                  </a:lnTo>
                  <a:lnTo>
                    <a:pt x="1144" y="123"/>
                  </a:lnTo>
                  <a:lnTo>
                    <a:pt x="1142" y="123"/>
                  </a:lnTo>
                  <a:lnTo>
                    <a:pt x="1145" y="124"/>
                  </a:lnTo>
                  <a:lnTo>
                    <a:pt x="1145" y="126"/>
                  </a:lnTo>
                  <a:lnTo>
                    <a:pt x="1147" y="128"/>
                  </a:lnTo>
                  <a:lnTo>
                    <a:pt x="1151" y="127"/>
                  </a:lnTo>
                  <a:lnTo>
                    <a:pt x="1152" y="130"/>
                  </a:lnTo>
                  <a:lnTo>
                    <a:pt x="1152" y="132"/>
                  </a:lnTo>
                  <a:lnTo>
                    <a:pt x="1154" y="133"/>
                  </a:lnTo>
                  <a:lnTo>
                    <a:pt x="1157" y="135"/>
                  </a:lnTo>
                  <a:lnTo>
                    <a:pt x="1160" y="136"/>
                  </a:lnTo>
                  <a:lnTo>
                    <a:pt x="1162" y="135"/>
                  </a:lnTo>
                  <a:lnTo>
                    <a:pt x="1164" y="132"/>
                  </a:lnTo>
                  <a:lnTo>
                    <a:pt x="1168" y="132"/>
                  </a:lnTo>
                  <a:lnTo>
                    <a:pt x="1170" y="131"/>
                  </a:lnTo>
                  <a:lnTo>
                    <a:pt x="1172" y="128"/>
                  </a:lnTo>
                  <a:lnTo>
                    <a:pt x="1176" y="128"/>
                  </a:lnTo>
                  <a:lnTo>
                    <a:pt x="1177" y="126"/>
                  </a:lnTo>
                  <a:lnTo>
                    <a:pt x="1178" y="123"/>
                  </a:lnTo>
                  <a:lnTo>
                    <a:pt x="1180" y="122"/>
                  </a:lnTo>
                  <a:lnTo>
                    <a:pt x="1184" y="122"/>
                  </a:lnTo>
                  <a:lnTo>
                    <a:pt x="1186" y="119"/>
                  </a:lnTo>
                  <a:lnTo>
                    <a:pt x="1186" y="116"/>
                  </a:lnTo>
                  <a:lnTo>
                    <a:pt x="1187" y="114"/>
                  </a:lnTo>
                  <a:lnTo>
                    <a:pt x="1188" y="110"/>
                  </a:lnTo>
                  <a:lnTo>
                    <a:pt x="1186" y="108"/>
                  </a:lnTo>
                  <a:lnTo>
                    <a:pt x="1183" y="107"/>
                  </a:lnTo>
                  <a:lnTo>
                    <a:pt x="1180" y="105"/>
                  </a:lnTo>
                  <a:lnTo>
                    <a:pt x="1178" y="101"/>
                  </a:lnTo>
                  <a:lnTo>
                    <a:pt x="1176" y="99"/>
                  </a:lnTo>
                  <a:lnTo>
                    <a:pt x="1176" y="97"/>
                  </a:lnTo>
                  <a:lnTo>
                    <a:pt x="1177" y="93"/>
                  </a:lnTo>
                  <a:lnTo>
                    <a:pt x="1175" y="96"/>
                  </a:lnTo>
                  <a:lnTo>
                    <a:pt x="1174" y="93"/>
                  </a:lnTo>
                  <a:lnTo>
                    <a:pt x="1171" y="92"/>
                  </a:lnTo>
                  <a:lnTo>
                    <a:pt x="1171" y="89"/>
                  </a:lnTo>
                  <a:lnTo>
                    <a:pt x="1169" y="89"/>
                  </a:lnTo>
                  <a:lnTo>
                    <a:pt x="1169" y="87"/>
                  </a:lnTo>
                  <a:lnTo>
                    <a:pt x="1172" y="88"/>
                  </a:lnTo>
                  <a:lnTo>
                    <a:pt x="1175" y="88"/>
                  </a:lnTo>
                  <a:lnTo>
                    <a:pt x="1178" y="89"/>
                  </a:lnTo>
                  <a:lnTo>
                    <a:pt x="1178" y="89"/>
                  </a:lnTo>
                  <a:lnTo>
                    <a:pt x="1181" y="87"/>
                  </a:lnTo>
                  <a:lnTo>
                    <a:pt x="1184" y="87"/>
                  </a:lnTo>
                  <a:lnTo>
                    <a:pt x="1186" y="84"/>
                  </a:lnTo>
                  <a:lnTo>
                    <a:pt x="1188" y="82"/>
                  </a:lnTo>
                  <a:lnTo>
                    <a:pt x="1187" y="79"/>
                  </a:lnTo>
                  <a:lnTo>
                    <a:pt x="1185" y="79"/>
                  </a:lnTo>
                  <a:lnTo>
                    <a:pt x="1181" y="77"/>
                  </a:lnTo>
                  <a:lnTo>
                    <a:pt x="1179" y="77"/>
                  </a:lnTo>
                  <a:lnTo>
                    <a:pt x="1181" y="76"/>
                  </a:lnTo>
                  <a:lnTo>
                    <a:pt x="1184" y="74"/>
                  </a:lnTo>
                  <a:lnTo>
                    <a:pt x="1187" y="73"/>
                  </a:lnTo>
                  <a:lnTo>
                    <a:pt x="1186" y="70"/>
                  </a:lnTo>
                  <a:lnTo>
                    <a:pt x="1184" y="70"/>
                  </a:lnTo>
                  <a:lnTo>
                    <a:pt x="1180" y="68"/>
                  </a:lnTo>
                  <a:lnTo>
                    <a:pt x="1178" y="68"/>
                  </a:lnTo>
                  <a:lnTo>
                    <a:pt x="1175" y="70"/>
                  </a:lnTo>
                  <a:lnTo>
                    <a:pt x="1174" y="66"/>
                  </a:lnTo>
                  <a:lnTo>
                    <a:pt x="1171" y="64"/>
                  </a:lnTo>
                  <a:lnTo>
                    <a:pt x="1170" y="64"/>
                  </a:lnTo>
                  <a:lnTo>
                    <a:pt x="1167" y="63"/>
                  </a:lnTo>
                  <a:lnTo>
                    <a:pt x="1164" y="63"/>
                  </a:lnTo>
                  <a:lnTo>
                    <a:pt x="1161" y="62"/>
                  </a:lnTo>
                  <a:lnTo>
                    <a:pt x="1164" y="62"/>
                  </a:lnTo>
                  <a:lnTo>
                    <a:pt x="1167" y="63"/>
                  </a:lnTo>
                  <a:lnTo>
                    <a:pt x="1170" y="63"/>
                  </a:lnTo>
                  <a:lnTo>
                    <a:pt x="1169" y="60"/>
                  </a:lnTo>
                  <a:lnTo>
                    <a:pt x="1171" y="59"/>
                  </a:lnTo>
                  <a:lnTo>
                    <a:pt x="1175" y="59"/>
                  </a:lnTo>
                  <a:lnTo>
                    <a:pt x="1171" y="59"/>
                  </a:lnTo>
                  <a:lnTo>
                    <a:pt x="1169" y="58"/>
                  </a:lnTo>
                  <a:lnTo>
                    <a:pt x="1166" y="58"/>
                  </a:lnTo>
                  <a:lnTo>
                    <a:pt x="1163" y="58"/>
                  </a:lnTo>
                  <a:lnTo>
                    <a:pt x="1160" y="58"/>
                  </a:lnTo>
                  <a:lnTo>
                    <a:pt x="1158" y="58"/>
                  </a:lnTo>
                  <a:lnTo>
                    <a:pt x="1155" y="58"/>
                  </a:lnTo>
                  <a:lnTo>
                    <a:pt x="1152" y="57"/>
                  </a:lnTo>
                  <a:lnTo>
                    <a:pt x="1146" y="55"/>
                  </a:lnTo>
                  <a:lnTo>
                    <a:pt x="1144" y="54"/>
                  </a:lnTo>
                  <a:lnTo>
                    <a:pt x="1141" y="55"/>
                  </a:lnTo>
                  <a:lnTo>
                    <a:pt x="1138" y="54"/>
                  </a:lnTo>
                  <a:lnTo>
                    <a:pt x="1135" y="56"/>
                  </a:lnTo>
                  <a:lnTo>
                    <a:pt x="1133" y="55"/>
                  </a:lnTo>
                  <a:lnTo>
                    <a:pt x="1129" y="54"/>
                  </a:lnTo>
                  <a:lnTo>
                    <a:pt x="1128" y="55"/>
                  </a:lnTo>
                  <a:lnTo>
                    <a:pt x="1132" y="55"/>
                  </a:lnTo>
                  <a:lnTo>
                    <a:pt x="1130" y="57"/>
                  </a:lnTo>
                  <a:lnTo>
                    <a:pt x="1130" y="60"/>
                  </a:lnTo>
                  <a:lnTo>
                    <a:pt x="1129" y="63"/>
                  </a:lnTo>
                  <a:lnTo>
                    <a:pt x="1130" y="66"/>
                  </a:lnTo>
                  <a:lnTo>
                    <a:pt x="1130" y="68"/>
                  </a:lnTo>
                  <a:lnTo>
                    <a:pt x="1134" y="71"/>
                  </a:lnTo>
                  <a:lnTo>
                    <a:pt x="1136" y="71"/>
                  </a:lnTo>
                  <a:lnTo>
                    <a:pt x="1138" y="73"/>
                  </a:lnTo>
                  <a:lnTo>
                    <a:pt x="1142" y="74"/>
                  </a:lnTo>
                  <a:lnTo>
                    <a:pt x="1138" y="74"/>
                  </a:lnTo>
                  <a:lnTo>
                    <a:pt x="1137" y="75"/>
                  </a:lnTo>
                  <a:lnTo>
                    <a:pt x="1140" y="76"/>
                  </a:lnTo>
                  <a:lnTo>
                    <a:pt x="1137" y="76"/>
                  </a:lnTo>
                  <a:lnTo>
                    <a:pt x="1134" y="77"/>
                  </a:lnTo>
                  <a:lnTo>
                    <a:pt x="1137" y="80"/>
                  </a:lnTo>
                  <a:lnTo>
                    <a:pt x="1140" y="80"/>
                  </a:lnTo>
                  <a:lnTo>
                    <a:pt x="1137" y="81"/>
                  </a:lnTo>
                  <a:lnTo>
                    <a:pt x="1134" y="81"/>
                  </a:lnTo>
                  <a:lnTo>
                    <a:pt x="1133" y="81"/>
                  </a:lnTo>
                  <a:lnTo>
                    <a:pt x="1129" y="81"/>
                  </a:lnTo>
                  <a:lnTo>
                    <a:pt x="1126" y="84"/>
                  </a:lnTo>
                  <a:lnTo>
                    <a:pt x="1127" y="87"/>
                  </a:lnTo>
                  <a:lnTo>
                    <a:pt x="1127" y="90"/>
                  </a:lnTo>
                  <a:lnTo>
                    <a:pt x="1125" y="92"/>
                  </a:lnTo>
                  <a:lnTo>
                    <a:pt x="1125" y="94"/>
                  </a:lnTo>
                  <a:lnTo>
                    <a:pt x="1125" y="98"/>
                  </a:lnTo>
                  <a:lnTo>
                    <a:pt x="1121" y="99"/>
                  </a:lnTo>
                  <a:lnTo>
                    <a:pt x="1118" y="102"/>
                  </a:lnTo>
                  <a:lnTo>
                    <a:pt x="1116" y="106"/>
                  </a:lnTo>
                  <a:lnTo>
                    <a:pt x="1117" y="108"/>
                  </a:lnTo>
                  <a:lnTo>
                    <a:pt x="1117" y="111"/>
                  </a:lnTo>
                  <a:lnTo>
                    <a:pt x="1116" y="114"/>
                  </a:lnTo>
                  <a:lnTo>
                    <a:pt x="1113" y="113"/>
                  </a:lnTo>
                  <a:lnTo>
                    <a:pt x="1110" y="114"/>
                  </a:lnTo>
                  <a:lnTo>
                    <a:pt x="1109" y="116"/>
                  </a:lnTo>
                  <a:lnTo>
                    <a:pt x="1107" y="116"/>
                  </a:lnTo>
                  <a:lnTo>
                    <a:pt x="1106" y="119"/>
                  </a:lnTo>
                  <a:lnTo>
                    <a:pt x="1102" y="119"/>
                  </a:lnTo>
                  <a:lnTo>
                    <a:pt x="1103" y="117"/>
                  </a:lnTo>
                  <a:lnTo>
                    <a:pt x="1103" y="114"/>
                  </a:lnTo>
                  <a:lnTo>
                    <a:pt x="1100" y="111"/>
                  </a:lnTo>
                  <a:lnTo>
                    <a:pt x="1098" y="109"/>
                  </a:lnTo>
                  <a:lnTo>
                    <a:pt x="1094" y="107"/>
                  </a:lnTo>
                  <a:lnTo>
                    <a:pt x="1091" y="101"/>
                  </a:lnTo>
                  <a:lnTo>
                    <a:pt x="1091" y="99"/>
                  </a:lnTo>
                  <a:lnTo>
                    <a:pt x="1092" y="97"/>
                  </a:lnTo>
                  <a:lnTo>
                    <a:pt x="1091" y="93"/>
                  </a:lnTo>
                  <a:lnTo>
                    <a:pt x="1092" y="91"/>
                  </a:lnTo>
                  <a:lnTo>
                    <a:pt x="1094" y="93"/>
                  </a:lnTo>
                  <a:lnTo>
                    <a:pt x="1098" y="93"/>
                  </a:lnTo>
                  <a:lnTo>
                    <a:pt x="1098" y="92"/>
                  </a:lnTo>
                  <a:lnTo>
                    <a:pt x="1099" y="90"/>
                  </a:lnTo>
                  <a:lnTo>
                    <a:pt x="1096" y="84"/>
                  </a:lnTo>
                  <a:lnTo>
                    <a:pt x="1096" y="82"/>
                  </a:lnTo>
                  <a:lnTo>
                    <a:pt x="1094" y="79"/>
                  </a:lnTo>
                  <a:lnTo>
                    <a:pt x="1092" y="76"/>
                  </a:lnTo>
                  <a:lnTo>
                    <a:pt x="1086" y="73"/>
                  </a:lnTo>
                  <a:lnTo>
                    <a:pt x="1081" y="68"/>
                  </a:lnTo>
                  <a:lnTo>
                    <a:pt x="1078" y="68"/>
                  </a:lnTo>
                  <a:lnTo>
                    <a:pt x="1073" y="74"/>
                  </a:lnTo>
                  <a:lnTo>
                    <a:pt x="1072" y="76"/>
                  </a:lnTo>
                  <a:lnTo>
                    <a:pt x="1073" y="79"/>
                  </a:lnTo>
                  <a:lnTo>
                    <a:pt x="1072" y="82"/>
                  </a:lnTo>
                  <a:lnTo>
                    <a:pt x="1069" y="84"/>
                  </a:lnTo>
                  <a:lnTo>
                    <a:pt x="1070" y="85"/>
                  </a:lnTo>
                  <a:lnTo>
                    <a:pt x="1068" y="89"/>
                  </a:lnTo>
                  <a:lnTo>
                    <a:pt x="1068" y="90"/>
                  </a:lnTo>
                  <a:lnTo>
                    <a:pt x="1067" y="91"/>
                  </a:lnTo>
                  <a:lnTo>
                    <a:pt x="1064" y="92"/>
                  </a:lnTo>
                  <a:lnTo>
                    <a:pt x="1063" y="89"/>
                  </a:lnTo>
                  <a:lnTo>
                    <a:pt x="1060" y="84"/>
                  </a:lnTo>
                  <a:lnTo>
                    <a:pt x="1061" y="79"/>
                  </a:lnTo>
                  <a:lnTo>
                    <a:pt x="1059" y="73"/>
                  </a:lnTo>
                  <a:lnTo>
                    <a:pt x="1051" y="68"/>
                  </a:lnTo>
                  <a:lnTo>
                    <a:pt x="1053" y="67"/>
                  </a:lnTo>
                  <a:lnTo>
                    <a:pt x="1053" y="68"/>
                  </a:lnTo>
                  <a:lnTo>
                    <a:pt x="1056" y="68"/>
                  </a:lnTo>
                  <a:lnTo>
                    <a:pt x="1058" y="66"/>
                  </a:lnTo>
                  <a:lnTo>
                    <a:pt x="1060" y="65"/>
                  </a:lnTo>
                  <a:lnTo>
                    <a:pt x="1063" y="65"/>
                  </a:lnTo>
                  <a:lnTo>
                    <a:pt x="1060" y="63"/>
                  </a:lnTo>
                  <a:lnTo>
                    <a:pt x="1058" y="63"/>
                  </a:lnTo>
                  <a:lnTo>
                    <a:pt x="1052" y="62"/>
                  </a:lnTo>
                  <a:lnTo>
                    <a:pt x="1049" y="62"/>
                  </a:lnTo>
                  <a:lnTo>
                    <a:pt x="1052" y="60"/>
                  </a:lnTo>
                  <a:lnTo>
                    <a:pt x="1049" y="59"/>
                  </a:lnTo>
                  <a:lnTo>
                    <a:pt x="1047" y="60"/>
                  </a:lnTo>
                  <a:lnTo>
                    <a:pt x="1046" y="62"/>
                  </a:lnTo>
                  <a:lnTo>
                    <a:pt x="1042" y="63"/>
                  </a:lnTo>
                  <a:lnTo>
                    <a:pt x="1040" y="62"/>
                  </a:lnTo>
                  <a:lnTo>
                    <a:pt x="1034" y="58"/>
                  </a:lnTo>
                  <a:lnTo>
                    <a:pt x="1032" y="59"/>
                  </a:lnTo>
                  <a:lnTo>
                    <a:pt x="1029" y="59"/>
                  </a:lnTo>
                  <a:lnTo>
                    <a:pt x="1032" y="58"/>
                  </a:lnTo>
                  <a:lnTo>
                    <a:pt x="1030" y="58"/>
                  </a:lnTo>
                  <a:lnTo>
                    <a:pt x="1038" y="54"/>
                  </a:lnTo>
                  <a:lnTo>
                    <a:pt x="1040" y="51"/>
                  </a:lnTo>
                  <a:lnTo>
                    <a:pt x="1041" y="50"/>
                  </a:lnTo>
                  <a:lnTo>
                    <a:pt x="1038" y="49"/>
                  </a:lnTo>
                  <a:lnTo>
                    <a:pt x="1035" y="49"/>
                  </a:lnTo>
                  <a:lnTo>
                    <a:pt x="1036" y="46"/>
                  </a:lnTo>
                  <a:lnTo>
                    <a:pt x="1039" y="47"/>
                  </a:lnTo>
                  <a:lnTo>
                    <a:pt x="1042" y="48"/>
                  </a:lnTo>
                  <a:lnTo>
                    <a:pt x="1047" y="47"/>
                  </a:lnTo>
                  <a:lnTo>
                    <a:pt x="1043" y="41"/>
                  </a:lnTo>
                  <a:lnTo>
                    <a:pt x="1040" y="43"/>
                  </a:lnTo>
                  <a:lnTo>
                    <a:pt x="1040" y="40"/>
                  </a:lnTo>
                  <a:lnTo>
                    <a:pt x="1038" y="39"/>
                  </a:lnTo>
                  <a:lnTo>
                    <a:pt x="1039" y="36"/>
                  </a:lnTo>
                  <a:lnTo>
                    <a:pt x="1033" y="33"/>
                  </a:lnTo>
                  <a:lnTo>
                    <a:pt x="1030" y="31"/>
                  </a:lnTo>
                  <a:lnTo>
                    <a:pt x="1027" y="30"/>
                  </a:lnTo>
                  <a:lnTo>
                    <a:pt x="1029" y="26"/>
                  </a:lnTo>
                  <a:lnTo>
                    <a:pt x="1029" y="22"/>
                  </a:lnTo>
                  <a:lnTo>
                    <a:pt x="1029" y="19"/>
                  </a:lnTo>
                  <a:lnTo>
                    <a:pt x="1025" y="16"/>
                  </a:lnTo>
                  <a:lnTo>
                    <a:pt x="1024" y="14"/>
                  </a:lnTo>
                  <a:lnTo>
                    <a:pt x="1018" y="12"/>
                  </a:lnTo>
                  <a:lnTo>
                    <a:pt x="1017" y="8"/>
                  </a:lnTo>
                  <a:lnTo>
                    <a:pt x="1014" y="7"/>
                  </a:lnTo>
                  <a:lnTo>
                    <a:pt x="1012" y="7"/>
                  </a:lnTo>
                  <a:lnTo>
                    <a:pt x="1009" y="8"/>
                  </a:lnTo>
                  <a:lnTo>
                    <a:pt x="1008" y="5"/>
                  </a:lnTo>
                  <a:lnTo>
                    <a:pt x="1006" y="7"/>
                  </a:lnTo>
                  <a:lnTo>
                    <a:pt x="1006" y="5"/>
                  </a:lnTo>
                  <a:lnTo>
                    <a:pt x="1007" y="2"/>
                  </a:lnTo>
                  <a:lnTo>
                    <a:pt x="1004" y="0"/>
                  </a:lnTo>
                  <a:lnTo>
                    <a:pt x="998" y="2"/>
                  </a:lnTo>
                  <a:lnTo>
                    <a:pt x="997" y="5"/>
                  </a:lnTo>
                  <a:lnTo>
                    <a:pt x="1002" y="5"/>
                  </a:lnTo>
                  <a:lnTo>
                    <a:pt x="1005" y="4"/>
                  </a:lnTo>
                  <a:lnTo>
                    <a:pt x="1002" y="5"/>
                  </a:lnTo>
                  <a:lnTo>
                    <a:pt x="997" y="5"/>
                  </a:lnTo>
                  <a:lnTo>
                    <a:pt x="995" y="8"/>
                  </a:lnTo>
                  <a:lnTo>
                    <a:pt x="989" y="11"/>
                  </a:lnTo>
                  <a:lnTo>
                    <a:pt x="989" y="13"/>
                  </a:lnTo>
                  <a:lnTo>
                    <a:pt x="991" y="14"/>
                  </a:lnTo>
                  <a:lnTo>
                    <a:pt x="995" y="13"/>
                  </a:lnTo>
                  <a:lnTo>
                    <a:pt x="992" y="16"/>
                  </a:lnTo>
                  <a:lnTo>
                    <a:pt x="992" y="19"/>
                  </a:lnTo>
                  <a:lnTo>
                    <a:pt x="990" y="19"/>
                  </a:lnTo>
                  <a:lnTo>
                    <a:pt x="987" y="15"/>
                  </a:lnTo>
                  <a:lnTo>
                    <a:pt x="983" y="16"/>
                  </a:lnTo>
                  <a:lnTo>
                    <a:pt x="981" y="19"/>
                  </a:lnTo>
                  <a:lnTo>
                    <a:pt x="979" y="26"/>
                  </a:lnTo>
                  <a:lnTo>
                    <a:pt x="978" y="30"/>
                  </a:lnTo>
                  <a:lnTo>
                    <a:pt x="980" y="32"/>
                  </a:lnTo>
                  <a:lnTo>
                    <a:pt x="982" y="34"/>
                  </a:lnTo>
                  <a:lnTo>
                    <a:pt x="984" y="34"/>
                  </a:lnTo>
                  <a:lnTo>
                    <a:pt x="988" y="33"/>
                  </a:lnTo>
                  <a:lnTo>
                    <a:pt x="985" y="36"/>
                  </a:lnTo>
                  <a:lnTo>
                    <a:pt x="988" y="37"/>
                  </a:lnTo>
                  <a:lnTo>
                    <a:pt x="985" y="36"/>
                  </a:lnTo>
                  <a:lnTo>
                    <a:pt x="982" y="37"/>
                  </a:lnTo>
                  <a:lnTo>
                    <a:pt x="981" y="40"/>
                  </a:lnTo>
                  <a:lnTo>
                    <a:pt x="979" y="42"/>
                  </a:lnTo>
                  <a:lnTo>
                    <a:pt x="979" y="45"/>
                  </a:lnTo>
                  <a:lnTo>
                    <a:pt x="979" y="48"/>
                  </a:lnTo>
                  <a:lnTo>
                    <a:pt x="981" y="50"/>
                  </a:lnTo>
                  <a:lnTo>
                    <a:pt x="984" y="51"/>
                  </a:lnTo>
                  <a:lnTo>
                    <a:pt x="984" y="55"/>
                  </a:lnTo>
                  <a:lnTo>
                    <a:pt x="988" y="56"/>
                  </a:lnTo>
                  <a:lnTo>
                    <a:pt x="990" y="56"/>
                  </a:lnTo>
                  <a:lnTo>
                    <a:pt x="992" y="57"/>
                  </a:lnTo>
                  <a:lnTo>
                    <a:pt x="1001" y="60"/>
                  </a:lnTo>
                  <a:lnTo>
                    <a:pt x="1004" y="58"/>
                  </a:lnTo>
                  <a:lnTo>
                    <a:pt x="1007" y="62"/>
                  </a:lnTo>
                  <a:lnTo>
                    <a:pt x="1009" y="64"/>
                  </a:lnTo>
                  <a:lnTo>
                    <a:pt x="1015" y="65"/>
                  </a:lnTo>
                  <a:lnTo>
                    <a:pt x="1017" y="63"/>
                  </a:lnTo>
                  <a:lnTo>
                    <a:pt x="1021" y="63"/>
                  </a:lnTo>
                  <a:lnTo>
                    <a:pt x="1019" y="65"/>
                  </a:lnTo>
                  <a:lnTo>
                    <a:pt x="1022" y="66"/>
                  </a:lnTo>
                  <a:lnTo>
                    <a:pt x="1016" y="71"/>
                  </a:lnTo>
                  <a:lnTo>
                    <a:pt x="1016" y="67"/>
                  </a:lnTo>
                  <a:lnTo>
                    <a:pt x="1018" y="65"/>
                  </a:lnTo>
                  <a:lnTo>
                    <a:pt x="1016" y="66"/>
                  </a:lnTo>
                  <a:lnTo>
                    <a:pt x="1014" y="66"/>
                  </a:lnTo>
                  <a:lnTo>
                    <a:pt x="1010" y="67"/>
                  </a:lnTo>
                  <a:lnTo>
                    <a:pt x="1009" y="70"/>
                  </a:lnTo>
                  <a:lnTo>
                    <a:pt x="1012" y="72"/>
                  </a:lnTo>
                  <a:lnTo>
                    <a:pt x="1010" y="74"/>
                  </a:lnTo>
                  <a:lnTo>
                    <a:pt x="1008" y="76"/>
                  </a:lnTo>
                  <a:lnTo>
                    <a:pt x="1006" y="79"/>
                  </a:lnTo>
                  <a:lnTo>
                    <a:pt x="1006" y="82"/>
                  </a:lnTo>
                  <a:lnTo>
                    <a:pt x="1010" y="81"/>
                  </a:lnTo>
                  <a:lnTo>
                    <a:pt x="1016" y="77"/>
                  </a:lnTo>
                  <a:lnTo>
                    <a:pt x="1013" y="79"/>
                  </a:lnTo>
                  <a:lnTo>
                    <a:pt x="1014" y="76"/>
                  </a:lnTo>
                  <a:lnTo>
                    <a:pt x="1016" y="73"/>
                  </a:lnTo>
                  <a:lnTo>
                    <a:pt x="1018" y="76"/>
                  </a:lnTo>
                  <a:lnTo>
                    <a:pt x="1019" y="79"/>
                  </a:lnTo>
                  <a:lnTo>
                    <a:pt x="1017" y="84"/>
                  </a:lnTo>
                  <a:lnTo>
                    <a:pt x="1019" y="84"/>
                  </a:lnTo>
                  <a:lnTo>
                    <a:pt x="1019" y="85"/>
                  </a:lnTo>
                  <a:lnTo>
                    <a:pt x="1014" y="88"/>
                  </a:lnTo>
                  <a:lnTo>
                    <a:pt x="1012" y="89"/>
                  </a:lnTo>
                  <a:lnTo>
                    <a:pt x="1010" y="92"/>
                  </a:lnTo>
                  <a:lnTo>
                    <a:pt x="1006" y="94"/>
                  </a:lnTo>
                  <a:lnTo>
                    <a:pt x="1002" y="98"/>
                  </a:lnTo>
                  <a:lnTo>
                    <a:pt x="998" y="97"/>
                  </a:lnTo>
                  <a:lnTo>
                    <a:pt x="995" y="97"/>
                  </a:lnTo>
                  <a:lnTo>
                    <a:pt x="992" y="100"/>
                  </a:lnTo>
                  <a:lnTo>
                    <a:pt x="992" y="102"/>
                  </a:lnTo>
                  <a:lnTo>
                    <a:pt x="990" y="106"/>
                  </a:lnTo>
                  <a:lnTo>
                    <a:pt x="993" y="107"/>
                  </a:lnTo>
                  <a:lnTo>
                    <a:pt x="996" y="109"/>
                  </a:lnTo>
                  <a:lnTo>
                    <a:pt x="995" y="113"/>
                  </a:lnTo>
                  <a:lnTo>
                    <a:pt x="997" y="115"/>
                  </a:lnTo>
                  <a:lnTo>
                    <a:pt x="995" y="119"/>
                  </a:lnTo>
                  <a:lnTo>
                    <a:pt x="996" y="123"/>
                  </a:lnTo>
                  <a:lnTo>
                    <a:pt x="991" y="124"/>
                  </a:lnTo>
                  <a:lnTo>
                    <a:pt x="985" y="123"/>
                  </a:lnTo>
                  <a:lnTo>
                    <a:pt x="989" y="128"/>
                  </a:lnTo>
                  <a:lnTo>
                    <a:pt x="989" y="132"/>
                  </a:lnTo>
                  <a:lnTo>
                    <a:pt x="989" y="128"/>
                  </a:lnTo>
                  <a:lnTo>
                    <a:pt x="981" y="122"/>
                  </a:lnTo>
                  <a:lnTo>
                    <a:pt x="983" y="123"/>
                  </a:lnTo>
                  <a:lnTo>
                    <a:pt x="985" y="120"/>
                  </a:lnTo>
                  <a:lnTo>
                    <a:pt x="989" y="123"/>
                  </a:lnTo>
                  <a:lnTo>
                    <a:pt x="991" y="123"/>
                  </a:lnTo>
                  <a:lnTo>
                    <a:pt x="995" y="123"/>
                  </a:lnTo>
                  <a:lnTo>
                    <a:pt x="995" y="119"/>
                  </a:lnTo>
                  <a:lnTo>
                    <a:pt x="993" y="117"/>
                  </a:lnTo>
                  <a:lnTo>
                    <a:pt x="990" y="117"/>
                  </a:lnTo>
                  <a:lnTo>
                    <a:pt x="992" y="115"/>
                  </a:lnTo>
                  <a:lnTo>
                    <a:pt x="990" y="114"/>
                  </a:lnTo>
                  <a:lnTo>
                    <a:pt x="987" y="115"/>
                  </a:lnTo>
                  <a:lnTo>
                    <a:pt x="984" y="116"/>
                  </a:lnTo>
                  <a:lnTo>
                    <a:pt x="984" y="114"/>
                  </a:lnTo>
                  <a:lnTo>
                    <a:pt x="982" y="111"/>
                  </a:lnTo>
                  <a:lnTo>
                    <a:pt x="980" y="109"/>
                  </a:lnTo>
                  <a:lnTo>
                    <a:pt x="983" y="104"/>
                  </a:lnTo>
                  <a:lnTo>
                    <a:pt x="987" y="93"/>
                  </a:lnTo>
                  <a:lnTo>
                    <a:pt x="983" y="93"/>
                  </a:lnTo>
                  <a:lnTo>
                    <a:pt x="981" y="94"/>
                  </a:lnTo>
                  <a:lnTo>
                    <a:pt x="980" y="98"/>
                  </a:lnTo>
                  <a:lnTo>
                    <a:pt x="976" y="98"/>
                  </a:lnTo>
                  <a:lnTo>
                    <a:pt x="980" y="92"/>
                  </a:lnTo>
                  <a:lnTo>
                    <a:pt x="976" y="94"/>
                  </a:lnTo>
                  <a:lnTo>
                    <a:pt x="974" y="92"/>
                  </a:lnTo>
                  <a:lnTo>
                    <a:pt x="972" y="92"/>
                  </a:lnTo>
                  <a:lnTo>
                    <a:pt x="971" y="90"/>
                  </a:lnTo>
                  <a:lnTo>
                    <a:pt x="967" y="88"/>
                  </a:lnTo>
                  <a:lnTo>
                    <a:pt x="965" y="87"/>
                  </a:lnTo>
                  <a:lnTo>
                    <a:pt x="959" y="85"/>
                  </a:lnTo>
                  <a:lnTo>
                    <a:pt x="959" y="90"/>
                  </a:lnTo>
                  <a:lnTo>
                    <a:pt x="955" y="91"/>
                  </a:lnTo>
                  <a:lnTo>
                    <a:pt x="951" y="89"/>
                  </a:lnTo>
                  <a:lnTo>
                    <a:pt x="949" y="90"/>
                  </a:lnTo>
                  <a:lnTo>
                    <a:pt x="951" y="92"/>
                  </a:lnTo>
                  <a:lnTo>
                    <a:pt x="954" y="94"/>
                  </a:lnTo>
                  <a:lnTo>
                    <a:pt x="951" y="94"/>
                  </a:lnTo>
                  <a:lnTo>
                    <a:pt x="953" y="98"/>
                  </a:lnTo>
                  <a:lnTo>
                    <a:pt x="955" y="100"/>
                  </a:lnTo>
                  <a:lnTo>
                    <a:pt x="958" y="100"/>
                  </a:lnTo>
                  <a:lnTo>
                    <a:pt x="964" y="99"/>
                  </a:lnTo>
                  <a:lnTo>
                    <a:pt x="966" y="101"/>
                  </a:lnTo>
                  <a:lnTo>
                    <a:pt x="968" y="100"/>
                  </a:lnTo>
                  <a:lnTo>
                    <a:pt x="971" y="106"/>
                  </a:lnTo>
                  <a:lnTo>
                    <a:pt x="970" y="107"/>
                  </a:lnTo>
                  <a:lnTo>
                    <a:pt x="964" y="108"/>
                  </a:lnTo>
                  <a:lnTo>
                    <a:pt x="958" y="105"/>
                  </a:lnTo>
                  <a:lnTo>
                    <a:pt x="953" y="99"/>
                  </a:lnTo>
                  <a:lnTo>
                    <a:pt x="950" y="97"/>
                  </a:lnTo>
                  <a:lnTo>
                    <a:pt x="949" y="100"/>
                  </a:lnTo>
                  <a:lnTo>
                    <a:pt x="951" y="101"/>
                  </a:lnTo>
                  <a:lnTo>
                    <a:pt x="949" y="105"/>
                  </a:lnTo>
                  <a:lnTo>
                    <a:pt x="946" y="106"/>
                  </a:lnTo>
                  <a:lnTo>
                    <a:pt x="938" y="104"/>
                  </a:lnTo>
                  <a:lnTo>
                    <a:pt x="932" y="102"/>
                  </a:lnTo>
                  <a:lnTo>
                    <a:pt x="931" y="104"/>
                  </a:lnTo>
                  <a:lnTo>
                    <a:pt x="929" y="102"/>
                  </a:lnTo>
                  <a:lnTo>
                    <a:pt x="925" y="102"/>
                  </a:lnTo>
                  <a:lnTo>
                    <a:pt x="923" y="104"/>
                  </a:lnTo>
                  <a:lnTo>
                    <a:pt x="921" y="102"/>
                  </a:lnTo>
                  <a:lnTo>
                    <a:pt x="918" y="105"/>
                  </a:lnTo>
                  <a:lnTo>
                    <a:pt x="915" y="105"/>
                  </a:lnTo>
                  <a:lnTo>
                    <a:pt x="910" y="106"/>
                  </a:lnTo>
                  <a:lnTo>
                    <a:pt x="906" y="106"/>
                  </a:lnTo>
                  <a:lnTo>
                    <a:pt x="904" y="104"/>
                  </a:lnTo>
                  <a:lnTo>
                    <a:pt x="902" y="105"/>
                  </a:lnTo>
                  <a:lnTo>
                    <a:pt x="893" y="102"/>
                  </a:lnTo>
                  <a:lnTo>
                    <a:pt x="890" y="101"/>
                  </a:lnTo>
                  <a:lnTo>
                    <a:pt x="887" y="100"/>
                  </a:lnTo>
                  <a:lnTo>
                    <a:pt x="885" y="97"/>
                  </a:lnTo>
                  <a:lnTo>
                    <a:pt x="879" y="98"/>
                  </a:lnTo>
                  <a:lnTo>
                    <a:pt x="877" y="98"/>
                  </a:lnTo>
                  <a:lnTo>
                    <a:pt x="874" y="98"/>
                  </a:lnTo>
                  <a:lnTo>
                    <a:pt x="871" y="98"/>
                  </a:lnTo>
                  <a:lnTo>
                    <a:pt x="869" y="97"/>
                  </a:lnTo>
                  <a:lnTo>
                    <a:pt x="868" y="94"/>
                  </a:lnTo>
                  <a:lnTo>
                    <a:pt x="865" y="92"/>
                  </a:lnTo>
                  <a:lnTo>
                    <a:pt x="862" y="91"/>
                  </a:lnTo>
                  <a:lnTo>
                    <a:pt x="860" y="91"/>
                  </a:lnTo>
                  <a:lnTo>
                    <a:pt x="857" y="89"/>
                  </a:lnTo>
                  <a:lnTo>
                    <a:pt x="857" y="87"/>
                  </a:lnTo>
                  <a:lnTo>
                    <a:pt x="855" y="83"/>
                  </a:lnTo>
                  <a:lnTo>
                    <a:pt x="855" y="81"/>
                  </a:lnTo>
                  <a:lnTo>
                    <a:pt x="853" y="79"/>
                  </a:lnTo>
                  <a:lnTo>
                    <a:pt x="847" y="76"/>
                  </a:lnTo>
                  <a:lnTo>
                    <a:pt x="842" y="79"/>
                  </a:lnTo>
                  <a:lnTo>
                    <a:pt x="836" y="80"/>
                  </a:lnTo>
                  <a:lnTo>
                    <a:pt x="830" y="82"/>
                  </a:lnTo>
                  <a:lnTo>
                    <a:pt x="825" y="83"/>
                  </a:lnTo>
                  <a:lnTo>
                    <a:pt x="820" y="83"/>
                  </a:lnTo>
                  <a:lnTo>
                    <a:pt x="817" y="84"/>
                  </a:lnTo>
                  <a:lnTo>
                    <a:pt x="812" y="90"/>
                  </a:lnTo>
                  <a:lnTo>
                    <a:pt x="811" y="92"/>
                  </a:lnTo>
                  <a:lnTo>
                    <a:pt x="813" y="92"/>
                  </a:lnTo>
                  <a:lnTo>
                    <a:pt x="817" y="93"/>
                  </a:lnTo>
                  <a:lnTo>
                    <a:pt x="819" y="94"/>
                  </a:lnTo>
                  <a:lnTo>
                    <a:pt x="822" y="94"/>
                  </a:lnTo>
                  <a:lnTo>
                    <a:pt x="825" y="94"/>
                  </a:lnTo>
                  <a:lnTo>
                    <a:pt x="823" y="92"/>
                  </a:lnTo>
                  <a:lnTo>
                    <a:pt x="827" y="91"/>
                  </a:lnTo>
                  <a:lnTo>
                    <a:pt x="829" y="91"/>
                  </a:lnTo>
                  <a:lnTo>
                    <a:pt x="831" y="92"/>
                  </a:lnTo>
                  <a:lnTo>
                    <a:pt x="837" y="90"/>
                  </a:lnTo>
                  <a:lnTo>
                    <a:pt x="839" y="90"/>
                  </a:lnTo>
                  <a:lnTo>
                    <a:pt x="840" y="88"/>
                  </a:lnTo>
                  <a:lnTo>
                    <a:pt x="843" y="87"/>
                  </a:lnTo>
                  <a:lnTo>
                    <a:pt x="848" y="84"/>
                  </a:lnTo>
                  <a:lnTo>
                    <a:pt x="852" y="84"/>
                  </a:lnTo>
                  <a:lnTo>
                    <a:pt x="853" y="87"/>
                  </a:lnTo>
                  <a:lnTo>
                    <a:pt x="851" y="89"/>
                  </a:lnTo>
                  <a:lnTo>
                    <a:pt x="847" y="90"/>
                  </a:lnTo>
                  <a:lnTo>
                    <a:pt x="845" y="90"/>
                  </a:lnTo>
                  <a:lnTo>
                    <a:pt x="843" y="92"/>
                  </a:lnTo>
                  <a:lnTo>
                    <a:pt x="839" y="94"/>
                  </a:lnTo>
                  <a:lnTo>
                    <a:pt x="838" y="97"/>
                  </a:lnTo>
                  <a:lnTo>
                    <a:pt x="834" y="96"/>
                  </a:lnTo>
                  <a:lnTo>
                    <a:pt x="830" y="98"/>
                  </a:lnTo>
                  <a:lnTo>
                    <a:pt x="828" y="97"/>
                  </a:lnTo>
                  <a:lnTo>
                    <a:pt x="825" y="99"/>
                  </a:lnTo>
                  <a:lnTo>
                    <a:pt x="823" y="97"/>
                  </a:lnTo>
                  <a:lnTo>
                    <a:pt x="823" y="99"/>
                  </a:lnTo>
                  <a:lnTo>
                    <a:pt x="826" y="100"/>
                  </a:lnTo>
                  <a:lnTo>
                    <a:pt x="822" y="102"/>
                  </a:lnTo>
                  <a:lnTo>
                    <a:pt x="821" y="105"/>
                  </a:lnTo>
                  <a:lnTo>
                    <a:pt x="826" y="109"/>
                  </a:lnTo>
                  <a:lnTo>
                    <a:pt x="827" y="115"/>
                  </a:lnTo>
                  <a:lnTo>
                    <a:pt x="829" y="118"/>
                  </a:lnTo>
                  <a:lnTo>
                    <a:pt x="831" y="119"/>
                  </a:lnTo>
                  <a:lnTo>
                    <a:pt x="831" y="122"/>
                  </a:lnTo>
                  <a:lnTo>
                    <a:pt x="834" y="125"/>
                  </a:lnTo>
                  <a:lnTo>
                    <a:pt x="830" y="123"/>
                  </a:lnTo>
                  <a:lnTo>
                    <a:pt x="829" y="126"/>
                  </a:lnTo>
                  <a:lnTo>
                    <a:pt x="827" y="125"/>
                  </a:lnTo>
                  <a:lnTo>
                    <a:pt x="828" y="122"/>
                  </a:lnTo>
                  <a:lnTo>
                    <a:pt x="826" y="123"/>
                  </a:lnTo>
                  <a:lnTo>
                    <a:pt x="826" y="125"/>
                  </a:lnTo>
                  <a:lnTo>
                    <a:pt x="826" y="127"/>
                  </a:lnTo>
                  <a:lnTo>
                    <a:pt x="827" y="131"/>
                  </a:lnTo>
                  <a:lnTo>
                    <a:pt x="829" y="133"/>
                  </a:lnTo>
                  <a:lnTo>
                    <a:pt x="833" y="135"/>
                  </a:lnTo>
                  <a:lnTo>
                    <a:pt x="829" y="134"/>
                  </a:lnTo>
                  <a:lnTo>
                    <a:pt x="822" y="126"/>
                  </a:lnTo>
                  <a:lnTo>
                    <a:pt x="819" y="125"/>
                  </a:lnTo>
                  <a:lnTo>
                    <a:pt x="819" y="123"/>
                  </a:lnTo>
                  <a:lnTo>
                    <a:pt x="817" y="122"/>
                  </a:lnTo>
                  <a:lnTo>
                    <a:pt x="814" y="119"/>
                  </a:lnTo>
                  <a:lnTo>
                    <a:pt x="817" y="120"/>
                  </a:lnTo>
                  <a:lnTo>
                    <a:pt x="822" y="120"/>
                  </a:lnTo>
                  <a:lnTo>
                    <a:pt x="823" y="118"/>
                  </a:lnTo>
                  <a:lnTo>
                    <a:pt x="821" y="115"/>
                  </a:lnTo>
                  <a:lnTo>
                    <a:pt x="816" y="111"/>
                  </a:lnTo>
                  <a:lnTo>
                    <a:pt x="814" y="109"/>
                  </a:lnTo>
                  <a:lnTo>
                    <a:pt x="811" y="111"/>
                  </a:lnTo>
                  <a:lnTo>
                    <a:pt x="809" y="111"/>
                  </a:lnTo>
                  <a:lnTo>
                    <a:pt x="808" y="110"/>
                  </a:lnTo>
                  <a:lnTo>
                    <a:pt x="808" y="108"/>
                  </a:lnTo>
                  <a:lnTo>
                    <a:pt x="808" y="105"/>
                  </a:lnTo>
                  <a:lnTo>
                    <a:pt x="802" y="105"/>
                  </a:lnTo>
                  <a:lnTo>
                    <a:pt x="799" y="106"/>
                  </a:lnTo>
                  <a:lnTo>
                    <a:pt x="797" y="102"/>
                  </a:lnTo>
                  <a:lnTo>
                    <a:pt x="795" y="101"/>
                  </a:lnTo>
                  <a:lnTo>
                    <a:pt x="794" y="102"/>
                  </a:lnTo>
                  <a:lnTo>
                    <a:pt x="794" y="99"/>
                  </a:lnTo>
                  <a:lnTo>
                    <a:pt x="788" y="100"/>
                  </a:lnTo>
                  <a:lnTo>
                    <a:pt x="780" y="105"/>
                  </a:lnTo>
                  <a:lnTo>
                    <a:pt x="773" y="105"/>
                  </a:lnTo>
                  <a:lnTo>
                    <a:pt x="769" y="105"/>
                  </a:lnTo>
                  <a:lnTo>
                    <a:pt x="768" y="106"/>
                  </a:lnTo>
                  <a:lnTo>
                    <a:pt x="766" y="105"/>
                  </a:lnTo>
                  <a:lnTo>
                    <a:pt x="763" y="105"/>
                  </a:lnTo>
                  <a:lnTo>
                    <a:pt x="760" y="106"/>
                  </a:lnTo>
                  <a:lnTo>
                    <a:pt x="741" y="106"/>
                  </a:lnTo>
                  <a:lnTo>
                    <a:pt x="739" y="105"/>
                  </a:lnTo>
                  <a:lnTo>
                    <a:pt x="735" y="105"/>
                  </a:lnTo>
                  <a:lnTo>
                    <a:pt x="733" y="104"/>
                  </a:lnTo>
                  <a:lnTo>
                    <a:pt x="729" y="104"/>
                  </a:lnTo>
                  <a:lnTo>
                    <a:pt x="725" y="104"/>
                  </a:lnTo>
                  <a:lnTo>
                    <a:pt x="722" y="101"/>
                  </a:lnTo>
                  <a:lnTo>
                    <a:pt x="719" y="101"/>
                  </a:lnTo>
                  <a:lnTo>
                    <a:pt x="724" y="99"/>
                  </a:lnTo>
                  <a:lnTo>
                    <a:pt x="724" y="96"/>
                  </a:lnTo>
                  <a:lnTo>
                    <a:pt x="726" y="96"/>
                  </a:lnTo>
                  <a:lnTo>
                    <a:pt x="728" y="94"/>
                  </a:lnTo>
                  <a:lnTo>
                    <a:pt x="728" y="93"/>
                  </a:lnTo>
                  <a:lnTo>
                    <a:pt x="733" y="92"/>
                  </a:lnTo>
                  <a:lnTo>
                    <a:pt x="736" y="93"/>
                  </a:lnTo>
                  <a:lnTo>
                    <a:pt x="739" y="93"/>
                  </a:lnTo>
                  <a:lnTo>
                    <a:pt x="740" y="90"/>
                  </a:lnTo>
                  <a:lnTo>
                    <a:pt x="739" y="88"/>
                  </a:lnTo>
                  <a:lnTo>
                    <a:pt x="736" y="85"/>
                  </a:lnTo>
                  <a:lnTo>
                    <a:pt x="728" y="79"/>
                  </a:lnTo>
                  <a:lnTo>
                    <a:pt x="719" y="76"/>
                  </a:lnTo>
                  <a:lnTo>
                    <a:pt x="714" y="75"/>
                  </a:lnTo>
                  <a:lnTo>
                    <a:pt x="711" y="75"/>
                  </a:lnTo>
                  <a:lnTo>
                    <a:pt x="708" y="75"/>
                  </a:lnTo>
                  <a:lnTo>
                    <a:pt x="710" y="79"/>
                  </a:lnTo>
                  <a:lnTo>
                    <a:pt x="705" y="79"/>
                  </a:lnTo>
                  <a:lnTo>
                    <a:pt x="702" y="77"/>
                  </a:lnTo>
                  <a:lnTo>
                    <a:pt x="700" y="76"/>
                  </a:lnTo>
                  <a:lnTo>
                    <a:pt x="697" y="77"/>
                  </a:lnTo>
                  <a:lnTo>
                    <a:pt x="691" y="75"/>
                  </a:lnTo>
                  <a:lnTo>
                    <a:pt x="685" y="75"/>
                  </a:lnTo>
                  <a:lnTo>
                    <a:pt x="677" y="72"/>
                  </a:lnTo>
                  <a:lnTo>
                    <a:pt x="675" y="70"/>
                  </a:lnTo>
                  <a:lnTo>
                    <a:pt x="658" y="66"/>
                  </a:lnTo>
                  <a:lnTo>
                    <a:pt x="655" y="66"/>
                  </a:lnTo>
                  <a:lnTo>
                    <a:pt x="651" y="64"/>
                  </a:lnTo>
                  <a:lnTo>
                    <a:pt x="647" y="60"/>
                  </a:lnTo>
                  <a:lnTo>
                    <a:pt x="638" y="57"/>
                  </a:lnTo>
                  <a:lnTo>
                    <a:pt x="630" y="55"/>
                  </a:lnTo>
                  <a:lnTo>
                    <a:pt x="628" y="56"/>
                  </a:lnTo>
                  <a:lnTo>
                    <a:pt x="624" y="55"/>
                  </a:lnTo>
                  <a:lnTo>
                    <a:pt x="618" y="56"/>
                  </a:lnTo>
                  <a:lnTo>
                    <a:pt x="616" y="55"/>
                  </a:lnTo>
                  <a:lnTo>
                    <a:pt x="615" y="57"/>
                  </a:lnTo>
                  <a:lnTo>
                    <a:pt x="614" y="60"/>
                  </a:lnTo>
                  <a:lnTo>
                    <a:pt x="612" y="63"/>
                  </a:lnTo>
                  <a:lnTo>
                    <a:pt x="611" y="66"/>
                  </a:lnTo>
                  <a:lnTo>
                    <a:pt x="607" y="66"/>
                  </a:lnTo>
                  <a:lnTo>
                    <a:pt x="598" y="66"/>
                  </a:lnTo>
                  <a:lnTo>
                    <a:pt x="596" y="66"/>
                  </a:lnTo>
                  <a:lnTo>
                    <a:pt x="597" y="63"/>
                  </a:lnTo>
                  <a:lnTo>
                    <a:pt x="601" y="57"/>
                  </a:lnTo>
                  <a:lnTo>
                    <a:pt x="596" y="57"/>
                  </a:lnTo>
                  <a:lnTo>
                    <a:pt x="597" y="53"/>
                  </a:lnTo>
                  <a:lnTo>
                    <a:pt x="597" y="48"/>
                  </a:lnTo>
                  <a:lnTo>
                    <a:pt x="594" y="47"/>
                  </a:lnTo>
                  <a:lnTo>
                    <a:pt x="597" y="49"/>
                  </a:lnTo>
                  <a:lnTo>
                    <a:pt x="591" y="49"/>
                  </a:lnTo>
                  <a:lnTo>
                    <a:pt x="586" y="50"/>
                  </a:lnTo>
                  <a:lnTo>
                    <a:pt x="586" y="53"/>
                  </a:lnTo>
                  <a:lnTo>
                    <a:pt x="589" y="50"/>
                  </a:lnTo>
                  <a:lnTo>
                    <a:pt x="594" y="50"/>
                  </a:lnTo>
                  <a:lnTo>
                    <a:pt x="590" y="53"/>
                  </a:lnTo>
                  <a:lnTo>
                    <a:pt x="589" y="55"/>
                  </a:lnTo>
                  <a:lnTo>
                    <a:pt x="586" y="57"/>
                  </a:lnTo>
                  <a:lnTo>
                    <a:pt x="589" y="57"/>
                  </a:lnTo>
                  <a:lnTo>
                    <a:pt x="591" y="57"/>
                  </a:lnTo>
                  <a:lnTo>
                    <a:pt x="589" y="57"/>
                  </a:lnTo>
                  <a:lnTo>
                    <a:pt x="586" y="58"/>
                  </a:lnTo>
                  <a:lnTo>
                    <a:pt x="583" y="60"/>
                  </a:lnTo>
                  <a:lnTo>
                    <a:pt x="586" y="63"/>
                  </a:lnTo>
                  <a:lnTo>
                    <a:pt x="583" y="64"/>
                  </a:lnTo>
                  <a:lnTo>
                    <a:pt x="586" y="66"/>
                  </a:lnTo>
                  <a:lnTo>
                    <a:pt x="582" y="67"/>
                  </a:lnTo>
                  <a:lnTo>
                    <a:pt x="578" y="66"/>
                  </a:lnTo>
                  <a:lnTo>
                    <a:pt x="572" y="63"/>
                  </a:lnTo>
                  <a:lnTo>
                    <a:pt x="566" y="57"/>
                  </a:lnTo>
                  <a:lnTo>
                    <a:pt x="565" y="55"/>
                  </a:lnTo>
                  <a:lnTo>
                    <a:pt x="564" y="53"/>
                  </a:lnTo>
                  <a:lnTo>
                    <a:pt x="560" y="43"/>
                  </a:lnTo>
                  <a:lnTo>
                    <a:pt x="556" y="41"/>
                  </a:lnTo>
                  <a:lnTo>
                    <a:pt x="555" y="40"/>
                  </a:lnTo>
                  <a:lnTo>
                    <a:pt x="548" y="37"/>
                  </a:lnTo>
                  <a:lnTo>
                    <a:pt x="546" y="39"/>
                  </a:lnTo>
                  <a:lnTo>
                    <a:pt x="546" y="41"/>
                  </a:lnTo>
                  <a:lnTo>
                    <a:pt x="549" y="41"/>
                  </a:lnTo>
                  <a:lnTo>
                    <a:pt x="548" y="43"/>
                  </a:lnTo>
                  <a:lnTo>
                    <a:pt x="554" y="45"/>
                  </a:lnTo>
                  <a:lnTo>
                    <a:pt x="546" y="47"/>
                  </a:lnTo>
                  <a:lnTo>
                    <a:pt x="543" y="48"/>
                  </a:lnTo>
                  <a:lnTo>
                    <a:pt x="544" y="50"/>
                  </a:lnTo>
                  <a:lnTo>
                    <a:pt x="543" y="53"/>
                  </a:lnTo>
                  <a:lnTo>
                    <a:pt x="540" y="54"/>
                  </a:lnTo>
                  <a:lnTo>
                    <a:pt x="538" y="56"/>
                  </a:lnTo>
                  <a:lnTo>
                    <a:pt x="535" y="58"/>
                  </a:lnTo>
                  <a:lnTo>
                    <a:pt x="532" y="57"/>
                  </a:lnTo>
                  <a:lnTo>
                    <a:pt x="532" y="55"/>
                  </a:lnTo>
                  <a:lnTo>
                    <a:pt x="534" y="53"/>
                  </a:lnTo>
                  <a:lnTo>
                    <a:pt x="531" y="55"/>
                  </a:lnTo>
                  <a:lnTo>
                    <a:pt x="526" y="55"/>
                  </a:lnTo>
                  <a:lnTo>
                    <a:pt x="515" y="58"/>
                  </a:lnTo>
                  <a:lnTo>
                    <a:pt x="511" y="64"/>
                  </a:lnTo>
                  <a:lnTo>
                    <a:pt x="510" y="66"/>
                  </a:lnTo>
                  <a:lnTo>
                    <a:pt x="507" y="70"/>
                  </a:lnTo>
                  <a:lnTo>
                    <a:pt x="506" y="66"/>
                  </a:lnTo>
                  <a:lnTo>
                    <a:pt x="507" y="64"/>
                  </a:lnTo>
                  <a:lnTo>
                    <a:pt x="505" y="66"/>
                  </a:lnTo>
                  <a:lnTo>
                    <a:pt x="506" y="64"/>
                  </a:lnTo>
                  <a:lnTo>
                    <a:pt x="504" y="62"/>
                  </a:lnTo>
                  <a:lnTo>
                    <a:pt x="505" y="64"/>
                  </a:lnTo>
                  <a:lnTo>
                    <a:pt x="503" y="62"/>
                  </a:lnTo>
                  <a:lnTo>
                    <a:pt x="504" y="64"/>
                  </a:lnTo>
                  <a:lnTo>
                    <a:pt x="502" y="66"/>
                  </a:lnTo>
                  <a:lnTo>
                    <a:pt x="502" y="64"/>
                  </a:lnTo>
                  <a:lnTo>
                    <a:pt x="500" y="66"/>
                  </a:lnTo>
                  <a:lnTo>
                    <a:pt x="500" y="64"/>
                  </a:lnTo>
                  <a:lnTo>
                    <a:pt x="495" y="65"/>
                  </a:lnTo>
                  <a:lnTo>
                    <a:pt x="495" y="67"/>
                  </a:lnTo>
                  <a:lnTo>
                    <a:pt x="492" y="70"/>
                  </a:lnTo>
                  <a:lnTo>
                    <a:pt x="487" y="71"/>
                  </a:lnTo>
                  <a:lnTo>
                    <a:pt x="481" y="74"/>
                  </a:lnTo>
                  <a:lnTo>
                    <a:pt x="481" y="77"/>
                  </a:lnTo>
                  <a:lnTo>
                    <a:pt x="485" y="77"/>
                  </a:lnTo>
                  <a:lnTo>
                    <a:pt x="487" y="79"/>
                  </a:lnTo>
                  <a:lnTo>
                    <a:pt x="485" y="80"/>
                  </a:lnTo>
                  <a:lnTo>
                    <a:pt x="479" y="79"/>
                  </a:lnTo>
                  <a:lnTo>
                    <a:pt x="476" y="81"/>
                  </a:lnTo>
                  <a:lnTo>
                    <a:pt x="479" y="82"/>
                  </a:lnTo>
                  <a:lnTo>
                    <a:pt x="473" y="80"/>
                  </a:lnTo>
                  <a:lnTo>
                    <a:pt x="473" y="77"/>
                  </a:lnTo>
                  <a:lnTo>
                    <a:pt x="476" y="76"/>
                  </a:lnTo>
                  <a:lnTo>
                    <a:pt x="478" y="73"/>
                  </a:lnTo>
                  <a:lnTo>
                    <a:pt x="480" y="74"/>
                  </a:lnTo>
                  <a:lnTo>
                    <a:pt x="481" y="72"/>
                  </a:lnTo>
                  <a:lnTo>
                    <a:pt x="484" y="68"/>
                  </a:lnTo>
                  <a:lnTo>
                    <a:pt x="486" y="70"/>
                  </a:lnTo>
                  <a:lnTo>
                    <a:pt x="489" y="67"/>
                  </a:lnTo>
                  <a:lnTo>
                    <a:pt x="492" y="65"/>
                  </a:lnTo>
                  <a:lnTo>
                    <a:pt x="493" y="62"/>
                  </a:lnTo>
                  <a:lnTo>
                    <a:pt x="496" y="62"/>
                  </a:lnTo>
                  <a:lnTo>
                    <a:pt x="502" y="62"/>
                  </a:lnTo>
                  <a:lnTo>
                    <a:pt x="504" y="60"/>
                  </a:lnTo>
                  <a:lnTo>
                    <a:pt x="506" y="60"/>
                  </a:lnTo>
                  <a:lnTo>
                    <a:pt x="510" y="58"/>
                  </a:lnTo>
                  <a:lnTo>
                    <a:pt x="512" y="58"/>
                  </a:lnTo>
                  <a:lnTo>
                    <a:pt x="515" y="56"/>
                  </a:lnTo>
                  <a:lnTo>
                    <a:pt x="527" y="50"/>
                  </a:lnTo>
                  <a:lnTo>
                    <a:pt x="528" y="48"/>
                  </a:lnTo>
                  <a:lnTo>
                    <a:pt x="526" y="46"/>
                  </a:lnTo>
                  <a:lnTo>
                    <a:pt x="520" y="49"/>
                  </a:lnTo>
                  <a:lnTo>
                    <a:pt x="518" y="49"/>
                  </a:lnTo>
                  <a:lnTo>
                    <a:pt x="515" y="48"/>
                  </a:lnTo>
                  <a:lnTo>
                    <a:pt x="512" y="48"/>
                  </a:lnTo>
                  <a:lnTo>
                    <a:pt x="510" y="48"/>
                  </a:lnTo>
                  <a:lnTo>
                    <a:pt x="506" y="50"/>
                  </a:lnTo>
                  <a:lnTo>
                    <a:pt x="506" y="53"/>
                  </a:lnTo>
                  <a:lnTo>
                    <a:pt x="504" y="55"/>
                  </a:lnTo>
                  <a:lnTo>
                    <a:pt x="503" y="53"/>
                  </a:lnTo>
                  <a:lnTo>
                    <a:pt x="497" y="55"/>
                  </a:lnTo>
                  <a:lnTo>
                    <a:pt x="495" y="56"/>
                  </a:lnTo>
                  <a:lnTo>
                    <a:pt x="492" y="57"/>
                  </a:lnTo>
                  <a:lnTo>
                    <a:pt x="489" y="58"/>
                  </a:lnTo>
                  <a:lnTo>
                    <a:pt x="487" y="57"/>
                  </a:lnTo>
                  <a:lnTo>
                    <a:pt x="489" y="56"/>
                  </a:lnTo>
                  <a:lnTo>
                    <a:pt x="486" y="57"/>
                  </a:lnTo>
                  <a:lnTo>
                    <a:pt x="487" y="59"/>
                  </a:lnTo>
                  <a:lnTo>
                    <a:pt x="481" y="59"/>
                  </a:lnTo>
                  <a:lnTo>
                    <a:pt x="478" y="65"/>
                  </a:lnTo>
                  <a:lnTo>
                    <a:pt x="472" y="65"/>
                  </a:lnTo>
                  <a:lnTo>
                    <a:pt x="469" y="67"/>
                  </a:lnTo>
                  <a:lnTo>
                    <a:pt x="467" y="68"/>
                  </a:lnTo>
                  <a:lnTo>
                    <a:pt x="463" y="68"/>
                  </a:lnTo>
                  <a:lnTo>
                    <a:pt x="461" y="71"/>
                  </a:lnTo>
                  <a:lnTo>
                    <a:pt x="459" y="72"/>
                  </a:lnTo>
                  <a:lnTo>
                    <a:pt x="459" y="72"/>
                  </a:lnTo>
                  <a:lnTo>
                    <a:pt x="462" y="70"/>
                  </a:lnTo>
                  <a:lnTo>
                    <a:pt x="464" y="66"/>
                  </a:lnTo>
                  <a:lnTo>
                    <a:pt x="468" y="65"/>
                  </a:lnTo>
                  <a:lnTo>
                    <a:pt x="469" y="62"/>
                  </a:lnTo>
                  <a:lnTo>
                    <a:pt x="467" y="63"/>
                  </a:lnTo>
                  <a:lnTo>
                    <a:pt x="463" y="62"/>
                  </a:lnTo>
                  <a:lnTo>
                    <a:pt x="463" y="58"/>
                  </a:lnTo>
                  <a:lnTo>
                    <a:pt x="460" y="57"/>
                  </a:lnTo>
                  <a:lnTo>
                    <a:pt x="460" y="60"/>
                  </a:lnTo>
                  <a:lnTo>
                    <a:pt x="458" y="63"/>
                  </a:lnTo>
                  <a:lnTo>
                    <a:pt x="455" y="64"/>
                  </a:lnTo>
                  <a:lnTo>
                    <a:pt x="452" y="64"/>
                  </a:lnTo>
                  <a:lnTo>
                    <a:pt x="451" y="63"/>
                  </a:lnTo>
                  <a:lnTo>
                    <a:pt x="449" y="64"/>
                  </a:lnTo>
                  <a:lnTo>
                    <a:pt x="449" y="67"/>
                  </a:lnTo>
                  <a:lnTo>
                    <a:pt x="450" y="68"/>
                  </a:lnTo>
                  <a:lnTo>
                    <a:pt x="446" y="67"/>
                  </a:lnTo>
                  <a:lnTo>
                    <a:pt x="444" y="66"/>
                  </a:lnTo>
                  <a:lnTo>
                    <a:pt x="444" y="70"/>
                  </a:lnTo>
                  <a:lnTo>
                    <a:pt x="442" y="67"/>
                  </a:lnTo>
                  <a:lnTo>
                    <a:pt x="442" y="70"/>
                  </a:lnTo>
                  <a:lnTo>
                    <a:pt x="445" y="72"/>
                  </a:lnTo>
                  <a:lnTo>
                    <a:pt x="442" y="71"/>
                  </a:lnTo>
                  <a:lnTo>
                    <a:pt x="440" y="70"/>
                  </a:lnTo>
                  <a:lnTo>
                    <a:pt x="440" y="72"/>
                  </a:lnTo>
                  <a:lnTo>
                    <a:pt x="442" y="74"/>
                  </a:lnTo>
                  <a:lnTo>
                    <a:pt x="444" y="74"/>
                  </a:lnTo>
                  <a:lnTo>
                    <a:pt x="445" y="74"/>
                  </a:lnTo>
                  <a:lnTo>
                    <a:pt x="442" y="75"/>
                  </a:lnTo>
                  <a:lnTo>
                    <a:pt x="441" y="75"/>
                  </a:lnTo>
                  <a:lnTo>
                    <a:pt x="440" y="75"/>
                  </a:lnTo>
                  <a:lnTo>
                    <a:pt x="442" y="77"/>
                  </a:lnTo>
                  <a:lnTo>
                    <a:pt x="445" y="77"/>
                  </a:lnTo>
                  <a:lnTo>
                    <a:pt x="446" y="75"/>
                  </a:lnTo>
                  <a:lnTo>
                    <a:pt x="449" y="76"/>
                  </a:lnTo>
                  <a:lnTo>
                    <a:pt x="451" y="77"/>
                  </a:lnTo>
                  <a:lnTo>
                    <a:pt x="454" y="75"/>
                  </a:lnTo>
                  <a:lnTo>
                    <a:pt x="454" y="75"/>
                  </a:lnTo>
                  <a:lnTo>
                    <a:pt x="455" y="75"/>
                  </a:lnTo>
                  <a:lnTo>
                    <a:pt x="458" y="79"/>
                  </a:lnTo>
                  <a:lnTo>
                    <a:pt x="459" y="81"/>
                  </a:lnTo>
                  <a:lnTo>
                    <a:pt x="462" y="82"/>
                  </a:lnTo>
                  <a:lnTo>
                    <a:pt x="460" y="80"/>
                  </a:lnTo>
                  <a:lnTo>
                    <a:pt x="458" y="76"/>
                  </a:lnTo>
                  <a:lnTo>
                    <a:pt x="456" y="74"/>
                  </a:lnTo>
                  <a:lnTo>
                    <a:pt x="459" y="73"/>
                  </a:lnTo>
                  <a:lnTo>
                    <a:pt x="458" y="75"/>
                  </a:lnTo>
                  <a:lnTo>
                    <a:pt x="462" y="82"/>
                  </a:lnTo>
                  <a:lnTo>
                    <a:pt x="462" y="83"/>
                  </a:lnTo>
                  <a:lnTo>
                    <a:pt x="459" y="81"/>
                  </a:lnTo>
                  <a:lnTo>
                    <a:pt x="456" y="79"/>
                  </a:lnTo>
                  <a:lnTo>
                    <a:pt x="454" y="76"/>
                  </a:lnTo>
                  <a:lnTo>
                    <a:pt x="451" y="77"/>
                  </a:lnTo>
                  <a:lnTo>
                    <a:pt x="449" y="76"/>
                  </a:lnTo>
                  <a:lnTo>
                    <a:pt x="446" y="79"/>
                  </a:lnTo>
                  <a:lnTo>
                    <a:pt x="447" y="81"/>
                  </a:lnTo>
                  <a:lnTo>
                    <a:pt x="450" y="83"/>
                  </a:lnTo>
                  <a:lnTo>
                    <a:pt x="449" y="83"/>
                  </a:lnTo>
                  <a:lnTo>
                    <a:pt x="449" y="82"/>
                  </a:lnTo>
                  <a:lnTo>
                    <a:pt x="443" y="81"/>
                  </a:lnTo>
                  <a:lnTo>
                    <a:pt x="441" y="79"/>
                  </a:lnTo>
                  <a:lnTo>
                    <a:pt x="436" y="77"/>
                  </a:lnTo>
                  <a:lnTo>
                    <a:pt x="433" y="77"/>
                  </a:lnTo>
                  <a:lnTo>
                    <a:pt x="433" y="77"/>
                  </a:lnTo>
                  <a:lnTo>
                    <a:pt x="429" y="77"/>
                  </a:lnTo>
                  <a:lnTo>
                    <a:pt x="427" y="77"/>
                  </a:lnTo>
                  <a:lnTo>
                    <a:pt x="424" y="76"/>
                  </a:lnTo>
                  <a:lnTo>
                    <a:pt x="421" y="76"/>
                  </a:lnTo>
                  <a:lnTo>
                    <a:pt x="419" y="74"/>
                  </a:lnTo>
                  <a:lnTo>
                    <a:pt x="410" y="72"/>
                  </a:lnTo>
                  <a:lnTo>
                    <a:pt x="404" y="70"/>
                  </a:lnTo>
                  <a:lnTo>
                    <a:pt x="402" y="70"/>
                  </a:lnTo>
                  <a:lnTo>
                    <a:pt x="400" y="66"/>
                  </a:lnTo>
                  <a:lnTo>
                    <a:pt x="398" y="65"/>
                  </a:lnTo>
                  <a:lnTo>
                    <a:pt x="394" y="63"/>
                  </a:lnTo>
                  <a:lnTo>
                    <a:pt x="386" y="60"/>
                  </a:lnTo>
                  <a:lnTo>
                    <a:pt x="384" y="60"/>
                  </a:lnTo>
                  <a:lnTo>
                    <a:pt x="378" y="60"/>
                  </a:lnTo>
                  <a:lnTo>
                    <a:pt x="369" y="59"/>
                  </a:lnTo>
                  <a:lnTo>
                    <a:pt x="369" y="59"/>
                  </a:lnTo>
                  <a:lnTo>
                    <a:pt x="366" y="59"/>
                  </a:lnTo>
                  <a:lnTo>
                    <a:pt x="366" y="59"/>
                  </a:lnTo>
                  <a:lnTo>
                    <a:pt x="364" y="58"/>
                  </a:lnTo>
                  <a:lnTo>
                    <a:pt x="360" y="56"/>
                  </a:lnTo>
                  <a:lnTo>
                    <a:pt x="357" y="55"/>
                  </a:lnTo>
                  <a:lnTo>
                    <a:pt x="357" y="56"/>
                  </a:lnTo>
                  <a:lnTo>
                    <a:pt x="349" y="51"/>
                  </a:lnTo>
                  <a:lnTo>
                    <a:pt x="348" y="50"/>
                  </a:lnTo>
                  <a:lnTo>
                    <a:pt x="344" y="49"/>
                  </a:lnTo>
                  <a:lnTo>
                    <a:pt x="339" y="48"/>
                  </a:lnTo>
                  <a:lnTo>
                    <a:pt x="331" y="49"/>
                  </a:lnTo>
                  <a:lnTo>
                    <a:pt x="328" y="50"/>
                  </a:lnTo>
                  <a:lnTo>
                    <a:pt x="327" y="49"/>
                  </a:lnTo>
                  <a:lnTo>
                    <a:pt x="324" y="49"/>
                  </a:lnTo>
                  <a:lnTo>
                    <a:pt x="321" y="51"/>
                  </a:lnTo>
                  <a:lnTo>
                    <a:pt x="315" y="51"/>
                  </a:lnTo>
                  <a:lnTo>
                    <a:pt x="312" y="50"/>
                  </a:lnTo>
                  <a:lnTo>
                    <a:pt x="309" y="49"/>
                  </a:lnTo>
                  <a:lnTo>
                    <a:pt x="307" y="49"/>
                  </a:lnTo>
                  <a:lnTo>
                    <a:pt x="305" y="47"/>
                  </a:lnTo>
                  <a:lnTo>
                    <a:pt x="296" y="46"/>
                  </a:lnTo>
                  <a:lnTo>
                    <a:pt x="290" y="46"/>
                  </a:lnTo>
                  <a:lnTo>
                    <a:pt x="288" y="47"/>
                  </a:lnTo>
                  <a:lnTo>
                    <a:pt x="280" y="46"/>
                  </a:lnTo>
                  <a:lnTo>
                    <a:pt x="276" y="45"/>
                  </a:lnTo>
                  <a:lnTo>
                    <a:pt x="275" y="43"/>
                  </a:lnTo>
                  <a:lnTo>
                    <a:pt x="273" y="42"/>
                  </a:lnTo>
                  <a:lnTo>
                    <a:pt x="272" y="42"/>
                  </a:lnTo>
                  <a:lnTo>
                    <a:pt x="268" y="43"/>
                  </a:lnTo>
                  <a:lnTo>
                    <a:pt x="266" y="41"/>
                  </a:lnTo>
                  <a:lnTo>
                    <a:pt x="264" y="40"/>
                  </a:lnTo>
                  <a:lnTo>
                    <a:pt x="261" y="40"/>
                  </a:lnTo>
                  <a:lnTo>
                    <a:pt x="258" y="39"/>
                  </a:lnTo>
                  <a:lnTo>
                    <a:pt x="255" y="39"/>
                  </a:lnTo>
                  <a:lnTo>
                    <a:pt x="253" y="38"/>
                  </a:lnTo>
                  <a:lnTo>
                    <a:pt x="247" y="39"/>
                  </a:lnTo>
                  <a:lnTo>
                    <a:pt x="244" y="40"/>
                  </a:lnTo>
                  <a:lnTo>
                    <a:pt x="241" y="40"/>
                  </a:lnTo>
                  <a:lnTo>
                    <a:pt x="239" y="38"/>
                  </a:lnTo>
                  <a:lnTo>
                    <a:pt x="231" y="40"/>
                  </a:lnTo>
                  <a:lnTo>
                    <a:pt x="230" y="41"/>
                  </a:lnTo>
                  <a:lnTo>
                    <a:pt x="225" y="40"/>
                  </a:lnTo>
                  <a:lnTo>
                    <a:pt x="220" y="40"/>
                  </a:lnTo>
                  <a:lnTo>
                    <a:pt x="222" y="37"/>
                  </a:lnTo>
                  <a:lnTo>
                    <a:pt x="219" y="37"/>
                  </a:lnTo>
                  <a:lnTo>
                    <a:pt x="216" y="37"/>
                  </a:lnTo>
                  <a:lnTo>
                    <a:pt x="211" y="37"/>
                  </a:lnTo>
                  <a:lnTo>
                    <a:pt x="216" y="36"/>
                  </a:lnTo>
                  <a:lnTo>
                    <a:pt x="213" y="36"/>
                  </a:lnTo>
                  <a:lnTo>
                    <a:pt x="214" y="32"/>
                  </a:lnTo>
                  <a:lnTo>
                    <a:pt x="215" y="30"/>
                  </a:lnTo>
                  <a:lnTo>
                    <a:pt x="213" y="29"/>
                  </a:lnTo>
                  <a:lnTo>
                    <a:pt x="211" y="30"/>
                  </a:lnTo>
                  <a:lnTo>
                    <a:pt x="207" y="30"/>
                  </a:lnTo>
                  <a:lnTo>
                    <a:pt x="202" y="28"/>
                  </a:lnTo>
                  <a:lnTo>
                    <a:pt x="199" y="29"/>
                  </a:lnTo>
                  <a:lnTo>
                    <a:pt x="194" y="29"/>
                  </a:lnTo>
                  <a:lnTo>
                    <a:pt x="190" y="31"/>
                  </a:lnTo>
                  <a:lnTo>
                    <a:pt x="185" y="30"/>
                  </a:lnTo>
                  <a:lnTo>
                    <a:pt x="182" y="28"/>
                  </a:lnTo>
                  <a:lnTo>
                    <a:pt x="184" y="25"/>
                  </a:lnTo>
                  <a:lnTo>
                    <a:pt x="180" y="23"/>
                  </a:lnTo>
                  <a:lnTo>
                    <a:pt x="178" y="25"/>
                  </a:lnTo>
                  <a:lnTo>
                    <a:pt x="176" y="23"/>
                  </a:lnTo>
                  <a:lnTo>
                    <a:pt x="171" y="28"/>
                  </a:lnTo>
                  <a:lnTo>
                    <a:pt x="170" y="30"/>
                  </a:lnTo>
                  <a:lnTo>
                    <a:pt x="164" y="30"/>
                  </a:lnTo>
                  <a:lnTo>
                    <a:pt x="165" y="30"/>
                  </a:lnTo>
                  <a:lnTo>
                    <a:pt x="162" y="28"/>
                  </a:lnTo>
                  <a:lnTo>
                    <a:pt x="165" y="26"/>
                  </a:lnTo>
                  <a:lnTo>
                    <a:pt x="168" y="26"/>
                  </a:lnTo>
                  <a:lnTo>
                    <a:pt x="171" y="23"/>
                  </a:lnTo>
                  <a:lnTo>
                    <a:pt x="168" y="21"/>
                  </a:lnTo>
                  <a:lnTo>
                    <a:pt x="157" y="19"/>
                  </a:lnTo>
                  <a:lnTo>
                    <a:pt x="159" y="16"/>
                  </a:lnTo>
                  <a:lnTo>
                    <a:pt x="153" y="19"/>
                  </a:lnTo>
                  <a:lnTo>
                    <a:pt x="151" y="21"/>
                  </a:lnTo>
                  <a:lnTo>
                    <a:pt x="148" y="24"/>
                  </a:lnTo>
                  <a:lnTo>
                    <a:pt x="144" y="26"/>
                  </a:lnTo>
                  <a:lnTo>
                    <a:pt x="139" y="29"/>
                  </a:lnTo>
                  <a:lnTo>
                    <a:pt x="137" y="30"/>
                  </a:lnTo>
                  <a:lnTo>
                    <a:pt x="123" y="31"/>
                  </a:lnTo>
                  <a:lnTo>
                    <a:pt x="120" y="32"/>
                  </a:lnTo>
                  <a:lnTo>
                    <a:pt x="118" y="31"/>
                  </a:lnTo>
                  <a:lnTo>
                    <a:pt x="120" y="29"/>
                  </a:lnTo>
                  <a:lnTo>
                    <a:pt x="116" y="31"/>
                  </a:lnTo>
                  <a:lnTo>
                    <a:pt x="110" y="34"/>
                  </a:lnTo>
                  <a:lnTo>
                    <a:pt x="110" y="36"/>
                  </a:lnTo>
                  <a:lnTo>
                    <a:pt x="112" y="37"/>
                  </a:lnTo>
                  <a:lnTo>
                    <a:pt x="118" y="39"/>
                  </a:lnTo>
                  <a:lnTo>
                    <a:pt x="112" y="39"/>
                  </a:lnTo>
                  <a:lnTo>
                    <a:pt x="111" y="42"/>
                  </a:lnTo>
                  <a:lnTo>
                    <a:pt x="112" y="45"/>
                  </a:lnTo>
                  <a:lnTo>
                    <a:pt x="110" y="42"/>
                  </a:lnTo>
                  <a:lnTo>
                    <a:pt x="108" y="42"/>
                  </a:lnTo>
                  <a:lnTo>
                    <a:pt x="110" y="40"/>
                  </a:lnTo>
                  <a:lnTo>
                    <a:pt x="110" y="39"/>
                  </a:lnTo>
                  <a:lnTo>
                    <a:pt x="106" y="39"/>
                  </a:lnTo>
                  <a:lnTo>
                    <a:pt x="110" y="38"/>
                  </a:lnTo>
                  <a:lnTo>
                    <a:pt x="110" y="36"/>
                  </a:lnTo>
                  <a:lnTo>
                    <a:pt x="108" y="36"/>
                  </a:lnTo>
                  <a:lnTo>
                    <a:pt x="96" y="43"/>
                  </a:lnTo>
                  <a:lnTo>
                    <a:pt x="93" y="43"/>
                  </a:lnTo>
                  <a:lnTo>
                    <a:pt x="88" y="45"/>
                  </a:lnTo>
                  <a:lnTo>
                    <a:pt x="85" y="46"/>
                  </a:lnTo>
                  <a:lnTo>
                    <a:pt x="83" y="46"/>
                  </a:lnTo>
                  <a:lnTo>
                    <a:pt x="85" y="45"/>
                  </a:lnTo>
                  <a:lnTo>
                    <a:pt x="86" y="43"/>
                  </a:lnTo>
                  <a:lnTo>
                    <a:pt x="83" y="43"/>
                  </a:lnTo>
                  <a:lnTo>
                    <a:pt x="80" y="46"/>
                  </a:lnTo>
                  <a:lnTo>
                    <a:pt x="77" y="48"/>
                  </a:lnTo>
                  <a:lnTo>
                    <a:pt x="76" y="51"/>
                  </a:lnTo>
                  <a:lnTo>
                    <a:pt x="70" y="56"/>
                  </a:lnTo>
                  <a:lnTo>
                    <a:pt x="69" y="58"/>
                  </a:lnTo>
                  <a:lnTo>
                    <a:pt x="68" y="59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6" y="66"/>
                  </a:lnTo>
                  <a:lnTo>
                    <a:pt x="61" y="72"/>
                  </a:lnTo>
                  <a:lnTo>
                    <a:pt x="56" y="75"/>
                  </a:lnTo>
                  <a:lnTo>
                    <a:pt x="53" y="76"/>
                  </a:lnTo>
                  <a:lnTo>
                    <a:pt x="49" y="76"/>
                  </a:lnTo>
                  <a:lnTo>
                    <a:pt x="33" y="79"/>
                  </a:lnTo>
                  <a:lnTo>
                    <a:pt x="27" y="77"/>
                  </a:lnTo>
                  <a:lnTo>
                    <a:pt x="24" y="79"/>
                  </a:lnTo>
                  <a:lnTo>
                    <a:pt x="25" y="81"/>
                  </a:lnTo>
                  <a:lnTo>
                    <a:pt x="23" y="89"/>
                  </a:lnTo>
                  <a:lnTo>
                    <a:pt x="19" y="90"/>
                  </a:lnTo>
                  <a:lnTo>
                    <a:pt x="18" y="90"/>
                  </a:lnTo>
                  <a:lnTo>
                    <a:pt x="18" y="91"/>
                  </a:lnTo>
                  <a:lnTo>
                    <a:pt x="20" y="91"/>
                  </a:lnTo>
                  <a:lnTo>
                    <a:pt x="24" y="92"/>
                  </a:lnTo>
                  <a:lnTo>
                    <a:pt x="26" y="93"/>
                  </a:lnTo>
                  <a:lnTo>
                    <a:pt x="28" y="96"/>
                  </a:lnTo>
                  <a:lnTo>
                    <a:pt x="32" y="97"/>
                  </a:lnTo>
                  <a:lnTo>
                    <a:pt x="36" y="98"/>
                  </a:lnTo>
                  <a:lnTo>
                    <a:pt x="42" y="101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54" y="108"/>
                  </a:lnTo>
                  <a:lnTo>
                    <a:pt x="58" y="114"/>
                  </a:lnTo>
                  <a:lnTo>
                    <a:pt x="59" y="119"/>
                  </a:lnTo>
                  <a:lnTo>
                    <a:pt x="67" y="120"/>
                  </a:lnTo>
                  <a:lnTo>
                    <a:pt x="72" y="120"/>
                  </a:lnTo>
                  <a:lnTo>
                    <a:pt x="72" y="122"/>
                  </a:lnTo>
                  <a:lnTo>
                    <a:pt x="76" y="120"/>
                  </a:lnTo>
                  <a:lnTo>
                    <a:pt x="76" y="118"/>
                  </a:lnTo>
                  <a:lnTo>
                    <a:pt x="78" y="120"/>
                  </a:lnTo>
                  <a:lnTo>
                    <a:pt x="80" y="122"/>
                  </a:lnTo>
                  <a:lnTo>
                    <a:pt x="84" y="120"/>
                  </a:lnTo>
                  <a:lnTo>
                    <a:pt x="86" y="122"/>
                  </a:lnTo>
                  <a:lnTo>
                    <a:pt x="89" y="123"/>
                  </a:lnTo>
                  <a:lnTo>
                    <a:pt x="86" y="123"/>
                  </a:lnTo>
                  <a:lnTo>
                    <a:pt x="84" y="126"/>
                  </a:lnTo>
                  <a:lnTo>
                    <a:pt x="85" y="130"/>
                  </a:lnTo>
                  <a:lnTo>
                    <a:pt x="88" y="132"/>
                  </a:lnTo>
                  <a:lnTo>
                    <a:pt x="92" y="133"/>
                  </a:lnTo>
                  <a:lnTo>
                    <a:pt x="94" y="130"/>
                  </a:lnTo>
                  <a:lnTo>
                    <a:pt x="97" y="130"/>
                  </a:lnTo>
                  <a:lnTo>
                    <a:pt x="100" y="131"/>
                  </a:lnTo>
                  <a:lnTo>
                    <a:pt x="105" y="131"/>
                  </a:lnTo>
                  <a:lnTo>
                    <a:pt x="106" y="133"/>
                  </a:lnTo>
                  <a:lnTo>
                    <a:pt x="105" y="135"/>
                  </a:lnTo>
                  <a:lnTo>
                    <a:pt x="100" y="136"/>
                  </a:lnTo>
                  <a:lnTo>
                    <a:pt x="97" y="135"/>
                  </a:lnTo>
                  <a:lnTo>
                    <a:pt x="94" y="134"/>
                  </a:lnTo>
                  <a:lnTo>
                    <a:pt x="92" y="133"/>
                  </a:lnTo>
                  <a:lnTo>
                    <a:pt x="89" y="134"/>
                  </a:lnTo>
                  <a:lnTo>
                    <a:pt x="86" y="134"/>
                  </a:lnTo>
                  <a:lnTo>
                    <a:pt x="84" y="132"/>
                  </a:lnTo>
                  <a:lnTo>
                    <a:pt x="82" y="130"/>
                  </a:lnTo>
                  <a:lnTo>
                    <a:pt x="82" y="127"/>
                  </a:lnTo>
                  <a:lnTo>
                    <a:pt x="79" y="125"/>
                  </a:lnTo>
                  <a:lnTo>
                    <a:pt x="76" y="124"/>
                  </a:lnTo>
                  <a:lnTo>
                    <a:pt x="74" y="125"/>
                  </a:lnTo>
                  <a:lnTo>
                    <a:pt x="76" y="128"/>
                  </a:lnTo>
                  <a:lnTo>
                    <a:pt x="78" y="128"/>
                  </a:lnTo>
                  <a:lnTo>
                    <a:pt x="84" y="134"/>
                  </a:lnTo>
                  <a:lnTo>
                    <a:pt x="84" y="136"/>
                  </a:lnTo>
                  <a:lnTo>
                    <a:pt x="87" y="135"/>
                  </a:lnTo>
                  <a:lnTo>
                    <a:pt x="93" y="136"/>
                  </a:lnTo>
                  <a:lnTo>
                    <a:pt x="95" y="139"/>
                  </a:lnTo>
                  <a:lnTo>
                    <a:pt x="95" y="141"/>
                  </a:lnTo>
                  <a:lnTo>
                    <a:pt x="89" y="139"/>
                  </a:lnTo>
                  <a:lnTo>
                    <a:pt x="87" y="140"/>
                  </a:lnTo>
                  <a:lnTo>
                    <a:pt x="85" y="143"/>
                  </a:lnTo>
                  <a:lnTo>
                    <a:pt x="85" y="143"/>
                  </a:lnTo>
                  <a:lnTo>
                    <a:pt x="83" y="144"/>
                  </a:lnTo>
                  <a:lnTo>
                    <a:pt x="80" y="143"/>
                  </a:lnTo>
                  <a:lnTo>
                    <a:pt x="77" y="144"/>
                  </a:lnTo>
                  <a:lnTo>
                    <a:pt x="75" y="144"/>
                  </a:lnTo>
                  <a:lnTo>
                    <a:pt x="71" y="142"/>
                  </a:lnTo>
                  <a:lnTo>
                    <a:pt x="69" y="142"/>
                  </a:lnTo>
                  <a:lnTo>
                    <a:pt x="67" y="143"/>
                  </a:lnTo>
                  <a:lnTo>
                    <a:pt x="63" y="143"/>
                  </a:lnTo>
                  <a:lnTo>
                    <a:pt x="58" y="143"/>
                  </a:lnTo>
                  <a:lnTo>
                    <a:pt x="56" y="140"/>
                  </a:lnTo>
                  <a:lnTo>
                    <a:pt x="53" y="140"/>
                  </a:lnTo>
                  <a:lnTo>
                    <a:pt x="56" y="140"/>
                  </a:lnTo>
                  <a:lnTo>
                    <a:pt x="58" y="134"/>
                  </a:lnTo>
                  <a:lnTo>
                    <a:pt x="58" y="132"/>
                  </a:lnTo>
                  <a:lnTo>
                    <a:pt x="50" y="132"/>
                  </a:lnTo>
                  <a:lnTo>
                    <a:pt x="48" y="132"/>
                  </a:lnTo>
                  <a:lnTo>
                    <a:pt x="42" y="134"/>
                  </a:lnTo>
                  <a:lnTo>
                    <a:pt x="36" y="135"/>
                  </a:lnTo>
                  <a:lnTo>
                    <a:pt x="32" y="137"/>
                  </a:lnTo>
                  <a:lnTo>
                    <a:pt x="31" y="140"/>
                  </a:lnTo>
                  <a:lnTo>
                    <a:pt x="34" y="141"/>
                  </a:lnTo>
                  <a:lnTo>
                    <a:pt x="31" y="142"/>
                  </a:lnTo>
                  <a:lnTo>
                    <a:pt x="26" y="141"/>
                  </a:lnTo>
                  <a:lnTo>
                    <a:pt x="23" y="141"/>
                  </a:lnTo>
                  <a:lnTo>
                    <a:pt x="17" y="144"/>
                  </a:lnTo>
                  <a:lnTo>
                    <a:pt x="15" y="147"/>
                  </a:lnTo>
                  <a:lnTo>
                    <a:pt x="12" y="148"/>
                  </a:lnTo>
                  <a:lnTo>
                    <a:pt x="10" y="148"/>
                  </a:lnTo>
                  <a:lnTo>
                    <a:pt x="7" y="149"/>
                  </a:lnTo>
                  <a:lnTo>
                    <a:pt x="6" y="151"/>
                  </a:lnTo>
                  <a:lnTo>
                    <a:pt x="2" y="151"/>
                  </a:lnTo>
                  <a:lnTo>
                    <a:pt x="0" y="153"/>
                  </a:lnTo>
                  <a:lnTo>
                    <a:pt x="0" y="154"/>
                  </a:lnTo>
                  <a:lnTo>
                    <a:pt x="8" y="158"/>
                  </a:lnTo>
                  <a:lnTo>
                    <a:pt x="14" y="159"/>
                  </a:lnTo>
                  <a:lnTo>
                    <a:pt x="16" y="159"/>
                  </a:lnTo>
                  <a:lnTo>
                    <a:pt x="18" y="160"/>
                  </a:lnTo>
                  <a:lnTo>
                    <a:pt x="16" y="159"/>
                  </a:lnTo>
                  <a:lnTo>
                    <a:pt x="24" y="160"/>
                  </a:lnTo>
                  <a:lnTo>
                    <a:pt x="27" y="162"/>
                  </a:lnTo>
                  <a:lnTo>
                    <a:pt x="22" y="162"/>
                  </a:lnTo>
                  <a:lnTo>
                    <a:pt x="19" y="165"/>
                  </a:lnTo>
                  <a:lnTo>
                    <a:pt x="17" y="165"/>
                  </a:lnTo>
                  <a:lnTo>
                    <a:pt x="15" y="162"/>
                  </a:lnTo>
                  <a:lnTo>
                    <a:pt x="16" y="166"/>
                  </a:lnTo>
                  <a:lnTo>
                    <a:pt x="18" y="168"/>
                  </a:lnTo>
                  <a:lnTo>
                    <a:pt x="22" y="170"/>
                  </a:lnTo>
                  <a:lnTo>
                    <a:pt x="20" y="173"/>
                  </a:lnTo>
                  <a:lnTo>
                    <a:pt x="23" y="175"/>
                  </a:lnTo>
                  <a:lnTo>
                    <a:pt x="25" y="176"/>
                  </a:lnTo>
                  <a:lnTo>
                    <a:pt x="36" y="178"/>
                  </a:lnTo>
                  <a:lnTo>
                    <a:pt x="39" y="179"/>
                  </a:lnTo>
                  <a:lnTo>
                    <a:pt x="50" y="177"/>
                  </a:lnTo>
                  <a:lnTo>
                    <a:pt x="59" y="176"/>
                  </a:lnTo>
                  <a:lnTo>
                    <a:pt x="61" y="177"/>
                  </a:lnTo>
                  <a:lnTo>
                    <a:pt x="63" y="178"/>
                  </a:lnTo>
                  <a:lnTo>
                    <a:pt x="67" y="181"/>
                  </a:lnTo>
                  <a:lnTo>
                    <a:pt x="66" y="175"/>
                  </a:lnTo>
                  <a:lnTo>
                    <a:pt x="71" y="179"/>
                  </a:lnTo>
                  <a:lnTo>
                    <a:pt x="74" y="181"/>
                  </a:lnTo>
                  <a:lnTo>
                    <a:pt x="75" y="178"/>
                  </a:lnTo>
                  <a:lnTo>
                    <a:pt x="77" y="176"/>
                  </a:lnTo>
                  <a:lnTo>
                    <a:pt x="80" y="174"/>
                  </a:lnTo>
                  <a:lnTo>
                    <a:pt x="83" y="174"/>
                  </a:lnTo>
                  <a:lnTo>
                    <a:pt x="85" y="171"/>
                  </a:lnTo>
                  <a:lnTo>
                    <a:pt x="88" y="173"/>
                  </a:lnTo>
                  <a:lnTo>
                    <a:pt x="91" y="171"/>
                  </a:lnTo>
                  <a:lnTo>
                    <a:pt x="93" y="169"/>
                  </a:lnTo>
                  <a:lnTo>
                    <a:pt x="96" y="168"/>
                  </a:lnTo>
                  <a:lnTo>
                    <a:pt x="95" y="170"/>
                  </a:lnTo>
                  <a:lnTo>
                    <a:pt x="97" y="171"/>
                  </a:lnTo>
                  <a:lnTo>
                    <a:pt x="99" y="175"/>
                  </a:lnTo>
                  <a:lnTo>
                    <a:pt x="96" y="177"/>
                  </a:lnTo>
                  <a:lnTo>
                    <a:pt x="94" y="178"/>
                  </a:lnTo>
                  <a:lnTo>
                    <a:pt x="91" y="177"/>
                  </a:lnTo>
                  <a:lnTo>
                    <a:pt x="91" y="179"/>
                  </a:lnTo>
                  <a:lnTo>
                    <a:pt x="93" y="181"/>
                  </a:lnTo>
                  <a:lnTo>
                    <a:pt x="96" y="185"/>
                  </a:lnTo>
                  <a:lnTo>
                    <a:pt x="97" y="188"/>
                  </a:lnTo>
                  <a:lnTo>
                    <a:pt x="99" y="191"/>
                  </a:lnTo>
                  <a:lnTo>
                    <a:pt x="99" y="194"/>
                  </a:lnTo>
                  <a:lnTo>
                    <a:pt x="97" y="196"/>
                  </a:lnTo>
                  <a:lnTo>
                    <a:pt x="95" y="199"/>
                  </a:lnTo>
                  <a:lnTo>
                    <a:pt x="92" y="201"/>
                  </a:lnTo>
                  <a:lnTo>
                    <a:pt x="84" y="201"/>
                  </a:lnTo>
                  <a:lnTo>
                    <a:pt x="80" y="200"/>
                  </a:lnTo>
                  <a:lnTo>
                    <a:pt x="78" y="200"/>
                  </a:lnTo>
                  <a:lnTo>
                    <a:pt x="74" y="205"/>
                  </a:lnTo>
                  <a:lnTo>
                    <a:pt x="71" y="207"/>
                  </a:lnTo>
                  <a:lnTo>
                    <a:pt x="68" y="209"/>
                  </a:lnTo>
                  <a:lnTo>
                    <a:pt x="66" y="210"/>
                  </a:lnTo>
                  <a:lnTo>
                    <a:pt x="63" y="210"/>
                  </a:lnTo>
                  <a:lnTo>
                    <a:pt x="60" y="210"/>
                  </a:lnTo>
                  <a:lnTo>
                    <a:pt x="58" y="211"/>
                  </a:lnTo>
                  <a:lnTo>
                    <a:pt x="60" y="209"/>
                  </a:lnTo>
                  <a:lnTo>
                    <a:pt x="59" y="207"/>
                  </a:lnTo>
                  <a:lnTo>
                    <a:pt x="54" y="205"/>
                  </a:lnTo>
                  <a:lnTo>
                    <a:pt x="49" y="207"/>
                  </a:lnTo>
                  <a:lnTo>
                    <a:pt x="48" y="209"/>
                  </a:lnTo>
                  <a:lnTo>
                    <a:pt x="50" y="211"/>
                  </a:lnTo>
                  <a:lnTo>
                    <a:pt x="46" y="210"/>
                  </a:lnTo>
                  <a:lnTo>
                    <a:pt x="44" y="213"/>
                  </a:lnTo>
                  <a:lnTo>
                    <a:pt x="44" y="216"/>
                  </a:lnTo>
                  <a:lnTo>
                    <a:pt x="43" y="216"/>
                  </a:lnTo>
                  <a:lnTo>
                    <a:pt x="45" y="219"/>
                  </a:lnTo>
                  <a:lnTo>
                    <a:pt x="49" y="217"/>
                  </a:lnTo>
                  <a:lnTo>
                    <a:pt x="45" y="219"/>
                  </a:lnTo>
                  <a:lnTo>
                    <a:pt x="44" y="222"/>
                  </a:lnTo>
                  <a:lnTo>
                    <a:pt x="46" y="222"/>
                  </a:lnTo>
                  <a:lnTo>
                    <a:pt x="44" y="222"/>
                  </a:lnTo>
                  <a:lnTo>
                    <a:pt x="42" y="221"/>
                  </a:lnTo>
                  <a:lnTo>
                    <a:pt x="40" y="221"/>
                  </a:lnTo>
                  <a:lnTo>
                    <a:pt x="32" y="230"/>
                  </a:lnTo>
                  <a:lnTo>
                    <a:pt x="31" y="233"/>
                  </a:lnTo>
                  <a:lnTo>
                    <a:pt x="33" y="235"/>
                  </a:lnTo>
                  <a:lnTo>
                    <a:pt x="31" y="236"/>
                  </a:lnTo>
                  <a:lnTo>
                    <a:pt x="28" y="238"/>
                  </a:lnTo>
                  <a:lnTo>
                    <a:pt x="31" y="239"/>
                  </a:lnTo>
                  <a:lnTo>
                    <a:pt x="28" y="239"/>
                  </a:lnTo>
                  <a:lnTo>
                    <a:pt x="25" y="239"/>
                  </a:lnTo>
                  <a:lnTo>
                    <a:pt x="27" y="242"/>
                  </a:lnTo>
                  <a:lnTo>
                    <a:pt x="29" y="244"/>
                  </a:lnTo>
                  <a:lnTo>
                    <a:pt x="29" y="246"/>
                  </a:lnTo>
                  <a:lnTo>
                    <a:pt x="33" y="248"/>
                  </a:lnTo>
                  <a:lnTo>
                    <a:pt x="33" y="251"/>
                  </a:lnTo>
                  <a:lnTo>
                    <a:pt x="36" y="250"/>
                  </a:lnTo>
                  <a:lnTo>
                    <a:pt x="39" y="247"/>
                  </a:lnTo>
                  <a:lnTo>
                    <a:pt x="39" y="244"/>
                  </a:lnTo>
                  <a:lnTo>
                    <a:pt x="44" y="241"/>
                  </a:lnTo>
                  <a:lnTo>
                    <a:pt x="45" y="241"/>
                  </a:lnTo>
                  <a:lnTo>
                    <a:pt x="43" y="243"/>
                  </a:lnTo>
                  <a:lnTo>
                    <a:pt x="41" y="244"/>
                  </a:lnTo>
                  <a:lnTo>
                    <a:pt x="36" y="250"/>
                  </a:lnTo>
                  <a:lnTo>
                    <a:pt x="40" y="248"/>
                  </a:lnTo>
                  <a:lnTo>
                    <a:pt x="40" y="251"/>
                  </a:lnTo>
                  <a:lnTo>
                    <a:pt x="42" y="253"/>
                  </a:lnTo>
                  <a:lnTo>
                    <a:pt x="40" y="255"/>
                  </a:lnTo>
                  <a:lnTo>
                    <a:pt x="43" y="254"/>
                  </a:lnTo>
                  <a:lnTo>
                    <a:pt x="45" y="254"/>
                  </a:lnTo>
                  <a:lnTo>
                    <a:pt x="49" y="256"/>
                  </a:lnTo>
                  <a:lnTo>
                    <a:pt x="54" y="256"/>
                  </a:lnTo>
                  <a:lnTo>
                    <a:pt x="59" y="253"/>
                  </a:lnTo>
                  <a:lnTo>
                    <a:pt x="59" y="256"/>
                  </a:lnTo>
                  <a:lnTo>
                    <a:pt x="57" y="256"/>
                  </a:lnTo>
                  <a:lnTo>
                    <a:pt x="59" y="256"/>
                  </a:lnTo>
                  <a:lnTo>
                    <a:pt x="61" y="258"/>
                  </a:lnTo>
                  <a:lnTo>
                    <a:pt x="62" y="260"/>
                  </a:lnTo>
                  <a:lnTo>
                    <a:pt x="59" y="262"/>
                  </a:lnTo>
                  <a:lnTo>
                    <a:pt x="57" y="261"/>
                  </a:lnTo>
                  <a:lnTo>
                    <a:pt x="57" y="258"/>
                  </a:lnTo>
                  <a:lnTo>
                    <a:pt x="54" y="259"/>
                  </a:lnTo>
                  <a:lnTo>
                    <a:pt x="49" y="262"/>
                  </a:lnTo>
                  <a:lnTo>
                    <a:pt x="51" y="260"/>
                  </a:lnTo>
                  <a:lnTo>
                    <a:pt x="50" y="258"/>
                  </a:lnTo>
                  <a:lnTo>
                    <a:pt x="48" y="258"/>
                  </a:lnTo>
                  <a:lnTo>
                    <a:pt x="44" y="255"/>
                  </a:lnTo>
                  <a:lnTo>
                    <a:pt x="42" y="255"/>
                  </a:lnTo>
                  <a:lnTo>
                    <a:pt x="41" y="258"/>
                  </a:lnTo>
                  <a:lnTo>
                    <a:pt x="36" y="263"/>
                  </a:lnTo>
                  <a:lnTo>
                    <a:pt x="42" y="263"/>
                  </a:lnTo>
                  <a:lnTo>
                    <a:pt x="40" y="265"/>
                  </a:lnTo>
                  <a:lnTo>
                    <a:pt x="42" y="267"/>
                  </a:lnTo>
                  <a:lnTo>
                    <a:pt x="44" y="268"/>
                  </a:lnTo>
                  <a:lnTo>
                    <a:pt x="45" y="268"/>
                  </a:lnTo>
                  <a:lnTo>
                    <a:pt x="51" y="272"/>
                  </a:lnTo>
                  <a:lnTo>
                    <a:pt x="53" y="273"/>
                  </a:lnTo>
                  <a:lnTo>
                    <a:pt x="53" y="277"/>
                  </a:lnTo>
                  <a:lnTo>
                    <a:pt x="56" y="278"/>
                  </a:lnTo>
                  <a:lnTo>
                    <a:pt x="58" y="278"/>
                  </a:lnTo>
                  <a:lnTo>
                    <a:pt x="63" y="278"/>
                  </a:lnTo>
                  <a:lnTo>
                    <a:pt x="67" y="277"/>
                  </a:lnTo>
                  <a:lnTo>
                    <a:pt x="69" y="276"/>
                  </a:lnTo>
                  <a:lnTo>
                    <a:pt x="71" y="273"/>
                  </a:lnTo>
                  <a:lnTo>
                    <a:pt x="75" y="273"/>
                  </a:lnTo>
                  <a:lnTo>
                    <a:pt x="76" y="272"/>
                  </a:lnTo>
                  <a:lnTo>
                    <a:pt x="76" y="270"/>
                  </a:lnTo>
                  <a:lnTo>
                    <a:pt x="75" y="267"/>
                  </a:lnTo>
                  <a:lnTo>
                    <a:pt x="77" y="264"/>
                  </a:lnTo>
                  <a:lnTo>
                    <a:pt x="80" y="259"/>
                  </a:lnTo>
                  <a:lnTo>
                    <a:pt x="82" y="260"/>
                  </a:lnTo>
                  <a:lnTo>
                    <a:pt x="84" y="260"/>
                  </a:lnTo>
                  <a:lnTo>
                    <a:pt x="82" y="261"/>
                  </a:lnTo>
                  <a:lnTo>
                    <a:pt x="79" y="263"/>
                  </a:lnTo>
                  <a:lnTo>
                    <a:pt x="77" y="267"/>
                  </a:lnTo>
                  <a:lnTo>
                    <a:pt x="77" y="269"/>
                  </a:lnTo>
                  <a:lnTo>
                    <a:pt x="79" y="271"/>
                  </a:lnTo>
                  <a:lnTo>
                    <a:pt x="79" y="273"/>
                  </a:lnTo>
                  <a:lnTo>
                    <a:pt x="83" y="279"/>
                  </a:lnTo>
                  <a:lnTo>
                    <a:pt x="84" y="281"/>
                  </a:lnTo>
                  <a:lnTo>
                    <a:pt x="86" y="284"/>
                  </a:lnTo>
                  <a:lnTo>
                    <a:pt x="84" y="286"/>
                  </a:lnTo>
                  <a:lnTo>
                    <a:pt x="82" y="289"/>
                  </a:lnTo>
                  <a:lnTo>
                    <a:pt x="84" y="291"/>
                  </a:lnTo>
                  <a:lnTo>
                    <a:pt x="87" y="293"/>
                  </a:lnTo>
                  <a:lnTo>
                    <a:pt x="84" y="294"/>
                  </a:lnTo>
                  <a:lnTo>
                    <a:pt x="85" y="299"/>
                  </a:lnTo>
                  <a:lnTo>
                    <a:pt x="83" y="301"/>
                  </a:lnTo>
                  <a:lnTo>
                    <a:pt x="80" y="301"/>
                  </a:lnTo>
                  <a:lnTo>
                    <a:pt x="88" y="302"/>
                  </a:lnTo>
                  <a:lnTo>
                    <a:pt x="91" y="301"/>
                  </a:lnTo>
                  <a:lnTo>
                    <a:pt x="92" y="298"/>
                  </a:lnTo>
                  <a:lnTo>
                    <a:pt x="94" y="298"/>
                  </a:lnTo>
                  <a:lnTo>
                    <a:pt x="100" y="296"/>
                  </a:lnTo>
                  <a:lnTo>
                    <a:pt x="102" y="294"/>
                  </a:lnTo>
                  <a:lnTo>
                    <a:pt x="105" y="293"/>
                  </a:lnTo>
                  <a:lnTo>
                    <a:pt x="106" y="296"/>
                  </a:lnTo>
                  <a:lnTo>
                    <a:pt x="110" y="297"/>
                  </a:lnTo>
                  <a:lnTo>
                    <a:pt x="112" y="298"/>
                  </a:lnTo>
                  <a:lnTo>
                    <a:pt x="113" y="296"/>
                  </a:lnTo>
                  <a:lnTo>
                    <a:pt x="116" y="297"/>
                  </a:lnTo>
                  <a:lnTo>
                    <a:pt x="119" y="301"/>
                  </a:lnTo>
                  <a:lnTo>
                    <a:pt x="122" y="305"/>
                  </a:lnTo>
                  <a:lnTo>
                    <a:pt x="123" y="306"/>
                  </a:lnTo>
                  <a:lnTo>
                    <a:pt x="127" y="304"/>
                  </a:lnTo>
                  <a:lnTo>
                    <a:pt x="125" y="301"/>
                  </a:lnTo>
                  <a:lnTo>
                    <a:pt x="130" y="293"/>
                  </a:lnTo>
                  <a:lnTo>
                    <a:pt x="129" y="290"/>
                  </a:lnTo>
                  <a:lnTo>
                    <a:pt x="131" y="293"/>
                  </a:lnTo>
                  <a:lnTo>
                    <a:pt x="135" y="294"/>
                  </a:lnTo>
                  <a:lnTo>
                    <a:pt x="136" y="295"/>
                  </a:lnTo>
                  <a:lnTo>
                    <a:pt x="133" y="294"/>
                  </a:lnTo>
                  <a:lnTo>
                    <a:pt x="130" y="296"/>
                  </a:lnTo>
                  <a:lnTo>
                    <a:pt x="129" y="298"/>
                  </a:lnTo>
                  <a:lnTo>
                    <a:pt x="134" y="302"/>
                  </a:lnTo>
                  <a:lnTo>
                    <a:pt x="136" y="302"/>
                  </a:lnTo>
                  <a:lnTo>
                    <a:pt x="142" y="299"/>
                  </a:lnTo>
                  <a:lnTo>
                    <a:pt x="150" y="296"/>
                  </a:lnTo>
                  <a:lnTo>
                    <a:pt x="153" y="294"/>
                  </a:lnTo>
                  <a:lnTo>
                    <a:pt x="154" y="291"/>
                  </a:lnTo>
                  <a:lnTo>
                    <a:pt x="153" y="294"/>
                  </a:lnTo>
                  <a:lnTo>
                    <a:pt x="151" y="297"/>
                  </a:lnTo>
                  <a:lnTo>
                    <a:pt x="152" y="299"/>
                  </a:lnTo>
                  <a:lnTo>
                    <a:pt x="148" y="301"/>
                  </a:lnTo>
                  <a:lnTo>
                    <a:pt x="143" y="306"/>
                  </a:lnTo>
                  <a:lnTo>
                    <a:pt x="144" y="308"/>
                  </a:lnTo>
                  <a:lnTo>
                    <a:pt x="146" y="310"/>
                  </a:lnTo>
                  <a:lnTo>
                    <a:pt x="148" y="311"/>
                  </a:lnTo>
                  <a:lnTo>
                    <a:pt x="146" y="310"/>
                  </a:lnTo>
                  <a:lnTo>
                    <a:pt x="143" y="311"/>
                  </a:lnTo>
                  <a:lnTo>
                    <a:pt x="143" y="313"/>
                  </a:lnTo>
                  <a:lnTo>
                    <a:pt x="142" y="316"/>
                  </a:lnTo>
                  <a:lnTo>
                    <a:pt x="142" y="319"/>
                  </a:lnTo>
                  <a:lnTo>
                    <a:pt x="143" y="324"/>
                  </a:lnTo>
                  <a:lnTo>
                    <a:pt x="145" y="323"/>
                  </a:lnTo>
                  <a:lnTo>
                    <a:pt x="145" y="324"/>
                  </a:lnTo>
                  <a:lnTo>
                    <a:pt x="142" y="324"/>
                  </a:lnTo>
                  <a:lnTo>
                    <a:pt x="142" y="323"/>
                  </a:lnTo>
                  <a:lnTo>
                    <a:pt x="138" y="324"/>
                  </a:lnTo>
                  <a:lnTo>
                    <a:pt x="136" y="327"/>
                  </a:lnTo>
                  <a:lnTo>
                    <a:pt x="133" y="328"/>
                  </a:lnTo>
                  <a:lnTo>
                    <a:pt x="128" y="332"/>
                  </a:lnTo>
                  <a:lnTo>
                    <a:pt x="128" y="336"/>
                  </a:lnTo>
                  <a:lnTo>
                    <a:pt x="126" y="338"/>
                  </a:lnTo>
                  <a:lnTo>
                    <a:pt x="123" y="337"/>
                  </a:lnTo>
                  <a:lnTo>
                    <a:pt x="120" y="340"/>
                  </a:lnTo>
                  <a:lnTo>
                    <a:pt x="112" y="342"/>
                  </a:lnTo>
                  <a:lnTo>
                    <a:pt x="106" y="347"/>
                  </a:lnTo>
                  <a:lnTo>
                    <a:pt x="104" y="349"/>
                  </a:lnTo>
                  <a:lnTo>
                    <a:pt x="103" y="352"/>
                  </a:lnTo>
                  <a:lnTo>
                    <a:pt x="103" y="355"/>
                  </a:lnTo>
                  <a:lnTo>
                    <a:pt x="104" y="357"/>
                  </a:lnTo>
                  <a:lnTo>
                    <a:pt x="102" y="356"/>
                  </a:lnTo>
                  <a:lnTo>
                    <a:pt x="99" y="356"/>
                  </a:lnTo>
                  <a:lnTo>
                    <a:pt x="99" y="358"/>
                  </a:lnTo>
                  <a:lnTo>
                    <a:pt x="97" y="356"/>
                  </a:lnTo>
                  <a:lnTo>
                    <a:pt x="97" y="354"/>
                  </a:lnTo>
                  <a:lnTo>
                    <a:pt x="95" y="355"/>
                  </a:lnTo>
                  <a:lnTo>
                    <a:pt x="92" y="354"/>
                  </a:lnTo>
                  <a:lnTo>
                    <a:pt x="80" y="357"/>
                  </a:lnTo>
                  <a:lnTo>
                    <a:pt x="78" y="359"/>
                  </a:lnTo>
                  <a:lnTo>
                    <a:pt x="76" y="363"/>
                  </a:lnTo>
                  <a:lnTo>
                    <a:pt x="76" y="365"/>
                  </a:lnTo>
                  <a:lnTo>
                    <a:pt x="72" y="366"/>
                  </a:lnTo>
                  <a:lnTo>
                    <a:pt x="70" y="368"/>
                  </a:lnTo>
                  <a:lnTo>
                    <a:pt x="67" y="368"/>
                  </a:lnTo>
                  <a:lnTo>
                    <a:pt x="65" y="370"/>
                  </a:lnTo>
                  <a:lnTo>
                    <a:pt x="65" y="373"/>
                  </a:lnTo>
                  <a:lnTo>
                    <a:pt x="66" y="375"/>
                  </a:lnTo>
                  <a:lnTo>
                    <a:pt x="67" y="373"/>
                  </a:lnTo>
                  <a:lnTo>
                    <a:pt x="66" y="370"/>
                  </a:lnTo>
                  <a:lnTo>
                    <a:pt x="69" y="373"/>
                  </a:lnTo>
                  <a:lnTo>
                    <a:pt x="71" y="374"/>
                  </a:lnTo>
                  <a:lnTo>
                    <a:pt x="75" y="373"/>
                  </a:lnTo>
                  <a:lnTo>
                    <a:pt x="74" y="370"/>
                  </a:lnTo>
                  <a:lnTo>
                    <a:pt x="72" y="367"/>
                  </a:lnTo>
                  <a:lnTo>
                    <a:pt x="76" y="368"/>
                  </a:lnTo>
                  <a:lnTo>
                    <a:pt x="77" y="372"/>
                  </a:lnTo>
                  <a:lnTo>
                    <a:pt x="80" y="370"/>
                  </a:lnTo>
                  <a:lnTo>
                    <a:pt x="83" y="370"/>
                  </a:lnTo>
                  <a:lnTo>
                    <a:pt x="84" y="367"/>
                  </a:lnTo>
                  <a:lnTo>
                    <a:pt x="86" y="364"/>
                  </a:lnTo>
                  <a:lnTo>
                    <a:pt x="87" y="362"/>
                  </a:lnTo>
                  <a:lnTo>
                    <a:pt x="89" y="361"/>
                  </a:lnTo>
                  <a:lnTo>
                    <a:pt x="93" y="362"/>
                  </a:lnTo>
                  <a:lnTo>
                    <a:pt x="89" y="363"/>
                  </a:lnTo>
                  <a:lnTo>
                    <a:pt x="89" y="365"/>
                  </a:lnTo>
                  <a:lnTo>
                    <a:pt x="93" y="366"/>
                  </a:lnTo>
                  <a:lnTo>
                    <a:pt x="97" y="363"/>
                  </a:lnTo>
                  <a:lnTo>
                    <a:pt x="101" y="362"/>
                  </a:lnTo>
                  <a:lnTo>
                    <a:pt x="103" y="363"/>
                  </a:lnTo>
                  <a:lnTo>
                    <a:pt x="104" y="359"/>
                  </a:lnTo>
                  <a:lnTo>
                    <a:pt x="106" y="359"/>
                  </a:lnTo>
                  <a:lnTo>
                    <a:pt x="110" y="357"/>
                  </a:lnTo>
                  <a:lnTo>
                    <a:pt x="111" y="357"/>
                  </a:lnTo>
                  <a:lnTo>
                    <a:pt x="114" y="358"/>
                  </a:lnTo>
                  <a:lnTo>
                    <a:pt x="113" y="361"/>
                  </a:lnTo>
                  <a:lnTo>
                    <a:pt x="116" y="361"/>
                  </a:lnTo>
                  <a:lnTo>
                    <a:pt x="117" y="357"/>
                  </a:lnTo>
                  <a:lnTo>
                    <a:pt x="120" y="355"/>
                  </a:lnTo>
                  <a:lnTo>
                    <a:pt x="122" y="355"/>
                  </a:lnTo>
                  <a:lnTo>
                    <a:pt x="126" y="353"/>
                  </a:lnTo>
                  <a:lnTo>
                    <a:pt x="128" y="354"/>
                  </a:lnTo>
                  <a:lnTo>
                    <a:pt x="129" y="350"/>
                  </a:lnTo>
                  <a:lnTo>
                    <a:pt x="130" y="354"/>
                  </a:lnTo>
                  <a:lnTo>
                    <a:pt x="131" y="353"/>
                  </a:lnTo>
                  <a:lnTo>
                    <a:pt x="133" y="350"/>
                  </a:lnTo>
                  <a:lnTo>
                    <a:pt x="135" y="349"/>
                  </a:lnTo>
                  <a:lnTo>
                    <a:pt x="133" y="349"/>
                  </a:lnTo>
                  <a:lnTo>
                    <a:pt x="133" y="347"/>
                  </a:lnTo>
                  <a:lnTo>
                    <a:pt x="129" y="347"/>
                  </a:lnTo>
                  <a:lnTo>
                    <a:pt x="133" y="344"/>
                  </a:lnTo>
                  <a:lnTo>
                    <a:pt x="135" y="344"/>
                  </a:lnTo>
                  <a:lnTo>
                    <a:pt x="138" y="342"/>
                  </a:lnTo>
                  <a:lnTo>
                    <a:pt x="135" y="342"/>
                  </a:lnTo>
                  <a:lnTo>
                    <a:pt x="138" y="341"/>
                  </a:lnTo>
                  <a:lnTo>
                    <a:pt x="140" y="340"/>
                  </a:lnTo>
                  <a:lnTo>
                    <a:pt x="143" y="339"/>
                  </a:lnTo>
                  <a:lnTo>
                    <a:pt x="146" y="337"/>
                  </a:lnTo>
                  <a:lnTo>
                    <a:pt x="150" y="337"/>
                  </a:lnTo>
                  <a:lnTo>
                    <a:pt x="152" y="335"/>
                  </a:lnTo>
                  <a:lnTo>
                    <a:pt x="157" y="332"/>
                  </a:lnTo>
                  <a:lnTo>
                    <a:pt x="159" y="330"/>
                  </a:lnTo>
                  <a:lnTo>
                    <a:pt x="157" y="328"/>
                  </a:lnTo>
                  <a:lnTo>
                    <a:pt x="160" y="325"/>
                  </a:lnTo>
                  <a:lnTo>
                    <a:pt x="165" y="323"/>
                  </a:lnTo>
                  <a:lnTo>
                    <a:pt x="168" y="323"/>
                  </a:lnTo>
                  <a:lnTo>
                    <a:pt x="169" y="321"/>
                  </a:lnTo>
                  <a:lnTo>
                    <a:pt x="172" y="319"/>
                  </a:lnTo>
                  <a:lnTo>
                    <a:pt x="177" y="316"/>
                  </a:lnTo>
                  <a:lnTo>
                    <a:pt x="179" y="314"/>
                  </a:lnTo>
                  <a:lnTo>
                    <a:pt x="185" y="312"/>
                  </a:lnTo>
                  <a:lnTo>
                    <a:pt x="187" y="313"/>
                  </a:lnTo>
                  <a:lnTo>
                    <a:pt x="189" y="310"/>
                  </a:lnTo>
                  <a:lnTo>
                    <a:pt x="189" y="307"/>
                  </a:lnTo>
                  <a:lnTo>
                    <a:pt x="190" y="305"/>
                  </a:lnTo>
                  <a:lnTo>
                    <a:pt x="194" y="302"/>
                  </a:lnTo>
                  <a:lnTo>
                    <a:pt x="196" y="302"/>
                  </a:lnTo>
                  <a:lnTo>
                    <a:pt x="198" y="301"/>
                  </a:lnTo>
                  <a:lnTo>
                    <a:pt x="200" y="297"/>
                  </a:lnTo>
                  <a:lnTo>
                    <a:pt x="199" y="295"/>
                  </a:lnTo>
                  <a:lnTo>
                    <a:pt x="197" y="294"/>
                  </a:lnTo>
                  <a:lnTo>
                    <a:pt x="195" y="293"/>
                  </a:lnTo>
                  <a:lnTo>
                    <a:pt x="189" y="293"/>
                  </a:lnTo>
                  <a:lnTo>
                    <a:pt x="189" y="291"/>
                  </a:lnTo>
                  <a:lnTo>
                    <a:pt x="190" y="287"/>
                  </a:lnTo>
                  <a:lnTo>
                    <a:pt x="193" y="286"/>
                  </a:lnTo>
                  <a:lnTo>
                    <a:pt x="194" y="284"/>
                  </a:lnTo>
                  <a:lnTo>
                    <a:pt x="196" y="281"/>
                  </a:lnTo>
                  <a:lnTo>
                    <a:pt x="202" y="280"/>
                  </a:lnTo>
                  <a:lnTo>
                    <a:pt x="204" y="280"/>
                  </a:lnTo>
                  <a:lnTo>
                    <a:pt x="205" y="277"/>
                  </a:lnTo>
                  <a:lnTo>
                    <a:pt x="202" y="277"/>
                  </a:lnTo>
                  <a:lnTo>
                    <a:pt x="207" y="276"/>
                  </a:lnTo>
                  <a:lnTo>
                    <a:pt x="211" y="273"/>
                  </a:lnTo>
                  <a:lnTo>
                    <a:pt x="211" y="272"/>
                  </a:lnTo>
                  <a:lnTo>
                    <a:pt x="206" y="268"/>
                  </a:lnTo>
                  <a:lnTo>
                    <a:pt x="208" y="269"/>
                  </a:lnTo>
                  <a:lnTo>
                    <a:pt x="211" y="269"/>
                  </a:lnTo>
                  <a:lnTo>
                    <a:pt x="214" y="268"/>
                  </a:lnTo>
                  <a:lnTo>
                    <a:pt x="214" y="264"/>
                  </a:lnTo>
                  <a:lnTo>
                    <a:pt x="216" y="262"/>
                  </a:lnTo>
                  <a:lnTo>
                    <a:pt x="220" y="260"/>
                  </a:lnTo>
                  <a:lnTo>
                    <a:pt x="222" y="258"/>
                  </a:lnTo>
                  <a:lnTo>
                    <a:pt x="223" y="255"/>
                  </a:lnTo>
                  <a:lnTo>
                    <a:pt x="225" y="253"/>
                  </a:lnTo>
                  <a:lnTo>
                    <a:pt x="231" y="252"/>
                  </a:lnTo>
                  <a:lnTo>
                    <a:pt x="233" y="248"/>
                  </a:lnTo>
                  <a:lnTo>
                    <a:pt x="237" y="248"/>
                  </a:lnTo>
                  <a:lnTo>
                    <a:pt x="239" y="245"/>
                  </a:lnTo>
                  <a:lnTo>
                    <a:pt x="241" y="248"/>
                  </a:lnTo>
                  <a:lnTo>
                    <a:pt x="247" y="248"/>
                  </a:lnTo>
                  <a:lnTo>
                    <a:pt x="249" y="245"/>
                  </a:lnTo>
                  <a:lnTo>
                    <a:pt x="251" y="243"/>
                  </a:lnTo>
                  <a:lnTo>
                    <a:pt x="255" y="244"/>
                  </a:lnTo>
                  <a:lnTo>
                    <a:pt x="249" y="246"/>
                  </a:lnTo>
                  <a:lnTo>
                    <a:pt x="247" y="248"/>
                  </a:lnTo>
                  <a:lnTo>
                    <a:pt x="247" y="251"/>
                  </a:lnTo>
                  <a:lnTo>
                    <a:pt x="251" y="253"/>
                  </a:lnTo>
                  <a:lnTo>
                    <a:pt x="257" y="255"/>
                  </a:lnTo>
                  <a:lnTo>
                    <a:pt x="249" y="254"/>
                  </a:lnTo>
                  <a:lnTo>
                    <a:pt x="246" y="255"/>
                  </a:lnTo>
                  <a:lnTo>
                    <a:pt x="240" y="253"/>
                  </a:lnTo>
                  <a:lnTo>
                    <a:pt x="237" y="254"/>
                  </a:lnTo>
                  <a:lnTo>
                    <a:pt x="232" y="258"/>
                  </a:lnTo>
                  <a:lnTo>
                    <a:pt x="229" y="258"/>
                  </a:lnTo>
                  <a:lnTo>
                    <a:pt x="228" y="261"/>
                  </a:lnTo>
                  <a:lnTo>
                    <a:pt x="229" y="263"/>
                  </a:lnTo>
                  <a:lnTo>
                    <a:pt x="229" y="267"/>
                  </a:lnTo>
                  <a:lnTo>
                    <a:pt x="228" y="269"/>
                  </a:lnTo>
                  <a:lnTo>
                    <a:pt x="223" y="273"/>
                  </a:lnTo>
                  <a:lnTo>
                    <a:pt x="221" y="278"/>
                  </a:lnTo>
                  <a:lnTo>
                    <a:pt x="223" y="280"/>
                  </a:lnTo>
                  <a:lnTo>
                    <a:pt x="225" y="281"/>
                  </a:lnTo>
                  <a:lnTo>
                    <a:pt x="229" y="280"/>
                  </a:lnTo>
                  <a:lnTo>
                    <a:pt x="231" y="280"/>
                  </a:lnTo>
                  <a:lnTo>
                    <a:pt x="229" y="282"/>
                  </a:lnTo>
                  <a:lnTo>
                    <a:pt x="227" y="285"/>
                  </a:lnTo>
                  <a:lnTo>
                    <a:pt x="223" y="285"/>
                  </a:lnTo>
                  <a:lnTo>
                    <a:pt x="221" y="286"/>
                  </a:lnTo>
                  <a:lnTo>
                    <a:pt x="220" y="289"/>
                  </a:lnTo>
                  <a:lnTo>
                    <a:pt x="222" y="290"/>
                  </a:lnTo>
                  <a:lnTo>
                    <a:pt x="231" y="288"/>
                  </a:lnTo>
                  <a:lnTo>
                    <a:pt x="233" y="289"/>
                  </a:lnTo>
                  <a:lnTo>
                    <a:pt x="236" y="287"/>
                  </a:lnTo>
                  <a:lnTo>
                    <a:pt x="238" y="285"/>
                  </a:lnTo>
                  <a:lnTo>
                    <a:pt x="239" y="282"/>
                  </a:lnTo>
                  <a:lnTo>
                    <a:pt x="241" y="282"/>
                  </a:lnTo>
                  <a:lnTo>
                    <a:pt x="244" y="279"/>
                  </a:lnTo>
                  <a:lnTo>
                    <a:pt x="244" y="282"/>
                  </a:lnTo>
                  <a:lnTo>
                    <a:pt x="247" y="281"/>
                  </a:lnTo>
                  <a:lnTo>
                    <a:pt x="247" y="278"/>
                  </a:lnTo>
                  <a:lnTo>
                    <a:pt x="250" y="279"/>
                  </a:lnTo>
                  <a:lnTo>
                    <a:pt x="249" y="277"/>
                  </a:lnTo>
                  <a:lnTo>
                    <a:pt x="251" y="277"/>
                  </a:lnTo>
                  <a:lnTo>
                    <a:pt x="253" y="279"/>
                  </a:lnTo>
                  <a:lnTo>
                    <a:pt x="253" y="277"/>
                  </a:lnTo>
                  <a:lnTo>
                    <a:pt x="255" y="273"/>
                  </a:lnTo>
                  <a:lnTo>
                    <a:pt x="256" y="273"/>
                  </a:lnTo>
                  <a:lnTo>
                    <a:pt x="256" y="277"/>
                  </a:lnTo>
                  <a:lnTo>
                    <a:pt x="257" y="273"/>
                  </a:lnTo>
                  <a:lnTo>
                    <a:pt x="264" y="274"/>
                  </a:lnTo>
                  <a:lnTo>
                    <a:pt x="266" y="273"/>
                  </a:lnTo>
                  <a:lnTo>
                    <a:pt x="268" y="273"/>
                  </a:lnTo>
                  <a:lnTo>
                    <a:pt x="268" y="271"/>
                  </a:lnTo>
                  <a:lnTo>
                    <a:pt x="272" y="271"/>
                  </a:lnTo>
                  <a:lnTo>
                    <a:pt x="270" y="268"/>
                  </a:lnTo>
                  <a:lnTo>
                    <a:pt x="273" y="265"/>
                  </a:lnTo>
                  <a:lnTo>
                    <a:pt x="274" y="263"/>
                  </a:lnTo>
                  <a:lnTo>
                    <a:pt x="272" y="262"/>
                  </a:lnTo>
                  <a:lnTo>
                    <a:pt x="268" y="263"/>
                  </a:lnTo>
                  <a:lnTo>
                    <a:pt x="266" y="263"/>
                  </a:lnTo>
                  <a:lnTo>
                    <a:pt x="268" y="262"/>
                  </a:lnTo>
                  <a:lnTo>
                    <a:pt x="271" y="261"/>
                  </a:lnTo>
                  <a:lnTo>
                    <a:pt x="271" y="258"/>
                  </a:lnTo>
                  <a:lnTo>
                    <a:pt x="268" y="261"/>
                  </a:lnTo>
                  <a:lnTo>
                    <a:pt x="267" y="258"/>
                  </a:lnTo>
                  <a:lnTo>
                    <a:pt x="265" y="260"/>
                  </a:lnTo>
                  <a:lnTo>
                    <a:pt x="266" y="256"/>
                  </a:lnTo>
                  <a:lnTo>
                    <a:pt x="270" y="256"/>
                  </a:lnTo>
                  <a:lnTo>
                    <a:pt x="271" y="254"/>
                  </a:lnTo>
                  <a:lnTo>
                    <a:pt x="271" y="251"/>
                  </a:lnTo>
                  <a:lnTo>
                    <a:pt x="273" y="253"/>
                  </a:lnTo>
                  <a:lnTo>
                    <a:pt x="275" y="250"/>
                  </a:lnTo>
                  <a:lnTo>
                    <a:pt x="278" y="247"/>
                  </a:lnTo>
                  <a:lnTo>
                    <a:pt x="278" y="250"/>
                  </a:lnTo>
                  <a:lnTo>
                    <a:pt x="275" y="252"/>
                  </a:lnTo>
                  <a:lnTo>
                    <a:pt x="274" y="255"/>
                  </a:lnTo>
                  <a:lnTo>
                    <a:pt x="280" y="256"/>
                  </a:lnTo>
                  <a:lnTo>
                    <a:pt x="280" y="253"/>
                  </a:lnTo>
                  <a:lnTo>
                    <a:pt x="281" y="251"/>
                  </a:lnTo>
                  <a:lnTo>
                    <a:pt x="281" y="253"/>
                  </a:lnTo>
                  <a:lnTo>
                    <a:pt x="287" y="253"/>
                  </a:lnTo>
                  <a:lnTo>
                    <a:pt x="289" y="254"/>
                  </a:lnTo>
                  <a:lnTo>
                    <a:pt x="292" y="252"/>
                  </a:lnTo>
                  <a:lnTo>
                    <a:pt x="295" y="251"/>
                  </a:lnTo>
                  <a:lnTo>
                    <a:pt x="298" y="252"/>
                  </a:lnTo>
                  <a:lnTo>
                    <a:pt x="295" y="252"/>
                  </a:lnTo>
                  <a:lnTo>
                    <a:pt x="292" y="253"/>
                  </a:lnTo>
                  <a:lnTo>
                    <a:pt x="292" y="255"/>
                  </a:lnTo>
                  <a:lnTo>
                    <a:pt x="295" y="258"/>
                  </a:lnTo>
                  <a:lnTo>
                    <a:pt x="298" y="256"/>
                  </a:lnTo>
                  <a:lnTo>
                    <a:pt x="300" y="256"/>
                  </a:lnTo>
                  <a:lnTo>
                    <a:pt x="296" y="258"/>
                  </a:lnTo>
                  <a:lnTo>
                    <a:pt x="293" y="260"/>
                  </a:lnTo>
                  <a:lnTo>
                    <a:pt x="296" y="260"/>
                  </a:lnTo>
                  <a:lnTo>
                    <a:pt x="301" y="258"/>
                  </a:lnTo>
                  <a:lnTo>
                    <a:pt x="300" y="261"/>
                  </a:lnTo>
                  <a:lnTo>
                    <a:pt x="302" y="260"/>
                  </a:lnTo>
                  <a:lnTo>
                    <a:pt x="306" y="262"/>
                  </a:lnTo>
                  <a:lnTo>
                    <a:pt x="304" y="264"/>
                  </a:lnTo>
                  <a:lnTo>
                    <a:pt x="307" y="264"/>
                  </a:lnTo>
                  <a:lnTo>
                    <a:pt x="309" y="267"/>
                  </a:lnTo>
                  <a:lnTo>
                    <a:pt x="313" y="265"/>
                  </a:lnTo>
                  <a:lnTo>
                    <a:pt x="317" y="261"/>
                  </a:lnTo>
                  <a:lnTo>
                    <a:pt x="321" y="259"/>
                  </a:lnTo>
                  <a:lnTo>
                    <a:pt x="321" y="260"/>
                  </a:lnTo>
                  <a:lnTo>
                    <a:pt x="317" y="262"/>
                  </a:lnTo>
                  <a:lnTo>
                    <a:pt x="317" y="268"/>
                  </a:lnTo>
                  <a:lnTo>
                    <a:pt x="319" y="269"/>
                  </a:lnTo>
                  <a:lnTo>
                    <a:pt x="323" y="270"/>
                  </a:lnTo>
                  <a:lnTo>
                    <a:pt x="325" y="271"/>
                  </a:lnTo>
                  <a:lnTo>
                    <a:pt x="326" y="273"/>
                  </a:lnTo>
                  <a:lnTo>
                    <a:pt x="331" y="273"/>
                  </a:lnTo>
                  <a:lnTo>
                    <a:pt x="333" y="273"/>
                  </a:lnTo>
                  <a:lnTo>
                    <a:pt x="347" y="271"/>
                  </a:lnTo>
                  <a:lnTo>
                    <a:pt x="349" y="272"/>
                  </a:lnTo>
                  <a:lnTo>
                    <a:pt x="358" y="273"/>
                  </a:lnTo>
                  <a:lnTo>
                    <a:pt x="360" y="274"/>
                  </a:lnTo>
                  <a:lnTo>
                    <a:pt x="364" y="273"/>
                  </a:lnTo>
                  <a:lnTo>
                    <a:pt x="365" y="271"/>
                  </a:lnTo>
                  <a:lnTo>
                    <a:pt x="366" y="273"/>
                  </a:lnTo>
                  <a:lnTo>
                    <a:pt x="365" y="277"/>
                  </a:lnTo>
                  <a:lnTo>
                    <a:pt x="373" y="279"/>
                  </a:lnTo>
                  <a:lnTo>
                    <a:pt x="378" y="280"/>
                  </a:lnTo>
                  <a:lnTo>
                    <a:pt x="381" y="279"/>
                  </a:lnTo>
                  <a:lnTo>
                    <a:pt x="384" y="278"/>
                  </a:lnTo>
                  <a:lnTo>
                    <a:pt x="386" y="277"/>
                  </a:lnTo>
                  <a:lnTo>
                    <a:pt x="390" y="273"/>
                  </a:lnTo>
                  <a:lnTo>
                    <a:pt x="392" y="273"/>
                  </a:lnTo>
                  <a:lnTo>
                    <a:pt x="393" y="276"/>
                  </a:lnTo>
                  <a:lnTo>
                    <a:pt x="399" y="278"/>
                  </a:lnTo>
                  <a:lnTo>
                    <a:pt x="396" y="277"/>
                  </a:lnTo>
                  <a:lnTo>
                    <a:pt x="393" y="279"/>
                  </a:lnTo>
                  <a:lnTo>
                    <a:pt x="393" y="282"/>
                  </a:lnTo>
                  <a:lnTo>
                    <a:pt x="393" y="277"/>
                  </a:lnTo>
                  <a:lnTo>
                    <a:pt x="390" y="274"/>
                  </a:lnTo>
                  <a:lnTo>
                    <a:pt x="390" y="277"/>
                  </a:lnTo>
                  <a:lnTo>
                    <a:pt x="391" y="280"/>
                  </a:lnTo>
                  <a:lnTo>
                    <a:pt x="389" y="282"/>
                  </a:lnTo>
                  <a:lnTo>
                    <a:pt x="385" y="284"/>
                  </a:lnTo>
                  <a:lnTo>
                    <a:pt x="389" y="285"/>
                  </a:lnTo>
                  <a:lnTo>
                    <a:pt x="391" y="286"/>
                  </a:lnTo>
                  <a:lnTo>
                    <a:pt x="393" y="287"/>
                  </a:lnTo>
                  <a:lnTo>
                    <a:pt x="396" y="288"/>
                  </a:lnTo>
                  <a:lnTo>
                    <a:pt x="399" y="289"/>
                  </a:lnTo>
                  <a:lnTo>
                    <a:pt x="402" y="291"/>
                  </a:lnTo>
                  <a:lnTo>
                    <a:pt x="404" y="290"/>
                  </a:lnTo>
                  <a:lnTo>
                    <a:pt x="403" y="293"/>
                  </a:lnTo>
                  <a:lnTo>
                    <a:pt x="407" y="293"/>
                  </a:lnTo>
                  <a:lnTo>
                    <a:pt x="409" y="295"/>
                  </a:lnTo>
                  <a:lnTo>
                    <a:pt x="411" y="297"/>
                  </a:lnTo>
                  <a:lnTo>
                    <a:pt x="416" y="302"/>
                  </a:lnTo>
                  <a:lnTo>
                    <a:pt x="421" y="305"/>
                  </a:lnTo>
                  <a:lnTo>
                    <a:pt x="427" y="307"/>
                  </a:lnTo>
                  <a:lnTo>
                    <a:pt x="429" y="310"/>
                  </a:lnTo>
                  <a:lnTo>
                    <a:pt x="429" y="307"/>
                  </a:lnTo>
                  <a:lnTo>
                    <a:pt x="433" y="306"/>
                  </a:lnTo>
                  <a:lnTo>
                    <a:pt x="435" y="307"/>
                  </a:lnTo>
                  <a:lnTo>
                    <a:pt x="437" y="306"/>
                  </a:lnTo>
                  <a:lnTo>
                    <a:pt x="435" y="304"/>
                  </a:lnTo>
                  <a:lnTo>
                    <a:pt x="435" y="301"/>
                  </a:lnTo>
                  <a:lnTo>
                    <a:pt x="432" y="301"/>
                  </a:lnTo>
                  <a:lnTo>
                    <a:pt x="432" y="298"/>
                  </a:lnTo>
                  <a:lnTo>
                    <a:pt x="426" y="296"/>
                  </a:lnTo>
                  <a:lnTo>
                    <a:pt x="424" y="297"/>
                  </a:lnTo>
                  <a:lnTo>
                    <a:pt x="426" y="296"/>
                  </a:lnTo>
                  <a:lnTo>
                    <a:pt x="424" y="293"/>
                  </a:lnTo>
                  <a:lnTo>
                    <a:pt x="426" y="295"/>
                  </a:lnTo>
                  <a:lnTo>
                    <a:pt x="429" y="294"/>
                  </a:lnTo>
                  <a:lnTo>
                    <a:pt x="432" y="297"/>
                  </a:lnTo>
                  <a:lnTo>
                    <a:pt x="434" y="298"/>
                  </a:lnTo>
                  <a:lnTo>
                    <a:pt x="437" y="297"/>
                  </a:lnTo>
                  <a:lnTo>
                    <a:pt x="437" y="294"/>
                  </a:lnTo>
                  <a:lnTo>
                    <a:pt x="437" y="297"/>
                  </a:lnTo>
                  <a:lnTo>
                    <a:pt x="441" y="297"/>
                  </a:lnTo>
                  <a:lnTo>
                    <a:pt x="437" y="298"/>
                  </a:lnTo>
                  <a:lnTo>
                    <a:pt x="441" y="304"/>
                  </a:lnTo>
                  <a:lnTo>
                    <a:pt x="441" y="306"/>
                  </a:lnTo>
                  <a:lnTo>
                    <a:pt x="443" y="305"/>
                  </a:lnTo>
                  <a:lnTo>
                    <a:pt x="446" y="306"/>
                  </a:lnTo>
                  <a:lnTo>
                    <a:pt x="447" y="308"/>
                  </a:lnTo>
                  <a:lnTo>
                    <a:pt x="450" y="310"/>
                  </a:lnTo>
                  <a:lnTo>
                    <a:pt x="451" y="307"/>
                  </a:lnTo>
                  <a:lnTo>
                    <a:pt x="450" y="305"/>
                  </a:lnTo>
                  <a:lnTo>
                    <a:pt x="450" y="302"/>
                  </a:lnTo>
                  <a:lnTo>
                    <a:pt x="446" y="295"/>
                  </a:lnTo>
                  <a:lnTo>
                    <a:pt x="446" y="293"/>
                  </a:lnTo>
                  <a:lnTo>
                    <a:pt x="445" y="289"/>
                  </a:lnTo>
                  <a:lnTo>
                    <a:pt x="447" y="290"/>
                  </a:lnTo>
                  <a:lnTo>
                    <a:pt x="445" y="288"/>
                  </a:lnTo>
                  <a:lnTo>
                    <a:pt x="446" y="288"/>
                  </a:lnTo>
                  <a:lnTo>
                    <a:pt x="447" y="285"/>
                  </a:lnTo>
                  <a:lnTo>
                    <a:pt x="447" y="287"/>
                  </a:lnTo>
                  <a:lnTo>
                    <a:pt x="447" y="289"/>
                  </a:lnTo>
                  <a:lnTo>
                    <a:pt x="449" y="293"/>
                  </a:lnTo>
                  <a:lnTo>
                    <a:pt x="450" y="297"/>
                  </a:lnTo>
                  <a:lnTo>
                    <a:pt x="453" y="298"/>
                  </a:lnTo>
                  <a:lnTo>
                    <a:pt x="452" y="302"/>
                  </a:lnTo>
                  <a:lnTo>
                    <a:pt x="455" y="306"/>
                  </a:lnTo>
                  <a:lnTo>
                    <a:pt x="459" y="307"/>
                  </a:lnTo>
                  <a:lnTo>
                    <a:pt x="461" y="310"/>
                  </a:lnTo>
                  <a:lnTo>
                    <a:pt x="464" y="310"/>
                  </a:lnTo>
                  <a:lnTo>
                    <a:pt x="467" y="304"/>
                  </a:lnTo>
                  <a:lnTo>
                    <a:pt x="469" y="304"/>
                  </a:lnTo>
                  <a:lnTo>
                    <a:pt x="467" y="306"/>
                  </a:lnTo>
                  <a:lnTo>
                    <a:pt x="464" y="308"/>
                  </a:lnTo>
                  <a:lnTo>
                    <a:pt x="464" y="311"/>
                  </a:lnTo>
                  <a:lnTo>
                    <a:pt x="467" y="314"/>
                  </a:lnTo>
                  <a:lnTo>
                    <a:pt x="469" y="313"/>
                  </a:lnTo>
                  <a:lnTo>
                    <a:pt x="468" y="315"/>
                  </a:lnTo>
                  <a:lnTo>
                    <a:pt x="470" y="319"/>
                  </a:lnTo>
                  <a:lnTo>
                    <a:pt x="472" y="315"/>
                  </a:lnTo>
                  <a:lnTo>
                    <a:pt x="475" y="316"/>
                  </a:lnTo>
                  <a:lnTo>
                    <a:pt x="477" y="318"/>
                  </a:lnTo>
                  <a:lnTo>
                    <a:pt x="475" y="316"/>
                  </a:lnTo>
                  <a:lnTo>
                    <a:pt x="472" y="318"/>
                  </a:lnTo>
                  <a:lnTo>
                    <a:pt x="473" y="320"/>
                  </a:lnTo>
                  <a:lnTo>
                    <a:pt x="479" y="323"/>
                  </a:lnTo>
                  <a:lnTo>
                    <a:pt x="471" y="320"/>
                  </a:lnTo>
                  <a:lnTo>
                    <a:pt x="472" y="323"/>
                  </a:lnTo>
                  <a:lnTo>
                    <a:pt x="475" y="322"/>
                  </a:lnTo>
                  <a:lnTo>
                    <a:pt x="472" y="325"/>
                  </a:lnTo>
                  <a:lnTo>
                    <a:pt x="476" y="328"/>
                  </a:lnTo>
                  <a:lnTo>
                    <a:pt x="478" y="328"/>
                  </a:lnTo>
                  <a:lnTo>
                    <a:pt x="472" y="329"/>
                  </a:lnTo>
                  <a:lnTo>
                    <a:pt x="473" y="331"/>
                  </a:lnTo>
                  <a:lnTo>
                    <a:pt x="477" y="331"/>
                  </a:lnTo>
                  <a:lnTo>
                    <a:pt x="479" y="332"/>
                  </a:lnTo>
                  <a:lnTo>
                    <a:pt x="481" y="333"/>
                  </a:lnTo>
                  <a:lnTo>
                    <a:pt x="481" y="336"/>
                  </a:lnTo>
                  <a:lnTo>
                    <a:pt x="484" y="338"/>
                  </a:lnTo>
                  <a:lnTo>
                    <a:pt x="487" y="339"/>
                  </a:lnTo>
                  <a:lnTo>
                    <a:pt x="486" y="341"/>
                  </a:lnTo>
                  <a:lnTo>
                    <a:pt x="489" y="341"/>
                  </a:lnTo>
                  <a:lnTo>
                    <a:pt x="489" y="344"/>
                  </a:lnTo>
                  <a:lnTo>
                    <a:pt x="493" y="346"/>
                  </a:lnTo>
                  <a:lnTo>
                    <a:pt x="494" y="349"/>
                  </a:lnTo>
                  <a:lnTo>
                    <a:pt x="498" y="349"/>
                  </a:lnTo>
                  <a:lnTo>
                    <a:pt x="496" y="349"/>
                  </a:lnTo>
                  <a:lnTo>
                    <a:pt x="494" y="352"/>
                  </a:lnTo>
                  <a:lnTo>
                    <a:pt x="494" y="354"/>
                  </a:lnTo>
                  <a:lnTo>
                    <a:pt x="490" y="359"/>
                  </a:lnTo>
                  <a:lnTo>
                    <a:pt x="492" y="362"/>
                  </a:lnTo>
                  <a:lnTo>
                    <a:pt x="495" y="361"/>
                  </a:lnTo>
                  <a:lnTo>
                    <a:pt x="496" y="358"/>
                  </a:lnTo>
                  <a:lnTo>
                    <a:pt x="496" y="356"/>
                  </a:lnTo>
                  <a:lnTo>
                    <a:pt x="498" y="354"/>
                  </a:lnTo>
                  <a:lnTo>
                    <a:pt x="504" y="354"/>
                  </a:lnTo>
                  <a:lnTo>
                    <a:pt x="509" y="358"/>
                  </a:lnTo>
                  <a:lnTo>
                    <a:pt x="509" y="364"/>
                  </a:lnTo>
                  <a:lnTo>
                    <a:pt x="510" y="367"/>
                  </a:lnTo>
                  <a:lnTo>
                    <a:pt x="507" y="367"/>
                  </a:lnTo>
                  <a:lnTo>
                    <a:pt x="509" y="371"/>
                  </a:lnTo>
                  <a:lnTo>
                    <a:pt x="511" y="370"/>
                  </a:lnTo>
                  <a:lnTo>
                    <a:pt x="514" y="366"/>
                  </a:lnTo>
                  <a:lnTo>
                    <a:pt x="511" y="370"/>
                  </a:lnTo>
                  <a:lnTo>
                    <a:pt x="509" y="371"/>
                  </a:lnTo>
                  <a:lnTo>
                    <a:pt x="507" y="373"/>
                  </a:lnTo>
                  <a:lnTo>
                    <a:pt x="507" y="376"/>
                  </a:lnTo>
                  <a:lnTo>
                    <a:pt x="511" y="374"/>
                  </a:lnTo>
                  <a:lnTo>
                    <a:pt x="511" y="376"/>
                  </a:lnTo>
                  <a:lnTo>
                    <a:pt x="514" y="375"/>
                  </a:lnTo>
                  <a:lnTo>
                    <a:pt x="517" y="373"/>
                  </a:lnTo>
                  <a:lnTo>
                    <a:pt x="518" y="370"/>
                  </a:lnTo>
                  <a:lnTo>
                    <a:pt x="520" y="367"/>
                  </a:lnTo>
                  <a:lnTo>
                    <a:pt x="519" y="363"/>
                  </a:lnTo>
                  <a:lnTo>
                    <a:pt x="518" y="357"/>
                  </a:lnTo>
                  <a:lnTo>
                    <a:pt x="520" y="355"/>
                  </a:lnTo>
                  <a:lnTo>
                    <a:pt x="520" y="355"/>
                  </a:lnTo>
                  <a:lnTo>
                    <a:pt x="519" y="357"/>
                  </a:lnTo>
                  <a:lnTo>
                    <a:pt x="520" y="366"/>
                  </a:lnTo>
                  <a:lnTo>
                    <a:pt x="520" y="371"/>
                  </a:lnTo>
                  <a:lnTo>
                    <a:pt x="521" y="370"/>
                  </a:lnTo>
                  <a:lnTo>
                    <a:pt x="523" y="366"/>
                  </a:lnTo>
                  <a:lnTo>
                    <a:pt x="523" y="362"/>
                  </a:lnTo>
                  <a:lnTo>
                    <a:pt x="526" y="364"/>
                  </a:lnTo>
                  <a:lnTo>
                    <a:pt x="524" y="367"/>
                  </a:lnTo>
                  <a:lnTo>
                    <a:pt x="522" y="370"/>
                  </a:lnTo>
                  <a:lnTo>
                    <a:pt x="523" y="372"/>
                  </a:lnTo>
                  <a:lnTo>
                    <a:pt x="526" y="372"/>
                  </a:lnTo>
                  <a:lnTo>
                    <a:pt x="520" y="373"/>
                  </a:lnTo>
                  <a:lnTo>
                    <a:pt x="518" y="378"/>
                  </a:lnTo>
                  <a:lnTo>
                    <a:pt x="519" y="379"/>
                  </a:lnTo>
                  <a:lnTo>
                    <a:pt x="515" y="380"/>
                  </a:lnTo>
                  <a:lnTo>
                    <a:pt x="518" y="382"/>
                  </a:lnTo>
                  <a:lnTo>
                    <a:pt x="520" y="382"/>
                  </a:lnTo>
                  <a:lnTo>
                    <a:pt x="520" y="382"/>
                  </a:lnTo>
                  <a:lnTo>
                    <a:pt x="520" y="382"/>
                  </a:lnTo>
                  <a:lnTo>
                    <a:pt x="520" y="385"/>
                  </a:lnTo>
                  <a:lnTo>
                    <a:pt x="520" y="384"/>
                  </a:lnTo>
                  <a:lnTo>
                    <a:pt x="514" y="380"/>
                  </a:lnTo>
                  <a:lnTo>
                    <a:pt x="514" y="384"/>
                  </a:lnTo>
                  <a:lnTo>
                    <a:pt x="517" y="384"/>
                  </a:lnTo>
                  <a:lnTo>
                    <a:pt x="517" y="387"/>
                  </a:lnTo>
                  <a:lnTo>
                    <a:pt x="518" y="388"/>
                  </a:lnTo>
                  <a:lnTo>
                    <a:pt x="520" y="388"/>
                  </a:lnTo>
                  <a:lnTo>
                    <a:pt x="522" y="387"/>
                  </a:lnTo>
                  <a:lnTo>
                    <a:pt x="528" y="387"/>
                  </a:lnTo>
                  <a:lnTo>
                    <a:pt x="521" y="388"/>
                  </a:lnTo>
                  <a:lnTo>
                    <a:pt x="523" y="391"/>
                  </a:lnTo>
                  <a:lnTo>
                    <a:pt x="520" y="388"/>
                  </a:lnTo>
                  <a:lnTo>
                    <a:pt x="520" y="391"/>
                  </a:lnTo>
                  <a:lnTo>
                    <a:pt x="520" y="393"/>
                  </a:lnTo>
                  <a:lnTo>
                    <a:pt x="528" y="401"/>
                  </a:lnTo>
                  <a:lnTo>
                    <a:pt x="530" y="402"/>
                  </a:lnTo>
                  <a:lnTo>
                    <a:pt x="531" y="398"/>
                  </a:lnTo>
                  <a:lnTo>
                    <a:pt x="534" y="396"/>
                  </a:lnTo>
                  <a:lnTo>
                    <a:pt x="537" y="393"/>
                  </a:lnTo>
                  <a:lnTo>
                    <a:pt x="538" y="391"/>
                  </a:lnTo>
                  <a:lnTo>
                    <a:pt x="539" y="391"/>
                  </a:lnTo>
                  <a:lnTo>
                    <a:pt x="538" y="393"/>
                  </a:lnTo>
                  <a:lnTo>
                    <a:pt x="541" y="395"/>
                  </a:lnTo>
                  <a:lnTo>
                    <a:pt x="538" y="395"/>
                  </a:lnTo>
                  <a:lnTo>
                    <a:pt x="537" y="397"/>
                  </a:lnTo>
                  <a:lnTo>
                    <a:pt x="538" y="399"/>
                  </a:lnTo>
                  <a:lnTo>
                    <a:pt x="540" y="401"/>
                  </a:lnTo>
                  <a:lnTo>
                    <a:pt x="544" y="401"/>
                  </a:lnTo>
                  <a:lnTo>
                    <a:pt x="546" y="401"/>
                  </a:lnTo>
                  <a:lnTo>
                    <a:pt x="547" y="401"/>
                  </a:lnTo>
                  <a:lnTo>
                    <a:pt x="548" y="405"/>
                  </a:lnTo>
                  <a:lnTo>
                    <a:pt x="546" y="401"/>
                  </a:lnTo>
                  <a:lnTo>
                    <a:pt x="544" y="401"/>
                  </a:lnTo>
                  <a:lnTo>
                    <a:pt x="541" y="402"/>
                  </a:lnTo>
                  <a:lnTo>
                    <a:pt x="538" y="401"/>
                  </a:lnTo>
                  <a:lnTo>
                    <a:pt x="536" y="401"/>
                  </a:lnTo>
                  <a:lnTo>
                    <a:pt x="536" y="405"/>
                  </a:lnTo>
                  <a:lnTo>
                    <a:pt x="541" y="408"/>
                  </a:lnTo>
                  <a:lnTo>
                    <a:pt x="541" y="410"/>
                  </a:lnTo>
                  <a:lnTo>
                    <a:pt x="543" y="414"/>
                  </a:lnTo>
                  <a:lnTo>
                    <a:pt x="546" y="413"/>
                  </a:lnTo>
                  <a:lnTo>
                    <a:pt x="545" y="419"/>
                  </a:lnTo>
                  <a:lnTo>
                    <a:pt x="545" y="422"/>
                  </a:lnTo>
                  <a:lnTo>
                    <a:pt x="547" y="419"/>
                  </a:lnTo>
                  <a:lnTo>
                    <a:pt x="548" y="422"/>
                  </a:lnTo>
                  <a:lnTo>
                    <a:pt x="549" y="419"/>
                  </a:lnTo>
                  <a:lnTo>
                    <a:pt x="549" y="422"/>
                  </a:lnTo>
                  <a:lnTo>
                    <a:pt x="549" y="425"/>
                  </a:lnTo>
                  <a:lnTo>
                    <a:pt x="558" y="419"/>
                  </a:lnTo>
                  <a:lnTo>
                    <a:pt x="562" y="414"/>
                  </a:lnTo>
                  <a:lnTo>
                    <a:pt x="561" y="417"/>
                  </a:lnTo>
                  <a:lnTo>
                    <a:pt x="558" y="419"/>
                  </a:lnTo>
                  <a:lnTo>
                    <a:pt x="560" y="422"/>
                  </a:lnTo>
                  <a:lnTo>
                    <a:pt x="564" y="422"/>
                  </a:lnTo>
                  <a:lnTo>
                    <a:pt x="563" y="424"/>
                  </a:lnTo>
                  <a:lnTo>
                    <a:pt x="564" y="426"/>
                  </a:lnTo>
                  <a:lnTo>
                    <a:pt x="562" y="424"/>
                  </a:lnTo>
                  <a:lnTo>
                    <a:pt x="560" y="423"/>
                  </a:lnTo>
                  <a:lnTo>
                    <a:pt x="557" y="424"/>
                  </a:lnTo>
                  <a:lnTo>
                    <a:pt x="555" y="427"/>
                  </a:lnTo>
                  <a:lnTo>
                    <a:pt x="553" y="427"/>
                  </a:lnTo>
                  <a:lnTo>
                    <a:pt x="551" y="430"/>
                  </a:lnTo>
                  <a:lnTo>
                    <a:pt x="549" y="432"/>
                  </a:lnTo>
                  <a:lnTo>
                    <a:pt x="551" y="436"/>
                  </a:lnTo>
                  <a:lnTo>
                    <a:pt x="553" y="438"/>
                  </a:lnTo>
                  <a:lnTo>
                    <a:pt x="554" y="435"/>
                  </a:lnTo>
                  <a:lnTo>
                    <a:pt x="554" y="434"/>
                  </a:lnTo>
                  <a:lnTo>
                    <a:pt x="557" y="432"/>
                  </a:lnTo>
                  <a:lnTo>
                    <a:pt x="558" y="434"/>
                  </a:lnTo>
                  <a:lnTo>
                    <a:pt x="563" y="434"/>
                  </a:lnTo>
                  <a:lnTo>
                    <a:pt x="566" y="432"/>
                  </a:lnTo>
                  <a:lnTo>
                    <a:pt x="565" y="435"/>
                  </a:lnTo>
                  <a:lnTo>
                    <a:pt x="557" y="435"/>
                  </a:lnTo>
                  <a:lnTo>
                    <a:pt x="555" y="436"/>
                  </a:lnTo>
                  <a:lnTo>
                    <a:pt x="552" y="441"/>
                  </a:lnTo>
                  <a:lnTo>
                    <a:pt x="557" y="441"/>
                  </a:lnTo>
                  <a:lnTo>
                    <a:pt x="560" y="440"/>
                  </a:lnTo>
                  <a:lnTo>
                    <a:pt x="557" y="441"/>
                  </a:lnTo>
                  <a:lnTo>
                    <a:pt x="553" y="442"/>
                  </a:lnTo>
                  <a:lnTo>
                    <a:pt x="552" y="444"/>
                  </a:lnTo>
                  <a:lnTo>
                    <a:pt x="557" y="445"/>
                  </a:lnTo>
                  <a:lnTo>
                    <a:pt x="563" y="445"/>
                  </a:lnTo>
                  <a:lnTo>
                    <a:pt x="565" y="444"/>
                  </a:lnTo>
                  <a:lnTo>
                    <a:pt x="563" y="445"/>
                  </a:lnTo>
                  <a:lnTo>
                    <a:pt x="560" y="445"/>
                  </a:lnTo>
                  <a:lnTo>
                    <a:pt x="557" y="445"/>
                  </a:lnTo>
                  <a:lnTo>
                    <a:pt x="555" y="445"/>
                  </a:lnTo>
                  <a:lnTo>
                    <a:pt x="556" y="448"/>
                  </a:lnTo>
                  <a:lnTo>
                    <a:pt x="558" y="449"/>
                  </a:lnTo>
                  <a:lnTo>
                    <a:pt x="562" y="449"/>
                  </a:lnTo>
                  <a:lnTo>
                    <a:pt x="558" y="448"/>
                  </a:lnTo>
                  <a:lnTo>
                    <a:pt x="562" y="449"/>
                  </a:lnTo>
                  <a:lnTo>
                    <a:pt x="568" y="449"/>
                  </a:lnTo>
                  <a:lnTo>
                    <a:pt x="570" y="448"/>
                  </a:lnTo>
                  <a:lnTo>
                    <a:pt x="572" y="448"/>
                  </a:lnTo>
                  <a:lnTo>
                    <a:pt x="570" y="449"/>
                  </a:lnTo>
                  <a:lnTo>
                    <a:pt x="572" y="450"/>
                  </a:lnTo>
                  <a:lnTo>
                    <a:pt x="573" y="452"/>
                  </a:lnTo>
                  <a:lnTo>
                    <a:pt x="577" y="452"/>
                  </a:lnTo>
                  <a:lnTo>
                    <a:pt x="579" y="451"/>
                  </a:lnTo>
                  <a:lnTo>
                    <a:pt x="581" y="445"/>
                  </a:lnTo>
                  <a:lnTo>
                    <a:pt x="581" y="449"/>
                  </a:lnTo>
                  <a:lnTo>
                    <a:pt x="580" y="451"/>
                  </a:lnTo>
                  <a:lnTo>
                    <a:pt x="577" y="452"/>
                  </a:lnTo>
                  <a:lnTo>
                    <a:pt x="572" y="453"/>
                  </a:lnTo>
                  <a:lnTo>
                    <a:pt x="572" y="453"/>
                  </a:lnTo>
                  <a:lnTo>
                    <a:pt x="575" y="453"/>
                  </a:lnTo>
                  <a:lnTo>
                    <a:pt x="572" y="456"/>
                  </a:lnTo>
                  <a:lnTo>
                    <a:pt x="575" y="456"/>
                  </a:lnTo>
                  <a:lnTo>
                    <a:pt x="578" y="455"/>
                  </a:lnTo>
                  <a:lnTo>
                    <a:pt x="580" y="457"/>
                  </a:lnTo>
                  <a:lnTo>
                    <a:pt x="581" y="453"/>
                  </a:lnTo>
                  <a:lnTo>
                    <a:pt x="582" y="457"/>
                  </a:lnTo>
                  <a:lnTo>
                    <a:pt x="584" y="457"/>
                  </a:lnTo>
                  <a:lnTo>
                    <a:pt x="588" y="456"/>
                  </a:lnTo>
                  <a:lnTo>
                    <a:pt x="590" y="453"/>
                  </a:lnTo>
                  <a:lnTo>
                    <a:pt x="589" y="450"/>
                  </a:lnTo>
                  <a:lnTo>
                    <a:pt x="591" y="448"/>
                  </a:lnTo>
                  <a:lnTo>
                    <a:pt x="591" y="449"/>
                  </a:lnTo>
                  <a:lnTo>
                    <a:pt x="590" y="455"/>
                  </a:lnTo>
                  <a:lnTo>
                    <a:pt x="588" y="456"/>
                  </a:lnTo>
                  <a:lnTo>
                    <a:pt x="588" y="459"/>
                  </a:lnTo>
                  <a:lnTo>
                    <a:pt x="591" y="459"/>
                  </a:lnTo>
                  <a:lnTo>
                    <a:pt x="594" y="457"/>
                  </a:lnTo>
                  <a:lnTo>
                    <a:pt x="596" y="457"/>
                  </a:lnTo>
                  <a:lnTo>
                    <a:pt x="594" y="459"/>
                  </a:lnTo>
                  <a:lnTo>
                    <a:pt x="594" y="462"/>
                  </a:lnTo>
                  <a:lnTo>
                    <a:pt x="594" y="465"/>
                  </a:lnTo>
                  <a:lnTo>
                    <a:pt x="591" y="465"/>
                  </a:lnTo>
                  <a:lnTo>
                    <a:pt x="596" y="468"/>
                  </a:lnTo>
                  <a:lnTo>
                    <a:pt x="598" y="469"/>
                  </a:lnTo>
                  <a:lnTo>
                    <a:pt x="601" y="468"/>
                  </a:lnTo>
                  <a:lnTo>
                    <a:pt x="604" y="467"/>
                  </a:lnTo>
                  <a:lnTo>
                    <a:pt x="603" y="465"/>
                  </a:lnTo>
                  <a:lnTo>
                    <a:pt x="605" y="462"/>
                  </a:lnTo>
                  <a:lnTo>
                    <a:pt x="604" y="465"/>
                  </a:lnTo>
                  <a:lnTo>
                    <a:pt x="604" y="466"/>
                  </a:lnTo>
                  <a:lnTo>
                    <a:pt x="604" y="469"/>
                  </a:lnTo>
                  <a:lnTo>
                    <a:pt x="606" y="470"/>
                  </a:lnTo>
                  <a:lnTo>
                    <a:pt x="609" y="470"/>
                  </a:lnTo>
                  <a:lnTo>
                    <a:pt x="607" y="470"/>
                  </a:lnTo>
                  <a:lnTo>
                    <a:pt x="601" y="472"/>
                  </a:lnTo>
                  <a:lnTo>
                    <a:pt x="604" y="474"/>
                  </a:lnTo>
                  <a:lnTo>
                    <a:pt x="609" y="475"/>
                  </a:lnTo>
                  <a:lnTo>
                    <a:pt x="611" y="473"/>
                  </a:lnTo>
                  <a:lnTo>
                    <a:pt x="614" y="472"/>
                  </a:lnTo>
                  <a:lnTo>
                    <a:pt x="613" y="474"/>
                  </a:lnTo>
                  <a:lnTo>
                    <a:pt x="614" y="476"/>
                  </a:lnTo>
                  <a:lnTo>
                    <a:pt x="616" y="477"/>
                  </a:lnTo>
                  <a:lnTo>
                    <a:pt x="615" y="479"/>
                  </a:lnTo>
                  <a:lnTo>
                    <a:pt x="616" y="479"/>
                  </a:lnTo>
                  <a:lnTo>
                    <a:pt x="615" y="483"/>
                  </a:lnTo>
                  <a:lnTo>
                    <a:pt x="616" y="483"/>
                  </a:lnTo>
                  <a:lnTo>
                    <a:pt x="617" y="481"/>
                  </a:lnTo>
                  <a:lnTo>
                    <a:pt x="620" y="483"/>
                  </a:lnTo>
                  <a:lnTo>
                    <a:pt x="620" y="485"/>
                  </a:lnTo>
                  <a:lnTo>
                    <a:pt x="623" y="486"/>
                  </a:lnTo>
                  <a:lnTo>
                    <a:pt x="624" y="490"/>
                  </a:lnTo>
                  <a:lnTo>
                    <a:pt x="623" y="492"/>
                  </a:lnTo>
                  <a:lnTo>
                    <a:pt x="621" y="492"/>
                  </a:lnTo>
                  <a:lnTo>
                    <a:pt x="624" y="494"/>
                  </a:lnTo>
                  <a:lnTo>
                    <a:pt x="625" y="498"/>
                  </a:lnTo>
                  <a:lnTo>
                    <a:pt x="626" y="500"/>
                  </a:lnTo>
                  <a:lnTo>
                    <a:pt x="625" y="503"/>
                  </a:lnTo>
                  <a:lnTo>
                    <a:pt x="624" y="506"/>
                  </a:lnTo>
                  <a:lnTo>
                    <a:pt x="625" y="511"/>
                  </a:lnTo>
                  <a:lnTo>
                    <a:pt x="623" y="512"/>
                  </a:lnTo>
                  <a:lnTo>
                    <a:pt x="621" y="516"/>
                  </a:lnTo>
                  <a:lnTo>
                    <a:pt x="618" y="516"/>
                  </a:lnTo>
                  <a:lnTo>
                    <a:pt x="616" y="515"/>
                  </a:lnTo>
                  <a:lnTo>
                    <a:pt x="620" y="511"/>
                  </a:lnTo>
                  <a:lnTo>
                    <a:pt x="620" y="515"/>
                  </a:lnTo>
                  <a:lnTo>
                    <a:pt x="622" y="511"/>
                  </a:lnTo>
                  <a:lnTo>
                    <a:pt x="623" y="509"/>
                  </a:lnTo>
                  <a:lnTo>
                    <a:pt x="622" y="506"/>
                  </a:lnTo>
                  <a:lnTo>
                    <a:pt x="623" y="503"/>
                  </a:lnTo>
                  <a:lnTo>
                    <a:pt x="621" y="503"/>
                  </a:lnTo>
                  <a:lnTo>
                    <a:pt x="618" y="506"/>
                  </a:lnTo>
                  <a:lnTo>
                    <a:pt x="616" y="508"/>
                  </a:lnTo>
                  <a:lnTo>
                    <a:pt x="617" y="510"/>
                  </a:lnTo>
                  <a:lnTo>
                    <a:pt x="614" y="511"/>
                  </a:lnTo>
                  <a:lnTo>
                    <a:pt x="616" y="508"/>
                  </a:lnTo>
                  <a:lnTo>
                    <a:pt x="621" y="503"/>
                  </a:lnTo>
                  <a:lnTo>
                    <a:pt x="621" y="500"/>
                  </a:lnTo>
                  <a:lnTo>
                    <a:pt x="620" y="498"/>
                  </a:lnTo>
                  <a:lnTo>
                    <a:pt x="617" y="498"/>
                  </a:lnTo>
                  <a:lnTo>
                    <a:pt x="614" y="496"/>
                  </a:lnTo>
                  <a:lnTo>
                    <a:pt x="612" y="498"/>
                  </a:lnTo>
                  <a:lnTo>
                    <a:pt x="604" y="496"/>
                  </a:lnTo>
                  <a:lnTo>
                    <a:pt x="598" y="495"/>
                  </a:lnTo>
                  <a:lnTo>
                    <a:pt x="596" y="493"/>
                  </a:lnTo>
                  <a:lnTo>
                    <a:pt x="592" y="493"/>
                  </a:lnTo>
                  <a:lnTo>
                    <a:pt x="594" y="495"/>
                  </a:lnTo>
                  <a:lnTo>
                    <a:pt x="594" y="498"/>
                  </a:lnTo>
                  <a:lnTo>
                    <a:pt x="594" y="500"/>
                  </a:lnTo>
                  <a:lnTo>
                    <a:pt x="596" y="503"/>
                  </a:lnTo>
                  <a:lnTo>
                    <a:pt x="598" y="506"/>
                  </a:lnTo>
                  <a:lnTo>
                    <a:pt x="598" y="509"/>
                  </a:lnTo>
                  <a:lnTo>
                    <a:pt x="599" y="511"/>
                  </a:lnTo>
                  <a:lnTo>
                    <a:pt x="599" y="511"/>
                  </a:lnTo>
                  <a:lnTo>
                    <a:pt x="600" y="515"/>
                  </a:lnTo>
                  <a:lnTo>
                    <a:pt x="603" y="517"/>
                  </a:lnTo>
                  <a:lnTo>
                    <a:pt x="605" y="518"/>
                  </a:lnTo>
                  <a:lnTo>
                    <a:pt x="601" y="519"/>
                  </a:lnTo>
                  <a:lnTo>
                    <a:pt x="603" y="522"/>
                  </a:lnTo>
                  <a:lnTo>
                    <a:pt x="604" y="524"/>
                  </a:lnTo>
                  <a:lnTo>
                    <a:pt x="603" y="526"/>
                  </a:lnTo>
                  <a:lnTo>
                    <a:pt x="601" y="524"/>
                  </a:lnTo>
                  <a:lnTo>
                    <a:pt x="603" y="527"/>
                  </a:lnTo>
                  <a:lnTo>
                    <a:pt x="603" y="529"/>
                  </a:lnTo>
                  <a:lnTo>
                    <a:pt x="608" y="529"/>
                  </a:lnTo>
                  <a:lnTo>
                    <a:pt x="612" y="530"/>
                  </a:lnTo>
                  <a:lnTo>
                    <a:pt x="614" y="532"/>
                  </a:lnTo>
                  <a:lnTo>
                    <a:pt x="612" y="532"/>
                  </a:lnTo>
                  <a:lnTo>
                    <a:pt x="608" y="530"/>
                  </a:lnTo>
                  <a:lnTo>
                    <a:pt x="603" y="530"/>
                  </a:lnTo>
                  <a:lnTo>
                    <a:pt x="604" y="534"/>
                  </a:lnTo>
                  <a:lnTo>
                    <a:pt x="604" y="544"/>
                  </a:lnTo>
                  <a:lnTo>
                    <a:pt x="601" y="554"/>
                  </a:lnTo>
                  <a:lnTo>
                    <a:pt x="600" y="570"/>
                  </a:lnTo>
                  <a:lnTo>
                    <a:pt x="601" y="573"/>
                  </a:lnTo>
                  <a:lnTo>
                    <a:pt x="599" y="575"/>
                  </a:lnTo>
                  <a:lnTo>
                    <a:pt x="600" y="577"/>
                  </a:lnTo>
                  <a:lnTo>
                    <a:pt x="598" y="580"/>
                  </a:lnTo>
                  <a:lnTo>
                    <a:pt x="596" y="586"/>
                  </a:lnTo>
                  <a:lnTo>
                    <a:pt x="596" y="589"/>
                  </a:lnTo>
                  <a:lnTo>
                    <a:pt x="597" y="592"/>
                  </a:lnTo>
                  <a:lnTo>
                    <a:pt x="597" y="596"/>
                  </a:lnTo>
                  <a:lnTo>
                    <a:pt x="598" y="598"/>
                  </a:lnTo>
                  <a:lnTo>
                    <a:pt x="600" y="602"/>
                  </a:lnTo>
                  <a:lnTo>
                    <a:pt x="600" y="604"/>
                  </a:lnTo>
                  <a:lnTo>
                    <a:pt x="601" y="609"/>
                  </a:lnTo>
                  <a:lnTo>
                    <a:pt x="601" y="613"/>
                  </a:lnTo>
                  <a:lnTo>
                    <a:pt x="600" y="615"/>
                  </a:lnTo>
                  <a:lnTo>
                    <a:pt x="601" y="619"/>
                  </a:lnTo>
                  <a:lnTo>
                    <a:pt x="600" y="621"/>
                  </a:lnTo>
                  <a:lnTo>
                    <a:pt x="598" y="623"/>
                  </a:lnTo>
                  <a:lnTo>
                    <a:pt x="598" y="626"/>
                  </a:lnTo>
                  <a:lnTo>
                    <a:pt x="598" y="629"/>
                  </a:lnTo>
                  <a:lnTo>
                    <a:pt x="600" y="631"/>
                  </a:lnTo>
                  <a:lnTo>
                    <a:pt x="604" y="635"/>
                  </a:lnTo>
                  <a:lnTo>
                    <a:pt x="605" y="638"/>
                  </a:lnTo>
                  <a:lnTo>
                    <a:pt x="606" y="640"/>
                  </a:lnTo>
                  <a:lnTo>
                    <a:pt x="606" y="646"/>
                  </a:lnTo>
                  <a:lnTo>
                    <a:pt x="607" y="648"/>
                  </a:lnTo>
                  <a:lnTo>
                    <a:pt x="607" y="652"/>
                  </a:lnTo>
                  <a:lnTo>
                    <a:pt x="615" y="658"/>
                  </a:lnTo>
                  <a:lnTo>
                    <a:pt x="617" y="663"/>
                  </a:lnTo>
                  <a:lnTo>
                    <a:pt x="618" y="665"/>
                  </a:lnTo>
                  <a:lnTo>
                    <a:pt x="621" y="667"/>
                  </a:lnTo>
                  <a:lnTo>
                    <a:pt x="623" y="666"/>
                  </a:lnTo>
                  <a:lnTo>
                    <a:pt x="625" y="664"/>
                  </a:lnTo>
                  <a:lnTo>
                    <a:pt x="629" y="665"/>
                  </a:lnTo>
                  <a:lnTo>
                    <a:pt x="629" y="665"/>
                  </a:lnTo>
                  <a:lnTo>
                    <a:pt x="632" y="665"/>
                  </a:lnTo>
                  <a:lnTo>
                    <a:pt x="634" y="664"/>
                  </a:lnTo>
                  <a:lnTo>
                    <a:pt x="637" y="665"/>
                  </a:lnTo>
                  <a:lnTo>
                    <a:pt x="633" y="666"/>
                  </a:lnTo>
                  <a:lnTo>
                    <a:pt x="631" y="665"/>
                  </a:lnTo>
                  <a:lnTo>
                    <a:pt x="625" y="666"/>
                  </a:lnTo>
                  <a:lnTo>
                    <a:pt x="625" y="669"/>
                  </a:lnTo>
                  <a:lnTo>
                    <a:pt x="629" y="671"/>
                  </a:lnTo>
                  <a:lnTo>
                    <a:pt x="629" y="674"/>
                  </a:lnTo>
                  <a:lnTo>
                    <a:pt x="626" y="672"/>
                  </a:lnTo>
                  <a:lnTo>
                    <a:pt x="623" y="670"/>
                  </a:lnTo>
                  <a:lnTo>
                    <a:pt x="623" y="673"/>
                  </a:lnTo>
                  <a:lnTo>
                    <a:pt x="624" y="675"/>
                  </a:lnTo>
                  <a:lnTo>
                    <a:pt x="624" y="678"/>
                  </a:lnTo>
                  <a:lnTo>
                    <a:pt x="626" y="681"/>
                  </a:lnTo>
                  <a:lnTo>
                    <a:pt x="630" y="682"/>
                  </a:lnTo>
                  <a:lnTo>
                    <a:pt x="632" y="683"/>
                  </a:lnTo>
                  <a:lnTo>
                    <a:pt x="633" y="686"/>
                  </a:lnTo>
                  <a:lnTo>
                    <a:pt x="631" y="690"/>
                  </a:lnTo>
                  <a:lnTo>
                    <a:pt x="632" y="693"/>
                  </a:lnTo>
                  <a:lnTo>
                    <a:pt x="634" y="695"/>
                  </a:lnTo>
                  <a:lnTo>
                    <a:pt x="638" y="698"/>
                  </a:lnTo>
                  <a:lnTo>
                    <a:pt x="639" y="700"/>
                  </a:lnTo>
                  <a:lnTo>
                    <a:pt x="641" y="703"/>
                  </a:lnTo>
                  <a:lnTo>
                    <a:pt x="646" y="707"/>
                  </a:lnTo>
                  <a:lnTo>
                    <a:pt x="647" y="710"/>
                  </a:lnTo>
                  <a:lnTo>
                    <a:pt x="649" y="712"/>
                  </a:lnTo>
                  <a:lnTo>
                    <a:pt x="649" y="715"/>
                  </a:lnTo>
                  <a:lnTo>
                    <a:pt x="649" y="720"/>
                  </a:lnTo>
                  <a:lnTo>
                    <a:pt x="651" y="722"/>
                  </a:lnTo>
                  <a:lnTo>
                    <a:pt x="658" y="722"/>
                  </a:lnTo>
                  <a:lnTo>
                    <a:pt x="663" y="722"/>
                  </a:lnTo>
                  <a:lnTo>
                    <a:pt x="666" y="723"/>
                  </a:lnTo>
                  <a:lnTo>
                    <a:pt x="668" y="726"/>
                  </a:lnTo>
                  <a:lnTo>
                    <a:pt x="671" y="727"/>
                  </a:lnTo>
                  <a:lnTo>
                    <a:pt x="674" y="729"/>
                  </a:lnTo>
                  <a:lnTo>
                    <a:pt x="676" y="727"/>
                  </a:lnTo>
                  <a:lnTo>
                    <a:pt x="680" y="730"/>
                  </a:lnTo>
                  <a:lnTo>
                    <a:pt x="681" y="733"/>
                  </a:lnTo>
                  <a:lnTo>
                    <a:pt x="682" y="732"/>
                  </a:lnTo>
                  <a:lnTo>
                    <a:pt x="684" y="733"/>
                  </a:lnTo>
                  <a:lnTo>
                    <a:pt x="690" y="737"/>
                  </a:lnTo>
                  <a:lnTo>
                    <a:pt x="692" y="740"/>
                  </a:lnTo>
                  <a:lnTo>
                    <a:pt x="694" y="742"/>
                  </a:lnTo>
                  <a:lnTo>
                    <a:pt x="694" y="746"/>
                  </a:lnTo>
                  <a:lnTo>
                    <a:pt x="694" y="748"/>
                  </a:lnTo>
                  <a:lnTo>
                    <a:pt x="697" y="750"/>
                  </a:lnTo>
                  <a:lnTo>
                    <a:pt x="698" y="752"/>
                  </a:lnTo>
                  <a:lnTo>
                    <a:pt x="700" y="756"/>
                  </a:lnTo>
                  <a:lnTo>
                    <a:pt x="700" y="758"/>
                  </a:lnTo>
                  <a:lnTo>
                    <a:pt x="702" y="761"/>
                  </a:lnTo>
                  <a:lnTo>
                    <a:pt x="703" y="766"/>
                  </a:lnTo>
                  <a:lnTo>
                    <a:pt x="708" y="772"/>
                  </a:lnTo>
                  <a:lnTo>
                    <a:pt x="709" y="775"/>
                  </a:lnTo>
                  <a:lnTo>
                    <a:pt x="711" y="777"/>
                  </a:lnTo>
                  <a:lnTo>
                    <a:pt x="711" y="780"/>
                  </a:lnTo>
                  <a:lnTo>
                    <a:pt x="714" y="783"/>
                  </a:lnTo>
                  <a:lnTo>
                    <a:pt x="715" y="784"/>
                  </a:lnTo>
                  <a:lnTo>
                    <a:pt x="715" y="786"/>
                  </a:lnTo>
                  <a:lnTo>
                    <a:pt x="715" y="790"/>
                  </a:lnTo>
                  <a:lnTo>
                    <a:pt x="716" y="791"/>
                  </a:lnTo>
                  <a:lnTo>
                    <a:pt x="717" y="793"/>
                  </a:lnTo>
                  <a:lnTo>
                    <a:pt x="720" y="795"/>
                  </a:lnTo>
                  <a:lnTo>
                    <a:pt x="720" y="797"/>
                  </a:lnTo>
                  <a:lnTo>
                    <a:pt x="724" y="798"/>
                  </a:lnTo>
                  <a:lnTo>
                    <a:pt x="725" y="798"/>
                  </a:lnTo>
                  <a:lnTo>
                    <a:pt x="727" y="799"/>
                  </a:lnTo>
                  <a:lnTo>
                    <a:pt x="727" y="800"/>
                  </a:lnTo>
                  <a:lnTo>
                    <a:pt x="728" y="801"/>
                  </a:lnTo>
                  <a:lnTo>
                    <a:pt x="732" y="806"/>
                  </a:lnTo>
                  <a:lnTo>
                    <a:pt x="737" y="810"/>
                  </a:lnTo>
                  <a:lnTo>
                    <a:pt x="737" y="811"/>
                  </a:lnTo>
                  <a:lnTo>
                    <a:pt x="739" y="814"/>
                  </a:lnTo>
                  <a:lnTo>
                    <a:pt x="739" y="817"/>
                  </a:lnTo>
                  <a:lnTo>
                    <a:pt x="737" y="819"/>
                  </a:lnTo>
                  <a:lnTo>
                    <a:pt x="737" y="821"/>
                  </a:lnTo>
                  <a:lnTo>
                    <a:pt x="737" y="824"/>
                  </a:lnTo>
                  <a:lnTo>
                    <a:pt x="741" y="821"/>
                  </a:lnTo>
                  <a:lnTo>
                    <a:pt x="741" y="824"/>
                  </a:lnTo>
                  <a:lnTo>
                    <a:pt x="741" y="827"/>
                  </a:lnTo>
                  <a:lnTo>
                    <a:pt x="740" y="824"/>
                  </a:lnTo>
                  <a:lnTo>
                    <a:pt x="737" y="824"/>
                  </a:lnTo>
                  <a:lnTo>
                    <a:pt x="734" y="821"/>
                  </a:lnTo>
                  <a:lnTo>
                    <a:pt x="732" y="823"/>
                  </a:lnTo>
                  <a:lnTo>
                    <a:pt x="728" y="823"/>
                  </a:lnTo>
                  <a:lnTo>
                    <a:pt x="726" y="824"/>
                  </a:lnTo>
                  <a:lnTo>
                    <a:pt x="728" y="825"/>
                  </a:lnTo>
                  <a:lnTo>
                    <a:pt x="732" y="827"/>
                  </a:lnTo>
                  <a:lnTo>
                    <a:pt x="733" y="829"/>
                  </a:lnTo>
                  <a:lnTo>
                    <a:pt x="735" y="832"/>
                  </a:lnTo>
                  <a:lnTo>
                    <a:pt x="739" y="833"/>
                  </a:lnTo>
                  <a:lnTo>
                    <a:pt x="739" y="833"/>
                  </a:lnTo>
                  <a:lnTo>
                    <a:pt x="742" y="835"/>
                  </a:lnTo>
                  <a:lnTo>
                    <a:pt x="744" y="837"/>
                  </a:lnTo>
                  <a:lnTo>
                    <a:pt x="746" y="837"/>
                  </a:lnTo>
                  <a:lnTo>
                    <a:pt x="749" y="837"/>
                  </a:lnTo>
                  <a:lnTo>
                    <a:pt x="751" y="835"/>
                  </a:lnTo>
                  <a:lnTo>
                    <a:pt x="751" y="834"/>
                  </a:lnTo>
                  <a:lnTo>
                    <a:pt x="751" y="837"/>
                  </a:lnTo>
                  <a:lnTo>
                    <a:pt x="752" y="840"/>
                  </a:lnTo>
                  <a:lnTo>
                    <a:pt x="756" y="842"/>
                  </a:lnTo>
                  <a:lnTo>
                    <a:pt x="758" y="844"/>
                  </a:lnTo>
                  <a:lnTo>
                    <a:pt x="758" y="844"/>
                  </a:lnTo>
                  <a:lnTo>
                    <a:pt x="761" y="845"/>
                  </a:lnTo>
                  <a:lnTo>
                    <a:pt x="761" y="845"/>
                  </a:lnTo>
                  <a:lnTo>
                    <a:pt x="763" y="849"/>
                  </a:lnTo>
                  <a:lnTo>
                    <a:pt x="763" y="849"/>
                  </a:lnTo>
                  <a:lnTo>
                    <a:pt x="766" y="851"/>
                  </a:lnTo>
                  <a:lnTo>
                    <a:pt x="766" y="854"/>
                  </a:lnTo>
                  <a:lnTo>
                    <a:pt x="766" y="857"/>
                  </a:lnTo>
                  <a:lnTo>
                    <a:pt x="766" y="859"/>
                  </a:lnTo>
                  <a:lnTo>
                    <a:pt x="766" y="860"/>
                  </a:lnTo>
                  <a:lnTo>
                    <a:pt x="765" y="862"/>
                  </a:lnTo>
                  <a:lnTo>
                    <a:pt x="765" y="864"/>
                  </a:lnTo>
                  <a:lnTo>
                    <a:pt x="768" y="867"/>
                  </a:lnTo>
                  <a:lnTo>
                    <a:pt x="769" y="869"/>
                  </a:lnTo>
                  <a:lnTo>
                    <a:pt x="773" y="871"/>
                  </a:lnTo>
                  <a:lnTo>
                    <a:pt x="773" y="871"/>
                  </a:lnTo>
                  <a:lnTo>
                    <a:pt x="778" y="875"/>
                  </a:lnTo>
                  <a:lnTo>
                    <a:pt x="780" y="877"/>
                  </a:lnTo>
                  <a:lnTo>
                    <a:pt x="783" y="879"/>
                  </a:lnTo>
                  <a:lnTo>
                    <a:pt x="786" y="881"/>
                  </a:lnTo>
                  <a:lnTo>
                    <a:pt x="788" y="883"/>
                  </a:lnTo>
                  <a:lnTo>
                    <a:pt x="791" y="886"/>
                  </a:lnTo>
                  <a:lnTo>
                    <a:pt x="792" y="888"/>
                  </a:lnTo>
                  <a:lnTo>
                    <a:pt x="793" y="891"/>
                  </a:lnTo>
                  <a:lnTo>
                    <a:pt x="794" y="893"/>
                  </a:lnTo>
                  <a:lnTo>
                    <a:pt x="795" y="894"/>
                  </a:lnTo>
                  <a:lnTo>
                    <a:pt x="796" y="893"/>
                  </a:lnTo>
                  <a:lnTo>
                    <a:pt x="799" y="891"/>
                  </a:lnTo>
                  <a:lnTo>
                    <a:pt x="802" y="889"/>
                  </a:lnTo>
                  <a:lnTo>
                    <a:pt x="802" y="886"/>
                  </a:lnTo>
                  <a:lnTo>
                    <a:pt x="801" y="884"/>
                  </a:lnTo>
                  <a:lnTo>
                    <a:pt x="799" y="883"/>
                  </a:lnTo>
                  <a:lnTo>
                    <a:pt x="797" y="880"/>
                  </a:lnTo>
                  <a:lnTo>
                    <a:pt x="797" y="877"/>
                  </a:lnTo>
                  <a:lnTo>
                    <a:pt x="794" y="876"/>
                  </a:lnTo>
                  <a:lnTo>
                    <a:pt x="793" y="875"/>
                  </a:lnTo>
                  <a:lnTo>
                    <a:pt x="790" y="874"/>
                  </a:lnTo>
                  <a:lnTo>
                    <a:pt x="788" y="875"/>
                  </a:lnTo>
                  <a:lnTo>
                    <a:pt x="787" y="875"/>
                  </a:lnTo>
                  <a:lnTo>
                    <a:pt x="785" y="872"/>
                  </a:lnTo>
                  <a:lnTo>
                    <a:pt x="784" y="870"/>
                  </a:lnTo>
                  <a:lnTo>
                    <a:pt x="784" y="867"/>
                  </a:lnTo>
                  <a:lnTo>
                    <a:pt x="784" y="864"/>
                  </a:lnTo>
                  <a:lnTo>
                    <a:pt x="782" y="861"/>
                  </a:lnTo>
                  <a:lnTo>
                    <a:pt x="782" y="859"/>
                  </a:lnTo>
                  <a:lnTo>
                    <a:pt x="780" y="857"/>
                  </a:lnTo>
                  <a:lnTo>
                    <a:pt x="778" y="853"/>
                  </a:lnTo>
                  <a:lnTo>
                    <a:pt x="776" y="851"/>
                  </a:lnTo>
                  <a:lnTo>
                    <a:pt x="776" y="848"/>
                  </a:lnTo>
                  <a:lnTo>
                    <a:pt x="775" y="845"/>
                  </a:lnTo>
                  <a:lnTo>
                    <a:pt x="775" y="843"/>
                  </a:lnTo>
                  <a:lnTo>
                    <a:pt x="773" y="840"/>
                  </a:lnTo>
                  <a:lnTo>
                    <a:pt x="771" y="837"/>
                  </a:lnTo>
                  <a:lnTo>
                    <a:pt x="768" y="835"/>
                  </a:lnTo>
                  <a:lnTo>
                    <a:pt x="768" y="838"/>
                  </a:lnTo>
                  <a:lnTo>
                    <a:pt x="768" y="835"/>
                  </a:lnTo>
                  <a:lnTo>
                    <a:pt x="768" y="833"/>
                  </a:lnTo>
                  <a:lnTo>
                    <a:pt x="766" y="832"/>
                  </a:lnTo>
                  <a:lnTo>
                    <a:pt x="763" y="829"/>
                  </a:lnTo>
                  <a:lnTo>
                    <a:pt x="762" y="826"/>
                  </a:lnTo>
                  <a:lnTo>
                    <a:pt x="760" y="825"/>
                  </a:lnTo>
                  <a:lnTo>
                    <a:pt x="757" y="821"/>
                  </a:lnTo>
                  <a:lnTo>
                    <a:pt x="757" y="819"/>
                  </a:lnTo>
                  <a:lnTo>
                    <a:pt x="756" y="818"/>
                  </a:lnTo>
                  <a:lnTo>
                    <a:pt x="756" y="815"/>
                  </a:lnTo>
                  <a:lnTo>
                    <a:pt x="751" y="809"/>
                  </a:lnTo>
                  <a:lnTo>
                    <a:pt x="746" y="806"/>
                  </a:lnTo>
                  <a:lnTo>
                    <a:pt x="745" y="802"/>
                  </a:lnTo>
                  <a:lnTo>
                    <a:pt x="744" y="800"/>
                  </a:lnTo>
                  <a:lnTo>
                    <a:pt x="737" y="793"/>
                  </a:lnTo>
                  <a:lnTo>
                    <a:pt x="734" y="792"/>
                  </a:lnTo>
                  <a:lnTo>
                    <a:pt x="732" y="790"/>
                  </a:lnTo>
                  <a:lnTo>
                    <a:pt x="731" y="785"/>
                  </a:lnTo>
                  <a:lnTo>
                    <a:pt x="731" y="782"/>
                  </a:lnTo>
                  <a:lnTo>
                    <a:pt x="729" y="780"/>
                  </a:lnTo>
                  <a:lnTo>
                    <a:pt x="729" y="777"/>
                  </a:lnTo>
                  <a:lnTo>
                    <a:pt x="728" y="774"/>
                  </a:lnTo>
                  <a:lnTo>
                    <a:pt x="727" y="772"/>
                  </a:lnTo>
                  <a:lnTo>
                    <a:pt x="728" y="764"/>
                  </a:lnTo>
                  <a:lnTo>
                    <a:pt x="726" y="760"/>
                  </a:lnTo>
                  <a:lnTo>
                    <a:pt x="725" y="759"/>
                  </a:lnTo>
                  <a:lnTo>
                    <a:pt x="726" y="760"/>
                  </a:lnTo>
                  <a:lnTo>
                    <a:pt x="727" y="760"/>
                  </a:lnTo>
                  <a:lnTo>
                    <a:pt x="735" y="766"/>
                  </a:lnTo>
                  <a:lnTo>
                    <a:pt x="739" y="767"/>
                  </a:lnTo>
                  <a:lnTo>
                    <a:pt x="741" y="765"/>
                  </a:lnTo>
                  <a:lnTo>
                    <a:pt x="744" y="766"/>
                  </a:lnTo>
                  <a:lnTo>
                    <a:pt x="744" y="769"/>
                  </a:lnTo>
                  <a:lnTo>
                    <a:pt x="746" y="770"/>
                  </a:lnTo>
                  <a:lnTo>
                    <a:pt x="750" y="770"/>
                  </a:lnTo>
                  <a:lnTo>
                    <a:pt x="752" y="772"/>
                  </a:lnTo>
                  <a:lnTo>
                    <a:pt x="752" y="773"/>
                  </a:lnTo>
                  <a:lnTo>
                    <a:pt x="752" y="778"/>
                  </a:lnTo>
                  <a:lnTo>
                    <a:pt x="757" y="786"/>
                  </a:lnTo>
                  <a:lnTo>
                    <a:pt x="757" y="790"/>
                  </a:lnTo>
                  <a:lnTo>
                    <a:pt x="759" y="794"/>
                  </a:lnTo>
                  <a:lnTo>
                    <a:pt x="761" y="797"/>
                  </a:lnTo>
                  <a:lnTo>
                    <a:pt x="761" y="799"/>
                  </a:lnTo>
                  <a:lnTo>
                    <a:pt x="765" y="801"/>
                  </a:lnTo>
                  <a:lnTo>
                    <a:pt x="765" y="802"/>
                  </a:lnTo>
                  <a:lnTo>
                    <a:pt x="766" y="806"/>
                  </a:lnTo>
                  <a:lnTo>
                    <a:pt x="769" y="808"/>
                  </a:lnTo>
                  <a:lnTo>
                    <a:pt x="770" y="810"/>
                  </a:lnTo>
                  <a:lnTo>
                    <a:pt x="775" y="815"/>
                  </a:lnTo>
                  <a:lnTo>
                    <a:pt x="777" y="818"/>
                  </a:lnTo>
                  <a:lnTo>
                    <a:pt x="779" y="820"/>
                  </a:lnTo>
                  <a:lnTo>
                    <a:pt x="783" y="821"/>
                  </a:lnTo>
                  <a:lnTo>
                    <a:pt x="783" y="819"/>
                  </a:lnTo>
                  <a:lnTo>
                    <a:pt x="783" y="819"/>
                  </a:lnTo>
                  <a:lnTo>
                    <a:pt x="783" y="820"/>
                  </a:lnTo>
                  <a:lnTo>
                    <a:pt x="787" y="821"/>
                  </a:lnTo>
                  <a:lnTo>
                    <a:pt x="785" y="824"/>
                  </a:lnTo>
                  <a:lnTo>
                    <a:pt x="786" y="827"/>
                  </a:lnTo>
                  <a:lnTo>
                    <a:pt x="790" y="831"/>
                  </a:lnTo>
                  <a:lnTo>
                    <a:pt x="792" y="832"/>
                  </a:lnTo>
                  <a:lnTo>
                    <a:pt x="795" y="833"/>
                  </a:lnTo>
                  <a:lnTo>
                    <a:pt x="797" y="837"/>
                  </a:lnTo>
                  <a:lnTo>
                    <a:pt x="799" y="838"/>
                  </a:lnTo>
                  <a:lnTo>
                    <a:pt x="802" y="838"/>
                  </a:lnTo>
                  <a:lnTo>
                    <a:pt x="804" y="841"/>
                  </a:lnTo>
                  <a:lnTo>
                    <a:pt x="804" y="844"/>
                  </a:lnTo>
                  <a:lnTo>
                    <a:pt x="807" y="843"/>
                  </a:lnTo>
                  <a:lnTo>
                    <a:pt x="805" y="845"/>
                  </a:lnTo>
                  <a:lnTo>
                    <a:pt x="804" y="845"/>
                  </a:lnTo>
                  <a:lnTo>
                    <a:pt x="802" y="848"/>
                  </a:lnTo>
                  <a:lnTo>
                    <a:pt x="802" y="851"/>
                  </a:lnTo>
                  <a:lnTo>
                    <a:pt x="803" y="852"/>
                  </a:lnTo>
                  <a:lnTo>
                    <a:pt x="805" y="854"/>
                  </a:lnTo>
                  <a:lnTo>
                    <a:pt x="808" y="854"/>
                  </a:lnTo>
                  <a:lnTo>
                    <a:pt x="810" y="854"/>
                  </a:lnTo>
                  <a:lnTo>
                    <a:pt x="813" y="858"/>
                  </a:lnTo>
                  <a:lnTo>
                    <a:pt x="814" y="859"/>
                  </a:lnTo>
                  <a:lnTo>
                    <a:pt x="818" y="860"/>
                  </a:lnTo>
                  <a:lnTo>
                    <a:pt x="821" y="862"/>
                  </a:lnTo>
                  <a:lnTo>
                    <a:pt x="821" y="863"/>
                  </a:lnTo>
                  <a:lnTo>
                    <a:pt x="821" y="867"/>
                  </a:lnTo>
                  <a:lnTo>
                    <a:pt x="822" y="869"/>
                  </a:lnTo>
                  <a:lnTo>
                    <a:pt x="826" y="870"/>
                  </a:lnTo>
                  <a:lnTo>
                    <a:pt x="827" y="872"/>
                  </a:lnTo>
                  <a:lnTo>
                    <a:pt x="834" y="877"/>
                  </a:lnTo>
                  <a:lnTo>
                    <a:pt x="842" y="887"/>
                  </a:lnTo>
                  <a:lnTo>
                    <a:pt x="844" y="889"/>
                  </a:lnTo>
                  <a:lnTo>
                    <a:pt x="850" y="894"/>
                  </a:lnTo>
                  <a:lnTo>
                    <a:pt x="853" y="900"/>
                  </a:lnTo>
                  <a:lnTo>
                    <a:pt x="854" y="902"/>
                  </a:lnTo>
                  <a:lnTo>
                    <a:pt x="854" y="908"/>
                  </a:lnTo>
                  <a:lnTo>
                    <a:pt x="857" y="913"/>
                  </a:lnTo>
                  <a:lnTo>
                    <a:pt x="860" y="913"/>
                  </a:lnTo>
                  <a:lnTo>
                    <a:pt x="860" y="919"/>
                  </a:lnTo>
                  <a:lnTo>
                    <a:pt x="857" y="921"/>
                  </a:lnTo>
                  <a:lnTo>
                    <a:pt x="856" y="925"/>
                  </a:lnTo>
                  <a:lnTo>
                    <a:pt x="860" y="926"/>
                  </a:lnTo>
                  <a:lnTo>
                    <a:pt x="860" y="926"/>
                  </a:lnTo>
                  <a:lnTo>
                    <a:pt x="859" y="927"/>
                  </a:lnTo>
                  <a:lnTo>
                    <a:pt x="854" y="930"/>
                  </a:lnTo>
                  <a:lnTo>
                    <a:pt x="855" y="932"/>
                  </a:lnTo>
                  <a:lnTo>
                    <a:pt x="856" y="935"/>
                  </a:lnTo>
                  <a:lnTo>
                    <a:pt x="862" y="943"/>
                  </a:lnTo>
                  <a:lnTo>
                    <a:pt x="865" y="946"/>
                  </a:lnTo>
                  <a:lnTo>
                    <a:pt x="872" y="948"/>
                  </a:lnTo>
                  <a:lnTo>
                    <a:pt x="877" y="952"/>
                  </a:lnTo>
                  <a:lnTo>
                    <a:pt x="880" y="954"/>
                  </a:lnTo>
                  <a:lnTo>
                    <a:pt x="885" y="960"/>
                  </a:lnTo>
                  <a:lnTo>
                    <a:pt x="890" y="961"/>
                  </a:lnTo>
                  <a:lnTo>
                    <a:pt x="893" y="963"/>
                  </a:lnTo>
                  <a:lnTo>
                    <a:pt x="902" y="964"/>
                  </a:lnTo>
                  <a:lnTo>
                    <a:pt x="903" y="964"/>
                  </a:lnTo>
                  <a:lnTo>
                    <a:pt x="906" y="964"/>
                  </a:lnTo>
                  <a:lnTo>
                    <a:pt x="908" y="968"/>
                  </a:lnTo>
                  <a:lnTo>
                    <a:pt x="916" y="974"/>
                  </a:lnTo>
                  <a:lnTo>
                    <a:pt x="931" y="979"/>
                  </a:lnTo>
                  <a:lnTo>
                    <a:pt x="935" y="981"/>
                  </a:lnTo>
                  <a:lnTo>
                    <a:pt x="949" y="985"/>
                  </a:lnTo>
                  <a:lnTo>
                    <a:pt x="950" y="987"/>
                  </a:lnTo>
                  <a:lnTo>
                    <a:pt x="957" y="989"/>
                  </a:lnTo>
                  <a:lnTo>
                    <a:pt x="962" y="992"/>
                  </a:lnTo>
                  <a:lnTo>
                    <a:pt x="965" y="992"/>
                  </a:lnTo>
                  <a:lnTo>
                    <a:pt x="970" y="994"/>
                  </a:lnTo>
                  <a:lnTo>
                    <a:pt x="974" y="996"/>
                  </a:lnTo>
                  <a:lnTo>
                    <a:pt x="980" y="997"/>
                  </a:lnTo>
                  <a:lnTo>
                    <a:pt x="980" y="996"/>
                  </a:lnTo>
                  <a:lnTo>
                    <a:pt x="982" y="996"/>
                  </a:lnTo>
                  <a:lnTo>
                    <a:pt x="985" y="995"/>
                  </a:lnTo>
                  <a:lnTo>
                    <a:pt x="987" y="994"/>
                  </a:lnTo>
                  <a:lnTo>
                    <a:pt x="992" y="992"/>
                  </a:lnTo>
                  <a:lnTo>
                    <a:pt x="998" y="989"/>
                  </a:lnTo>
                  <a:lnTo>
                    <a:pt x="998" y="989"/>
                  </a:lnTo>
                  <a:lnTo>
                    <a:pt x="1000" y="989"/>
                  </a:lnTo>
                  <a:lnTo>
                    <a:pt x="1002" y="989"/>
                  </a:lnTo>
                  <a:lnTo>
                    <a:pt x="1000" y="988"/>
                  </a:lnTo>
                  <a:lnTo>
                    <a:pt x="1000" y="987"/>
                  </a:lnTo>
                  <a:lnTo>
                    <a:pt x="1002" y="986"/>
                  </a:lnTo>
                  <a:lnTo>
                    <a:pt x="1004" y="989"/>
                  </a:lnTo>
                  <a:lnTo>
                    <a:pt x="1006" y="989"/>
                  </a:lnTo>
                  <a:lnTo>
                    <a:pt x="1013" y="991"/>
                  </a:lnTo>
                  <a:lnTo>
                    <a:pt x="1012" y="990"/>
                  </a:lnTo>
                  <a:lnTo>
                    <a:pt x="1009" y="989"/>
                  </a:lnTo>
                  <a:lnTo>
                    <a:pt x="1013" y="989"/>
                  </a:lnTo>
                  <a:lnTo>
                    <a:pt x="1015" y="990"/>
                  </a:lnTo>
                  <a:lnTo>
                    <a:pt x="1017" y="994"/>
                  </a:lnTo>
                  <a:lnTo>
                    <a:pt x="1027" y="1002"/>
                  </a:lnTo>
                  <a:lnTo>
                    <a:pt x="1030" y="1003"/>
                  </a:lnTo>
                  <a:lnTo>
                    <a:pt x="1031" y="1006"/>
                  </a:lnTo>
                  <a:lnTo>
                    <a:pt x="1038" y="1012"/>
                  </a:lnTo>
                  <a:lnTo>
                    <a:pt x="1047" y="1020"/>
                  </a:lnTo>
                  <a:lnTo>
                    <a:pt x="1050" y="1021"/>
                  </a:lnTo>
                  <a:lnTo>
                    <a:pt x="1053" y="1021"/>
                  </a:lnTo>
                  <a:lnTo>
                    <a:pt x="1059" y="1021"/>
                  </a:lnTo>
                  <a:lnTo>
                    <a:pt x="1061" y="1021"/>
                  </a:lnTo>
                  <a:lnTo>
                    <a:pt x="1068" y="1024"/>
                  </a:lnTo>
                  <a:lnTo>
                    <a:pt x="1070" y="1026"/>
                  </a:lnTo>
                  <a:lnTo>
                    <a:pt x="1077" y="1028"/>
                  </a:lnTo>
                  <a:lnTo>
                    <a:pt x="1079" y="1028"/>
                  </a:lnTo>
                  <a:lnTo>
                    <a:pt x="1084" y="1030"/>
                  </a:lnTo>
                  <a:lnTo>
                    <a:pt x="1090" y="1031"/>
                  </a:lnTo>
                  <a:lnTo>
                    <a:pt x="1086" y="1030"/>
                  </a:lnTo>
                  <a:lnTo>
                    <a:pt x="1091" y="1031"/>
                  </a:lnTo>
                  <a:lnTo>
                    <a:pt x="1091" y="1031"/>
                  </a:lnTo>
                  <a:lnTo>
                    <a:pt x="1095" y="1031"/>
                  </a:lnTo>
                  <a:lnTo>
                    <a:pt x="1098" y="1030"/>
                  </a:lnTo>
                  <a:lnTo>
                    <a:pt x="1098" y="1028"/>
                  </a:lnTo>
                  <a:lnTo>
                    <a:pt x="1098" y="1029"/>
                  </a:lnTo>
                  <a:lnTo>
                    <a:pt x="1100" y="1029"/>
                  </a:lnTo>
                  <a:lnTo>
                    <a:pt x="1101" y="1029"/>
                  </a:lnTo>
                  <a:lnTo>
                    <a:pt x="1104" y="1029"/>
                  </a:lnTo>
                  <a:lnTo>
                    <a:pt x="1103" y="1029"/>
                  </a:lnTo>
                  <a:lnTo>
                    <a:pt x="1103" y="1032"/>
                  </a:lnTo>
                  <a:lnTo>
                    <a:pt x="1106" y="1033"/>
                  </a:lnTo>
                  <a:lnTo>
                    <a:pt x="1106" y="1034"/>
                  </a:lnTo>
                  <a:lnTo>
                    <a:pt x="1104" y="1034"/>
                  </a:lnTo>
                  <a:lnTo>
                    <a:pt x="1101" y="1033"/>
                  </a:lnTo>
                  <a:lnTo>
                    <a:pt x="1100" y="1033"/>
                  </a:lnTo>
                  <a:lnTo>
                    <a:pt x="1102" y="1037"/>
                  </a:lnTo>
                  <a:lnTo>
                    <a:pt x="1107" y="1041"/>
                  </a:lnTo>
                  <a:lnTo>
                    <a:pt x="1108" y="1041"/>
                  </a:lnTo>
                  <a:lnTo>
                    <a:pt x="1108" y="1041"/>
                  </a:lnTo>
                  <a:lnTo>
                    <a:pt x="1107" y="1041"/>
                  </a:lnTo>
                  <a:lnTo>
                    <a:pt x="1112" y="1045"/>
                  </a:lnTo>
                  <a:lnTo>
                    <a:pt x="1113" y="1048"/>
                  </a:lnTo>
                  <a:lnTo>
                    <a:pt x="1118" y="1052"/>
                  </a:lnTo>
                  <a:lnTo>
                    <a:pt x="1120" y="1055"/>
                  </a:lnTo>
                  <a:lnTo>
                    <a:pt x="1127" y="1060"/>
                  </a:lnTo>
                  <a:lnTo>
                    <a:pt x="1125" y="1063"/>
                  </a:lnTo>
                  <a:lnTo>
                    <a:pt x="1125" y="1064"/>
                  </a:lnTo>
                  <a:lnTo>
                    <a:pt x="1128" y="1065"/>
                  </a:lnTo>
                  <a:lnTo>
                    <a:pt x="1127" y="1067"/>
                  </a:lnTo>
                  <a:lnTo>
                    <a:pt x="1125" y="1071"/>
                  </a:lnTo>
                  <a:lnTo>
                    <a:pt x="1125" y="1073"/>
                  </a:lnTo>
                  <a:lnTo>
                    <a:pt x="1128" y="1076"/>
                  </a:lnTo>
                  <a:lnTo>
                    <a:pt x="1130" y="1077"/>
                  </a:lnTo>
                  <a:lnTo>
                    <a:pt x="1134" y="1079"/>
                  </a:lnTo>
                  <a:lnTo>
                    <a:pt x="1135" y="1081"/>
                  </a:lnTo>
                  <a:lnTo>
                    <a:pt x="1137" y="1079"/>
                  </a:lnTo>
                  <a:lnTo>
                    <a:pt x="1137" y="1076"/>
                  </a:lnTo>
                  <a:lnTo>
                    <a:pt x="1135" y="1075"/>
                  </a:lnTo>
                  <a:lnTo>
                    <a:pt x="1134" y="1074"/>
                  </a:lnTo>
                  <a:lnTo>
                    <a:pt x="1133" y="1072"/>
                  </a:lnTo>
                  <a:lnTo>
                    <a:pt x="1134" y="1072"/>
                  </a:lnTo>
                  <a:lnTo>
                    <a:pt x="1134" y="1073"/>
                  </a:lnTo>
                  <a:lnTo>
                    <a:pt x="1136" y="1073"/>
                  </a:lnTo>
                  <a:lnTo>
                    <a:pt x="1142" y="1079"/>
                  </a:lnTo>
                  <a:lnTo>
                    <a:pt x="1142" y="1080"/>
                  </a:lnTo>
                  <a:lnTo>
                    <a:pt x="1143" y="1082"/>
                  </a:lnTo>
                  <a:lnTo>
                    <a:pt x="1147" y="1083"/>
                  </a:lnTo>
                  <a:lnTo>
                    <a:pt x="1153" y="1086"/>
                  </a:lnTo>
                  <a:lnTo>
                    <a:pt x="1155" y="1090"/>
                  </a:lnTo>
                  <a:lnTo>
                    <a:pt x="1157" y="1091"/>
                  </a:lnTo>
                  <a:lnTo>
                    <a:pt x="1154" y="1093"/>
                  </a:lnTo>
                  <a:lnTo>
                    <a:pt x="1154" y="1096"/>
                  </a:lnTo>
                  <a:lnTo>
                    <a:pt x="1160" y="1098"/>
                  </a:lnTo>
                  <a:lnTo>
                    <a:pt x="1160" y="1096"/>
                  </a:lnTo>
                  <a:lnTo>
                    <a:pt x="1159" y="1093"/>
                  </a:lnTo>
                  <a:lnTo>
                    <a:pt x="1161" y="1094"/>
                  </a:lnTo>
                  <a:lnTo>
                    <a:pt x="1166" y="1102"/>
                  </a:lnTo>
                  <a:lnTo>
                    <a:pt x="1164" y="1099"/>
                  </a:lnTo>
                  <a:lnTo>
                    <a:pt x="1164" y="1099"/>
                  </a:lnTo>
                  <a:lnTo>
                    <a:pt x="1164" y="1098"/>
                  </a:lnTo>
                  <a:lnTo>
                    <a:pt x="1166" y="1097"/>
                  </a:lnTo>
                  <a:lnTo>
                    <a:pt x="1167" y="1097"/>
                  </a:lnTo>
                  <a:lnTo>
                    <a:pt x="1167" y="1096"/>
                  </a:lnTo>
                  <a:lnTo>
                    <a:pt x="1166" y="1092"/>
                  </a:lnTo>
                  <a:lnTo>
                    <a:pt x="1167" y="1091"/>
                  </a:lnTo>
                  <a:lnTo>
                    <a:pt x="1168" y="1090"/>
                  </a:lnTo>
                  <a:lnTo>
                    <a:pt x="1168" y="1090"/>
                  </a:lnTo>
                  <a:lnTo>
                    <a:pt x="1164" y="1089"/>
                  </a:lnTo>
                  <a:lnTo>
                    <a:pt x="1164" y="1085"/>
                  </a:lnTo>
                  <a:lnTo>
                    <a:pt x="1167" y="1082"/>
                  </a:lnTo>
                  <a:lnTo>
                    <a:pt x="1166" y="1081"/>
                  </a:lnTo>
                  <a:lnTo>
                    <a:pt x="1167" y="1081"/>
                  </a:lnTo>
                  <a:lnTo>
                    <a:pt x="1169" y="1082"/>
                  </a:lnTo>
                  <a:lnTo>
                    <a:pt x="1170" y="1081"/>
                  </a:lnTo>
                  <a:lnTo>
                    <a:pt x="1166" y="1079"/>
                  </a:lnTo>
                  <a:lnTo>
                    <a:pt x="1163" y="1075"/>
                  </a:lnTo>
                  <a:lnTo>
                    <a:pt x="1163" y="1075"/>
                  </a:lnTo>
                  <a:lnTo>
                    <a:pt x="1160" y="1072"/>
                  </a:lnTo>
                  <a:lnTo>
                    <a:pt x="1157" y="1067"/>
                  </a:lnTo>
                  <a:lnTo>
                    <a:pt x="1155" y="1065"/>
                  </a:lnTo>
                  <a:lnTo>
                    <a:pt x="1155" y="1065"/>
                  </a:lnTo>
                  <a:lnTo>
                    <a:pt x="1155" y="1063"/>
                  </a:lnTo>
                  <a:lnTo>
                    <a:pt x="1154" y="1063"/>
                  </a:lnTo>
                  <a:lnTo>
                    <a:pt x="1153" y="1060"/>
                  </a:lnTo>
                  <a:lnTo>
                    <a:pt x="1152" y="1057"/>
                  </a:lnTo>
                  <a:lnTo>
                    <a:pt x="1155" y="1051"/>
                  </a:lnTo>
                  <a:lnTo>
                    <a:pt x="1153" y="1049"/>
                  </a:lnTo>
                  <a:lnTo>
                    <a:pt x="1154" y="1046"/>
                  </a:lnTo>
                  <a:lnTo>
                    <a:pt x="1155" y="1043"/>
                  </a:lnTo>
                  <a:lnTo>
                    <a:pt x="1154" y="1042"/>
                  </a:lnTo>
                  <a:lnTo>
                    <a:pt x="1155" y="1039"/>
                  </a:lnTo>
                  <a:lnTo>
                    <a:pt x="1155" y="1037"/>
                  </a:lnTo>
                  <a:lnTo>
                    <a:pt x="1157" y="1037"/>
                  </a:lnTo>
                  <a:lnTo>
                    <a:pt x="1155" y="1040"/>
                  </a:lnTo>
                  <a:lnTo>
                    <a:pt x="1155" y="1040"/>
                  </a:lnTo>
                  <a:lnTo>
                    <a:pt x="1155" y="1042"/>
                  </a:lnTo>
                  <a:lnTo>
                    <a:pt x="1157" y="1040"/>
                  </a:lnTo>
                  <a:lnTo>
                    <a:pt x="1157" y="1038"/>
                  </a:lnTo>
                  <a:lnTo>
                    <a:pt x="1158" y="1035"/>
                  </a:lnTo>
                  <a:lnTo>
                    <a:pt x="1157" y="1033"/>
                  </a:lnTo>
                  <a:lnTo>
                    <a:pt x="1157" y="1029"/>
                  </a:lnTo>
                  <a:lnTo>
                    <a:pt x="1158" y="1021"/>
                  </a:lnTo>
                  <a:lnTo>
                    <a:pt x="1161" y="1016"/>
                  </a:lnTo>
                  <a:lnTo>
                    <a:pt x="1161" y="1014"/>
                  </a:lnTo>
                  <a:lnTo>
                    <a:pt x="1160" y="1009"/>
                  </a:lnTo>
                  <a:lnTo>
                    <a:pt x="1162" y="1006"/>
                  </a:lnTo>
                  <a:lnTo>
                    <a:pt x="1161" y="1005"/>
                  </a:lnTo>
                  <a:lnTo>
                    <a:pt x="1159" y="1003"/>
                  </a:lnTo>
                  <a:lnTo>
                    <a:pt x="1157" y="1002"/>
                  </a:lnTo>
                  <a:lnTo>
                    <a:pt x="1157" y="1002"/>
                  </a:lnTo>
                  <a:lnTo>
                    <a:pt x="1153" y="1003"/>
                  </a:lnTo>
                  <a:lnTo>
                    <a:pt x="1151" y="1000"/>
                  </a:lnTo>
                  <a:lnTo>
                    <a:pt x="1152" y="1003"/>
                  </a:lnTo>
                  <a:lnTo>
                    <a:pt x="1151" y="1002"/>
                  </a:lnTo>
                  <a:lnTo>
                    <a:pt x="1149" y="999"/>
                  </a:lnTo>
                  <a:lnTo>
                    <a:pt x="1151" y="998"/>
                  </a:lnTo>
                  <a:lnTo>
                    <a:pt x="1154" y="1000"/>
                  </a:lnTo>
                  <a:lnTo>
                    <a:pt x="1154" y="1000"/>
                  </a:lnTo>
                  <a:lnTo>
                    <a:pt x="1151" y="998"/>
                  </a:lnTo>
                  <a:lnTo>
                    <a:pt x="1146" y="994"/>
                  </a:lnTo>
                  <a:lnTo>
                    <a:pt x="1144" y="995"/>
                  </a:lnTo>
                  <a:lnTo>
                    <a:pt x="1142" y="994"/>
                  </a:lnTo>
                  <a:lnTo>
                    <a:pt x="1137" y="992"/>
                  </a:lnTo>
                  <a:lnTo>
                    <a:pt x="1130" y="994"/>
                  </a:lnTo>
                  <a:lnTo>
                    <a:pt x="1127" y="992"/>
                  </a:lnTo>
                  <a:lnTo>
                    <a:pt x="1127" y="992"/>
                  </a:lnTo>
                  <a:lnTo>
                    <a:pt x="1125" y="992"/>
                  </a:lnTo>
                  <a:lnTo>
                    <a:pt x="1124" y="994"/>
                  </a:lnTo>
                  <a:lnTo>
                    <a:pt x="1120" y="994"/>
                  </a:lnTo>
                  <a:lnTo>
                    <a:pt x="1118" y="995"/>
                  </a:lnTo>
                  <a:lnTo>
                    <a:pt x="1117" y="995"/>
                  </a:lnTo>
                  <a:lnTo>
                    <a:pt x="1108" y="995"/>
                  </a:lnTo>
                  <a:lnTo>
                    <a:pt x="1104" y="994"/>
                  </a:lnTo>
                  <a:lnTo>
                    <a:pt x="1102" y="995"/>
                  </a:lnTo>
                  <a:lnTo>
                    <a:pt x="1099" y="992"/>
                  </a:lnTo>
                  <a:lnTo>
                    <a:pt x="1095" y="995"/>
                  </a:lnTo>
                  <a:lnTo>
                    <a:pt x="1093" y="996"/>
                  </a:lnTo>
                  <a:lnTo>
                    <a:pt x="1090" y="994"/>
                  </a:lnTo>
                  <a:lnTo>
                    <a:pt x="1089" y="994"/>
                  </a:lnTo>
                  <a:lnTo>
                    <a:pt x="1087" y="996"/>
                  </a:lnTo>
                  <a:lnTo>
                    <a:pt x="1087" y="995"/>
                  </a:lnTo>
                  <a:lnTo>
                    <a:pt x="1083" y="994"/>
                  </a:lnTo>
                  <a:lnTo>
                    <a:pt x="1083" y="992"/>
                  </a:lnTo>
                  <a:lnTo>
                    <a:pt x="1086" y="988"/>
                  </a:lnTo>
                  <a:lnTo>
                    <a:pt x="1089" y="987"/>
                  </a:lnTo>
                  <a:lnTo>
                    <a:pt x="1090" y="985"/>
                  </a:lnTo>
                  <a:lnTo>
                    <a:pt x="1091" y="985"/>
                  </a:lnTo>
                  <a:lnTo>
                    <a:pt x="1092" y="981"/>
                  </a:lnTo>
                  <a:lnTo>
                    <a:pt x="1092" y="973"/>
                  </a:lnTo>
                  <a:lnTo>
                    <a:pt x="1093" y="971"/>
                  </a:lnTo>
                  <a:lnTo>
                    <a:pt x="1092" y="970"/>
                  </a:lnTo>
                  <a:lnTo>
                    <a:pt x="1094" y="962"/>
                  </a:lnTo>
                  <a:lnTo>
                    <a:pt x="1094" y="960"/>
                  </a:lnTo>
                  <a:lnTo>
                    <a:pt x="1092" y="956"/>
                  </a:lnTo>
                  <a:lnTo>
                    <a:pt x="1092" y="954"/>
                  </a:lnTo>
                  <a:lnTo>
                    <a:pt x="1095" y="953"/>
                  </a:lnTo>
                  <a:lnTo>
                    <a:pt x="1094" y="955"/>
                  </a:lnTo>
                  <a:lnTo>
                    <a:pt x="1098" y="961"/>
                  </a:lnTo>
                  <a:lnTo>
                    <a:pt x="1103" y="945"/>
                  </a:lnTo>
                  <a:lnTo>
                    <a:pt x="1101" y="946"/>
                  </a:lnTo>
                  <a:lnTo>
                    <a:pt x="1100" y="945"/>
                  </a:lnTo>
                  <a:lnTo>
                    <a:pt x="1102" y="941"/>
                  </a:lnTo>
                  <a:lnTo>
                    <a:pt x="1100" y="941"/>
                  </a:lnTo>
                  <a:lnTo>
                    <a:pt x="1103" y="936"/>
                  </a:lnTo>
                  <a:lnTo>
                    <a:pt x="1103" y="934"/>
                  </a:lnTo>
                  <a:lnTo>
                    <a:pt x="1104" y="931"/>
                  </a:lnTo>
                  <a:lnTo>
                    <a:pt x="1106" y="929"/>
                  </a:lnTo>
                  <a:lnTo>
                    <a:pt x="1109" y="926"/>
                  </a:lnTo>
                  <a:lnTo>
                    <a:pt x="1111" y="923"/>
                  </a:lnTo>
                  <a:lnTo>
                    <a:pt x="1111" y="921"/>
                  </a:lnTo>
                  <a:lnTo>
                    <a:pt x="1111" y="917"/>
                  </a:lnTo>
                  <a:lnTo>
                    <a:pt x="1110" y="914"/>
                  </a:lnTo>
                  <a:lnTo>
                    <a:pt x="1108" y="912"/>
                  </a:lnTo>
                  <a:lnTo>
                    <a:pt x="1104" y="914"/>
                  </a:lnTo>
                  <a:lnTo>
                    <a:pt x="1094" y="912"/>
                  </a:lnTo>
                  <a:lnTo>
                    <a:pt x="1091" y="913"/>
                  </a:lnTo>
                  <a:lnTo>
                    <a:pt x="1090" y="913"/>
                  </a:lnTo>
                  <a:lnTo>
                    <a:pt x="1084" y="915"/>
                  </a:lnTo>
                  <a:lnTo>
                    <a:pt x="1070" y="917"/>
                  </a:lnTo>
                  <a:lnTo>
                    <a:pt x="1065" y="920"/>
                  </a:lnTo>
                  <a:lnTo>
                    <a:pt x="1063" y="922"/>
                  </a:lnTo>
                  <a:lnTo>
                    <a:pt x="1064" y="923"/>
                  </a:lnTo>
                  <a:lnTo>
                    <a:pt x="1063" y="925"/>
                  </a:lnTo>
                  <a:lnTo>
                    <a:pt x="1061" y="927"/>
                  </a:lnTo>
                  <a:lnTo>
                    <a:pt x="1061" y="930"/>
                  </a:lnTo>
                  <a:lnTo>
                    <a:pt x="1061" y="932"/>
                  </a:lnTo>
                  <a:lnTo>
                    <a:pt x="1061" y="935"/>
                  </a:lnTo>
                  <a:lnTo>
                    <a:pt x="1061" y="936"/>
                  </a:lnTo>
                  <a:lnTo>
                    <a:pt x="1059" y="938"/>
                  </a:lnTo>
                  <a:lnTo>
                    <a:pt x="1058" y="944"/>
                  </a:lnTo>
                  <a:lnTo>
                    <a:pt x="1056" y="947"/>
                  </a:lnTo>
                  <a:lnTo>
                    <a:pt x="1050" y="949"/>
                  </a:lnTo>
                  <a:lnTo>
                    <a:pt x="1048" y="952"/>
                  </a:lnTo>
                  <a:lnTo>
                    <a:pt x="1049" y="952"/>
                  </a:lnTo>
                  <a:lnTo>
                    <a:pt x="1051" y="955"/>
                  </a:lnTo>
                  <a:lnTo>
                    <a:pt x="1050" y="955"/>
                  </a:lnTo>
                  <a:lnTo>
                    <a:pt x="1048" y="957"/>
                  </a:lnTo>
                  <a:lnTo>
                    <a:pt x="1046" y="957"/>
                  </a:lnTo>
                  <a:lnTo>
                    <a:pt x="1043" y="957"/>
                  </a:lnTo>
                  <a:lnTo>
                    <a:pt x="1041" y="955"/>
                  </a:lnTo>
                  <a:lnTo>
                    <a:pt x="1042" y="955"/>
                  </a:lnTo>
                  <a:lnTo>
                    <a:pt x="1040" y="954"/>
                  </a:lnTo>
                  <a:lnTo>
                    <a:pt x="1034" y="954"/>
                  </a:lnTo>
                  <a:lnTo>
                    <a:pt x="1033" y="955"/>
                  </a:lnTo>
                  <a:lnTo>
                    <a:pt x="1032" y="957"/>
                  </a:lnTo>
                  <a:lnTo>
                    <a:pt x="1031" y="956"/>
                  </a:lnTo>
                  <a:lnTo>
                    <a:pt x="1029" y="957"/>
                  </a:lnTo>
                  <a:lnTo>
                    <a:pt x="1025" y="957"/>
                  </a:lnTo>
                  <a:lnTo>
                    <a:pt x="1021" y="957"/>
                  </a:lnTo>
                  <a:lnTo>
                    <a:pt x="1010" y="961"/>
                  </a:lnTo>
                  <a:lnTo>
                    <a:pt x="1007" y="962"/>
                  </a:lnTo>
                  <a:lnTo>
                    <a:pt x="1006" y="961"/>
                  </a:lnTo>
                  <a:lnTo>
                    <a:pt x="1002" y="956"/>
                  </a:lnTo>
                  <a:lnTo>
                    <a:pt x="1000" y="956"/>
                  </a:lnTo>
                  <a:lnTo>
                    <a:pt x="996" y="954"/>
                  </a:lnTo>
                  <a:lnTo>
                    <a:pt x="991" y="953"/>
                  </a:lnTo>
                  <a:lnTo>
                    <a:pt x="989" y="953"/>
                  </a:lnTo>
                  <a:lnTo>
                    <a:pt x="989" y="953"/>
                  </a:lnTo>
                  <a:lnTo>
                    <a:pt x="988" y="954"/>
                  </a:lnTo>
                  <a:lnTo>
                    <a:pt x="988" y="955"/>
                  </a:lnTo>
                  <a:lnTo>
                    <a:pt x="987" y="955"/>
                  </a:lnTo>
                  <a:lnTo>
                    <a:pt x="988" y="954"/>
                  </a:lnTo>
                  <a:lnTo>
                    <a:pt x="987" y="952"/>
                  </a:lnTo>
                  <a:lnTo>
                    <a:pt x="989" y="953"/>
                  </a:lnTo>
                  <a:lnTo>
                    <a:pt x="987" y="952"/>
                  </a:lnTo>
                  <a:lnTo>
                    <a:pt x="985" y="948"/>
                  </a:lnTo>
                  <a:lnTo>
                    <a:pt x="982" y="945"/>
                  </a:lnTo>
                  <a:lnTo>
                    <a:pt x="981" y="944"/>
                  </a:lnTo>
                  <a:lnTo>
                    <a:pt x="980" y="938"/>
                  </a:lnTo>
                  <a:lnTo>
                    <a:pt x="979" y="935"/>
                  </a:lnTo>
                  <a:lnTo>
                    <a:pt x="971" y="927"/>
                  </a:lnTo>
                  <a:lnTo>
                    <a:pt x="967" y="919"/>
                  </a:lnTo>
                  <a:lnTo>
                    <a:pt x="965" y="914"/>
                  </a:lnTo>
                  <a:lnTo>
                    <a:pt x="964" y="912"/>
                  </a:lnTo>
                  <a:lnTo>
                    <a:pt x="963" y="910"/>
                  </a:lnTo>
                  <a:lnTo>
                    <a:pt x="963" y="906"/>
                  </a:lnTo>
                  <a:lnTo>
                    <a:pt x="964" y="910"/>
                  </a:lnTo>
                  <a:lnTo>
                    <a:pt x="967" y="913"/>
                  </a:lnTo>
                  <a:lnTo>
                    <a:pt x="966" y="915"/>
                  </a:lnTo>
                  <a:lnTo>
                    <a:pt x="967" y="917"/>
                  </a:lnTo>
                  <a:lnTo>
                    <a:pt x="968" y="913"/>
                  </a:lnTo>
                  <a:lnTo>
                    <a:pt x="967" y="912"/>
                  </a:lnTo>
                  <a:lnTo>
                    <a:pt x="964" y="910"/>
                  </a:lnTo>
                  <a:lnTo>
                    <a:pt x="963" y="906"/>
                  </a:lnTo>
                  <a:lnTo>
                    <a:pt x="962" y="904"/>
                  </a:lnTo>
                  <a:lnTo>
                    <a:pt x="962" y="903"/>
                  </a:lnTo>
                  <a:lnTo>
                    <a:pt x="961" y="901"/>
                  </a:lnTo>
                  <a:lnTo>
                    <a:pt x="961" y="896"/>
                  </a:lnTo>
                  <a:lnTo>
                    <a:pt x="962" y="893"/>
                  </a:lnTo>
                  <a:lnTo>
                    <a:pt x="962" y="891"/>
                  </a:lnTo>
                  <a:lnTo>
                    <a:pt x="962" y="884"/>
                  </a:lnTo>
                  <a:lnTo>
                    <a:pt x="961" y="880"/>
                  </a:lnTo>
                  <a:lnTo>
                    <a:pt x="962" y="880"/>
                  </a:lnTo>
                  <a:lnTo>
                    <a:pt x="962" y="878"/>
                  </a:lnTo>
                  <a:lnTo>
                    <a:pt x="962" y="872"/>
                  </a:lnTo>
                  <a:lnTo>
                    <a:pt x="961" y="869"/>
                  </a:lnTo>
                  <a:lnTo>
                    <a:pt x="963" y="867"/>
                  </a:lnTo>
                  <a:lnTo>
                    <a:pt x="963" y="864"/>
                  </a:lnTo>
                  <a:lnTo>
                    <a:pt x="963" y="863"/>
                  </a:lnTo>
                  <a:lnTo>
                    <a:pt x="963" y="858"/>
                  </a:lnTo>
                  <a:lnTo>
                    <a:pt x="965" y="859"/>
                  </a:lnTo>
                  <a:lnTo>
                    <a:pt x="965" y="863"/>
                  </a:lnTo>
                  <a:lnTo>
                    <a:pt x="964" y="869"/>
                  </a:lnTo>
                  <a:lnTo>
                    <a:pt x="962" y="879"/>
                  </a:lnTo>
                  <a:lnTo>
                    <a:pt x="963" y="879"/>
                  </a:lnTo>
                  <a:lnTo>
                    <a:pt x="963" y="871"/>
                  </a:lnTo>
                  <a:lnTo>
                    <a:pt x="965" y="862"/>
                  </a:lnTo>
                  <a:lnTo>
                    <a:pt x="970" y="854"/>
                  </a:lnTo>
                  <a:lnTo>
                    <a:pt x="971" y="849"/>
                  </a:lnTo>
                  <a:lnTo>
                    <a:pt x="968" y="846"/>
                  </a:lnTo>
                  <a:lnTo>
                    <a:pt x="964" y="834"/>
                  </a:lnTo>
                  <a:lnTo>
                    <a:pt x="966" y="832"/>
                  </a:lnTo>
                  <a:lnTo>
                    <a:pt x="964" y="831"/>
                  </a:lnTo>
                  <a:lnTo>
                    <a:pt x="962" y="827"/>
                  </a:lnTo>
                  <a:lnTo>
                    <a:pt x="964" y="828"/>
                  </a:lnTo>
                  <a:lnTo>
                    <a:pt x="966" y="829"/>
                  </a:lnTo>
                  <a:lnTo>
                    <a:pt x="968" y="824"/>
                  </a:lnTo>
                  <a:lnTo>
                    <a:pt x="967" y="821"/>
                  </a:lnTo>
                  <a:lnTo>
                    <a:pt x="965" y="821"/>
                  </a:lnTo>
                  <a:lnTo>
                    <a:pt x="970" y="821"/>
                  </a:lnTo>
                  <a:lnTo>
                    <a:pt x="972" y="818"/>
                  </a:lnTo>
                  <a:lnTo>
                    <a:pt x="972" y="817"/>
                  </a:lnTo>
                  <a:lnTo>
                    <a:pt x="975" y="816"/>
                  </a:lnTo>
                  <a:lnTo>
                    <a:pt x="974" y="814"/>
                  </a:lnTo>
                  <a:lnTo>
                    <a:pt x="975" y="812"/>
                  </a:lnTo>
                  <a:lnTo>
                    <a:pt x="978" y="815"/>
                  </a:lnTo>
                  <a:lnTo>
                    <a:pt x="981" y="812"/>
                  </a:lnTo>
                  <a:lnTo>
                    <a:pt x="978" y="810"/>
                  </a:lnTo>
                  <a:lnTo>
                    <a:pt x="978" y="810"/>
                  </a:lnTo>
                  <a:lnTo>
                    <a:pt x="979" y="809"/>
                  </a:lnTo>
                  <a:lnTo>
                    <a:pt x="980" y="810"/>
                  </a:lnTo>
                  <a:lnTo>
                    <a:pt x="980" y="808"/>
                  </a:lnTo>
                  <a:lnTo>
                    <a:pt x="983" y="809"/>
                  </a:lnTo>
                  <a:lnTo>
                    <a:pt x="984" y="810"/>
                  </a:lnTo>
                  <a:lnTo>
                    <a:pt x="983" y="810"/>
                  </a:lnTo>
                  <a:lnTo>
                    <a:pt x="987" y="810"/>
                  </a:lnTo>
                  <a:lnTo>
                    <a:pt x="983" y="812"/>
                  </a:lnTo>
                  <a:lnTo>
                    <a:pt x="991" y="808"/>
                  </a:lnTo>
                  <a:lnTo>
                    <a:pt x="993" y="807"/>
                  </a:lnTo>
                  <a:lnTo>
                    <a:pt x="995" y="807"/>
                  </a:lnTo>
                  <a:lnTo>
                    <a:pt x="997" y="804"/>
                  </a:lnTo>
                  <a:lnTo>
                    <a:pt x="998" y="802"/>
                  </a:lnTo>
                  <a:lnTo>
                    <a:pt x="1001" y="800"/>
                  </a:lnTo>
                  <a:lnTo>
                    <a:pt x="999" y="794"/>
                  </a:lnTo>
                  <a:lnTo>
                    <a:pt x="999" y="793"/>
                  </a:lnTo>
                  <a:lnTo>
                    <a:pt x="1001" y="794"/>
                  </a:lnTo>
                  <a:lnTo>
                    <a:pt x="1004" y="793"/>
                  </a:lnTo>
                  <a:lnTo>
                    <a:pt x="1005" y="797"/>
                  </a:lnTo>
                  <a:lnTo>
                    <a:pt x="1007" y="797"/>
                  </a:lnTo>
                  <a:lnTo>
                    <a:pt x="1006" y="797"/>
                  </a:lnTo>
                  <a:lnTo>
                    <a:pt x="1002" y="799"/>
                  </a:lnTo>
                  <a:lnTo>
                    <a:pt x="1008" y="795"/>
                  </a:lnTo>
                  <a:lnTo>
                    <a:pt x="1012" y="794"/>
                  </a:lnTo>
                  <a:lnTo>
                    <a:pt x="1014" y="794"/>
                  </a:lnTo>
                  <a:lnTo>
                    <a:pt x="1015" y="793"/>
                  </a:lnTo>
                  <a:lnTo>
                    <a:pt x="1014" y="792"/>
                  </a:lnTo>
                  <a:lnTo>
                    <a:pt x="1016" y="790"/>
                  </a:lnTo>
                  <a:lnTo>
                    <a:pt x="1015" y="792"/>
                  </a:lnTo>
                  <a:lnTo>
                    <a:pt x="1015" y="793"/>
                  </a:lnTo>
                  <a:lnTo>
                    <a:pt x="1021" y="793"/>
                  </a:lnTo>
                  <a:lnTo>
                    <a:pt x="1022" y="792"/>
                  </a:lnTo>
                  <a:lnTo>
                    <a:pt x="1023" y="790"/>
                  </a:lnTo>
                  <a:lnTo>
                    <a:pt x="1023" y="790"/>
                  </a:lnTo>
                  <a:lnTo>
                    <a:pt x="1022" y="792"/>
                  </a:lnTo>
                  <a:lnTo>
                    <a:pt x="1027" y="793"/>
                  </a:lnTo>
                  <a:lnTo>
                    <a:pt x="1031" y="795"/>
                  </a:lnTo>
                  <a:lnTo>
                    <a:pt x="1036" y="797"/>
                  </a:lnTo>
                  <a:lnTo>
                    <a:pt x="1039" y="795"/>
                  </a:lnTo>
                  <a:lnTo>
                    <a:pt x="1040" y="795"/>
                  </a:lnTo>
                  <a:lnTo>
                    <a:pt x="1041" y="792"/>
                  </a:lnTo>
                  <a:lnTo>
                    <a:pt x="1043" y="793"/>
                  </a:lnTo>
                  <a:lnTo>
                    <a:pt x="1049" y="797"/>
                  </a:lnTo>
                  <a:lnTo>
                    <a:pt x="1051" y="795"/>
                  </a:lnTo>
                  <a:lnTo>
                    <a:pt x="1051" y="797"/>
                  </a:lnTo>
                  <a:lnTo>
                    <a:pt x="1055" y="802"/>
                  </a:lnTo>
                  <a:lnTo>
                    <a:pt x="1059" y="802"/>
                  </a:lnTo>
                  <a:lnTo>
                    <a:pt x="1059" y="801"/>
                  </a:lnTo>
                  <a:lnTo>
                    <a:pt x="1063" y="799"/>
                  </a:lnTo>
                  <a:lnTo>
                    <a:pt x="1066" y="802"/>
                  </a:lnTo>
                  <a:lnTo>
                    <a:pt x="1067" y="801"/>
                  </a:lnTo>
                  <a:lnTo>
                    <a:pt x="1067" y="799"/>
                  </a:lnTo>
                  <a:lnTo>
                    <a:pt x="1066" y="795"/>
                  </a:lnTo>
                  <a:lnTo>
                    <a:pt x="1070" y="798"/>
                  </a:lnTo>
                  <a:lnTo>
                    <a:pt x="1074" y="801"/>
                  </a:lnTo>
                  <a:lnTo>
                    <a:pt x="1076" y="802"/>
                  </a:lnTo>
                  <a:lnTo>
                    <a:pt x="1076" y="806"/>
                  </a:lnTo>
                  <a:lnTo>
                    <a:pt x="1078" y="803"/>
                  </a:lnTo>
                  <a:lnTo>
                    <a:pt x="1082" y="802"/>
                  </a:lnTo>
                  <a:lnTo>
                    <a:pt x="1082" y="801"/>
                  </a:lnTo>
                  <a:lnTo>
                    <a:pt x="1079" y="800"/>
                  </a:lnTo>
                  <a:lnTo>
                    <a:pt x="1077" y="799"/>
                  </a:lnTo>
                  <a:lnTo>
                    <a:pt x="1074" y="797"/>
                  </a:lnTo>
                  <a:lnTo>
                    <a:pt x="1073" y="794"/>
                  </a:lnTo>
                  <a:lnTo>
                    <a:pt x="1076" y="792"/>
                  </a:lnTo>
                  <a:lnTo>
                    <a:pt x="1076" y="790"/>
                  </a:lnTo>
                  <a:lnTo>
                    <a:pt x="1074" y="790"/>
                  </a:lnTo>
                  <a:lnTo>
                    <a:pt x="1072" y="790"/>
                  </a:lnTo>
                  <a:lnTo>
                    <a:pt x="1070" y="790"/>
                  </a:lnTo>
                  <a:lnTo>
                    <a:pt x="1073" y="787"/>
                  </a:lnTo>
                  <a:lnTo>
                    <a:pt x="1073" y="787"/>
                  </a:lnTo>
                  <a:lnTo>
                    <a:pt x="1070" y="787"/>
                  </a:lnTo>
                  <a:lnTo>
                    <a:pt x="1068" y="789"/>
                  </a:lnTo>
                  <a:lnTo>
                    <a:pt x="1066" y="789"/>
                  </a:lnTo>
                  <a:lnTo>
                    <a:pt x="1063" y="787"/>
                  </a:lnTo>
                  <a:lnTo>
                    <a:pt x="1064" y="785"/>
                  </a:lnTo>
                  <a:lnTo>
                    <a:pt x="1067" y="784"/>
                  </a:lnTo>
                  <a:lnTo>
                    <a:pt x="1070" y="786"/>
                  </a:lnTo>
                  <a:lnTo>
                    <a:pt x="1072" y="785"/>
                  </a:lnTo>
                  <a:lnTo>
                    <a:pt x="1074" y="786"/>
                  </a:lnTo>
                  <a:lnTo>
                    <a:pt x="1074" y="787"/>
                  </a:lnTo>
                  <a:lnTo>
                    <a:pt x="1077" y="785"/>
                  </a:lnTo>
                  <a:lnTo>
                    <a:pt x="1077" y="784"/>
                  </a:lnTo>
                  <a:lnTo>
                    <a:pt x="1084" y="784"/>
                  </a:lnTo>
                  <a:lnTo>
                    <a:pt x="1084" y="783"/>
                  </a:lnTo>
                  <a:lnTo>
                    <a:pt x="1083" y="783"/>
                  </a:lnTo>
                  <a:lnTo>
                    <a:pt x="1086" y="784"/>
                  </a:lnTo>
                  <a:lnTo>
                    <a:pt x="1093" y="784"/>
                  </a:lnTo>
                  <a:lnTo>
                    <a:pt x="1094" y="781"/>
                  </a:lnTo>
                  <a:lnTo>
                    <a:pt x="1095" y="778"/>
                  </a:lnTo>
                  <a:lnTo>
                    <a:pt x="1096" y="780"/>
                  </a:lnTo>
                  <a:lnTo>
                    <a:pt x="1096" y="782"/>
                  </a:lnTo>
                  <a:lnTo>
                    <a:pt x="1099" y="784"/>
                  </a:lnTo>
                  <a:lnTo>
                    <a:pt x="1095" y="785"/>
                  </a:lnTo>
                  <a:lnTo>
                    <a:pt x="1099" y="786"/>
                  </a:lnTo>
                  <a:lnTo>
                    <a:pt x="1101" y="785"/>
                  </a:lnTo>
                  <a:lnTo>
                    <a:pt x="1103" y="783"/>
                  </a:lnTo>
                  <a:lnTo>
                    <a:pt x="1103" y="782"/>
                  </a:lnTo>
                  <a:lnTo>
                    <a:pt x="1104" y="783"/>
                  </a:lnTo>
                  <a:lnTo>
                    <a:pt x="1107" y="783"/>
                  </a:lnTo>
                  <a:lnTo>
                    <a:pt x="1107" y="782"/>
                  </a:lnTo>
                  <a:lnTo>
                    <a:pt x="1109" y="781"/>
                  </a:lnTo>
                  <a:lnTo>
                    <a:pt x="1109" y="783"/>
                  </a:lnTo>
                  <a:lnTo>
                    <a:pt x="1108" y="784"/>
                  </a:lnTo>
                  <a:lnTo>
                    <a:pt x="1115" y="783"/>
                  </a:lnTo>
                  <a:lnTo>
                    <a:pt x="1120" y="782"/>
                  </a:lnTo>
                  <a:lnTo>
                    <a:pt x="1121" y="783"/>
                  </a:lnTo>
                  <a:lnTo>
                    <a:pt x="1121" y="784"/>
                  </a:lnTo>
                  <a:lnTo>
                    <a:pt x="1120" y="783"/>
                  </a:lnTo>
                  <a:lnTo>
                    <a:pt x="1116" y="783"/>
                  </a:lnTo>
                  <a:lnTo>
                    <a:pt x="1121" y="784"/>
                  </a:lnTo>
                  <a:lnTo>
                    <a:pt x="1127" y="787"/>
                  </a:lnTo>
                  <a:lnTo>
                    <a:pt x="1125" y="785"/>
                  </a:lnTo>
                  <a:lnTo>
                    <a:pt x="1128" y="785"/>
                  </a:lnTo>
                  <a:lnTo>
                    <a:pt x="1127" y="786"/>
                  </a:lnTo>
                  <a:lnTo>
                    <a:pt x="1132" y="789"/>
                  </a:lnTo>
                  <a:lnTo>
                    <a:pt x="1128" y="787"/>
                  </a:lnTo>
                  <a:lnTo>
                    <a:pt x="1129" y="790"/>
                  </a:lnTo>
                  <a:lnTo>
                    <a:pt x="1132" y="791"/>
                  </a:lnTo>
                  <a:lnTo>
                    <a:pt x="1133" y="794"/>
                  </a:lnTo>
                  <a:lnTo>
                    <a:pt x="1134" y="793"/>
                  </a:lnTo>
                  <a:lnTo>
                    <a:pt x="1137" y="793"/>
                  </a:lnTo>
                  <a:lnTo>
                    <a:pt x="1144" y="791"/>
                  </a:lnTo>
                  <a:lnTo>
                    <a:pt x="1144" y="790"/>
                  </a:lnTo>
                  <a:lnTo>
                    <a:pt x="1145" y="790"/>
                  </a:lnTo>
                  <a:lnTo>
                    <a:pt x="1147" y="787"/>
                  </a:lnTo>
                  <a:lnTo>
                    <a:pt x="1151" y="789"/>
                  </a:lnTo>
                  <a:lnTo>
                    <a:pt x="1155" y="791"/>
                  </a:lnTo>
                  <a:lnTo>
                    <a:pt x="1159" y="797"/>
                  </a:lnTo>
                  <a:lnTo>
                    <a:pt x="1161" y="799"/>
                  </a:lnTo>
                  <a:lnTo>
                    <a:pt x="1162" y="800"/>
                  </a:lnTo>
                  <a:lnTo>
                    <a:pt x="1168" y="803"/>
                  </a:lnTo>
                  <a:lnTo>
                    <a:pt x="1169" y="806"/>
                  </a:lnTo>
                  <a:lnTo>
                    <a:pt x="1169" y="811"/>
                  </a:lnTo>
                  <a:lnTo>
                    <a:pt x="1167" y="817"/>
                  </a:lnTo>
                  <a:lnTo>
                    <a:pt x="1167" y="819"/>
                  </a:lnTo>
                  <a:lnTo>
                    <a:pt x="1166" y="821"/>
                  </a:lnTo>
                  <a:lnTo>
                    <a:pt x="1168" y="824"/>
                  </a:lnTo>
                  <a:lnTo>
                    <a:pt x="1169" y="821"/>
                  </a:lnTo>
                  <a:lnTo>
                    <a:pt x="1168" y="819"/>
                  </a:lnTo>
                  <a:lnTo>
                    <a:pt x="1170" y="821"/>
                  </a:lnTo>
                  <a:lnTo>
                    <a:pt x="1171" y="824"/>
                  </a:lnTo>
                  <a:lnTo>
                    <a:pt x="1170" y="825"/>
                  </a:lnTo>
                  <a:lnTo>
                    <a:pt x="1169" y="828"/>
                  </a:lnTo>
                  <a:lnTo>
                    <a:pt x="1171" y="831"/>
                  </a:lnTo>
                  <a:lnTo>
                    <a:pt x="1172" y="835"/>
                  </a:lnTo>
                  <a:lnTo>
                    <a:pt x="1176" y="836"/>
                  </a:lnTo>
                  <a:lnTo>
                    <a:pt x="1174" y="834"/>
                  </a:lnTo>
                  <a:lnTo>
                    <a:pt x="1177" y="835"/>
                  </a:lnTo>
                  <a:lnTo>
                    <a:pt x="1177" y="840"/>
                  </a:lnTo>
                  <a:lnTo>
                    <a:pt x="1180" y="838"/>
                  </a:lnTo>
                  <a:lnTo>
                    <a:pt x="1179" y="841"/>
                  </a:lnTo>
                  <a:lnTo>
                    <a:pt x="1180" y="846"/>
                  </a:lnTo>
                  <a:lnTo>
                    <a:pt x="1181" y="849"/>
                  </a:lnTo>
                  <a:lnTo>
                    <a:pt x="1181" y="850"/>
                  </a:lnTo>
                  <a:lnTo>
                    <a:pt x="1187" y="851"/>
                  </a:lnTo>
                  <a:lnTo>
                    <a:pt x="1189" y="857"/>
                  </a:lnTo>
                  <a:lnTo>
                    <a:pt x="1192" y="859"/>
                  </a:lnTo>
                  <a:lnTo>
                    <a:pt x="1189" y="859"/>
                  </a:lnTo>
                  <a:lnTo>
                    <a:pt x="1192" y="861"/>
                  </a:lnTo>
                  <a:lnTo>
                    <a:pt x="1195" y="861"/>
                  </a:lnTo>
                  <a:lnTo>
                    <a:pt x="1200" y="859"/>
                  </a:lnTo>
                  <a:lnTo>
                    <a:pt x="1202" y="853"/>
                  </a:lnTo>
                  <a:lnTo>
                    <a:pt x="1203" y="852"/>
                  </a:lnTo>
                  <a:lnTo>
                    <a:pt x="1203" y="850"/>
                  </a:lnTo>
                  <a:lnTo>
                    <a:pt x="1204" y="838"/>
                  </a:lnTo>
                  <a:lnTo>
                    <a:pt x="1204" y="836"/>
                  </a:lnTo>
                  <a:lnTo>
                    <a:pt x="1204" y="835"/>
                  </a:lnTo>
                  <a:lnTo>
                    <a:pt x="1203" y="832"/>
                  </a:lnTo>
                  <a:lnTo>
                    <a:pt x="1202" y="831"/>
                  </a:lnTo>
                  <a:lnTo>
                    <a:pt x="1202" y="831"/>
                  </a:lnTo>
                  <a:lnTo>
                    <a:pt x="1201" y="825"/>
                  </a:lnTo>
                  <a:lnTo>
                    <a:pt x="1195" y="814"/>
                  </a:lnTo>
                  <a:lnTo>
                    <a:pt x="1194" y="811"/>
                  </a:lnTo>
                  <a:lnTo>
                    <a:pt x="1194" y="808"/>
                  </a:lnTo>
                  <a:lnTo>
                    <a:pt x="1196" y="810"/>
                  </a:lnTo>
                  <a:lnTo>
                    <a:pt x="1197" y="812"/>
                  </a:lnTo>
                  <a:lnTo>
                    <a:pt x="1196" y="816"/>
                  </a:lnTo>
                  <a:lnTo>
                    <a:pt x="1197" y="818"/>
                  </a:lnTo>
                  <a:lnTo>
                    <a:pt x="1198" y="821"/>
                  </a:lnTo>
                  <a:lnTo>
                    <a:pt x="1197" y="816"/>
                  </a:lnTo>
                  <a:lnTo>
                    <a:pt x="1197" y="810"/>
                  </a:lnTo>
                  <a:lnTo>
                    <a:pt x="1193" y="803"/>
                  </a:lnTo>
                  <a:lnTo>
                    <a:pt x="1191" y="799"/>
                  </a:lnTo>
                  <a:lnTo>
                    <a:pt x="1188" y="793"/>
                  </a:lnTo>
                  <a:lnTo>
                    <a:pt x="1186" y="784"/>
                  </a:lnTo>
                  <a:lnTo>
                    <a:pt x="1185" y="781"/>
                  </a:lnTo>
                  <a:lnTo>
                    <a:pt x="1185" y="773"/>
                  </a:lnTo>
                  <a:lnTo>
                    <a:pt x="1187" y="772"/>
                  </a:lnTo>
                  <a:lnTo>
                    <a:pt x="1185" y="768"/>
                  </a:lnTo>
                  <a:lnTo>
                    <a:pt x="1187" y="769"/>
                  </a:lnTo>
                  <a:lnTo>
                    <a:pt x="1188" y="768"/>
                  </a:lnTo>
                  <a:lnTo>
                    <a:pt x="1187" y="766"/>
                  </a:lnTo>
                  <a:lnTo>
                    <a:pt x="1189" y="764"/>
                  </a:lnTo>
                  <a:lnTo>
                    <a:pt x="1189" y="761"/>
                  </a:lnTo>
                  <a:lnTo>
                    <a:pt x="1193" y="760"/>
                  </a:lnTo>
                  <a:lnTo>
                    <a:pt x="1193" y="759"/>
                  </a:lnTo>
                  <a:lnTo>
                    <a:pt x="1195" y="756"/>
                  </a:lnTo>
                  <a:lnTo>
                    <a:pt x="1194" y="752"/>
                  </a:lnTo>
                  <a:lnTo>
                    <a:pt x="1196" y="755"/>
                  </a:lnTo>
                  <a:lnTo>
                    <a:pt x="1198" y="755"/>
                  </a:lnTo>
                  <a:lnTo>
                    <a:pt x="1198" y="751"/>
                  </a:lnTo>
                  <a:lnTo>
                    <a:pt x="1201" y="751"/>
                  </a:lnTo>
                  <a:lnTo>
                    <a:pt x="1203" y="750"/>
                  </a:lnTo>
                  <a:lnTo>
                    <a:pt x="1205" y="750"/>
                  </a:lnTo>
                  <a:lnTo>
                    <a:pt x="1206" y="746"/>
                  </a:lnTo>
                  <a:lnTo>
                    <a:pt x="1209" y="747"/>
                  </a:lnTo>
                  <a:lnTo>
                    <a:pt x="1211" y="744"/>
                  </a:lnTo>
                  <a:lnTo>
                    <a:pt x="1213" y="743"/>
                  </a:lnTo>
                  <a:lnTo>
                    <a:pt x="1215" y="739"/>
                  </a:lnTo>
                  <a:lnTo>
                    <a:pt x="1222" y="732"/>
                  </a:lnTo>
                  <a:lnTo>
                    <a:pt x="1224" y="731"/>
                  </a:lnTo>
                  <a:lnTo>
                    <a:pt x="1224" y="731"/>
                  </a:lnTo>
                  <a:lnTo>
                    <a:pt x="1230" y="730"/>
                  </a:lnTo>
                  <a:lnTo>
                    <a:pt x="1234" y="729"/>
                  </a:lnTo>
                  <a:lnTo>
                    <a:pt x="1234" y="726"/>
                  </a:lnTo>
                  <a:lnTo>
                    <a:pt x="1234" y="729"/>
                  </a:lnTo>
                  <a:lnTo>
                    <a:pt x="1235" y="726"/>
                  </a:lnTo>
                  <a:lnTo>
                    <a:pt x="1236" y="724"/>
                  </a:lnTo>
                  <a:lnTo>
                    <a:pt x="1239" y="722"/>
                  </a:lnTo>
                  <a:lnTo>
                    <a:pt x="1241" y="720"/>
                  </a:lnTo>
                  <a:lnTo>
                    <a:pt x="1249" y="717"/>
                  </a:lnTo>
                  <a:lnTo>
                    <a:pt x="1252" y="717"/>
                  </a:lnTo>
                  <a:lnTo>
                    <a:pt x="1255" y="715"/>
                  </a:lnTo>
                  <a:lnTo>
                    <a:pt x="1255" y="713"/>
                  </a:lnTo>
                  <a:lnTo>
                    <a:pt x="1253" y="713"/>
                  </a:lnTo>
                  <a:lnTo>
                    <a:pt x="1249" y="715"/>
                  </a:lnTo>
                  <a:lnTo>
                    <a:pt x="1247" y="714"/>
                  </a:lnTo>
                  <a:lnTo>
                    <a:pt x="1246" y="713"/>
                  </a:lnTo>
                  <a:lnTo>
                    <a:pt x="1251" y="713"/>
                  </a:lnTo>
                  <a:lnTo>
                    <a:pt x="1252" y="710"/>
                  </a:lnTo>
                  <a:lnTo>
                    <a:pt x="1251" y="708"/>
                  </a:lnTo>
                  <a:lnTo>
                    <a:pt x="1248" y="706"/>
                  </a:lnTo>
                  <a:lnTo>
                    <a:pt x="1251" y="706"/>
                  </a:lnTo>
                  <a:lnTo>
                    <a:pt x="1254" y="705"/>
                  </a:lnTo>
                  <a:lnTo>
                    <a:pt x="1254" y="707"/>
                  </a:lnTo>
                  <a:lnTo>
                    <a:pt x="1257" y="708"/>
                  </a:lnTo>
                  <a:lnTo>
                    <a:pt x="1260" y="705"/>
                  </a:lnTo>
                  <a:lnTo>
                    <a:pt x="1263" y="704"/>
                  </a:lnTo>
                  <a:lnTo>
                    <a:pt x="1264" y="701"/>
                  </a:lnTo>
                  <a:lnTo>
                    <a:pt x="1263" y="699"/>
                  </a:lnTo>
                  <a:lnTo>
                    <a:pt x="1260" y="699"/>
                  </a:lnTo>
                  <a:lnTo>
                    <a:pt x="1260" y="701"/>
                  </a:lnTo>
                  <a:lnTo>
                    <a:pt x="1260" y="699"/>
                  </a:lnTo>
                  <a:lnTo>
                    <a:pt x="1256" y="698"/>
                  </a:lnTo>
                  <a:lnTo>
                    <a:pt x="1251" y="698"/>
                  </a:lnTo>
                  <a:lnTo>
                    <a:pt x="1249" y="696"/>
                  </a:lnTo>
                  <a:lnTo>
                    <a:pt x="1251" y="693"/>
                  </a:lnTo>
                  <a:lnTo>
                    <a:pt x="1251" y="696"/>
                  </a:lnTo>
                  <a:lnTo>
                    <a:pt x="1253" y="698"/>
                  </a:lnTo>
                  <a:lnTo>
                    <a:pt x="1255" y="696"/>
                  </a:lnTo>
                  <a:lnTo>
                    <a:pt x="1258" y="696"/>
                  </a:lnTo>
                  <a:lnTo>
                    <a:pt x="1257" y="693"/>
                  </a:lnTo>
                  <a:lnTo>
                    <a:pt x="1262" y="696"/>
                  </a:lnTo>
                  <a:lnTo>
                    <a:pt x="1262" y="693"/>
                  </a:lnTo>
                  <a:lnTo>
                    <a:pt x="1260" y="691"/>
                  </a:lnTo>
                  <a:lnTo>
                    <a:pt x="1260" y="689"/>
                  </a:lnTo>
                  <a:lnTo>
                    <a:pt x="1262" y="689"/>
                  </a:lnTo>
                  <a:lnTo>
                    <a:pt x="1263" y="695"/>
                  </a:lnTo>
                  <a:lnTo>
                    <a:pt x="1265" y="700"/>
                  </a:lnTo>
                  <a:lnTo>
                    <a:pt x="1263" y="695"/>
                  </a:lnTo>
                  <a:lnTo>
                    <a:pt x="1260" y="683"/>
                  </a:lnTo>
                  <a:lnTo>
                    <a:pt x="1257" y="683"/>
                  </a:lnTo>
                  <a:lnTo>
                    <a:pt x="1255" y="683"/>
                  </a:lnTo>
                  <a:lnTo>
                    <a:pt x="1256" y="684"/>
                  </a:lnTo>
                  <a:lnTo>
                    <a:pt x="1252" y="681"/>
                  </a:lnTo>
                  <a:lnTo>
                    <a:pt x="1248" y="679"/>
                  </a:lnTo>
                  <a:lnTo>
                    <a:pt x="1246" y="678"/>
                  </a:lnTo>
                  <a:lnTo>
                    <a:pt x="1244" y="678"/>
                  </a:lnTo>
                  <a:lnTo>
                    <a:pt x="1243" y="677"/>
                  </a:lnTo>
                  <a:lnTo>
                    <a:pt x="1246" y="678"/>
                  </a:lnTo>
                  <a:lnTo>
                    <a:pt x="1248" y="677"/>
                  </a:lnTo>
                  <a:lnTo>
                    <a:pt x="1251" y="679"/>
                  </a:lnTo>
                  <a:lnTo>
                    <a:pt x="1253" y="681"/>
                  </a:lnTo>
                  <a:lnTo>
                    <a:pt x="1255" y="682"/>
                  </a:lnTo>
                  <a:lnTo>
                    <a:pt x="1255" y="679"/>
                  </a:lnTo>
                  <a:lnTo>
                    <a:pt x="1253" y="678"/>
                  </a:lnTo>
                  <a:lnTo>
                    <a:pt x="1251" y="675"/>
                  </a:lnTo>
                  <a:lnTo>
                    <a:pt x="1252" y="677"/>
                  </a:lnTo>
                  <a:lnTo>
                    <a:pt x="1255" y="678"/>
                  </a:lnTo>
                  <a:lnTo>
                    <a:pt x="1256" y="675"/>
                  </a:lnTo>
                  <a:lnTo>
                    <a:pt x="1248" y="667"/>
                  </a:lnTo>
                  <a:lnTo>
                    <a:pt x="1247" y="665"/>
                  </a:lnTo>
                  <a:lnTo>
                    <a:pt x="1245" y="663"/>
                  </a:lnTo>
                  <a:lnTo>
                    <a:pt x="1247" y="664"/>
                  </a:lnTo>
                  <a:lnTo>
                    <a:pt x="1249" y="667"/>
                  </a:lnTo>
                  <a:lnTo>
                    <a:pt x="1254" y="671"/>
                  </a:lnTo>
                  <a:lnTo>
                    <a:pt x="1255" y="669"/>
                  </a:lnTo>
                  <a:lnTo>
                    <a:pt x="1256" y="667"/>
                  </a:lnTo>
                  <a:lnTo>
                    <a:pt x="1254" y="666"/>
                  </a:lnTo>
                  <a:lnTo>
                    <a:pt x="1252" y="664"/>
                  </a:lnTo>
                  <a:lnTo>
                    <a:pt x="1247" y="663"/>
                  </a:lnTo>
                  <a:lnTo>
                    <a:pt x="1244" y="661"/>
                  </a:lnTo>
                  <a:lnTo>
                    <a:pt x="1243" y="661"/>
                  </a:lnTo>
                  <a:lnTo>
                    <a:pt x="1243" y="660"/>
                  </a:lnTo>
                  <a:lnTo>
                    <a:pt x="1243" y="657"/>
                  </a:lnTo>
                  <a:lnTo>
                    <a:pt x="1245" y="656"/>
                  </a:lnTo>
                  <a:lnTo>
                    <a:pt x="1245" y="655"/>
                  </a:lnTo>
                  <a:lnTo>
                    <a:pt x="1246" y="654"/>
                  </a:lnTo>
                  <a:lnTo>
                    <a:pt x="1246" y="654"/>
                  </a:lnTo>
                  <a:lnTo>
                    <a:pt x="1245" y="652"/>
                  </a:lnTo>
                  <a:lnTo>
                    <a:pt x="1246" y="653"/>
                  </a:lnTo>
                  <a:lnTo>
                    <a:pt x="1246" y="654"/>
                  </a:lnTo>
                  <a:lnTo>
                    <a:pt x="1246" y="654"/>
                  </a:lnTo>
                  <a:lnTo>
                    <a:pt x="1246" y="654"/>
                  </a:lnTo>
                  <a:lnTo>
                    <a:pt x="1245" y="656"/>
                  </a:lnTo>
                  <a:lnTo>
                    <a:pt x="1243" y="658"/>
                  </a:lnTo>
                  <a:lnTo>
                    <a:pt x="1245" y="660"/>
                  </a:lnTo>
                  <a:lnTo>
                    <a:pt x="1248" y="662"/>
                  </a:lnTo>
                  <a:lnTo>
                    <a:pt x="1248" y="661"/>
                  </a:lnTo>
                  <a:lnTo>
                    <a:pt x="1252" y="663"/>
                  </a:lnTo>
                  <a:lnTo>
                    <a:pt x="1254" y="663"/>
                  </a:lnTo>
                  <a:lnTo>
                    <a:pt x="1253" y="661"/>
                  </a:lnTo>
                  <a:lnTo>
                    <a:pt x="1252" y="658"/>
                  </a:lnTo>
                  <a:lnTo>
                    <a:pt x="1251" y="658"/>
                  </a:lnTo>
                  <a:lnTo>
                    <a:pt x="1251" y="655"/>
                  </a:lnTo>
                  <a:lnTo>
                    <a:pt x="1252" y="658"/>
                  </a:lnTo>
                  <a:lnTo>
                    <a:pt x="1254" y="661"/>
                  </a:lnTo>
                  <a:lnTo>
                    <a:pt x="1253" y="655"/>
                  </a:lnTo>
                  <a:lnTo>
                    <a:pt x="1253" y="647"/>
                  </a:lnTo>
                  <a:lnTo>
                    <a:pt x="1255" y="645"/>
                  </a:lnTo>
                  <a:lnTo>
                    <a:pt x="1255" y="645"/>
                  </a:lnTo>
                  <a:lnTo>
                    <a:pt x="1257" y="643"/>
                  </a:lnTo>
                  <a:lnTo>
                    <a:pt x="1258" y="641"/>
                  </a:lnTo>
                  <a:lnTo>
                    <a:pt x="1261" y="641"/>
                  </a:lnTo>
                  <a:lnTo>
                    <a:pt x="1260" y="644"/>
                  </a:lnTo>
                  <a:lnTo>
                    <a:pt x="1257" y="646"/>
                  </a:lnTo>
                  <a:lnTo>
                    <a:pt x="1257" y="649"/>
                  </a:lnTo>
                  <a:lnTo>
                    <a:pt x="1257" y="649"/>
                  </a:lnTo>
                  <a:lnTo>
                    <a:pt x="1255" y="650"/>
                  </a:lnTo>
                  <a:lnTo>
                    <a:pt x="1256" y="652"/>
                  </a:lnTo>
                  <a:lnTo>
                    <a:pt x="1258" y="654"/>
                  </a:lnTo>
                  <a:lnTo>
                    <a:pt x="1255" y="654"/>
                  </a:lnTo>
                  <a:lnTo>
                    <a:pt x="1258" y="655"/>
                  </a:lnTo>
                  <a:lnTo>
                    <a:pt x="1260" y="657"/>
                  </a:lnTo>
                  <a:lnTo>
                    <a:pt x="1256" y="656"/>
                  </a:lnTo>
                  <a:lnTo>
                    <a:pt x="1256" y="658"/>
                  </a:lnTo>
                  <a:lnTo>
                    <a:pt x="1258" y="662"/>
                  </a:lnTo>
                  <a:lnTo>
                    <a:pt x="1261" y="662"/>
                  </a:lnTo>
                  <a:lnTo>
                    <a:pt x="1262" y="664"/>
                  </a:lnTo>
                  <a:lnTo>
                    <a:pt x="1262" y="667"/>
                  </a:lnTo>
                  <a:lnTo>
                    <a:pt x="1264" y="666"/>
                  </a:lnTo>
                  <a:lnTo>
                    <a:pt x="1264" y="670"/>
                  </a:lnTo>
                  <a:lnTo>
                    <a:pt x="1261" y="675"/>
                  </a:lnTo>
                  <a:lnTo>
                    <a:pt x="1260" y="678"/>
                  </a:lnTo>
                  <a:lnTo>
                    <a:pt x="1261" y="680"/>
                  </a:lnTo>
                  <a:lnTo>
                    <a:pt x="1263" y="674"/>
                  </a:lnTo>
                  <a:lnTo>
                    <a:pt x="1265" y="671"/>
                  </a:lnTo>
                  <a:lnTo>
                    <a:pt x="1272" y="658"/>
                  </a:lnTo>
                  <a:lnTo>
                    <a:pt x="1273" y="658"/>
                  </a:lnTo>
                  <a:lnTo>
                    <a:pt x="1272" y="656"/>
                  </a:lnTo>
                  <a:lnTo>
                    <a:pt x="1271" y="654"/>
                  </a:lnTo>
                  <a:lnTo>
                    <a:pt x="1269" y="648"/>
                  </a:lnTo>
                  <a:lnTo>
                    <a:pt x="1268" y="645"/>
                  </a:lnTo>
                  <a:lnTo>
                    <a:pt x="1265" y="643"/>
                  </a:lnTo>
                  <a:lnTo>
                    <a:pt x="1265" y="640"/>
                  </a:lnTo>
                  <a:lnTo>
                    <a:pt x="1268" y="637"/>
                  </a:lnTo>
                  <a:lnTo>
                    <a:pt x="1271" y="637"/>
                  </a:lnTo>
                  <a:lnTo>
                    <a:pt x="1270" y="637"/>
                  </a:lnTo>
                  <a:lnTo>
                    <a:pt x="1269" y="637"/>
                  </a:lnTo>
                  <a:lnTo>
                    <a:pt x="1266" y="640"/>
                  </a:lnTo>
                  <a:lnTo>
                    <a:pt x="1266" y="643"/>
                  </a:lnTo>
                  <a:lnTo>
                    <a:pt x="1269" y="645"/>
                  </a:lnTo>
                  <a:lnTo>
                    <a:pt x="1271" y="646"/>
                  </a:lnTo>
                  <a:lnTo>
                    <a:pt x="1274" y="647"/>
                  </a:lnTo>
                  <a:lnTo>
                    <a:pt x="1274" y="649"/>
                  </a:lnTo>
                  <a:lnTo>
                    <a:pt x="1277" y="650"/>
                  </a:lnTo>
                  <a:lnTo>
                    <a:pt x="1278" y="648"/>
                  </a:lnTo>
                  <a:lnTo>
                    <a:pt x="1279" y="645"/>
                  </a:lnTo>
                  <a:lnTo>
                    <a:pt x="1281" y="645"/>
                  </a:lnTo>
                  <a:lnTo>
                    <a:pt x="1281" y="641"/>
                  </a:lnTo>
                  <a:lnTo>
                    <a:pt x="1283" y="640"/>
                  </a:lnTo>
                  <a:lnTo>
                    <a:pt x="1285" y="638"/>
                  </a:lnTo>
                  <a:lnTo>
                    <a:pt x="1286" y="636"/>
                  </a:lnTo>
                  <a:lnTo>
                    <a:pt x="1286" y="635"/>
                  </a:lnTo>
                  <a:lnTo>
                    <a:pt x="1287" y="635"/>
                  </a:lnTo>
                  <a:lnTo>
                    <a:pt x="1288" y="629"/>
                  </a:lnTo>
                  <a:lnTo>
                    <a:pt x="1283" y="626"/>
                  </a:lnTo>
                  <a:lnTo>
                    <a:pt x="1286" y="623"/>
                  </a:lnTo>
                  <a:lnTo>
                    <a:pt x="1286" y="623"/>
                  </a:lnTo>
                  <a:lnTo>
                    <a:pt x="1287" y="622"/>
                  </a:lnTo>
                  <a:lnTo>
                    <a:pt x="1288" y="619"/>
                  </a:lnTo>
                  <a:lnTo>
                    <a:pt x="1289" y="615"/>
                  </a:lnTo>
                  <a:lnTo>
                    <a:pt x="1288" y="613"/>
                  </a:lnTo>
                  <a:lnTo>
                    <a:pt x="1289" y="615"/>
                  </a:lnTo>
                  <a:lnTo>
                    <a:pt x="1289" y="619"/>
                  </a:lnTo>
                  <a:lnTo>
                    <a:pt x="1287" y="622"/>
                  </a:lnTo>
                  <a:lnTo>
                    <a:pt x="1290" y="621"/>
                  </a:lnTo>
                  <a:lnTo>
                    <a:pt x="1292" y="618"/>
                  </a:lnTo>
                  <a:lnTo>
                    <a:pt x="1303" y="614"/>
                  </a:lnTo>
                  <a:lnTo>
                    <a:pt x="1309" y="613"/>
                  </a:lnTo>
                  <a:lnTo>
                    <a:pt x="1315" y="612"/>
                  </a:lnTo>
                  <a:lnTo>
                    <a:pt x="1316" y="613"/>
                  </a:lnTo>
                  <a:lnTo>
                    <a:pt x="1320" y="612"/>
                  </a:lnTo>
                  <a:lnTo>
                    <a:pt x="1322" y="611"/>
                  </a:lnTo>
                  <a:lnTo>
                    <a:pt x="1323" y="605"/>
                  </a:lnTo>
                  <a:lnTo>
                    <a:pt x="1325" y="606"/>
                  </a:lnTo>
                  <a:lnTo>
                    <a:pt x="1325" y="610"/>
                  </a:lnTo>
                  <a:lnTo>
                    <a:pt x="1329" y="609"/>
                  </a:lnTo>
                  <a:lnTo>
                    <a:pt x="1333" y="606"/>
                  </a:lnTo>
                  <a:lnTo>
                    <a:pt x="1333" y="609"/>
                  </a:lnTo>
                  <a:lnTo>
                    <a:pt x="1335" y="609"/>
                  </a:lnTo>
                  <a:lnTo>
                    <a:pt x="1339" y="607"/>
                  </a:lnTo>
                  <a:lnTo>
                    <a:pt x="1341" y="606"/>
                  </a:lnTo>
                  <a:lnTo>
                    <a:pt x="1342" y="607"/>
                  </a:lnTo>
                  <a:lnTo>
                    <a:pt x="1342" y="604"/>
                  </a:lnTo>
                  <a:lnTo>
                    <a:pt x="1342" y="602"/>
                  </a:lnTo>
                  <a:lnTo>
                    <a:pt x="1339" y="601"/>
                  </a:lnTo>
                  <a:lnTo>
                    <a:pt x="1341" y="603"/>
                  </a:lnTo>
                  <a:lnTo>
                    <a:pt x="1342" y="603"/>
                  </a:lnTo>
                  <a:lnTo>
                    <a:pt x="1342" y="605"/>
                  </a:lnTo>
                  <a:lnTo>
                    <a:pt x="1339" y="606"/>
                  </a:lnTo>
                  <a:lnTo>
                    <a:pt x="1337" y="606"/>
                  </a:lnTo>
                  <a:lnTo>
                    <a:pt x="1335" y="605"/>
                  </a:lnTo>
                  <a:lnTo>
                    <a:pt x="1333" y="600"/>
                  </a:lnTo>
                  <a:lnTo>
                    <a:pt x="1331" y="597"/>
                  </a:lnTo>
                  <a:lnTo>
                    <a:pt x="1328" y="597"/>
                  </a:lnTo>
                  <a:lnTo>
                    <a:pt x="1330" y="594"/>
                  </a:lnTo>
                  <a:lnTo>
                    <a:pt x="1332" y="592"/>
                  </a:lnTo>
                  <a:lnTo>
                    <a:pt x="1330" y="588"/>
                  </a:lnTo>
                  <a:lnTo>
                    <a:pt x="1332" y="584"/>
                  </a:lnTo>
                  <a:lnTo>
                    <a:pt x="1332" y="584"/>
                  </a:lnTo>
                  <a:lnTo>
                    <a:pt x="1337" y="578"/>
                  </a:lnTo>
                  <a:lnTo>
                    <a:pt x="1339" y="573"/>
                  </a:lnTo>
                  <a:lnTo>
                    <a:pt x="1342" y="570"/>
                  </a:lnTo>
                  <a:lnTo>
                    <a:pt x="1342" y="572"/>
                  </a:lnTo>
                  <a:lnTo>
                    <a:pt x="1345" y="573"/>
                  </a:lnTo>
                  <a:lnTo>
                    <a:pt x="1345" y="570"/>
                  </a:lnTo>
                  <a:lnTo>
                    <a:pt x="1343" y="569"/>
                  </a:lnTo>
                  <a:lnTo>
                    <a:pt x="1346" y="567"/>
                  </a:lnTo>
                  <a:lnTo>
                    <a:pt x="1345" y="570"/>
                  </a:lnTo>
                  <a:lnTo>
                    <a:pt x="1348" y="571"/>
                  </a:lnTo>
                  <a:lnTo>
                    <a:pt x="1348" y="568"/>
                  </a:lnTo>
                  <a:lnTo>
                    <a:pt x="1348" y="571"/>
                  </a:lnTo>
                  <a:lnTo>
                    <a:pt x="1349" y="571"/>
                  </a:lnTo>
                  <a:lnTo>
                    <a:pt x="1350" y="568"/>
                  </a:lnTo>
                  <a:lnTo>
                    <a:pt x="1352" y="569"/>
                  </a:lnTo>
                  <a:lnTo>
                    <a:pt x="1355" y="567"/>
                  </a:lnTo>
                  <a:lnTo>
                    <a:pt x="1356" y="563"/>
                  </a:lnTo>
                  <a:lnTo>
                    <a:pt x="1356" y="561"/>
                  </a:lnTo>
                  <a:lnTo>
                    <a:pt x="1358" y="559"/>
                  </a:lnTo>
                  <a:lnTo>
                    <a:pt x="1358" y="561"/>
                  </a:lnTo>
                  <a:lnTo>
                    <a:pt x="1363" y="564"/>
                  </a:lnTo>
                  <a:lnTo>
                    <a:pt x="1362" y="561"/>
                  </a:lnTo>
                  <a:lnTo>
                    <a:pt x="1367" y="560"/>
                  </a:lnTo>
                  <a:lnTo>
                    <a:pt x="1368" y="561"/>
                  </a:lnTo>
                  <a:lnTo>
                    <a:pt x="1371" y="560"/>
                  </a:lnTo>
                  <a:lnTo>
                    <a:pt x="1373" y="560"/>
                  </a:lnTo>
                  <a:lnTo>
                    <a:pt x="1376" y="558"/>
                  </a:lnTo>
                  <a:lnTo>
                    <a:pt x="1379" y="556"/>
                  </a:lnTo>
                  <a:lnTo>
                    <a:pt x="1382" y="556"/>
                  </a:lnTo>
                  <a:lnTo>
                    <a:pt x="1383" y="553"/>
                  </a:lnTo>
                  <a:lnTo>
                    <a:pt x="1382" y="550"/>
                  </a:lnTo>
                  <a:lnTo>
                    <a:pt x="1381" y="549"/>
                  </a:lnTo>
                  <a:lnTo>
                    <a:pt x="1381" y="549"/>
                  </a:lnTo>
                  <a:lnTo>
                    <a:pt x="1382" y="550"/>
                  </a:lnTo>
                  <a:lnTo>
                    <a:pt x="1384" y="551"/>
                  </a:lnTo>
                  <a:lnTo>
                    <a:pt x="1388" y="550"/>
                  </a:lnTo>
                  <a:lnTo>
                    <a:pt x="1390" y="549"/>
                  </a:lnTo>
                  <a:lnTo>
                    <a:pt x="1393" y="550"/>
                  </a:lnTo>
                  <a:lnTo>
                    <a:pt x="1394" y="549"/>
                  </a:lnTo>
                  <a:lnTo>
                    <a:pt x="1394" y="546"/>
                  </a:lnTo>
                  <a:lnTo>
                    <a:pt x="1397" y="544"/>
                  </a:lnTo>
                  <a:lnTo>
                    <a:pt x="1396" y="546"/>
                  </a:lnTo>
                  <a:lnTo>
                    <a:pt x="1398" y="547"/>
                  </a:lnTo>
                  <a:lnTo>
                    <a:pt x="1400" y="547"/>
                  </a:lnTo>
                  <a:lnTo>
                    <a:pt x="1408" y="543"/>
                  </a:lnTo>
                  <a:lnTo>
                    <a:pt x="1414" y="541"/>
                  </a:lnTo>
                  <a:lnTo>
                    <a:pt x="1416" y="538"/>
                  </a:lnTo>
                  <a:lnTo>
                    <a:pt x="1416" y="536"/>
                  </a:lnTo>
                  <a:lnTo>
                    <a:pt x="1414" y="533"/>
                  </a:lnTo>
                  <a:lnTo>
                    <a:pt x="1418" y="538"/>
                  </a:lnTo>
                  <a:lnTo>
                    <a:pt x="1420" y="537"/>
                  </a:lnTo>
                  <a:lnTo>
                    <a:pt x="1420" y="538"/>
                  </a:lnTo>
                  <a:lnTo>
                    <a:pt x="1413" y="544"/>
                  </a:lnTo>
                  <a:lnTo>
                    <a:pt x="1414" y="546"/>
                  </a:lnTo>
                  <a:lnTo>
                    <a:pt x="1417" y="545"/>
                  </a:lnTo>
                  <a:lnTo>
                    <a:pt x="1419" y="545"/>
                  </a:lnTo>
                  <a:lnTo>
                    <a:pt x="1422" y="545"/>
                  </a:lnTo>
                  <a:lnTo>
                    <a:pt x="1427" y="545"/>
                  </a:lnTo>
                  <a:lnTo>
                    <a:pt x="1433" y="545"/>
                  </a:lnTo>
                  <a:lnTo>
                    <a:pt x="1430" y="546"/>
                  </a:lnTo>
                  <a:lnTo>
                    <a:pt x="1427" y="546"/>
                  </a:lnTo>
                  <a:lnTo>
                    <a:pt x="1422" y="549"/>
                  </a:lnTo>
                  <a:lnTo>
                    <a:pt x="1423" y="552"/>
                  </a:lnTo>
                  <a:lnTo>
                    <a:pt x="1422" y="552"/>
                  </a:lnTo>
                  <a:lnTo>
                    <a:pt x="1422" y="551"/>
                  </a:lnTo>
                  <a:lnTo>
                    <a:pt x="1419" y="549"/>
                  </a:lnTo>
                  <a:lnTo>
                    <a:pt x="1419" y="546"/>
                  </a:lnTo>
                  <a:lnTo>
                    <a:pt x="1416" y="547"/>
                  </a:lnTo>
                  <a:lnTo>
                    <a:pt x="1414" y="549"/>
                  </a:lnTo>
                  <a:lnTo>
                    <a:pt x="1403" y="554"/>
                  </a:lnTo>
                  <a:lnTo>
                    <a:pt x="1400" y="558"/>
                  </a:lnTo>
                  <a:lnTo>
                    <a:pt x="1403" y="556"/>
                  </a:lnTo>
                  <a:lnTo>
                    <a:pt x="1400" y="558"/>
                  </a:lnTo>
                  <a:lnTo>
                    <a:pt x="1400" y="556"/>
                  </a:lnTo>
                  <a:lnTo>
                    <a:pt x="1397" y="559"/>
                  </a:lnTo>
                  <a:lnTo>
                    <a:pt x="1394" y="561"/>
                  </a:lnTo>
                  <a:lnTo>
                    <a:pt x="1398" y="560"/>
                  </a:lnTo>
                  <a:lnTo>
                    <a:pt x="1396" y="562"/>
                  </a:lnTo>
                  <a:lnTo>
                    <a:pt x="1394" y="566"/>
                  </a:lnTo>
                  <a:lnTo>
                    <a:pt x="1394" y="571"/>
                  </a:lnTo>
                  <a:lnTo>
                    <a:pt x="1397" y="573"/>
                  </a:lnTo>
                  <a:lnTo>
                    <a:pt x="1397" y="571"/>
                  </a:lnTo>
                  <a:lnTo>
                    <a:pt x="1402" y="576"/>
                  </a:lnTo>
                  <a:lnTo>
                    <a:pt x="1405" y="576"/>
                  </a:lnTo>
                  <a:lnTo>
                    <a:pt x="1406" y="573"/>
                  </a:lnTo>
                  <a:lnTo>
                    <a:pt x="1409" y="573"/>
                  </a:lnTo>
                  <a:lnTo>
                    <a:pt x="1410" y="573"/>
                  </a:lnTo>
                  <a:lnTo>
                    <a:pt x="1411" y="570"/>
                  </a:lnTo>
                  <a:lnTo>
                    <a:pt x="1415" y="569"/>
                  </a:lnTo>
                  <a:lnTo>
                    <a:pt x="1416" y="567"/>
                  </a:lnTo>
                  <a:lnTo>
                    <a:pt x="1418" y="564"/>
                  </a:lnTo>
                  <a:lnTo>
                    <a:pt x="1420" y="562"/>
                  </a:lnTo>
                  <a:lnTo>
                    <a:pt x="1420" y="562"/>
                  </a:lnTo>
                  <a:lnTo>
                    <a:pt x="1422" y="559"/>
                  </a:lnTo>
                  <a:lnTo>
                    <a:pt x="1424" y="560"/>
                  </a:lnTo>
                  <a:lnTo>
                    <a:pt x="1426" y="556"/>
                  </a:lnTo>
                  <a:lnTo>
                    <a:pt x="1425" y="560"/>
                  </a:lnTo>
                  <a:lnTo>
                    <a:pt x="1428" y="561"/>
                  </a:lnTo>
                  <a:lnTo>
                    <a:pt x="1431" y="559"/>
                  </a:lnTo>
                  <a:lnTo>
                    <a:pt x="1430" y="556"/>
                  </a:lnTo>
                  <a:lnTo>
                    <a:pt x="1432" y="558"/>
                  </a:lnTo>
                  <a:lnTo>
                    <a:pt x="1434" y="558"/>
                  </a:lnTo>
                  <a:lnTo>
                    <a:pt x="1435" y="556"/>
                  </a:lnTo>
                  <a:lnTo>
                    <a:pt x="1439" y="556"/>
                  </a:lnTo>
                  <a:lnTo>
                    <a:pt x="1447" y="553"/>
                  </a:lnTo>
                  <a:lnTo>
                    <a:pt x="1451" y="552"/>
                  </a:lnTo>
                  <a:lnTo>
                    <a:pt x="1457" y="549"/>
                  </a:lnTo>
                  <a:lnTo>
                    <a:pt x="1459" y="550"/>
                  </a:lnTo>
                  <a:lnTo>
                    <a:pt x="1465" y="545"/>
                  </a:lnTo>
                  <a:lnTo>
                    <a:pt x="1461" y="546"/>
                  </a:lnTo>
                  <a:lnTo>
                    <a:pt x="1459" y="545"/>
                  </a:lnTo>
                  <a:lnTo>
                    <a:pt x="1462" y="544"/>
                  </a:lnTo>
                  <a:lnTo>
                    <a:pt x="1460" y="542"/>
                  </a:lnTo>
                  <a:lnTo>
                    <a:pt x="1460" y="541"/>
                  </a:lnTo>
                  <a:lnTo>
                    <a:pt x="1459" y="539"/>
                  </a:lnTo>
                  <a:lnTo>
                    <a:pt x="1456" y="541"/>
                  </a:lnTo>
                  <a:lnTo>
                    <a:pt x="1453" y="539"/>
                  </a:lnTo>
                  <a:lnTo>
                    <a:pt x="1452" y="536"/>
                  </a:lnTo>
                  <a:lnTo>
                    <a:pt x="1450" y="538"/>
                  </a:lnTo>
                  <a:lnTo>
                    <a:pt x="1447" y="541"/>
                  </a:lnTo>
                  <a:lnTo>
                    <a:pt x="1444" y="541"/>
                  </a:lnTo>
                  <a:lnTo>
                    <a:pt x="1441" y="541"/>
                  </a:lnTo>
                  <a:lnTo>
                    <a:pt x="1443" y="539"/>
                  </a:lnTo>
                  <a:lnTo>
                    <a:pt x="1440" y="538"/>
                  </a:lnTo>
                  <a:lnTo>
                    <a:pt x="1434" y="537"/>
                  </a:lnTo>
                  <a:lnTo>
                    <a:pt x="1432" y="536"/>
                  </a:lnTo>
                  <a:lnTo>
                    <a:pt x="1430" y="537"/>
                  </a:lnTo>
                  <a:lnTo>
                    <a:pt x="1426" y="536"/>
                  </a:lnTo>
                  <a:lnTo>
                    <a:pt x="1424" y="535"/>
                  </a:lnTo>
                  <a:lnTo>
                    <a:pt x="1424" y="534"/>
                  </a:lnTo>
                  <a:lnTo>
                    <a:pt x="1427" y="532"/>
                  </a:lnTo>
                  <a:lnTo>
                    <a:pt x="1425" y="532"/>
                  </a:lnTo>
                  <a:lnTo>
                    <a:pt x="1419" y="530"/>
                  </a:lnTo>
                  <a:lnTo>
                    <a:pt x="1416" y="529"/>
                  </a:lnTo>
                  <a:lnTo>
                    <a:pt x="1415" y="524"/>
                  </a:lnTo>
                  <a:lnTo>
                    <a:pt x="1413" y="521"/>
                  </a:lnTo>
                  <a:lnTo>
                    <a:pt x="1413" y="519"/>
                  </a:lnTo>
                  <a:lnTo>
                    <a:pt x="1413" y="516"/>
                  </a:lnTo>
                  <a:lnTo>
                    <a:pt x="1410" y="516"/>
                  </a:lnTo>
                  <a:lnTo>
                    <a:pt x="1408" y="517"/>
                  </a:lnTo>
                  <a:lnTo>
                    <a:pt x="1406" y="516"/>
                  </a:lnTo>
                  <a:lnTo>
                    <a:pt x="1409" y="515"/>
                  </a:lnTo>
                  <a:lnTo>
                    <a:pt x="1411" y="511"/>
                  </a:lnTo>
                  <a:lnTo>
                    <a:pt x="1414" y="506"/>
                  </a:lnTo>
                  <a:lnTo>
                    <a:pt x="1413" y="503"/>
                  </a:lnTo>
                  <a:lnTo>
                    <a:pt x="1410" y="502"/>
                  </a:lnTo>
                  <a:lnTo>
                    <a:pt x="1408" y="503"/>
                  </a:lnTo>
                  <a:lnTo>
                    <a:pt x="1402" y="507"/>
                  </a:lnTo>
                  <a:lnTo>
                    <a:pt x="1401" y="504"/>
                  </a:lnTo>
                  <a:lnTo>
                    <a:pt x="1399" y="501"/>
                  </a:lnTo>
                  <a:lnTo>
                    <a:pt x="1397" y="501"/>
                  </a:lnTo>
                  <a:lnTo>
                    <a:pt x="1391" y="499"/>
                  </a:lnTo>
                  <a:lnTo>
                    <a:pt x="1388" y="500"/>
                  </a:lnTo>
                  <a:lnTo>
                    <a:pt x="1386" y="500"/>
                  </a:lnTo>
                  <a:lnTo>
                    <a:pt x="1385" y="500"/>
                  </a:lnTo>
                  <a:lnTo>
                    <a:pt x="1391" y="498"/>
                  </a:lnTo>
                  <a:lnTo>
                    <a:pt x="1393" y="498"/>
                  </a:lnTo>
                  <a:lnTo>
                    <a:pt x="1399" y="498"/>
                  </a:lnTo>
                  <a:lnTo>
                    <a:pt x="1401" y="499"/>
                  </a:lnTo>
                  <a:lnTo>
                    <a:pt x="1407" y="500"/>
                  </a:lnTo>
                  <a:lnTo>
                    <a:pt x="1413" y="496"/>
                  </a:lnTo>
                  <a:lnTo>
                    <a:pt x="1415" y="494"/>
                  </a:lnTo>
                  <a:lnTo>
                    <a:pt x="1418" y="493"/>
                  </a:lnTo>
                  <a:lnTo>
                    <a:pt x="1422" y="491"/>
                  </a:lnTo>
                  <a:lnTo>
                    <a:pt x="1422" y="489"/>
                  </a:lnTo>
                  <a:lnTo>
                    <a:pt x="1419" y="486"/>
                  </a:lnTo>
                  <a:lnTo>
                    <a:pt x="1418" y="486"/>
                  </a:lnTo>
                  <a:lnTo>
                    <a:pt x="1419" y="486"/>
                  </a:lnTo>
                  <a:lnTo>
                    <a:pt x="1417" y="485"/>
                  </a:lnTo>
                  <a:lnTo>
                    <a:pt x="1418" y="485"/>
                  </a:lnTo>
                  <a:lnTo>
                    <a:pt x="1422" y="484"/>
                  </a:lnTo>
                  <a:lnTo>
                    <a:pt x="1418" y="482"/>
                  </a:lnTo>
                  <a:lnTo>
                    <a:pt x="1413" y="479"/>
                  </a:lnTo>
                  <a:lnTo>
                    <a:pt x="1408" y="478"/>
                  </a:lnTo>
                  <a:lnTo>
                    <a:pt x="1405" y="477"/>
                  </a:lnTo>
                  <a:lnTo>
                    <a:pt x="1394" y="478"/>
                  </a:lnTo>
                  <a:lnTo>
                    <a:pt x="1386" y="481"/>
                  </a:lnTo>
                  <a:lnTo>
                    <a:pt x="1382" y="483"/>
                  </a:lnTo>
                  <a:lnTo>
                    <a:pt x="1373" y="486"/>
                  </a:lnTo>
                  <a:lnTo>
                    <a:pt x="1367" y="489"/>
                  </a:lnTo>
                  <a:lnTo>
                    <a:pt x="1363" y="492"/>
                  </a:lnTo>
                  <a:lnTo>
                    <a:pt x="1357" y="494"/>
                  </a:lnTo>
                  <a:lnTo>
                    <a:pt x="1349" y="501"/>
                  </a:lnTo>
                  <a:lnTo>
                    <a:pt x="1347" y="504"/>
                  </a:lnTo>
                  <a:lnTo>
                    <a:pt x="1345" y="507"/>
                  </a:lnTo>
                  <a:lnTo>
                    <a:pt x="1341" y="509"/>
                  </a:lnTo>
                  <a:lnTo>
                    <a:pt x="1338" y="515"/>
                  </a:lnTo>
                  <a:lnTo>
                    <a:pt x="1335" y="517"/>
                  </a:lnTo>
                  <a:lnTo>
                    <a:pt x="1329" y="519"/>
                  </a:lnTo>
                  <a:lnTo>
                    <a:pt x="1326" y="520"/>
                  </a:lnTo>
                  <a:lnTo>
                    <a:pt x="1324" y="521"/>
                  </a:lnTo>
                  <a:lnTo>
                    <a:pt x="1328" y="519"/>
                  </a:lnTo>
                  <a:lnTo>
                    <a:pt x="1330" y="517"/>
                  </a:lnTo>
                  <a:lnTo>
                    <a:pt x="1333" y="515"/>
                  </a:lnTo>
                  <a:lnTo>
                    <a:pt x="1334" y="512"/>
                  </a:lnTo>
                  <a:lnTo>
                    <a:pt x="1337" y="510"/>
                  </a:lnTo>
                  <a:lnTo>
                    <a:pt x="1339" y="507"/>
                  </a:lnTo>
                  <a:lnTo>
                    <a:pt x="1342" y="506"/>
                  </a:lnTo>
                  <a:lnTo>
                    <a:pt x="1343" y="503"/>
                  </a:lnTo>
                  <a:lnTo>
                    <a:pt x="1345" y="500"/>
                  </a:lnTo>
                  <a:lnTo>
                    <a:pt x="1345" y="498"/>
                  </a:lnTo>
                  <a:lnTo>
                    <a:pt x="1342" y="495"/>
                  </a:lnTo>
                  <a:lnTo>
                    <a:pt x="1341" y="495"/>
                  </a:lnTo>
                  <a:lnTo>
                    <a:pt x="1335" y="494"/>
                  </a:lnTo>
                  <a:lnTo>
                    <a:pt x="1333" y="494"/>
                  </a:lnTo>
                  <a:lnTo>
                    <a:pt x="1330" y="493"/>
                  </a:lnTo>
                  <a:lnTo>
                    <a:pt x="1328" y="492"/>
                  </a:lnTo>
                  <a:lnTo>
                    <a:pt x="1329" y="492"/>
                  </a:lnTo>
                  <a:lnTo>
                    <a:pt x="1337" y="493"/>
                  </a:lnTo>
                  <a:lnTo>
                    <a:pt x="1339" y="494"/>
                  </a:lnTo>
                  <a:lnTo>
                    <a:pt x="1342" y="495"/>
                  </a:lnTo>
                  <a:lnTo>
                    <a:pt x="1347" y="498"/>
                  </a:lnTo>
                  <a:lnTo>
                    <a:pt x="1349" y="495"/>
                  </a:lnTo>
                  <a:lnTo>
                    <a:pt x="1354" y="490"/>
                  </a:lnTo>
                  <a:lnTo>
                    <a:pt x="1355" y="487"/>
                  </a:lnTo>
                  <a:lnTo>
                    <a:pt x="1358" y="484"/>
                  </a:lnTo>
                  <a:lnTo>
                    <a:pt x="1364" y="479"/>
                  </a:lnTo>
                  <a:lnTo>
                    <a:pt x="1365" y="479"/>
                  </a:lnTo>
                  <a:lnTo>
                    <a:pt x="1368" y="477"/>
                  </a:lnTo>
                  <a:lnTo>
                    <a:pt x="1376" y="476"/>
                  </a:lnTo>
                  <a:lnTo>
                    <a:pt x="1379" y="475"/>
                  </a:lnTo>
                  <a:lnTo>
                    <a:pt x="1381" y="470"/>
                  </a:lnTo>
                  <a:lnTo>
                    <a:pt x="1383" y="467"/>
                  </a:lnTo>
                  <a:lnTo>
                    <a:pt x="1384" y="465"/>
                  </a:lnTo>
                  <a:lnTo>
                    <a:pt x="1386" y="464"/>
                  </a:lnTo>
                  <a:lnTo>
                    <a:pt x="1388" y="461"/>
                  </a:lnTo>
                  <a:lnTo>
                    <a:pt x="1390" y="461"/>
                  </a:lnTo>
                  <a:lnTo>
                    <a:pt x="1394" y="461"/>
                  </a:lnTo>
                  <a:lnTo>
                    <a:pt x="1398" y="459"/>
                  </a:lnTo>
                  <a:lnTo>
                    <a:pt x="1400" y="460"/>
                  </a:lnTo>
                  <a:lnTo>
                    <a:pt x="1406" y="459"/>
                  </a:lnTo>
                  <a:lnTo>
                    <a:pt x="1413" y="460"/>
                  </a:lnTo>
                  <a:lnTo>
                    <a:pt x="1418" y="459"/>
                  </a:lnTo>
                  <a:lnTo>
                    <a:pt x="1422" y="460"/>
                  </a:lnTo>
                  <a:lnTo>
                    <a:pt x="1426" y="459"/>
                  </a:lnTo>
                  <a:lnTo>
                    <a:pt x="1432" y="460"/>
                  </a:lnTo>
                  <a:lnTo>
                    <a:pt x="1433" y="460"/>
                  </a:lnTo>
                  <a:lnTo>
                    <a:pt x="1435" y="460"/>
                  </a:lnTo>
                  <a:lnTo>
                    <a:pt x="1437" y="459"/>
                  </a:lnTo>
                  <a:lnTo>
                    <a:pt x="1453" y="461"/>
                  </a:lnTo>
                  <a:lnTo>
                    <a:pt x="1454" y="462"/>
                  </a:lnTo>
                  <a:lnTo>
                    <a:pt x="1458" y="461"/>
                  </a:lnTo>
                  <a:lnTo>
                    <a:pt x="1458" y="461"/>
                  </a:lnTo>
                  <a:lnTo>
                    <a:pt x="1454" y="462"/>
                  </a:lnTo>
                  <a:lnTo>
                    <a:pt x="1460" y="461"/>
                  </a:lnTo>
                  <a:lnTo>
                    <a:pt x="1466" y="461"/>
                  </a:lnTo>
                  <a:lnTo>
                    <a:pt x="1471" y="461"/>
                  </a:lnTo>
                  <a:lnTo>
                    <a:pt x="1476" y="460"/>
                  </a:lnTo>
                  <a:lnTo>
                    <a:pt x="1479" y="460"/>
                  </a:lnTo>
                  <a:lnTo>
                    <a:pt x="1480" y="459"/>
                  </a:lnTo>
                  <a:lnTo>
                    <a:pt x="1482" y="457"/>
                  </a:lnTo>
                  <a:lnTo>
                    <a:pt x="1485" y="456"/>
                  </a:lnTo>
                  <a:lnTo>
                    <a:pt x="1487" y="452"/>
                  </a:lnTo>
                  <a:lnTo>
                    <a:pt x="1490" y="451"/>
                  </a:lnTo>
                  <a:lnTo>
                    <a:pt x="1492" y="451"/>
                  </a:lnTo>
                  <a:lnTo>
                    <a:pt x="1494" y="447"/>
                  </a:lnTo>
                  <a:lnTo>
                    <a:pt x="1496" y="444"/>
                  </a:lnTo>
                  <a:lnTo>
                    <a:pt x="1497" y="442"/>
                  </a:lnTo>
                  <a:lnTo>
                    <a:pt x="1503" y="441"/>
                  </a:lnTo>
                  <a:lnTo>
                    <a:pt x="1505" y="441"/>
                  </a:lnTo>
                  <a:lnTo>
                    <a:pt x="1511" y="439"/>
                  </a:lnTo>
                  <a:lnTo>
                    <a:pt x="1513" y="439"/>
                  </a:lnTo>
                  <a:lnTo>
                    <a:pt x="1516" y="438"/>
                  </a:lnTo>
                  <a:lnTo>
                    <a:pt x="1519" y="439"/>
                  </a:lnTo>
                  <a:lnTo>
                    <a:pt x="1521" y="438"/>
                  </a:lnTo>
                  <a:lnTo>
                    <a:pt x="1527" y="434"/>
                  </a:lnTo>
                  <a:lnTo>
                    <a:pt x="1533" y="431"/>
                  </a:lnTo>
                  <a:lnTo>
                    <a:pt x="1538" y="426"/>
                  </a:lnTo>
                  <a:lnTo>
                    <a:pt x="1537" y="423"/>
                  </a:lnTo>
                  <a:lnTo>
                    <a:pt x="1531" y="421"/>
                  </a:lnTo>
                  <a:close/>
                  <a:moveTo>
                    <a:pt x="688" y="144"/>
                  </a:moveTo>
                  <a:lnTo>
                    <a:pt x="685" y="143"/>
                  </a:lnTo>
                  <a:lnTo>
                    <a:pt x="682" y="147"/>
                  </a:lnTo>
                  <a:lnTo>
                    <a:pt x="682" y="149"/>
                  </a:lnTo>
                  <a:lnTo>
                    <a:pt x="685" y="149"/>
                  </a:lnTo>
                  <a:lnTo>
                    <a:pt x="688" y="148"/>
                  </a:lnTo>
                  <a:lnTo>
                    <a:pt x="685" y="150"/>
                  </a:lnTo>
                  <a:lnTo>
                    <a:pt x="688" y="151"/>
                  </a:lnTo>
                  <a:lnTo>
                    <a:pt x="685" y="151"/>
                  </a:lnTo>
                  <a:lnTo>
                    <a:pt x="683" y="152"/>
                  </a:lnTo>
                  <a:lnTo>
                    <a:pt x="681" y="152"/>
                  </a:lnTo>
                  <a:lnTo>
                    <a:pt x="677" y="152"/>
                  </a:lnTo>
                  <a:lnTo>
                    <a:pt x="675" y="152"/>
                  </a:lnTo>
                  <a:lnTo>
                    <a:pt x="673" y="150"/>
                  </a:lnTo>
                  <a:lnTo>
                    <a:pt x="669" y="149"/>
                  </a:lnTo>
                  <a:lnTo>
                    <a:pt x="667" y="150"/>
                  </a:lnTo>
                  <a:lnTo>
                    <a:pt x="664" y="150"/>
                  </a:lnTo>
                  <a:lnTo>
                    <a:pt x="662" y="149"/>
                  </a:lnTo>
                  <a:lnTo>
                    <a:pt x="660" y="152"/>
                  </a:lnTo>
                  <a:lnTo>
                    <a:pt x="657" y="153"/>
                  </a:lnTo>
                  <a:lnTo>
                    <a:pt x="657" y="154"/>
                  </a:lnTo>
                  <a:lnTo>
                    <a:pt x="660" y="157"/>
                  </a:lnTo>
                  <a:lnTo>
                    <a:pt x="663" y="157"/>
                  </a:lnTo>
                  <a:lnTo>
                    <a:pt x="665" y="160"/>
                  </a:lnTo>
                  <a:lnTo>
                    <a:pt x="662" y="160"/>
                  </a:lnTo>
                  <a:lnTo>
                    <a:pt x="659" y="160"/>
                  </a:lnTo>
                  <a:lnTo>
                    <a:pt x="657" y="161"/>
                  </a:lnTo>
                  <a:lnTo>
                    <a:pt x="655" y="164"/>
                  </a:lnTo>
                  <a:lnTo>
                    <a:pt x="651" y="165"/>
                  </a:lnTo>
                  <a:lnTo>
                    <a:pt x="649" y="167"/>
                  </a:lnTo>
                  <a:lnTo>
                    <a:pt x="647" y="168"/>
                  </a:lnTo>
                  <a:lnTo>
                    <a:pt x="643" y="169"/>
                  </a:lnTo>
                  <a:lnTo>
                    <a:pt x="641" y="171"/>
                  </a:lnTo>
                  <a:lnTo>
                    <a:pt x="639" y="171"/>
                  </a:lnTo>
                  <a:lnTo>
                    <a:pt x="637" y="169"/>
                  </a:lnTo>
                  <a:lnTo>
                    <a:pt x="640" y="168"/>
                  </a:lnTo>
                  <a:lnTo>
                    <a:pt x="642" y="168"/>
                  </a:lnTo>
                  <a:lnTo>
                    <a:pt x="643" y="165"/>
                  </a:lnTo>
                  <a:lnTo>
                    <a:pt x="647" y="164"/>
                  </a:lnTo>
                  <a:lnTo>
                    <a:pt x="649" y="161"/>
                  </a:lnTo>
                  <a:lnTo>
                    <a:pt x="651" y="159"/>
                  </a:lnTo>
                  <a:lnTo>
                    <a:pt x="652" y="157"/>
                  </a:lnTo>
                  <a:lnTo>
                    <a:pt x="650" y="153"/>
                  </a:lnTo>
                  <a:lnTo>
                    <a:pt x="647" y="153"/>
                  </a:lnTo>
                  <a:lnTo>
                    <a:pt x="645" y="154"/>
                  </a:lnTo>
                  <a:lnTo>
                    <a:pt x="641" y="156"/>
                  </a:lnTo>
                  <a:lnTo>
                    <a:pt x="639" y="158"/>
                  </a:lnTo>
                  <a:lnTo>
                    <a:pt x="637" y="159"/>
                  </a:lnTo>
                  <a:lnTo>
                    <a:pt x="635" y="161"/>
                  </a:lnTo>
                  <a:lnTo>
                    <a:pt x="635" y="164"/>
                  </a:lnTo>
                  <a:lnTo>
                    <a:pt x="633" y="167"/>
                  </a:lnTo>
                  <a:lnTo>
                    <a:pt x="630" y="168"/>
                  </a:lnTo>
                  <a:lnTo>
                    <a:pt x="628" y="168"/>
                  </a:lnTo>
                  <a:lnTo>
                    <a:pt x="624" y="167"/>
                  </a:lnTo>
                  <a:lnTo>
                    <a:pt x="620" y="166"/>
                  </a:lnTo>
                  <a:lnTo>
                    <a:pt x="616" y="166"/>
                  </a:lnTo>
                  <a:lnTo>
                    <a:pt x="614" y="166"/>
                  </a:lnTo>
                  <a:lnTo>
                    <a:pt x="611" y="165"/>
                  </a:lnTo>
                  <a:lnTo>
                    <a:pt x="609" y="164"/>
                  </a:lnTo>
                  <a:lnTo>
                    <a:pt x="613" y="162"/>
                  </a:lnTo>
                  <a:lnTo>
                    <a:pt x="615" y="162"/>
                  </a:lnTo>
                  <a:lnTo>
                    <a:pt x="618" y="161"/>
                  </a:lnTo>
                  <a:lnTo>
                    <a:pt x="620" y="159"/>
                  </a:lnTo>
                  <a:lnTo>
                    <a:pt x="620" y="156"/>
                  </a:lnTo>
                  <a:lnTo>
                    <a:pt x="622" y="154"/>
                  </a:lnTo>
                  <a:lnTo>
                    <a:pt x="624" y="153"/>
                  </a:lnTo>
                  <a:lnTo>
                    <a:pt x="628" y="151"/>
                  </a:lnTo>
                  <a:lnTo>
                    <a:pt x="626" y="148"/>
                  </a:lnTo>
                  <a:lnTo>
                    <a:pt x="624" y="148"/>
                  </a:lnTo>
                  <a:lnTo>
                    <a:pt x="621" y="145"/>
                  </a:lnTo>
                  <a:lnTo>
                    <a:pt x="624" y="144"/>
                  </a:lnTo>
                  <a:lnTo>
                    <a:pt x="626" y="144"/>
                  </a:lnTo>
                  <a:lnTo>
                    <a:pt x="629" y="145"/>
                  </a:lnTo>
                  <a:lnTo>
                    <a:pt x="632" y="147"/>
                  </a:lnTo>
                  <a:lnTo>
                    <a:pt x="638" y="147"/>
                  </a:lnTo>
                  <a:lnTo>
                    <a:pt x="640" y="144"/>
                  </a:lnTo>
                  <a:lnTo>
                    <a:pt x="638" y="142"/>
                  </a:lnTo>
                  <a:lnTo>
                    <a:pt x="634" y="141"/>
                  </a:lnTo>
                  <a:lnTo>
                    <a:pt x="632" y="140"/>
                  </a:lnTo>
                  <a:lnTo>
                    <a:pt x="629" y="139"/>
                  </a:lnTo>
                  <a:lnTo>
                    <a:pt x="617" y="139"/>
                  </a:lnTo>
                  <a:lnTo>
                    <a:pt x="616" y="142"/>
                  </a:lnTo>
                  <a:lnTo>
                    <a:pt x="614" y="142"/>
                  </a:lnTo>
                  <a:lnTo>
                    <a:pt x="611" y="141"/>
                  </a:lnTo>
                  <a:lnTo>
                    <a:pt x="608" y="142"/>
                  </a:lnTo>
                  <a:lnTo>
                    <a:pt x="605" y="142"/>
                  </a:lnTo>
                  <a:lnTo>
                    <a:pt x="603" y="142"/>
                  </a:lnTo>
                  <a:lnTo>
                    <a:pt x="599" y="141"/>
                  </a:lnTo>
                  <a:lnTo>
                    <a:pt x="597" y="141"/>
                  </a:lnTo>
                  <a:lnTo>
                    <a:pt x="595" y="141"/>
                  </a:lnTo>
                  <a:lnTo>
                    <a:pt x="595" y="144"/>
                  </a:lnTo>
                  <a:lnTo>
                    <a:pt x="592" y="144"/>
                  </a:lnTo>
                  <a:lnTo>
                    <a:pt x="591" y="147"/>
                  </a:lnTo>
                  <a:lnTo>
                    <a:pt x="589" y="144"/>
                  </a:lnTo>
                  <a:lnTo>
                    <a:pt x="587" y="142"/>
                  </a:lnTo>
                  <a:lnTo>
                    <a:pt x="588" y="139"/>
                  </a:lnTo>
                  <a:lnTo>
                    <a:pt x="590" y="139"/>
                  </a:lnTo>
                  <a:lnTo>
                    <a:pt x="594" y="139"/>
                  </a:lnTo>
                  <a:lnTo>
                    <a:pt x="596" y="140"/>
                  </a:lnTo>
                  <a:lnTo>
                    <a:pt x="598" y="136"/>
                  </a:lnTo>
                  <a:lnTo>
                    <a:pt x="601" y="137"/>
                  </a:lnTo>
                  <a:lnTo>
                    <a:pt x="604" y="137"/>
                  </a:lnTo>
                  <a:lnTo>
                    <a:pt x="609" y="135"/>
                  </a:lnTo>
                  <a:lnTo>
                    <a:pt x="612" y="134"/>
                  </a:lnTo>
                  <a:lnTo>
                    <a:pt x="615" y="134"/>
                  </a:lnTo>
                  <a:lnTo>
                    <a:pt x="617" y="132"/>
                  </a:lnTo>
                  <a:lnTo>
                    <a:pt x="623" y="132"/>
                  </a:lnTo>
                  <a:lnTo>
                    <a:pt x="625" y="132"/>
                  </a:lnTo>
                  <a:lnTo>
                    <a:pt x="631" y="131"/>
                  </a:lnTo>
                  <a:lnTo>
                    <a:pt x="634" y="128"/>
                  </a:lnTo>
                  <a:lnTo>
                    <a:pt x="637" y="128"/>
                  </a:lnTo>
                  <a:lnTo>
                    <a:pt x="639" y="127"/>
                  </a:lnTo>
                  <a:lnTo>
                    <a:pt x="642" y="125"/>
                  </a:lnTo>
                  <a:lnTo>
                    <a:pt x="645" y="125"/>
                  </a:lnTo>
                  <a:lnTo>
                    <a:pt x="648" y="124"/>
                  </a:lnTo>
                  <a:lnTo>
                    <a:pt x="650" y="123"/>
                  </a:lnTo>
                  <a:lnTo>
                    <a:pt x="654" y="123"/>
                  </a:lnTo>
                  <a:lnTo>
                    <a:pt x="657" y="122"/>
                  </a:lnTo>
                  <a:lnTo>
                    <a:pt x="660" y="120"/>
                  </a:lnTo>
                  <a:lnTo>
                    <a:pt x="663" y="123"/>
                  </a:lnTo>
                  <a:lnTo>
                    <a:pt x="666" y="124"/>
                  </a:lnTo>
                  <a:lnTo>
                    <a:pt x="668" y="124"/>
                  </a:lnTo>
                  <a:lnTo>
                    <a:pt x="672" y="124"/>
                  </a:lnTo>
                  <a:lnTo>
                    <a:pt x="668" y="126"/>
                  </a:lnTo>
                  <a:lnTo>
                    <a:pt x="666" y="127"/>
                  </a:lnTo>
                  <a:lnTo>
                    <a:pt x="660" y="130"/>
                  </a:lnTo>
                  <a:lnTo>
                    <a:pt x="658" y="130"/>
                  </a:lnTo>
                  <a:lnTo>
                    <a:pt x="657" y="130"/>
                  </a:lnTo>
                  <a:lnTo>
                    <a:pt x="655" y="132"/>
                  </a:lnTo>
                  <a:lnTo>
                    <a:pt x="651" y="134"/>
                  </a:lnTo>
                  <a:lnTo>
                    <a:pt x="655" y="136"/>
                  </a:lnTo>
                  <a:lnTo>
                    <a:pt x="657" y="136"/>
                  </a:lnTo>
                  <a:lnTo>
                    <a:pt x="657" y="136"/>
                  </a:lnTo>
                  <a:lnTo>
                    <a:pt x="660" y="137"/>
                  </a:lnTo>
                  <a:lnTo>
                    <a:pt x="663" y="137"/>
                  </a:lnTo>
                  <a:lnTo>
                    <a:pt x="666" y="137"/>
                  </a:lnTo>
                  <a:lnTo>
                    <a:pt x="668" y="137"/>
                  </a:lnTo>
                  <a:lnTo>
                    <a:pt x="674" y="137"/>
                  </a:lnTo>
                  <a:lnTo>
                    <a:pt x="676" y="137"/>
                  </a:lnTo>
                  <a:lnTo>
                    <a:pt x="680" y="136"/>
                  </a:lnTo>
                  <a:lnTo>
                    <a:pt x="682" y="135"/>
                  </a:lnTo>
                  <a:lnTo>
                    <a:pt x="683" y="132"/>
                  </a:lnTo>
                  <a:lnTo>
                    <a:pt x="686" y="131"/>
                  </a:lnTo>
                  <a:lnTo>
                    <a:pt x="689" y="130"/>
                  </a:lnTo>
                  <a:lnTo>
                    <a:pt x="689" y="132"/>
                  </a:lnTo>
                  <a:lnTo>
                    <a:pt x="686" y="135"/>
                  </a:lnTo>
                  <a:lnTo>
                    <a:pt x="689" y="135"/>
                  </a:lnTo>
                  <a:lnTo>
                    <a:pt x="692" y="134"/>
                  </a:lnTo>
                  <a:lnTo>
                    <a:pt x="690" y="137"/>
                  </a:lnTo>
                  <a:lnTo>
                    <a:pt x="689" y="140"/>
                  </a:lnTo>
                  <a:lnTo>
                    <a:pt x="685" y="141"/>
                  </a:lnTo>
                  <a:lnTo>
                    <a:pt x="688" y="144"/>
                  </a:lnTo>
                  <a:close/>
                  <a:moveTo>
                    <a:pt x="805" y="218"/>
                  </a:moveTo>
                  <a:lnTo>
                    <a:pt x="803" y="217"/>
                  </a:lnTo>
                  <a:lnTo>
                    <a:pt x="800" y="217"/>
                  </a:lnTo>
                  <a:lnTo>
                    <a:pt x="797" y="216"/>
                  </a:lnTo>
                  <a:lnTo>
                    <a:pt x="793" y="214"/>
                  </a:lnTo>
                  <a:lnTo>
                    <a:pt x="787" y="214"/>
                  </a:lnTo>
                  <a:lnTo>
                    <a:pt x="785" y="216"/>
                  </a:lnTo>
                  <a:lnTo>
                    <a:pt x="782" y="217"/>
                  </a:lnTo>
                  <a:lnTo>
                    <a:pt x="777" y="218"/>
                  </a:lnTo>
                  <a:lnTo>
                    <a:pt x="774" y="220"/>
                  </a:lnTo>
                  <a:lnTo>
                    <a:pt x="773" y="224"/>
                  </a:lnTo>
                  <a:lnTo>
                    <a:pt x="778" y="219"/>
                  </a:lnTo>
                  <a:lnTo>
                    <a:pt x="780" y="219"/>
                  </a:lnTo>
                  <a:lnTo>
                    <a:pt x="784" y="218"/>
                  </a:lnTo>
                  <a:lnTo>
                    <a:pt x="786" y="218"/>
                  </a:lnTo>
                  <a:lnTo>
                    <a:pt x="790" y="216"/>
                  </a:lnTo>
                  <a:lnTo>
                    <a:pt x="794" y="216"/>
                  </a:lnTo>
                  <a:lnTo>
                    <a:pt x="797" y="217"/>
                  </a:lnTo>
                  <a:lnTo>
                    <a:pt x="792" y="217"/>
                  </a:lnTo>
                  <a:lnTo>
                    <a:pt x="788" y="218"/>
                  </a:lnTo>
                  <a:lnTo>
                    <a:pt x="794" y="218"/>
                  </a:lnTo>
                  <a:lnTo>
                    <a:pt x="797" y="219"/>
                  </a:lnTo>
                  <a:lnTo>
                    <a:pt x="794" y="220"/>
                  </a:lnTo>
                  <a:lnTo>
                    <a:pt x="788" y="220"/>
                  </a:lnTo>
                  <a:lnTo>
                    <a:pt x="786" y="221"/>
                  </a:lnTo>
                  <a:lnTo>
                    <a:pt x="788" y="221"/>
                  </a:lnTo>
                  <a:lnTo>
                    <a:pt x="786" y="222"/>
                  </a:lnTo>
                  <a:lnTo>
                    <a:pt x="790" y="221"/>
                  </a:lnTo>
                  <a:lnTo>
                    <a:pt x="792" y="222"/>
                  </a:lnTo>
                  <a:lnTo>
                    <a:pt x="794" y="221"/>
                  </a:lnTo>
                  <a:lnTo>
                    <a:pt x="794" y="221"/>
                  </a:lnTo>
                  <a:lnTo>
                    <a:pt x="790" y="225"/>
                  </a:lnTo>
                  <a:lnTo>
                    <a:pt x="786" y="225"/>
                  </a:lnTo>
                  <a:lnTo>
                    <a:pt x="782" y="224"/>
                  </a:lnTo>
                  <a:lnTo>
                    <a:pt x="776" y="228"/>
                  </a:lnTo>
                  <a:lnTo>
                    <a:pt x="773" y="229"/>
                  </a:lnTo>
                  <a:lnTo>
                    <a:pt x="773" y="231"/>
                  </a:lnTo>
                  <a:lnTo>
                    <a:pt x="765" y="238"/>
                  </a:lnTo>
                  <a:lnTo>
                    <a:pt x="762" y="241"/>
                  </a:lnTo>
                  <a:lnTo>
                    <a:pt x="760" y="243"/>
                  </a:lnTo>
                  <a:lnTo>
                    <a:pt x="757" y="244"/>
                  </a:lnTo>
                  <a:lnTo>
                    <a:pt x="753" y="245"/>
                  </a:lnTo>
                  <a:lnTo>
                    <a:pt x="753" y="244"/>
                  </a:lnTo>
                  <a:lnTo>
                    <a:pt x="750" y="244"/>
                  </a:lnTo>
                  <a:lnTo>
                    <a:pt x="745" y="246"/>
                  </a:lnTo>
                  <a:lnTo>
                    <a:pt x="744" y="247"/>
                  </a:lnTo>
                  <a:lnTo>
                    <a:pt x="743" y="248"/>
                  </a:lnTo>
                  <a:lnTo>
                    <a:pt x="744" y="251"/>
                  </a:lnTo>
                  <a:lnTo>
                    <a:pt x="742" y="253"/>
                  </a:lnTo>
                  <a:lnTo>
                    <a:pt x="740" y="254"/>
                  </a:lnTo>
                  <a:lnTo>
                    <a:pt x="736" y="253"/>
                  </a:lnTo>
                  <a:lnTo>
                    <a:pt x="731" y="255"/>
                  </a:lnTo>
                  <a:lnTo>
                    <a:pt x="728" y="255"/>
                  </a:lnTo>
                  <a:lnTo>
                    <a:pt x="720" y="256"/>
                  </a:lnTo>
                  <a:lnTo>
                    <a:pt x="715" y="256"/>
                  </a:lnTo>
                  <a:lnTo>
                    <a:pt x="712" y="256"/>
                  </a:lnTo>
                  <a:lnTo>
                    <a:pt x="707" y="254"/>
                  </a:lnTo>
                  <a:lnTo>
                    <a:pt x="705" y="253"/>
                  </a:lnTo>
                  <a:lnTo>
                    <a:pt x="697" y="252"/>
                  </a:lnTo>
                  <a:lnTo>
                    <a:pt x="694" y="251"/>
                  </a:lnTo>
                  <a:lnTo>
                    <a:pt x="692" y="248"/>
                  </a:lnTo>
                  <a:lnTo>
                    <a:pt x="689" y="247"/>
                  </a:lnTo>
                  <a:lnTo>
                    <a:pt x="692" y="247"/>
                  </a:lnTo>
                  <a:lnTo>
                    <a:pt x="695" y="250"/>
                  </a:lnTo>
                  <a:lnTo>
                    <a:pt x="698" y="250"/>
                  </a:lnTo>
                  <a:lnTo>
                    <a:pt x="701" y="248"/>
                  </a:lnTo>
                  <a:lnTo>
                    <a:pt x="703" y="246"/>
                  </a:lnTo>
                  <a:lnTo>
                    <a:pt x="706" y="247"/>
                  </a:lnTo>
                  <a:lnTo>
                    <a:pt x="709" y="247"/>
                  </a:lnTo>
                  <a:lnTo>
                    <a:pt x="711" y="248"/>
                  </a:lnTo>
                  <a:lnTo>
                    <a:pt x="715" y="247"/>
                  </a:lnTo>
                  <a:lnTo>
                    <a:pt x="714" y="244"/>
                  </a:lnTo>
                  <a:lnTo>
                    <a:pt x="716" y="243"/>
                  </a:lnTo>
                  <a:lnTo>
                    <a:pt x="717" y="241"/>
                  </a:lnTo>
                  <a:lnTo>
                    <a:pt x="719" y="237"/>
                  </a:lnTo>
                  <a:lnTo>
                    <a:pt x="722" y="237"/>
                  </a:lnTo>
                  <a:lnTo>
                    <a:pt x="725" y="238"/>
                  </a:lnTo>
                  <a:lnTo>
                    <a:pt x="727" y="237"/>
                  </a:lnTo>
                  <a:lnTo>
                    <a:pt x="731" y="235"/>
                  </a:lnTo>
                  <a:lnTo>
                    <a:pt x="728" y="231"/>
                  </a:lnTo>
                  <a:lnTo>
                    <a:pt x="726" y="230"/>
                  </a:lnTo>
                  <a:lnTo>
                    <a:pt x="724" y="228"/>
                  </a:lnTo>
                  <a:lnTo>
                    <a:pt x="722" y="227"/>
                  </a:lnTo>
                  <a:lnTo>
                    <a:pt x="722" y="225"/>
                  </a:lnTo>
                  <a:lnTo>
                    <a:pt x="722" y="222"/>
                  </a:lnTo>
                  <a:lnTo>
                    <a:pt x="718" y="222"/>
                  </a:lnTo>
                  <a:lnTo>
                    <a:pt x="712" y="219"/>
                  </a:lnTo>
                  <a:lnTo>
                    <a:pt x="712" y="216"/>
                  </a:lnTo>
                  <a:lnTo>
                    <a:pt x="714" y="216"/>
                  </a:lnTo>
                  <a:lnTo>
                    <a:pt x="716" y="218"/>
                  </a:lnTo>
                  <a:lnTo>
                    <a:pt x="722" y="219"/>
                  </a:lnTo>
                  <a:lnTo>
                    <a:pt x="724" y="221"/>
                  </a:lnTo>
                  <a:lnTo>
                    <a:pt x="727" y="222"/>
                  </a:lnTo>
                  <a:lnTo>
                    <a:pt x="729" y="225"/>
                  </a:lnTo>
                  <a:lnTo>
                    <a:pt x="733" y="225"/>
                  </a:lnTo>
                  <a:lnTo>
                    <a:pt x="735" y="224"/>
                  </a:lnTo>
                  <a:lnTo>
                    <a:pt x="736" y="224"/>
                  </a:lnTo>
                  <a:lnTo>
                    <a:pt x="737" y="227"/>
                  </a:lnTo>
                  <a:lnTo>
                    <a:pt x="741" y="228"/>
                  </a:lnTo>
                  <a:lnTo>
                    <a:pt x="743" y="230"/>
                  </a:lnTo>
                  <a:lnTo>
                    <a:pt x="745" y="231"/>
                  </a:lnTo>
                  <a:lnTo>
                    <a:pt x="749" y="233"/>
                  </a:lnTo>
                  <a:lnTo>
                    <a:pt x="751" y="231"/>
                  </a:lnTo>
                  <a:lnTo>
                    <a:pt x="752" y="231"/>
                  </a:lnTo>
                  <a:lnTo>
                    <a:pt x="760" y="231"/>
                  </a:lnTo>
                  <a:lnTo>
                    <a:pt x="762" y="229"/>
                  </a:lnTo>
                  <a:lnTo>
                    <a:pt x="768" y="226"/>
                  </a:lnTo>
                  <a:lnTo>
                    <a:pt x="770" y="225"/>
                  </a:lnTo>
                  <a:lnTo>
                    <a:pt x="776" y="217"/>
                  </a:lnTo>
                  <a:lnTo>
                    <a:pt x="778" y="214"/>
                  </a:lnTo>
                  <a:lnTo>
                    <a:pt x="784" y="212"/>
                  </a:lnTo>
                  <a:lnTo>
                    <a:pt x="787" y="212"/>
                  </a:lnTo>
                  <a:lnTo>
                    <a:pt x="794" y="212"/>
                  </a:lnTo>
                  <a:lnTo>
                    <a:pt x="800" y="213"/>
                  </a:lnTo>
                  <a:lnTo>
                    <a:pt x="808" y="214"/>
                  </a:lnTo>
                  <a:lnTo>
                    <a:pt x="808" y="218"/>
                  </a:lnTo>
                  <a:lnTo>
                    <a:pt x="805" y="218"/>
                  </a:lnTo>
                  <a:close/>
                  <a:moveTo>
                    <a:pt x="981" y="448"/>
                  </a:moveTo>
                  <a:lnTo>
                    <a:pt x="981" y="451"/>
                  </a:lnTo>
                  <a:lnTo>
                    <a:pt x="982" y="453"/>
                  </a:lnTo>
                  <a:lnTo>
                    <a:pt x="981" y="453"/>
                  </a:lnTo>
                  <a:lnTo>
                    <a:pt x="979" y="451"/>
                  </a:lnTo>
                  <a:lnTo>
                    <a:pt x="978" y="455"/>
                  </a:lnTo>
                  <a:lnTo>
                    <a:pt x="978" y="457"/>
                  </a:lnTo>
                  <a:lnTo>
                    <a:pt x="975" y="458"/>
                  </a:lnTo>
                  <a:lnTo>
                    <a:pt x="973" y="456"/>
                  </a:lnTo>
                  <a:lnTo>
                    <a:pt x="973" y="453"/>
                  </a:lnTo>
                  <a:lnTo>
                    <a:pt x="973" y="451"/>
                  </a:lnTo>
                  <a:lnTo>
                    <a:pt x="973" y="448"/>
                  </a:lnTo>
                  <a:lnTo>
                    <a:pt x="973" y="445"/>
                  </a:lnTo>
                  <a:lnTo>
                    <a:pt x="975" y="442"/>
                  </a:lnTo>
                  <a:lnTo>
                    <a:pt x="976" y="440"/>
                  </a:lnTo>
                  <a:lnTo>
                    <a:pt x="973" y="441"/>
                  </a:lnTo>
                  <a:lnTo>
                    <a:pt x="975" y="439"/>
                  </a:lnTo>
                  <a:lnTo>
                    <a:pt x="976" y="435"/>
                  </a:lnTo>
                  <a:lnTo>
                    <a:pt x="973" y="434"/>
                  </a:lnTo>
                  <a:lnTo>
                    <a:pt x="971" y="436"/>
                  </a:lnTo>
                  <a:lnTo>
                    <a:pt x="968" y="439"/>
                  </a:lnTo>
                  <a:lnTo>
                    <a:pt x="968" y="436"/>
                  </a:lnTo>
                  <a:lnTo>
                    <a:pt x="968" y="433"/>
                  </a:lnTo>
                  <a:lnTo>
                    <a:pt x="968" y="431"/>
                  </a:lnTo>
                  <a:lnTo>
                    <a:pt x="966" y="427"/>
                  </a:lnTo>
                  <a:lnTo>
                    <a:pt x="964" y="429"/>
                  </a:lnTo>
                  <a:lnTo>
                    <a:pt x="965" y="426"/>
                  </a:lnTo>
                  <a:lnTo>
                    <a:pt x="962" y="427"/>
                  </a:lnTo>
                  <a:lnTo>
                    <a:pt x="961" y="431"/>
                  </a:lnTo>
                  <a:lnTo>
                    <a:pt x="958" y="430"/>
                  </a:lnTo>
                  <a:lnTo>
                    <a:pt x="958" y="429"/>
                  </a:lnTo>
                  <a:lnTo>
                    <a:pt x="957" y="425"/>
                  </a:lnTo>
                  <a:lnTo>
                    <a:pt x="955" y="423"/>
                  </a:lnTo>
                  <a:lnTo>
                    <a:pt x="953" y="421"/>
                  </a:lnTo>
                  <a:lnTo>
                    <a:pt x="950" y="418"/>
                  </a:lnTo>
                  <a:lnTo>
                    <a:pt x="948" y="416"/>
                  </a:lnTo>
                  <a:lnTo>
                    <a:pt x="947" y="413"/>
                  </a:lnTo>
                  <a:lnTo>
                    <a:pt x="949" y="410"/>
                  </a:lnTo>
                  <a:lnTo>
                    <a:pt x="951" y="409"/>
                  </a:lnTo>
                  <a:lnTo>
                    <a:pt x="950" y="409"/>
                  </a:lnTo>
                  <a:lnTo>
                    <a:pt x="947" y="409"/>
                  </a:lnTo>
                  <a:lnTo>
                    <a:pt x="945" y="409"/>
                  </a:lnTo>
                  <a:lnTo>
                    <a:pt x="941" y="407"/>
                  </a:lnTo>
                  <a:lnTo>
                    <a:pt x="942" y="405"/>
                  </a:lnTo>
                  <a:lnTo>
                    <a:pt x="944" y="401"/>
                  </a:lnTo>
                  <a:lnTo>
                    <a:pt x="945" y="399"/>
                  </a:lnTo>
                  <a:lnTo>
                    <a:pt x="945" y="397"/>
                  </a:lnTo>
                  <a:lnTo>
                    <a:pt x="946" y="393"/>
                  </a:lnTo>
                  <a:lnTo>
                    <a:pt x="947" y="393"/>
                  </a:lnTo>
                  <a:lnTo>
                    <a:pt x="950" y="395"/>
                  </a:lnTo>
                  <a:lnTo>
                    <a:pt x="953" y="393"/>
                  </a:lnTo>
                  <a:lnTo>
                    <a:pt x="955" y="395"/>
                  </a:lnTo>
                  <a:lnTo>
                    <a:pt x="958" y="396"/>
                  </a:lnTo>
                  <a:lnTo>
                    <a:pt x="959" y="396"/>
                  </a:lnTo>
                  <a:lnTo>
                    <a:pt x="957" y="395"/>
                  </a:lnTo>
                  <a:lnTo>
                    <a:pt x="955" y="392"/>
                  </a:lnTo>
                  <a:lnTo>
                    <a:pt x="956" y="389"/>
                  </a:lnTo>
                  <a:lnTo>
                    <a:pt x="957" y="387"/>
                  </a:lnTo>
                  <a:lnTo>
                    <a:pt x="958" y="383"/>
                  </a:lnTo>
                  <a:lnTo>
                    <a:pt x="959" y="384"/>
                  </a:lnTo>
                  <a:lnTo>
                    <a:pt x="959" y="387"/>
                  </a:lnTo>
                  <a:lnTo>
                    <a:pt x="956" y="389"/>
                  </a:lnTo>
                  <a:lnTo>
                    <a:pt x="957" y="392"/>
                  </a:lnTo>
                  <a:lnTo>
                    <a:pt x="959" y="391"/>
                  </a:lnTo>
                  <a:lnTo>
                    <a:pt x="963" y="390"/>
                  </a:lnTo>
                  <a:lnTo>
                    <a:pt x="962" y="391"/>
                  </a:lnTo>
                  <a:lnTo>
                    <a:pt x="959" y="392"/>
                  </a:lnTo>
                  <a:lnTo>
                    <a:pt x="959" y="393"/>
                  </a:lnTo>
                  <a:lnTo>
                    <a:pt x="961" y="396"/>
                  </a:lnTo>
                  <a:lnTo>
                    <a:pt x="961" y="397"/>
                  </a:lnTo>
                  <a:lnTo>
                    <a:pt x="962" y="399"/>
                  </a:lnTo>
                  <a:lnTo>
                    <a:pt x="963" y="401"/>
                  </a:lnTo>
                  <a:lnTo>
                    <a:pt x="964" y="405"/>
                  </a:lnTo>
                  <a:lnTo>
                    <a:pt x="966" y="407"/>
                  </a:lnTo>
                  <a:lnTo>
                    <a:pt x="968" y="410"/>
                  </a:lnTo>
                  <a:lnTo>
                    <a:pt x="966" y="410"/>
                  </a:lnTo>
                  <a:lnTo>
                    <a:pt x="967" y="414"/>
                  </a:lnTo>
                  <a:lnTo>
                    <a:pt x="970" y="416"/>
                  </a:lnTo>
                  <a:lnTo>
                    <a:pt x="971" y="419"/>
                  </a:lnTo>
                  <a:lnTo>
                    <a:pt x="972" y="422"/>
                  </a:lnTo>
                  <a:lnTo>
                    <a:pt x="972" y="424"/>
                  </a:lnTo>
                  <a:lnTo>
                    <a:pt x="973" y="427"/>
                  </a:lnTo>
                  <a:lnTo>
                    <a:pt x="974" y="430"/>
                  </a:lnTo>
                  <a:lnTo>
                    <a:pt x="976" y="432"/>
                  </a:lnTo>
                  <a:lnTo>
                    <a:pt x="976" y="434"/>
                  </a:lnTo>
                  <a:lnTo>
                    <a:pt x="979" y="438"/>
                  </a:lnTo>
                  <a:lnTo>
                    <a:pt x="980" y="440"/>
                  </a:lnTo>
                  <a:lnTo>
                    <a:pt x="982" y="442"/>
                  </a:lnTo>
                  <a:lnTo>
                    <a:pt x="981" y="445"/>
                  </a:lnTo>
                  <a:lnTo>
                    <a:pt x="981" y="448"/>
                  </a:lnTo>
                  <a:close/>
                  <a:moveTo>
                    <a:pt x="1152" y="575"/>
                  </a:moveTo>
                  <a:lnTo>
                    <a:pt x="1152" y="573"/>
                  </a:lnTo>
                  <a:lnTo>
                    <a:pt x="1151" y="571"/>
                  </a:lnTo>
                  <a:lnTo>
                    <a:pt x="1153" y="569"/>
                  </a:lnTo>
                  <a:lnTo>
                    <a:pt x="1157" y="567"/>
                  </a:lnTo>
                  <a:lnTo>
                    <a:pt x="1158" y="564"/>
                  </a:lnTo>
                  <a:lnTo>
                    <a:pt x="1160" y="561"/>
                  </a:lnTo>
                  <a:lnTo>
                    <a:pt x="1160" y="560"/>
                  </a:lnTo>
                  <a:lnTo>
                    <a:pt x="1160" y="556"/>
                  </a:lnTo>
                  <a:lnTo>
                    <a:pt x="1160" y="554"/>
                  </a:lnTo>
                  <a:lnTo>
                    <a:pt x="1158" y="552"/>
                  </a:lnTo>
                  <a:lnTo>
                    <a:pt x="1160" y="551"/>
                  </a:lnTo>
                  <a:lnTo>
                    <a:pt x="1159" y="549"/>
                  </a:lnTo>
                  <a:lnTo>
                    <a:pt x="1157" y="545"/>
                  </a:lnTo>
                  <a:lnTo>
                    <a:pt x="1154" y="544"/>
                  </a:lnTo>
                  <a:lnTo>
                    <a:pt x="1151" y="543"/>
                  </a:lnTo>
                  <a:lnTo>
                    <a:pt x="1149" y="542"/>
                  </a:lnTo>
                  <a:lnTo>
                    <a:pt x="1146" y="541"/>
                  </a:lnTo>
                  <a:lnTo>
                    <a:pt x="1145" y="541"/>
                  </a:lnTo>
                  <a:lnTo>
                    <a:pt x="1142" y="539"/>
                  </a:lnTo>
                  <a:lnTo>
                    <a:pt x="1140" y="538"/>
                  </a:lnTo>
                  <a:lnTo>
                    <a:pt x="1137" y="541"/>
                  </a:lnTo>
                  <a:lnTo>
                    <a:pt x="1135" y="542"/>
                  </a:lnTo>
                  <a:lnTo>
                    <a:pt x="1137" y="544"/>
                  </a:lnTo>
                  <a:lnTo>
                    <a:pt x="1137" y="545"/>
                  </a:lnTo>
                  <a:lnTo>
                    <a:pt x="1135" y="545"/>
                  </a:lnTo>
                  <a:lnTo>
                    <a:pt x="1133" y="546"/>
                  </a:lnTo>
                  <a:lnTo>
                    <a:pt x="1132" y="549"/>
                  </a:lnTo>
                  <a:lnTo>
                    <a:pt x="1132" y="552"/>
                  </a:lnTo>
                  <a:lnTo>
                    <a:pt x="1129" y="554"/>
                  </a:lnTo>
                  <a:lnTo>
                    <a:pt x="1129" y="552"/>
                  </a:lnTo>
                  <a:lnTo>
                    <a:pt x="1128" y="554"/>
                  </a:lnTo>
                  <a:lnTo>
                    <a:pt x="1128" y="552"/>
                  </a:lnTo>
                  <a:lnTo>
                    <a:pt x="1128" y="549"/>
                  </a:lnTo>
                  <a:lnTo>
                    <a:pt x="1126" y="552"/>
                  </a:lnTo>
                  <a:lnTo>
                    <a:pt x="1125" y="552"/>
                  </a:lnTo>
                  <a:lnTo>
                    <a:pt x="1121" y="554"/>
                  </a:lnTo>
                  <a:lnTo>
                    <a:pt x="1119" y="556"/>
                  </a:lnTo>
                  <a:lnTo>
                    <a:pt x="1120" y="559"/>
                  </a:lnTo>
                  <a:lnTo>
                    <a:pt x="1119" y="562"/>
                  </a:lnTo>
                  <a:lnTo>
                    <a:pt x="1118" y="564"/>
                  </a:lnTo>
                  <a:lnTo>
                    <a:pt x="1116" y="567"/>
                  </a:lnTo>
                  <a:lnTo>
                    <a:pt x="1117" y="570"/>
                  </a:lnTo>
                  <a:lnTo>
                    <a:pt x="1116" y="572"/>
                  </a:lnTo>
                  <a:lnTo>
                    <a:pt x="1116" y="576"/>
                  </a:lnTo>
                  <a:lnTo>
                    <a:pt x="1117" y="578"/>
                  </a:lnTo>
                  <a:lnTo>
                    <a:pt x="1119" y="580"/>
                  </a:lnTo>
                  <a:lnTo>
                    <a:pt x="1119" y="581"/>
                  </a:lnTo>
                  <a:lnTo>
                    <a:pt x="1119" y="584"/>
                  </a:lnTo>
                  <a:lnTo>
                    <a:pt x="1120" y="585"/>
                  </a:lnTo>
                  <a:lnTo>
                    <a:pt x="1120" y="588"/>
                  </a:lnTo>
                  <a:lnTo>
                    <a:pt x="1120" y="590"/>
                  </a:lnTo>
                  <a:lnTo>
                    <a:pt x="1119" y="593"/>
                  </a:lnTo>
                  <a:lnTo>
                    <a:pt x="1118" y="596"/>
                  </a:lnTo>
                  <a:lnTo>
                    <a:pt x="1117" y="598"/>
                  </a:lnTo>
                  <a:lnTo>
                    <a:pt x="1116" y="602"/>
                  </a:lnTo>
                  <a:lnTo>
                    <a:pt x="1113" y="604"/>
                  </a:lnTo>
                  <a:lnTo>
                    <a:pt x="1111" y="605"/>
                  </a:lnTo>
                  <a:lnTo>
                    <a:pt x="1109" y="606"/>
                  </a:lnTo>
                  <a:lnTo>
                    <a:pt x="1107" y="607"/>
                  </a:lnTo>
                  <a:lnTo>
                    <a:pt x="1103" y="607"/>
                  </a:lnTo>
                  <a:lnTo>
                    <a:pt x="1102" y="606"/>
                  </a:lnTo>
                  <a:lnTo>
                    <a:pt x="1102" y="606"/>
                  </a:lnTo>
                  <a:lnTo>
                    <a:pt x="1101" y="603"/>
                  </a:lnTo>
                  <a:lnTo>
                    <a:pt x="1100" y="602"/>
                  </a:lnTo>
                  <a:lnTo>
                    <a:pt x="1099" y="598"/>
                  </a:lnTo>
                  <a:lnTo>
                    <a:pt x="1098" y="596"/>
                  </a:lnTo>
                  <a:lnTo>
                    <a:pt x="1099" y="594"/>
                  </a:lnTo>
                  <a:lnTo>
                    <a:pt x="1099" y="592"/>
                  </a:lnTo>
                  <a:lnTo>
                    <a:pt x="1099" y="589"/>
                  </a:lnTo>
                  <a:lnTo>
                    <a:pt x="1098" y="586"/>
                  </a:lnTo>
                  <a:lnTo>
                    <a:pt x="1096" y="581"/>
                  </a:lnTo>
                  <a:lnTo>
                    <a:pt x="1098" y="578"/>
                  </a:lnTo>
                  <a:lnTo>
                    <a:pt x="1099" y="576"/>
                  </a:lnTo>
                  <a:lnTo>
                    <a:pt x="1100" y="572"/>
                  </a:lnTo>
                  <a:lnTo>
                    <a:pt x="1099" y="570"/>
                  </a:lnTo>
                  <a:lnTo>
                    <a:pt x="1100" y="567"/>
                  </a:lnTo>
                  <a:lnTo>
                    <a:pt x="1102" y="564"/>
                  </a:lnTo>
                  <a:lnTo>
                    <a:pt x="1102" y="562"/>
                  </a:lnTo>
                  <a:lnTo>
                    <a:pt x="1103" y="559"/>
                  </a:lnTo>
                  <a:lnTo>
                    <a:pt x="1104" y="556"/>
                  </a:lnTo>
                  <a:lnTo>
                    <a:pt x="1103" y="554"/>
                  </a:lnTo>
                  <a:lnTo>
                    <a:pt x="1100" y="555"/>
                  </a:lnTo>
                  <a:lnTo>
                    <a:pt x="1098" y="558"/>
                  </a:lnTo>
                  <a:lnTo>
                    <a:pt x="1095" y="558"/>
                  </a:lnTo>
                  <a:lnTo>
                    <a:pt x="1096" y="555"/>
                  </a:lnTo>
                  <a:lnTo>
                    <a:pt x="1098" y="552"/>
                  </a:lnTo>
                  <a:lnTo>
                    <a:pt x="1101" y="552"/>
                  </a:lnTo>
                  <a:lnTo>
                    <a:pt x="1101" y="550"/>
                  </a:lnTo>
                  <a:lnTo>
                    <a:pt x="1102" y="547"/>
                  </a:lnTo>
                  <a:lnTo>
                    <a:pt x="1104" y="545"/>
                  </a:lnTo>
                  <a:lnTo>
                    <a:pt x="1106" y="542"/>
                  </a:lnTo>
                  <a:lnTo>
                    <a:pt x="1108" y="539"/>
                  </a:lnTo>
                  <a:lnTo>
                    <a:pt x="1110" y="536"/>
                  </a:lnTo>
                  <a:lnTo>
                    <a:pt x="1110" y="539"/>
                  </a:lnTo>
                  <a:lnTo>
                    <a:pt x="1112" y="537"/>
                  </a:lnTo>
                  <a:lnTo>
                    <a:pt x="1116" y="536"/>
                  </a:lnTo>
                  <a:lnTo>
                    <a:pt x="1116" y="539"/>
                  </a:lnTo>
                  <a:lnTo>
                    <a:pt x="1118" y="537"/>
                  </a:lnTo>
                  <a:lnTo>
                    <a:pt x="1120" y="535"/>
                  </a:lnTo>
                  <a:lnTo>
                    <a:pt x="1123" y="535"/>
                  </a:lnTo>
                  <a:lnTo>
                    <a:pt x="1126" y="535"/>
                  </a:lnTo>
                  <a:lnTo>
                    <a:pt x="1128" y="534"/>
                  </a:lnTo>
                  <a:lnTo>
                    <a:pt x="1132" y="533"/>
                  </a:lnTo>
                  <a:lnTo>
                    <a:pt x="1134" y="533"/>
                  </a:lnTo>
                  <a:lnTo>
                    <a:pt x="1137" y="534"/>
                  </a:lnTo>
                  <a:lnTo>
                    <a:pt x="1138" y="536"/>
                  </a:lnTo>
                  <a:lnTo>
                    <a:pt x="1141" y="535"/>
                  </a:lnTo>
                  <a:lnTo>
                    <a:pt x="1144" y="535"/>
                  </a:lnTo>
                  <a:lnTo>
                    <a:pt x="1146" y="535"/>
                  </a:lnTo>
                  <a:lnTo>
                    <a:pt x="1149" y="535"/>
                  </a:lnTo>
                  <a:lnTo>
                    <a:pt x="1152" y="535"/>
                  </a:lnTo>
                  <a:lnTo>
                    <a:pt x="1150" y="532"/>
                  </a:lnTo>
                  <a:lnTo>
                    <a:pt x="1147" y="532"/>
                  </a:lnTo>
                  <a:lnTo>
                    <a:pt x="1147" y="528"/>
                  </a:lnTo>
                  <a:lnTo>
                    <a:pt x="1145" y="526"/>
                  </a:lnTo>
                  <a:lnTo>
                    <a:pt x="1145" y="526"/>
                  </a:lnTo>
                  <a:lnTo>
                    <a:pt x="1145" y="526"/>
                  </a:lnTo>
                  <a:lnTo>
                    <a:pt x="1140" y="527"/>
                  </a:lnTo>
                  <a:lnTo>
                    <a:pt x="1137" y="526"/>
                  </a:lnTo>
                  <a:lnTo>
                    <a:pt x="1136" y="525"/>
                  </a:lnTo>
                  <a:lnTo>
                    <a:pt x="1137" y="521"/>
                  </a:lnTo>
                  <a:lnTo>
                    <a:pt x="1137" y="521"/>
                  </a:lnTo>
                  <a:lnTo>
                    <a:pt x="1134" y="521"/>
                  </a:lnTo>
                  <a:lnTo>
                    <a:pt x="1130" y="522"/>
                  </a:lnTo>
                  <a:lnTo>
                    <a:pt x="1128" y="522"/>
                  </a:lnTo>
                  <a:lnTo>
                    <a:pt x="1126" y="522"/>
                  </a:lnTo>
                  <a:lnTo>
                    <a:pt x="1120" y="522"/>
                  </a:lnTo>
                  <a:lnTo>
                    <a:pt x="1118" y="525"/>
                  </a:lnTo>
                  <a:lnTo>
                    <a:pt x="1115" y="527"/>
                  </a:lnTo>
                  <a:lnTo>
                    <a:pt x="1112" y="526"/>
                  </a:lnTo>
                  <a:lnTo>
                    <a:pt x="1109" y="525"/>
                  </a:lnTo>
                  <a:lnTo>
                    <a:pt x="1107" y="526"/>
                  </a:lnTo>
                  <a:lnTo>
                    <a:pt x="1104" y="526"/>
                  </a:lnTo>
                  <a:lnTo>
                    <a:pt x="1102" y="522"/>
                  </a:lnTo>
                  <a:lnTo>
                    <a:pt x="1100" y="520"/>
                  </a:lnTo>
                  <a:lnTo>
                    <a:pt x="1098" y="519"/>
                  </a:lnTo>
                  <a:lnTo>
                    <a:pt x="1094" y="519"/>
                  </a:lnTo>
                  <a:lnTo>
                    <a:pt x="1092" y="519"/>
                  </a:lnTo>
                  <a:lnTo>
                    <a:pt x="1090" y="519"/>
                  </a:lnTo>
                  <a:lnTo>
                    <a:pt x="1089" y="516"/>
                  </a:lnTo>
                  <a:lnTo>
                    <a:pt x="1087" y="513"/>
                  </a:lnTo>
                  <a:lnTo>
                    <a:pt x="1084" y="515"/>
                  </a:lnTo>
                  <a:lnTo>
                    <a:pt x="1082" y="517"/>
                  </a:lnTo>
                  <a:lnTo>
                    <a:pt x="1079" y="518"/>
                  </a:lnTo>
                  <a:lnTo>
                    <a:pt x="1076" y="520"/>
                  </a:lnTo>
                  <a:lnTo>
                    <a:pt x="1074" y="520"/>
                  </a:lnTo>
                  <a:lnTo>
                    <a:pt x="1070" y="520"/>
                  </a:lnTo>
                  <a:lnTo>
                    <a:pt x="1068" y="522"/>
                  </a:lnTo>
                  <a:lnTo>
                    <a:pt x="1068" y="522"/>
                  </a:lnTo>
                  <a:lnTo>
                    <a:pt x="1065" y="524"/>
                  </a:lnTo>
                  <a:lnTo>
                    <a:pt x="1063" y="525"/>
                  </a:lnTo>
                  <a:lnTo>
                    <a:pt x="1060" y="524"/>
                  </a:lnTo>
                  <a:lnTo>
                    <a:pt x="1058" y="522"/>
                  </a:lnTo>
                  <a:lnTo>
                    <a:pt x="1056" y="524"/>
                  </a:lnTo>
                  <a:lnTo>
                    <a:pt x="1057" y="521"/>
                  </a:lnTo>
                  <a:lnTo>
                    <a:pt x="1056" y="518"/>
                  </a:lnTo>
                  <a:lnTo>
                    <a:pt x="1052" y="519"/>
                  </a:lnTo>
                  <a:lnTo>
                    <a:pt x="1050" y="520"/>
                  </a:lnTo>
                  <a:lnTo>
                    <a:pt x="1048" y="521"/>
                  </a:lnTo>
                  <a:lnTo>
                    <a:pt x="1042" y="522"/>
                  </a:lnTo>
                  <a:lnTo>
                    <a:pt x="1039" y="521"/>
                  </a:lnTo>
                  <a:lnTo>
                    <a:pt x="1041" y="519"/>
                  </a:lnTo>
                  <a:lnTo>
                    <a:pt x="1044" y="518"/>
                  </a:lnTo>
                  <a:lnTo>
                    <a:pt x="1047" y="516"/>
                  </a:lnTo>
                  <a:lnTo>
                    <a:pt x="1050" y="513"/>
                  </a:lnTo>
                  <a:lnTo>
                    <a:pt x="1052" y="511"/>
                  </a:lnTo>
                  <a:lnTo>
                    <a:pt x="1055" y="509"/>
                  </a:lnTo>
                  <a:lnTo>
                    <a:pt x="1057" y="507"/>
                  </a:lnTo>
                  <a:lnTo>
                    <a:pt x="1060" y="506"/>
                  </a:lnTo>
                  <a:lnTo>
                    <a:pt x="1063" y="504"/>
                  </a:lnTo>
                  <a:lnTo>
                    <a:pt x="1068" y="503"/>
                  </a:lnTo>
                  <a:lnTo>
                    <a:pt x="1068" y="502"/>
                  </a:lnTo>
                  <a:lnTo>
                    <a:pt x="1072" y="501"/>
                  </a:lnTo>
                  <a:lnTo>
                    <a:pt x="1074" y="500"/>
                  </a:lnTo>
                  <a:lnTo>
                    <a:pt x="1076" y="498"/>
                  </a:lnTo>
                  <a:lnTo>
                    <a:pt x="1078" y="495"/>
                  </a:lnTo>
                  <a:lnTo>
                    <a:pt x="1078" y="493"/>
                  </a:lnTo>
                  <a:lnTo>
                    <a:pt x="1082" y="491"/>
                  </a:lnTo>
                  <a:lnTo>
                    <a:pt x="1084" y="492"/>
                  </a:lnTo>
                  <a:lnTo>
                    <a:pt x="1084" y="494"/>
                  </a:lnTo>
                  <a:lnTo>
                    <a:pt x="1086" y="492"/>
                  </a:lnTo>
                  <a:lnTo>
                    <a:pt x="1089" y="489"/>
                  </a:lnTo>
                  <a:lnTo>
                    <a:pt x="1089" y="486"/>
                  </a:lnTo>
                  <a:lnTo>
                    <a:pt x="1091" y="486"/>
                  </a:lnTo>
                  <a:lnTo>
                    <a:pt x="1090" y="489"/>
                  </a:lnTo>
                  <a:lnTo>
                    <a:pt x="1089" y="491"/>
                  </a:lnTo>
                  <a:lnTo>
                    <a:pt x="1091" y="489"/>
                  </a:lnTo>
                  <a:lnTo>
                    <a:pt x="1094" y="487"/>
                  </a:lnTo>
                  <a:lnTo>
                    <a:pt x="1093" y="485"/>
                  </a:lnTo>
                  <a:lnTo>
                    <a:pt x="1092" y="483"/>
                  </a:lnTo>
                  <a:lnTo>
                    <a:pt x="1093" y="483"/>
                  </a:lnTo>
                  <a:lnTo>
                    <a:pt x="1096" y="483"/>
                  </a:lnTo>
                  <a:lnTo>
                    <a:pt x="1099" y="484"/>
                  </a:lnTo>
                  <a:lnTo>
                    <a:pt x="1102" y="485"/>
                  </a:lnTo>
                  <a:lnTo>
                    <a:pt x="1104" y="486"/>
                  </a:lnTo>
                  <a:lnTo>
                    <a:pt x="1107" y="486"/>
                  </a:lnTo>
                  <a:lnTo>
                    <a:pt x="1110" y="485"/>
                  </a:lnTo>
                  <a:lnTo>
                    <a:pt x="1112" y="486"/>
                  </a:lnTo>
                  <a:lnTo>
                    <a:pt x="1116" y="487"/>
                  </a:lnTo>
                  <a:lnTo>
                    <a:pt x="1118" y="487"/>
                  </a:lnTo>
                  <a:lnTo>
                    <a:pt x="1119" y="491"/>
                  </a:lnTo>
                  <a:lnTo>
                    <a:pt x="1120" y="493"/>
                  </a:lnTo>
                  <a:lnTo>
                    <a:pt x="1121" y="495"/>
                  </a:lnTo>
                  <a:lnTo>
                    <a:pt x="1124" y="499"/>
                  </a:lnTo>
                  <a:lnTo>
                    <a:pt x="1126" y="501"/>
                  </a:lnTo>
                  <a:lnTo>
                    <a:pt x="1132" y="501"/>
                  </a:lnTo>
                  <a:lnTo>
                    <a:pt x="1134" y="501"/>
                  </a:lnTo>
                  <a:lnTo>
                    <a:pt x="1137" y="501"/>
                  </a:lnTo>
                  <a:lnTo>
                    <a:pt x="1137" y="503"/>
                  </a:lnTo>
                  <a:lnTo>
                    <a:pt x="1137" y="506"/>
                  </a:lnTo>
                  <a:lnTo>
                    <a:pt x="1137" y="507"/>
                  </a:lnTo>
                  <a:lnTo>
                    <a:pt x="1140" y="509"/>
                  </a:lnTo>
                  <a:lnTo>
                    <a:pt x="1142" y="511"/>
                  </a:lnTo>
                  <a:lnTo>
                    <a:pt x="1141" y="515"/>
                  </a:lnTo>
                  <a:lnTo>
                    <a:pt x="1140" y="517"/>
                  </a:lnTo>
                  <a:lnTo>
                    <a:pt x="1142" y="518"/>
                  </a:lnTo>
                  <a:lnTo>
                    <a:pt x="1145" y="519"/>
                  </a:lnTo>
                  <a:lnTo>
                    <a:pt x="1143" y="521"/>
                  </a:lnTo>
                  <a:lnTo>
                    <a:pt x="1143" y="525"/>
                  </a:lnTo>
                  <a:lnTo>
                    <a:pt x="1145" y="526"/>
                  </a:lnTo>
                  <a:lnTo>
                    <a:pt x="1145" y="526"/>
                  </a:lnTo>
                  <a:lnTo>
                    <a:pt x="1149" y="525"/>
                  </a:lnTo>
                  <a:lnTo>
                    <a:pt x="1149" y="528"/>
                  </a:lnTo>
                  <a:lnTo>
                    <a:pt x="1154" y="529"/>
                  </a:lnTo>
                  <a:lnTo>
                    <a:pt x="1155" y="529"/>
                  </a:lnTo>
                  <a:lnTo>
                    <a:pt x="1159" y="530"/>
                  </a:lnTo>
                  <a:lnTo>
                    <a:pt x="1161" y="532"/>
                  </a:lnTo>
                  <a:lnTo>
                    <a:pt x="1164" y="532"/>
                  </a:lnTo>
                  <a:lnTo>
                    <a:pt x="1167" y="532"/>
                  </a:lnTo>
                  <a:lnTo>
                    <a:pt x="1169" y="532"/>
                  </a:lnTo>
                  <a:lnTo>
                    <a:pt x="1172" y="532"/>
                  </a:lnTo>
                  <a:lnTo>
                    <a:pt x="1175" y="532"/>
                  </a:lnTo>
                  <a:lnTo>
                    <a:pt x="1180" y="533"/>
                  </a:lnTo>
                  <a:lnTo>
                    <a:pt x="1183" y="533"/>
                  </a:lnTo>
                  <a:lnTo>
                    <a:pt x="1184" y="535"/>
                  </a:lnTo>
                  <a:lnTo>
                    <a:pt x="1186" y="535"/>
                  </a:lnTo>
                  <a:lnTo>
                    <a:pt x="1189" y="535"/>
                  </a:lnTo>
                  <a:lnTo>
                    <a:pt x="1192" y="535"/>
                  </a:lnTo>
                  <a:lnTo>
                    <a:pt x="1195" y="536"/>
                  </a:lnTo>
                  <a:lnTo>
                    <a:pt x="1196" y="538"/>
                  </a:lnTo>
                  <a:lnTo>
                    <a:pt x="1198" y="541"/>
                  </a:lnTo>
                  <a:lnTo>
                    <a:pt x="1200" y="544"/>
                  </a:lnTo>
                  <a:lnTo>
                    <a:pt x="1203" y="545"/>
                  </a:lnTo>
                  <a:lnTo>
                    <a:pt x="1203" y="545"/>
                  </a:lnTo>
                  <a:lnTo>
                    <a:pt x="1205" y="549"/>
                  </a:lnTo>
                  <a:lnTo>
                    <a:pt x="1205" y="549"/>
                  </a:lnTo>
                  <a:lnTo>
                    <a:pt x="1205" y="551"/>
                  </a:lnTo>
                  <a:lnTo>
                    <a:pt x="1206" y="552"/>
                  </a:lnTo>
                  <a:lnTo>
                    <a:pt x="1209" y="554"/>
                  </a:lnTo>
                  <a:lnTo>
                    <a:pt x="1210" y="554"/>
                  </a:lnTo>
                  <a:lnTo>
                    <a:pt x="1209" y="554"/>
                  </a:lnTo>
                  <a:lnTo>
                    <a:pt x="1209" y="554"/>
                  </a:lnTo>
                  <a:lnTo>
                    <a:pt x="1206" y="554"/>
                  </a:lnTo>
                  <a:lnTo>
                    <a:pt x="1205" y="554"/>
                  </a:lnTo>
                  <a:lnTo>
                    <a:pt x="1205" y="559"/>
                  </a:lnTo>
                  <a:lnTo>
                    <a:pt x="1203" y="560"/>
                  </a:lnTo>
                  <a:lnTo>
                    <a:pt x="1200" y="559"/>
                  </a:lnTo>
                  <a:lnTo>
                    <a:pt x="1197" y="558"/>
                  </a:lnTo>
                  <a:lnTo>
                    <a:pt x="1195" y="556"/>
                  </a:lnTo>
                  <a:lnTo>
                    <a:pt x="1192" y="554"/>
                  </a:lnTo>
                  <a:lnTo>
                    <a:pt x="1192" y="552"/>
                  </a:lnTo>
                  <a:lnTo>
                    <a:pt x="1189" y="552"/>
                  </a:lnTo>
                  <a:lnTo>
                    <a:pt x="1189" y="552"/>
                  </a:lnTo>
                  <a:lnTo>
                    <a:pt x="1188" y="552"/>
                  </a:lnTo>
                  <a:lnTo>
                    <a:pt x="1187" y="549"/>
                  </a:lnTo>
                  <a:lnTo>
                    <a:pt x="1184" y="547"/>
                  </a:lnTo>
                  <a:lnTo>
                    <a:pt x="1181" y="547"/>
                  </a:lnTo>
                  <a:lnTo>
                    <a:pt x="1185" y="550"/>
                  </a:lnTo>
                  <a:lnTo>
                    <a:pt x="1186" y="552"/>
                  </a:lnTo>
                  <a:lnTo>
                    <a:pt x="1186" y="553"/>
                  </a:lnTo>
                  <a:lnTo>
                    <a:pt x="1187" y="555"/>
                  </a:lnTo>
                  <a:lnTo>
                    <a:pt x="1187" y="559"/>
                  </a:lnTo>
                  <a:lnTo>
                    <a:pt x="1185" y="561"/>
                  </a:lnTo>
                  <a:lnTo>
                    <a:pt x="1184" y="563"/>
                  </a:lnTo>
                  <a:lnTo>
                    <a:pt x="1181" y="567"/>
                  </a:lnTo>
                  <a:lnTo>
                    <a:pt x="1181" y="569"/>
                  </a:lnTo>
                  <a:lnTo>
                    <a:pt x="1181" y="577"/>
                  </a:lnTo>
                  <a:lnTo>
                    <a:pt x="1180" y="580"/>
                  </a:lnTo>
                  <a:lnTo>
                    <a:pt x="1177" y="581"/>
                  </a:lnTo>
                  <a:lnTo>
                    <a:pt x="1175" y="584"/>
                  </a:lnTo>
                  <a:lnTo>
                    <a:pt x="1172" y="585"/>
                  </a:lnTo>
                  <a:lnTo>
                    <a:pt x="1171" y="584"/>
                  </a:lnTo>
                  <a:lnTo>
                    <a:pt x="1171" y="581"/>
                  </a:lnTo>
                  <a:lnTo>
                    <a:pt x="1170" y="579"/>
                  </a:lnTo>
                  <a:lnTo>
                    <a:pt x="1169" y="573"/>
                  </a:lnTo>
                  <a:lnTo>
                    <a:pt x="1169" y="571"/>
                  </a:lnTo>
                  <a:lnTo>
                    <a:pt x="1167" y="568"/>
                  </a:lnTo>
                  <a:lnTo>
                    <a:pt x="1164" y="568"/>
                  </a:lnTo>
                  <a:lnTo>
                    <a:pt x="1161" y="569"/>
                  </a:lnTo>
                  <a:lnTo>
                    <a:pt x="1159" y="570"/>
                  </a:lnTo>
                  <a:lnTo>
                    <a:pt x="1158" y="572"/>
                  </a:lnTo>
                  <a:lnTo>
                    <a:pt x="1155" y="575"/>
                  </a:lnTo>
                  <a:lnTo>
                    <a:pt x="1152" y="575"/>
                  </a:lnTo>
                  <a:close/>
                  <a:moveTo>
                    <a:pt x="1218" y="589"/>
                  </a:moveTo>
                  <a:lnTo>
                    <a:pt x="1215" y="593"/>
                  </a:lnTo>
                  <a:lnTo>
                    <a:pt x="1213" y="594"/>
                  </a:lnTo>
                  <a:lnTo>
                    <a:pt x="1210" y="596"/>
                  </a:lnTo>
                  <a:lnTo>
                    <a:pt x="1209" y="597"/>
                  </a:lnTo>
                  <a:lnTo>
                    <a:pt x="1205" y="598"/>
                  </a:lnTo>
                  <a:lnTo>
                    <a:pt x="1205" y="598"/>
                  </a:lnTo>
                  <a:lnTo>
                    <a:pt x="1204" y="600"/>
                  </a:lnTo>
                  <a:lnTo>
                    <a:pt x="1201" y="601"/>
                  </a:lnTo>
                  <a:lnTo>
                    <a:pt x="1198" y="602"/>
                  </a:lnTo>
                  <a:lnTo>
                    <a:pt x="1198" y="602"/>
                  </a:lnTo>
                  <a:lnTo>
                    <a:pt x="1193" y="604"/>
                  </a:lnTo>
                  <a:lnTo>
                    <a:pt x="1191" y="605"/>
                  </a:lnTo>
                  <a:lnTo>
                    <a:pt x="1187" y="606"/>
                  </a:lnTo>
                  <a:lnTo>
                    <a:pt x="1185" y="607"/>
                  </a:lnTo>
                  <a:lnTo>
                    <a:pt x="1181" y="610"/>
                  </a:lnTo>
                  <a:lnTo>
                    <a:pt x="1177" y="610"/>
                  </a:lnTo>
                  <a:lnTo>
                    <a:pt x="1174" y="611"/>
                  </a:lnTo>
                  <a:lnTo>
                    <a:pt x="1171" y="611"/>
                  </a:lnTo>
                  <a:lnTo>
                    <a:pt x="1168" y="610"/>
                  </a:lnTo>
                  <a:lnTo>
                    <a:pt x="1166" y="611"/>
                  </a:lnTo>
                  <a:lnTo>
                    <a:pt x="1168" y="610"/>
                  </a:lnTo>
                  <a:lnTo>
                    <a:pt x="1166" y="610"/>
                  </a:lnTo>
                  <a:lnTo>
                    <a:pt x="1160" y="606"/>
                  </a:lnTo>
                  <a:lnTo>
                    <a:pt x="1158" y="606"/>
                  </a:lnTo>
                  <a:lnTo>
                    <a:pt x="1158" y="606"/>
                  </a:lnTo>
                  <a:lnTo>
                    <a:pt x="1160" y="603"/>
                  </a:lnTo>
                  <a:lnTo>
                    <a:pt x="1161" y="601"/>
                  </a:lnTo>
                  <a:lnTo>
                    <a:pt x="1162" y="597"/>
                  </a:lnTo>
                  <a:lnTo>
                    <a:pt x="1163" y="596"/>
                  </a:lnTo>
                  <a:lnTo>
                    <a:pt x="1166" y="594"/>
                  </a:lnTo>
                  <a:lnTo>
                    <a:pt x="1167" y="592"/>
                  </a:lnTo>
                  <a:lnTo>
                    <a:pt x="1169" y="592"/>
                  </a:lnTo>
                  <a:lnTo>
                    <a:pt x="1169" y="593"/>
                  </a:lnTo>
                  <a:lnTo>
                    <a:pt x="1170" y="593"/>
                  </a:lnTo>
                  <a:lnTo>
                    <a:pt x="1172" y="596"/>
                  </a:lnTo>
                  <a:lnTo>
                    <a:pt x="1169" y="596"/>
                  </a:lnTo>
                  <a:lnTo>
                    <a:pt x="1167" y="596"/>
                  </a:lnTo>
                  <a:lnTo>
                    <a:pt x="1163" y="596"/>
                  </a:lnTo>
                  <a:lnTo>
                    <a:pt x="1163" y="596"/>
                  </a:lnTo>
                  <a:lnTo>
                    <a:pt x="1162" y="600"/>
                  </a:lnTo>
                  <a:lnTo>
                    <a:pt x="1166" y="602"/>
                  </a:lnTo>
                  <a:lnTo>
                    <a:pt x="1168" y="601"/>
                  </a:lnTo>
                  <a:lnTo>
                    <a:pt x="1170" y="602"/>
                  </a:lnTo>
                  <a:lnTo>
                    <a:pt x="1172" y="600"/>
                  </a:lnTo>
                  <a:lnTo>
                    <a:pt x="1175" y="598"/>
                  </a:lnTo>
                  <a:lnTo>
                    <a:pt x="1178" y="597"/>
                  </a:lnTo>
                  <a:lnTo>
                    <a:pt x="1180" y="595"/>
                  </a:lnTo>
                  <a:lnTo>
                    <a:pt x="1183" y="593"/>
                  </a:lnTo>
                  <a:lnTo>
                    <a:pt x="1186" y="592"/>
                  </a:lnTo>
                  <a:lnTo>
                    <a:pt x="1188" y="590"/>
                  </a:lnTo>
                  <a:lnTo>
                    <a:pt x="1191" y="590"/>
                  </a:lnTo>
                  <a:lnTo>
                    <a:pt x="1194" y="590"/>
                  </a:lnTo>
                  <a:lnTo>
                    <a:pt x="1196" y="592"/>
                  </a:lnTo>
                  <a:lnTo>
                    <a:pt x="1200" y="592"/>
                  </a:lnTo>
                  <a:lnTo>
                    <a:pt x="1202" y="593"/>
                  </a:lnTo>
                  <a:lnTo>
                    <a:pt x="1200" y="592"/>
                  </a:lnTo>
                  <a:lnTo>
                    <a:pt x="1202" y="589"/>
                  </a:lnTo>
                  <a:lnTo>
                    <a:pt x="1204" y="588"/>
                  </a:lnTo>
                  <a:lnTo>
                    <a:pt x="1205" y="588"/>
                  </a:lnTo>
                  <a:lnTo>
                    <a:pt x="1207" y="588"/>
                  </a:lnTo>
                  <a:lnTo>
                    <a:pt x="1211" y="587"/>
                  </a:lnTo>
                  <a:lnTo>
                    <a:pt x="1211" y="587"/>
                  </a:lnTo>
                  <a:lnTo>
                    <a:pt x="1213" y="587"/>
                  </a:lnTo>
                  <a:lnTo>
                    <a:pt x="1215" y="587"/>
                  </a:lnTo>
                  <a:lnTo>
                    <a:pt x="1218" y="587"/>
                  </a:lnTo>
                  <a:lnTo>
                    <a:pt x="1220" y="586"/>
                  </a:lnTo>
                  <a:lnTo>
                    <a:pt x="1218" y="584"/>
                  </a:lnTo>
                  <a:lnTo>
                    <a:pt x="1218" y="584"/>
                  </a:lnTo>
                  <a:lnTo>
                    <a:pt x="1220" y="585"/>
                  </a:lnTo>
                  <a:lnTo>
                    <a:pt x="1220" y="587"/>
                  </a:lnTo>
                  <a:lnTo>
                    <a:pt x="1218" y="589"/>
                  </a:lnTo>
                  <a:close/>
                  <a:moveTo>
                    <a:pt x="1261" y="563"/>
                  </a:moveTo>
                  <a:lnTo>
                    <a:pt x="1255" y="567"/>
                  </a:lnTo>
                  <a:lnTo>
                    <a:pt x="1256" y="569"/>
                  </a:lnTo>
                  <a:lnTo>
                    <a:pt x="1258" y="568"/>
                  </a:lnTo>
                  <a:lnTo>
                    <a:pt x="1260" y="568"/>
                  </a:lnTo>
                  <a:lnTo>
                    <a:pt x="1256" y="570"/>
                  </a:lnTo>
                  <a:lnTo>
                    <a:pt x="1257" y="573"/>
                  </a:lnTo>
                  <a:lnTo>
                    <a:pt x="1256" y="576"/>
                  </a:lnTo>
                  <a:lnTo>
                    <a:pt x="1254" y="576"/>
                  </a:lnTo>
                  <a:lnTo>
                    <a:pt x="1253" y="577"/>
                  </a:lnTo>
                  <a:lnTo>
                    <a:pt x="1251" y="579"/>
                  </a:lnTo>
                  <a:lnTo>
                    <a:pt x="1247" y="580"/>
                  </a:lnTo>
                  <a:lnTo>
                    <a:pt x="1245" y="580"/>
                  </a:lnTo>
                  <a:lnTo>
                    <a:pt x="1243" y="580"/>
                  </a:lnTo>
                  <a:lnTo>
                    <a:pt x="1239" y="580"/>
                  </a:lnTo>
                  <a:lnTo>
                    <a:pt x="1237" y="580"/>
                  </a:lnTo>
                  <a:lnTo>
                    <a:pt x="1231" y="579"/>
                  </a:lnTo>
                  <a:lnTo>
                    <a:pt x="1226" y="579"/>
                  </a:lnTo>
                  <a:lnTo>
                    <a:pt x="1223" y="579"/>
                  </a:lnTo>
                  <a:lnTo>
                    <a:pt x="1220" y="580"/>
                  </a:lnTo>
                  <a:lnTo>
                    <a:pt x="1218" y="580"/>
                  </a:lnTo>
                  <a:lnTo>
                    <a:pt x="1215" y="581"/>
                  </a:lnTo>
                  <a:lnTo>
                    <a:pt x="1212" y="581"/>
                  </a:lnTo>
                  <a:lnTo>
                    <a:pt x="1210" y="581"/>
                  </a:lnTo>
                  <a:lnTo>
                    <a:pt x="1210" y="578"/>
                  </a:lnTo>
                  <a:lnTo>
                    <a:pt x="1211" y="576"/>
                  </a:lnTo>
                  <a:lnTo>
                    <a:pt x="1219" y="571"/>
                  </a:lnTo>
                  <a:lnTo>
                    <a:pt x="1221" y="570"/>
                  </a:lnTo>
                  <a:lnTo>
                    <a:pt x="1224" y="570"/>
                  </a:lnTo>
                  <a:lnTo>
                    <a:pt x="1227" y="570"/>
                  </a:lnTo>
                  <a:lnTo>
                    <a:pt x="1229" y="569"/>
                  </a:lnTo>
                  <a:lnTo>
                    <a:pt x="1232" y="569"/>
                  </a:lnTo>
                  <a:lnTo>
                    <a:pt x="1235" y="568"/>
                  </a:lnTo>
                  <a:lnTo>
                    <a:pt x="1238" y="568"/>
                  </a:lnTo>
                  <a:lnTo>
                    <a:pt x="1240" y="569"/>
                  </a:lnTo>
                  <a:lnTo>
                    <a:pt x="1243" y="570"/>
                  </a:lnTo>
                  <a:lnTo>
                    <a:pt x="1246" y="570"/>
                  </a:lnTo>
                  <a:lnTo>
                    <a:pt x="1247" y="568"/>
                  </a:lnTo>
                  <a:lnTo>
                    <a:pt x="1245" y="568"/>
                  </a:lnTo>
                  <a:lnTo>
                    <a:pt x="1243" y="567"/>
                  </a:lnTo>
                  <a:lnTo>
                    <a:pt x="1238" y="567"/>
                  </a:lnTo>
                  <a:lnTo>
                    <a:pt x="1241" y="566"/>
                  </a:lnTo>
                  <a:lnTo>
                    <a:pt x="1246" y="566"/>
                  </a:lnTo>
                  <a:lnTo>
                    <a:pt x="1249" y="566"/>
                  </a:lnTo>
                  <a:lnTo>
                    <a:pt x="1252" y="564"/>
                  </a:lnTo>
                  <a:lnTo>
                    <a:pt x="1255" y="563"/>
                  </a:lnTo>
                  <a:lnTo>
                    <a:pt x="1257" y="563"/>
                  </a:lnTo>
                  <a:lnTo>
                    <a:pt x="1260" y="562"/>
                  </a:lnTo>
                  <a:lnTo>
                    <a:pt x="1263" y="560"/>
                  </a:lnTo>
                  <a:lnTo>
                    <a:pt x="1263" y="560"/>
                  </a:lnTo>
                  <a:lnTo>
                    <a:pt x="1261" y="5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0" name="Freeform 220">
              <a:extLst>
                <a:ext uri="{FF2B5EF4-FFF2-40B4-BE49-F238E27FC236}">
                  <a16:creationId xmlns:a16="http://schemas.microsoft.com/office/drawing/2014/main" id="{9642CEA9-EB30-4925-84F8-17AACF9CF1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6500" y="2101850"/>
              <a:ext cx="4141787" cy="160338"/>
            </a:xfrm>
            <a:custGeom>
              <a:avLst/>
              <a:gdLst>
                <a:gd name="T0" fmla="*/ 103 w 2609"/>
                <a:gd name="T1" fmla="*/ 28 h 101"/>
                <a:gd name="T2" fmla="*/ 111 w 2609"/>
                <a:gd name="T3" fmla="*/ 41 h 101"/>
                <a:gd name="T4" fmla="*/ 110 w 2609"/>
                <a:gd name="T5" fmla="*/ 32 h 101"/>
                <a:gd name="T6" fmla="*/ 125 w 2609"/>
                <a:gd name="T7" fmla="*/ 36 h 101"/>
                <a:gd name="T8" fmla="*/ 128 w 2609"/>
                <a:gd name="T9" fmla="*/ 42 h 101"/>
                <a:gd name="T10" fmla="*/ 134 w 2609"/>
                <a:gd name="T11" fmla="*/ 49 h 101"/>
                <a:gd name="T12" fmla="*/ 133 w 2609"/>
                <a:gd name="T13" fmla="*/ 57 h 101"/>
                <a:gd name="T14" fmla="*/ 147 w 2609"/>
                <a:gd name="T15" fmla="*/ 61 h 101"/>
                <a:gd name="T16" fmla="*/ 160 w 2609"/>
                <a:gd name="T17" fmla="*/ 64 h 101"/>
                <a:gd name="T18" fmla="*/ 143 w 2609"/>
                <a:gd name="T19" fmla="*/ 72 h 101"/>
                <a:gd name="T20" fmla="*/ 132 w 2609"/>
                <a:gd name="T21" fmla="*/ 79 h 101"/>
                <a:gd name="T22" fmla="*/ 120 w 2609"/>
                <a:gd name="T23" fmla="*/ 78 h 101"/>
                <a:gd name="T24" fmla="*/ 117 w 2609"/>
                <a:gd name="T25" fmla="*/ 83 h 101"/>
                <a:gd name="T26" fmla="*/ 113 w 2609"/>
                <a:gd name="T27" fmla="*/ 87 h 101"/>
                <a:gd name="T28" fmla="*/ 105 w 2609"/>
                <a:gd name="T29" fmla="*/ 100 h 101"/>
                <a:gd name="T30" fmla="*/ 93 w 2609"/>
                <a:gd name="T31" fmla="*/ 93 h 101"/>
                <a:gd name="T32" fmla="*/ 88 w 2609"/>
                <a:gd name="T33" fmla="*/ 95 h 101"/>
                <a:gd name="T34" fmla="*/ 85 w 2609"/>
                <a:gd name="T35" fmla="*/ 101 h 101"/>
                <a:gd name="T36" fmla="*/ 66 w 2609"/>
                <a:gd name="T37" fmla="*/ 98 h 101"/>
                <a:gd name="T38" fmla="*/ 53 w 2609"/>
                <a:gd name="T39" fmla="*/ 91 h 101"/>
                <a:gd name="T40" fmla="*/ 70 w 2609"/>
                <a:gd name="T41" fmla="*/ 88 h 101"/>
                <a:gd name="T42" fmla="*/ 53 w 2609"/>
                <a:gd name="T43" fmla="*/ 86 h 101"/>
                <a:gd name="T44" fmla="*/ 45 w 2609"/>
                <a:gd name="T45" fmla="*/ 83 h 101"/>
                <a:gd name="T46" fmla="*/ 39 w 2609"/>
                <a:gd name="T47" fmla="*/ 80 h 101"/>
                <a:gd name="T48" fmla="*/ 46 w 2609"/>
                <a:gd name="T49" fmla="*/ 70 h 101"/>
                <a:gd name="T50" fmla="*/ 63 w 2609"/>
                <a:gd name="T51" fmla="*/ 70 h 101"/>
                <a:gd name="T52" fmla="*/ 79 w 2609"/>
                <a:gd name="T53" fmla="*/ 69 h 101"/>
                <a:gd name="T54" fmla="*/ 71 w 2609"/>
                <a:gd name="T55" fmla="*/ 68 h 101"/>
                <a:gd name="T56" fmla="*/ 59 w 2609"/>
                <a:gd name="T57" fmla="*/ 66 h 101"/>
                <a:gd name="T58" fmla="*/ 76 w 2609"/>
                <a:gd name="T59" fmla="*/ 63 h 101"/>
                <a:gd name="T60" fmla="*/ 58 w 2609"/>
                <a:gd name="T61" fmla="*/ 62 h 101"/>
                <a:gd name="T62" fmla="*/ 49 w 2609"/>
                <a:gd name="T63" fmla="*/ 64 h 101"/>
                <a:gd name="T64" fmla="*/ 36 w 2609"/>
                <a:gd name="T65" fmla="*/ 66 h 101"/>
                <a:gd name="T66" fmla="*/ 23 w 2609"/>
                <a:gd name="T67" fmla="*/ 67 h 101"/>
                <a:gd name="T68" fmla="*/ 17 w 2609"/>
                <a:gd name="T69" fmla="*/ 58 h 101"/>
                <a:gd name="T70" fmla="*/ 30 w 2609"/>
                <a:gd name="T71" fmla="*/ 52 h 101"/>
                <a:gd name="T72" fmla="*/ 13 w 2609"/>
                <a:gd name="T73" fmla="*/ 55 h 101"/>
                <a:gd name="T74" fmla="*/ 4 w 2609"/>
                <a:gd name="T75" fmla="*/ 46 h 101"/>
                <a:gd name="T76" fmla="*/ 6 w 2609"/>
                <a:gd name="T77" fmla="*/ 41 h 101"/>
                <a:gd name="T78" fmla="*/ 23 w 2609"/>
                <a:gd name="T79" fmla="*/ 43 h 101"/>
                <a:gd name="T80" fmla="*/ 29 w 2609"/>
                <a:gd name="T81" fmla="*/ 40 h 101"/>
                <a:gd name="T82" fmla="*/ 23 w 2609"/>
                <a:gd name="T83" fmla="*/ 40 h 101"/>
                <a:gd name="T84" fmla="*/ 17 w 2609"/>
                <a:gd name="T85" fmla="*/ 37 h 101"/>
                <a:gd name="T86" fmla="*/ 0 w 2609"/>
                <a:gd name="T87" fmla="*/ 34 h 101"/>
                <a:gd name="T88" fmla="*/ 17 w 2609"/>
                <a:gd name="T89" fmla="*/ 33 h 101"/>
                <a:gd name="T90" fmla="*/ 19 w 2609"/>
                <a:gd name="T91" fmla="*/ 26 h 101"/>
                <a:gd name="T92" fmla="*/ 38 w 2609"/>
                <a:gd name="T93" fmla="*/ 26 h 101"/>
                <a:gd name="T94" fmla="*/ 37 w 2609"/>
                <a:gd name="T95" fmla="*/ 21 h 101"/>
                <a:gd name="T96" fmla="*/ 21 w 2609"/>
                <a:gd name="T97" fmla="*/ 19 h 101"/>
                <a:gd name="T98" fmla="*/ 31 w 2609"/>
                <a:gd name="T99" fmla="*/ 14 h 101"/>
                <a:gd name="T100" fmla="*/ 41 w 2609"/>
                <a:gd name="T101" fmla="*/ 9 h 101"/>
                <a:gd name="T102" fmla="*/ 43 w 2609"/>
                <a:gd name="T103" fmla="*/ 6 h 101"/>
                <a:gd name="T104" fmla="*/ 36 w 2609"/>
                <a:gd name="T105" fmla="*/ 1 h 101"/>
                <a:gd name="T106" fmla="*/ 56 w 2609"/>
                <a:gd name="T107" fmla="*/ 3 h 101"/>
                <a:gd name="T108" fmla="*/ 71 w 2609"/>
                <a:gd name="T109" fmla="*/ 14 h 101"/>
                <a:gd name="T110" fmla="*/ 83 w 2609"/>
                <a:gd name="T111" fmla="*/ 26 h 101"/>
                <a:gd name="T112" fmla="*/ 2573 w 2609"/>
                <a:gd name="T113" fmla="*/ 43 h 101"/>
                <a:gd name="T114" fmla="*/ 2584 w 2609"/>
                <a:gd name="T115" fmla="*/ 43 h 101"/>
                <a:gd name="T116" fmla="*/ 2601 w 2609"/>
                <a:gd name="T117" fmla="*/ 44 h 101"/>
                <a:gd name="T118" fmla="*/ 2601 w 2609"/>
                <a:gd name="T119" fmla="*/ 52 h 101"/>
                <a:gd name="T120" fmla="*/ 2583 w 2609"/>
                <a:gd name="T121" fmla="*/ 53 h 101"/>
                <a:gd name="T122" fmla="*/ 2577 w 2609"/>
                <a:gd name="T123" fmla="*/ 5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9" h="101">
                  <a:moveTo>
                    <a:pt x="92" y="27"/>
                  </a:moveTo>
                  <a:lnTo>
                    <a:pt x="92" y="27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101" y="27"/>
                  </a:lnTo>
                  <a:lnTo>
                    <a:pt x="103" y="28"/>
                  </a:lnTo>
                  <a:lnTo>
                    <a:pt x="102" y="32"/>
                  </a:lnTo>
                  <a:lnTo>
                    <a:pt x="103" y="34"/>
                  </a:lnTo>
                  <a:lnTo>
                    <a:pt x="103" y="37"/>
                  </a:lnTo>
                  <a:lnTo>
                    <a:pt x="106" y="38"/>
                  </a:lnTo>
                  <a:lnTo>
                    <a:pt x="109" y="40"/>
                  </a:lnTo>
                  <a:lnTo>
                    <a:pt x="111" y="41"/>
                  </a:lnTo>
                  <a:lnTo>
                    <a:pt x="115" y="40"/>
                  </a:lnTo>
                  <a:lnTo>
                    <a:pt x="117" y="41"/>
                  </a:lnTo>
                  <a:lnTo>
                    <a:pt x="116" y="38"/>
                  </a:lnTo>
                  <a:lnTo>
                    <a:pt x="113" y="37"/>
                  </a:lnTo>
                  <a:lnTo>
                    <a:pt x="110" y="35"/>
                  </a:lnTo>
                  <a:lnTo>
                    <a:pt x="110" y="32"/>
                  </a:lnTo>
                  <a:lnTo>
                    <a:pt x="114" y="31"/>
                  </a:lnTo>
                  <a:lnTo>
                    <a:pt x="116" y="31"/>
                  </a:lnTo>
                  <a:lnTo>
                    <a:pt x="119" y="31"/>
                  </a:lnTo>
                  <a:lnTo>
                    <a:pt x="122" y="32"/>
                  </a:lnTo>
                  <a:lnTo>
                    <a:pt x="125" y="33"/>
                  </a:lnTo>
                  <a:lnTo>
                    <a:pt x="125" y="36"/>
                  </a:lnTo>
                  <a:lnTo>
                    <a:pt x="125" y="38"/>
                  </a:lnTo>
                  <a:lnTo>
                    <a:pt x="123" y="40"/>
                  </a:lnTo>
                  <a:lnTo>
                    <a:pt x="119" y="41"/>
                  </a:lnTo>
                  <a:lnTo>
                    <a:pt x="123" y="42"/>
                  </a:lnTo>
                  <a:lnTo>
                    <a:pt x="125" y="42"/>
                  </a:lnTo>
                  <a:lnTo>
                    <a:pt x="128" y="42"/>
                  </a:lnTo>
                  <a:lnTo>
                    <a:pt x="131" y="44"/>
                  </a:lnTo>
                  <a:lnTo>
                    <a:pt x="133" y="46"/>
                  </a:lnTo>
                  <a:lnTo>
                    <a:pt x="131" y="46"/>
                  </a:lnTo>
                  <a:lnTo>
                    <a:pt x="127" y="50"/>
                  </a:lnTo>
                  <a:lnTo>
                    <a:pt x="131" y="49"/>
                  </a:lnTo>
                  <a:lnTo>
                    <a:pt x="134" y="49"/>
                  </a:lnTo>
                  <a:lnTo>
                    <a:pt x="132" y="51"/>
                  </a:lnTo>
                  <a:lnTo>
                    <a:pt x="132" y="53"/>
                  </a:lnTo>
                  <a:lnTo>
                    <a:pt x="130" y="57"/>
                  </a:lnTo>
                  <a:lnTo>
                    <a:pt x="127" y="59"/>
                  </a:lnTo>
                  <a:lnTo>
                    <a:pt x="131" y="59"/>
                  </a:lnTo>
                  <a:lnTo>
                    <a:pt x="133" y="57"/>
                  </a:lnTo>
                  <a:lnTo>
                    <a:pt x="136" y="57"/>
                  </a:lnTo>
                  <a:lnTo>
                    <a:pt x="139" y="55"/>
                  </a:lnTo>
                  <a:lnTo>
                    <a:pt x="142" y="55"/>
                  </a:lnTo>
                  <a:lnTo>
                    <a:pt x="144" y="57"/>
                  </a:lnTo>
                  <a:lnTo>
                    <a:pt x="145" y="59"/>
                  </a:lnTo>
                  <a:lnTo>
                    <a:pt x="147" y="61"/>
                  </a:lnTo>
                  <a:lnTo>
                    <a:pt x="149" y="59"/>
                  </a:lnTo>
                  <a:lnTo>
                    <a:pt x="150" y="57"/>
                  </a:lnTo>
                  <a:lnTo>
                    <a:pt x="153" y="58"/>
                  </a:lnTo>
                  <a:lnTo>
                    <a:pt x="154" y="60"/>
                  </a:lnTo>
                  <a:lnTo>
                    <a:pt x="158" y="63"/>
                  </a:lnTo>
                  <a:lnTo>
                    <a:pt x="160" y="64"/>
                  </a:lnTo>
                  <a:lnTo>
                    <a:pt x="161" y="67"/>
                  </a:lnTo>
                  <a:lnTo>
                    <a:pt x="158" y="68"/>
                  </a:lnTo>
                  <a:lnTo>
                    <a:pt x="156" y="69"/>
                  </a:lnTo>
                  <a:lnTo>
                    <a:pt x="152" y="70"/>
                  </a:lnTo>
                  <a:lnTo>
                    <a:pt x="150" y="71"/>
                  </a:lnTo>
                  <a:lnTo>
                    <a:pt x="143" y="72"/>
                  </a:lnTo>
                  <a:lnTo>
                    <a:pt x="141" y="74"/>
                  </a:lnTo>
                  <a:lnTo>
                    <a:pt x="139" y="76"/>
                  </a:lnTo>
                  <a:lnTo>
                    <a:pt x="136" y="76"/>
                  </a:lnTo>
                  <a:lnTo>
                    <a:pt x="133" y="74"/>
                  </a:lnTo>
                  <a:lnTo>
                    <a:pt x="134" y="77"/>
                  </a:lnTo>
                  <a:lnTo>
                    <a:pt x="132" y="79"/>
                  </a:lnTo>
                  <a:lnTo>
                    <a:pt x="128" y="81"/>
                  </a:lnTo>
                  <a:lnTo>
                    <a:pt x="126" y="84"/>
                  </a:lnTo>
                  <a:lnTo>
                    <a:pt x="124" y="86"/>
                  </a:lnTo>
                  <a:lnTo>
                    <a:pt x="122" y="84"/>
                  </a:lnTo>
                  <a:lnTo>
                    <a:pt x="119" y="81"/>
                  </a:lnTo>
                  <a:lnTo>
                    <a:pt x="120" y="78"/>
                  </a:lnTo>
                  <a:lnTo>
                    <a:pt x="120" y="76"/>
                  </a:lnTo>
                  <a:lnTo>
                    <a:pt x="123" y="74"/>
                  </a:lnTo>
                  <a:lnTo>
                    <a:pt x="119" y="75"/>
                  </a:lnTo>
                  <a:lnTo>
                    <a:pt x="117" y="77"/>
                  </a:lnTo>
                  <a:lnTo>
                    <a:pt x="116" y="80"/>
                  </a:lnTo>
                  <a:lnTo>
                    <a:pt x="117" y="83"/>
                  </a:lnTo>
                  <a:lnTo>
                    <a:pt x="117" y="85"/>
                  </a:lnTo>
                  <a:lnTo>
                    <a:pt x="120" y="86"/>
                  </a:lnTo>
                  <a:lnTo>
                    <a:pt x="120" y="89"/>
                  </a:lnTo>
                  <a:lnTo>
                    <a:pt x="118" y="91"/>
                  </a:lnTo>
                  <a:lnTo>
                    <a:pt x="115" y="91"/>
                  </a:lnTo>
                  <a:lnTo>
                    <a:pt x="113" y="87"/>
                  </a:lnTo>
                  <a:lnTo>
                    <a:pt x="109" y="89"/>
                  </a:lnTo>
                  <a:lnTo>
                    <a:pt x="113" y="92"/>
                  </a:lnTo>
                  <a:lnTo>
                    <a:pt x="111" y="95"/>
                  </a:lnTo>
                  <a:lnTo>
                    <a:pt x="110" y="97"/>
                  </a:lnTo>
                  <a:lnTo>
                    <a:pt x="108" y="101"/>
                  </a:lnTo>
                  <a:lnTo>
                    <a:pt x="105" y="100"/>
                  </a:lnTo>
                  <a:lnTo>
                    <a:pt x="100" y="94"/>
                  </a:lnTo>
                  <a:lnTo>
                    <a:pt x="97" y="92"/>
                  </a:lnTo>
                  <a:lnTo>
                    <a:pt x="92" y="87"/>
                  </a:lnTo>
                  <a:lnTo>
                    <a:pt x="91" y="88"/>
                  </a:lnTo>
                  <a:lnTo>
                    <a:pt x="92" y="91"/>
                  </a:lnTo>
                  <a:lnTo>
                    <a:pt x="93" y="93"/>
                  </a:lnTo>
                  <a:lnTo>
                    <a:pt x="97" y="95"/>
                  </a:lnTo>
                  <a:lnTo>
                    <a:pt x="98" y="97"/>
                  </a:lnTo>
                  <a:lnTo>
                    <a:pt x="98" y="101"/>
                  </a:lnTo>
                  <a:lnTo>
                    <a:pt x="92" y="96"/>
                  </a:lnTo>
                  <a:lnTo>
                    <a:pt x="90" y="95"/>
                  </a:lnTo>
                  <a:lnTo>
                    <a:pt x="88" y="95"/>
                  </a:lnTo>
                  <a:lnTo>
                    <a:pt x="84" y="95"/>
                  </a:lnTo>
                  <a:lnTo>
                    <a:pt x="82" y="95"/>
                  </a:lnTo>
                  <a:lnTo>
                    <a:pt x="84" y="96"/>
                  </a:lnTo>
                  <a:lnTo>
                    <a:pt x="88" y="97"/>
                  </a:lnTo>
                  <a:lnTo>
                    <a:pt x="89" y="100"/>
                  </a:lnTo>
                  <a:lnTo>
                    <a:pt x="85" y="101"/>
                  </a:lnTo>
                  <a:lnTo>
                    <a:pt x="80" y="101"/>
                  </a:lnTo>
                  <a:lnTo>
                    <a:pt x="77" y="100"/>
                  </a:lnTo>
                  <a:lnTo>
                    <a:pt x="74" y="100"/>
                  </a:lnTo>
                  <a:lnTo>
                    <a:pt x="72" y="100"/>
                  </a:lnTo>
                  <a:lnTo>
                    <a:pt x="68" y="98"/>
                  </a:lnTo>
                  <a:lnTo>
                    <a:pt x="66" y="98"/>
                  </a:lnTo>
                  <a:lnTo>
                    <a:pt x="63" y="98"/>
                  </a:lnTo>
                  <a:lnTo>
                    <a:pt x="62" y="95"/>
                  </a:lnTo>
                  <a:lnTo>
                    <a:pt x="59" y="96"/>
                  </a:lnTo>
                  <a:lnTo>
                    <a:pt x="56" y="94"/>
                  </a:lnTo>
                  <a:lnTo>
                    <a:pt x="54" y="93"/>
                  </a:lnTo>
                  <a:lnTo>
                    <a:pt x="53" y="91"/>
                  </a:lnTo>
                  <a:lnTo>
                    <a:pt x="55" y="91"/>
                  </a:lnTo>
                  <a:lnTo>
                    <a:pt x="58" y="89"/>
                  </a:lnTo>
                  <a:lnTo>
                    <a:pt x="62" y="89"/>
                  </a:lnTo>
                  <a:lnTo>
                    <a:pt x="64" y="89"/>
                  </a:lnTo>
                  <a:lnTo>
                    <a:pt x="67" y="88"/>
                  </a:lnTo>
                  <a:lnTo>
                    <a:pt x="70" y="88"/>
                  </a:lnTo>
                  <a:lnTo>
                    <a:pt x="67" y="88"/>
                  </a:lnTo>
                  <a:lnTo>
                    <a:pt x="64" y="87"/>
                  </a:lnTo>
                  <a:lnTo>
                    <a:pt x="62" y="87"/>
                  </a:lnTo>
                  <a:lnTo>
                    <a:pt x="58" y="87"/>
                  </a:lnTo>
                  <a:lnTo>
                    <a:pt x="56" y="87"/>
                  </a:lnTo>
                  <a:lnTo>
                    <a:pt x="53" y="86"/>
                  </a:lnTo>
                  <a:lnTo>
                    <a:pt x="50" y="87"/>
                  </a:lnTo>
                  <a:lnTo>
                    <a:pt x="47" y="87"/>
                  </a:lnTo>
                  <a:lnTo>
                    <a:pt x="46" y="85"/>
                  </a:lnTo>
                  <a:lnTo>
                    <a:pt x="43" y="85"/>
                  </a:lnTo>
                  <a:lnTo>
                    <a:pt x="41" y="81"/>
                  </a:lnTo>
                  <a:lnTo>
                    <a:pt x="45" y="83"/>
                  </a:lnTo>
                  <a:lnTo>
                    <a:pt x="48" y="83"/>
                  </a:lnTo>
                  <a:lnTo>
                    <a:pt x="50" y="83"/>
                  </a:lnTo>
                  <a:lnTo>
                    <a:pt x="48" y="81"/>
                  </a:lnTo>
                  <a:lnTo>
                    <a:pt x="45" y="80"/>
                  </a:lnTo>
                  <a:lnTo>
                    <a:pt x="42" y="80"/>
                  </a:lnTo>
                  <a:lnTo>
                    <a:pt x="39" y="80"/>
                  </a:lnTo>
                  <a:lnTo>
                    <a:pt x="37" y="78"/>
                  </a:lnTo>
                  <a:lnTo>
                    <a:pt x="34" y="75"/>
                  </a:lnTo>
                  <a:lnTo>
                    <a:pt x="37" y="75"/>
                  </a:lnTo>
                  <a:lnTo>
                    <a:pt x="40" y="74"/>
                  </a:lnTo>
                  <a:lnTo>
                    <a:pt x="43" y="74"/>
                  </a:lnTo>
                  <a:lnTo>
                    <a:pt x="46" y="70"/>
                  </a:lnTo>
                  <a:lnTo>
                    <a:pt x="48" y="70"/>
                  </a:lnTo>
                  <a:lnTo>
                    <a:pt x="51" y="70"/>
                  </a:lnTo>
                  <a:lnTo>
                    <a:pt x="54" y="70"/>
                  </a:lnTo>
                  <a:lnTo>
                    <a:pt x="57" y="70"/>
                  </a:lnTo>
                  <a:lnTo>
                    <a:pt x="59" y="70"/>
                  </a:lnTo>
                  <a:lnTo>
                    <a:pt x="63" y="70"/>
                  </a:lnTo>
                  <a:lnTo>
                    <a:pt x="65" y="70"/>
                  </a:lnTo>
                  <a:lnTo>
                    <a:pt x="68" y="70"/>
                  </a:lnTo>
                  <a:lnTo>
                    <a:pt x="71" y="69"/>
                  </a:lnTo>
                  <a:lnTo>
                    <a:pt x="73" y="69"/>
                  </a:lnTo>
                  <a:lnTo>
                    <a:pt x="76" y="69"/>
                  </a:lnTo>
                  <a:lnTo>
                    <a:pt x="79" y="69"/>
                  </a:lnTo>
                  <a:lnTo>
                    <a:pt x="82" y="69"/>
                  </a:lnTo>
                  <a:lnTo>
                    <a:pt x="84" y="68"/>
                  </a:lnTo>
                  <a:lnTo>
                    <a:pt x="82" y="68"/>
                  </a:lnTo>
                  <a:lnTo>
                    <a:pt x="76" y="68"/>
                  </a:lnTo>
                  <a:lnTo>
                    <a:pt x="73" y="68"/>
                  </a:lnTo>
                  <a:lnTo>
                    <a:pt x="71" y="68"/>
                  </a:lnTo>
                  <a:lnTo>
                    <a:pt x="67" y="69"/>
                  </a:lnTo>
                  <a:lnTo>
                    <a:pt x="65" y="69"/>
                  </a:lnTo>
                  <a:lnTo>
                    <a:pt x="62" y="69"/>
                  </a:lnTo>
                  <a:lnTo>
                    <a:pt x="59" y="68"/>
                  </a:lnTo>
                  <a:lnTo>
                    <a:pt x="56" y="66"/>
                  </a:lnTo>
                  <a:lnTo>
                    <a:pt x="59" y="66"/>
                  </a:lnTo>
                  <a:lnTo>
                    <a:pt x="62" y="66"/>
                  </a:lnTo>
                  <a:lnTo>
                    <a:pt x="65" y="66"/>
                  </a:lnTo>
                  <a:lnTo>
                    <a:pt x="67" y="66"/>
                  </a:lnTo>
                  <a:lnTo>
                    <a:pt x="70" y="66"/>
                  </a:lnTo>
                  <a:lnTo>
                    <a:pt x="73" y="64"/>
                  </a:lnTo>
                  <a:lnTo>
                    <a:pt x="76" y="63"/>
                  </a:lnTo>
                  <a:lnTo>
                    <a:pt x="73" y="63"/>
                  </a:lnTo>
                  <a:lnTo>
                    <a:pt x="71" y="63"/>
                  </a:lnTo>
                  <a:lnTo>
                    <a:pt x="67" y="64"/>
                  </a:lnTo>
                  <a:lnTo>
                    <a:pt x="64" y="64"/>
                  </a:lnTo>
                  <a:lnTo>
                    <a:pt x="62" y="64"/>
                  </a:lnTo>
                  <a:lnTo>
                    <a:pt x="58" y="62"/>
                  </a:lnTo>
                  <a:lnTo>
                    <a:pt x="60" y="61"/>
                  </a:lnTo>
                  <a:lnTo>
                    <a:pt x="58" y="61"/>
                  </a:lnTo>
                  <a:lnTo>
                    <a:pt x="55" y="62"/>
                  </a:lnTo>
                  <a:lnTo>
                    <a:pt x="53" y="62"/>
                  </a:lnTo>
                  <a:lnTo>
                    <a:pt x="49" y="61"/>
                  </a:lnTo>
                  <a:lnTo>
                    <a:pt x="49" y="64"/>
                  </a:lnTo>
                  <a:lnTo>
                    <a:pt x="46" y="64"/>
                  </a:lnTo>
                  <a:lnTo>
                    <a:pt x="46" y="61"/>
                  </a:lnTo>
                  <a:lnTo>
                    <a:pt x="45" y="64"/>
                  </a:lnTo>
                  <a:lnTo>
                    <a:pt x="41" y="66"/>
                  </a:lnTo>
                  <a:lnTo>
                    <a:pt x="38" y="67"/>
                  </a:lnTo>
                  <a:lnTo>
                    <a:pt x="36" y="66"/>
                  </a:lnTo>
                  <a:lnTo>
                    <a:pt x="38" y="63"/>
                  </a:lnTo>
                  <a:lnTo>
                    <a:pt x="34" y="63"/>
                  </a:lnTo>
                  <a:lnTo>
                    <a:pt x="32" y="64"/>
                  </a:lnTo>
                  <a:lnTo>
                    <a:pt x="29" y="66"/>
                  </a:lnTo>
                  <a:lnTo>
                    <a:pt x="26" y="66"/>
                  </a:lnTo>
                  <a:lnTo>
                    <a:pt x="23" y="67"/>
                  </a:lnTo>
                  <a:lnTo>
                    <a:pt x="21" y="66"/>
                  </a:lnTo>
                  <a:lnTo>
                    <a:pt x="20" y="62"/>
                  </a:lnTo>
                  <a:lnTo>
                    <a:pt x="17" y="63"/>
                  </a:lnTo>
                  <a:lnTo>
                    <a:pt x="14" y="61"/>
                  </a:lnTo>
                  <a:lnTo>
                    <a:pt x="15" y="58"/>
                  </a:lnTo>
                  <a:lnTo>
                    <a:pt x="17" y="58"/>
                  </a:lnTo>
                  <a:lnTo>
                    <a:pt x="21" y="58"/>
                  </a:lnTo>
                  <a:lnTo>
                    <a:pt x="23" y="57"/>
                  </a:lnTo>
                  <a:lnTo>
                    <a:pt x="26" y="57"/>
                  </a:lnTo>
                  <a:lnTo>
                    <a:pt x="32" y="54"/>
                  </a:lnTo>
                  <a:lnTo>
                    <a:pt x="32" y="52"/>
                  </a:lnTo>
                  <a:lnTo>
                    <a:pt x="30" y="52"/>
                  </a:lnTo>
                  <a:lnTo>
                    <a:pt x="26" y="54"/>
                  </a:lnTo>
                  <a:lnTo>
                    <a:pt x="24" y="54"/>
                  </a:lnTo>
                  <a:lnTo>
                    <a:pt x="21" y="55"/>
                  </a:lnTo>
                  <a:lnTo>
                    <a:pt x="19" y="55"/>
                  </a:lnTo>
                  <a:lnTo>
                    <a:pt x="15" y="55"/>
                  </a:lnTo>
                  <a:lnTo>
                    <a:pt x="13" y="55"/>
                  </a:lnTo>
                  <a:lnTo>
                    <a:pt x="9" y="53"/>
                  </a:lnTo>
                  <a:lnTo>
                    <a:pt x="7" y="52"/>
                  </a:lnTo>
                  <a:lnTo>
                    <a:pt x="5" y="50"/>
                  </a:lnTo>
                  <a:lnTo>
                    <a:pt x="4" y="47"/>
                  </a:lnTo>
                  <a:lnTo>
                    <a:pt x="7" y="46"/>
                  </a:lnTo>
                  <a:lnTo>
                    <a:pt x="4" y="46"/>
                  </a:lnTo>
                  <a:lnTo>
                    <a:pt x="2" y="44"/>
                  </a:lnTo>
                  <a:lnTo>
                    <a:pt x="3" y="43"/>
                  </a:lnTo>
                  <a:lnTo>
                    <a:pt x="0" y="43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6" y="41"/>
                  </a:lnTo>
                  <a:lnTo>
                    <a:pt x="9" y="42"/>
                  </a:lnTo>
                  <a:lnTo>
                    <a:pt x="12" y="43"/>
                  </a:lnTo>
                  <a:lnTo>
                    <a:pt x="15" y="43"/>
                  </a:lnTo>
                  <a:lnTo>
                    <a:pt x="17" y="43"/>
                  </a:lnTo>
                  <a:lnTo>
                    <a:pt x="21" y="43"/>
                  </a:lnTo>
                  <a:lnTo>
                    <a:pt x="23" y="43"/>
                  </a:lnTo>
                  <a:lnTo>
                    <a:pt x="26" y="43"/>
                  </a:lnTo>
                  <a:lnTo>
                    <a:pt x="30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29" y="43"/>
                  </a:lnTo>
                  <a:lnTo>
                    <a:pt x="29" y="40"/>
                  </a:lnTo>
                  <a:lnTo>
                    <a:pt x="32" y="38"/>
                  </a:lnTo>
                  <a:lnTo>
                    <a:pt x="34" y="38"/>
                  </a:lnTo>
                  <a:lnTo>
                    <a:pt x="31" y="38"/>
                  </a:lnTo>
                  <a:lnTo>
                    <a:pt x="29" y="37"/>
                  </a:lnTo>
                  <a:lnTo>
                    <a:pt x="26" y="40"/>
                  </a:lnTo>
                  <a:lnTo>
                    <a:pt x="23" y="40"/>
                  </a:lnTo>
                  <a:lnTo>
                    <a:pt x="21" y="41"/>
                  </a:lnTo>
                  <a:lnTo>
                    <a:pt x="17" y="41"/>
                  </a:lnTo>
                  <a:lnTo>
                    <a:pt x="15" y="38"/>
                  </a:lnTo>
                  <a:lnTo>
                    <a:pt x="17" y="38"/>
                  </a:lnTo>
                  <a:lnTo>
                    <a:pt x="21" y="36"/>
                  </a:lnTo>
                  <a:lnTo>
                    <a:pt x="17" y="37"/>
                  </a:lnTo>
                  <a:lnTo>
                    <a:pt x="15" y="36"/>
                  </a:lnTo>
                  <a:lnTo>
                    <a:pt x="12" y="38"/>
                  </a:lnTo>
                  <a:lnTo>
                    <a:pt x="9" y="37"/>
                  </a:lnTo>
                  <a:lnTo>
                    <a:pt x="6" y="36"/>
                  </a:lnTo>
                  <a:lnTo>
                    <a:pt x="4" y="34"/>
                  </a:lnTo>
                  <a:lnTo>
                    <a:pt x="0" y="34"/>
                  </a:lnTo>
                  <a:lnTo>
                    <a:pt x="4" y="34"/>
                  </a:lnTo>
                  <a:lnTo>
                    <a:pt x="6" y="33"/>
                  </a:lnTo>
                  <a:lnTo>
                    <a:pt x="9" y="32"/>
                  </a:lnTo>
                  <a:lnTo>
                    <a:pt x="12" y="33"/>
                  </a:lnTo>
                  <a:lnTo>
                    <a:pt x="14" y="33"/>
                  </a:lnTo>
                  <a:lnTo>
                    <a:pt x="17" y="33"/>
                  </a:lnTo>
                  <a:lnTo>
                    <a:pt x="15" y="32"/>
                  </a:lnTo>
                  <a:lnTo>
                    <a:pt x="12" y="31"/>
                  </a:lnTo>
                  <a:lnTo>
                    <a:pt x="9" y="28"/>
                  </a:lnTo>
                  <a:lnTo>
                    <a:pt x="12" y="26"/>
                  </a:lnTo>
                  <a:lnTo>
                    <a:pt x="15" y="26"/>
                  </a:lnTo>
                  <a:lnTo>
                    <a:pt x="19" y="26"/>
                  </a:lnTo>
                  <a:lnTo>
                    <a:pt x="21" y="26"/>
                  </a:lnTo>
                  <a:lnTo>
                    <a:pt x="24" y="25"/>
                  </a:lnTo>
                  <a:lnTo>
                    <a:pt x="26" y="26"/>
                  </a:lnTo>
                  <a:lnTo>
                    <a:pt x="30" y="27"/>
                  </a:lnTo>
                  <a:lnTo>
                    <a:pt x="36" y="27"/>
                  </a:lnTo>
                  <a:lnTo>
                    <a:pt x="38" y="26"/>
                  </a:lnTo>
                  <a:lnTo>
                    <a:pt x="36" y="26"/>
                  </a:lnTo>
                  <a:lnTo>
                    <a:pt x="32" y="25"/>
                  </a:lnTo>
                  <a:lnTo>
                    <a:pt x="30" y="25"/>
                  </a:lnTo>
                  <a:lnTo>
                    <a:pt x="31" y="23"/>
                  </a:lnTo>
                  <a:lnTo>
                    <a:pt x="33" y="23"/>
                  </a:lnTo>
                  <a:lnTo>
                    <a:pt x="37" y="21"/>
                  </a:lnTo>
                  <a:lnTo>
                    <a:pt x="33" y="21"/>
                  </a:lnTo>
                  <a:lnTo>
                    <a:pt x="31" y="21"/>
                  </a:lnTo>
                  <a:lnTo>
                    <a:pt x="30" y="21"/>
                  </a:lnTo>
                  <a:lnTo>
                    <a:pt x="26" y="21"/>
                  </a:lnTo>
                  <a:lnTo>
                    <a:pt x="24" y="18"/>
                  </a:lnTo>
                  <a:lnTo>
                    <a:pt x="21" y="19"/>
                  </a:lnTo>
                  <a:lnTo>
                    <a:pt x="19" y="17"/>
                  </a:lnTo>
                  <a:lnTo>
                    <a:pt x="20" y="15"/>
                  </a:lnTo>
                  <a:lnTo>
                    <a:pt x="22" y="11"/>
                  </a:lnTo>
                  <a:lnTo>
                    <a:pt x="25" y="11"/>
                  </a:lnTo>
                  <a:lnTo>
                    <a:pt x="28" y="11"/>
                  </a:lnTo>
                  <a:lnTo>
                    <a:pt x="31" y="14"/>
                  </a:lnTo>
                  <a:lnTo>
                    <a:pt x="33" y="12"/>
                  </a:lnTo>
                  <a:lnTo>
                    <a:pt x="39" y="11"/>
                  </a:lnTo>
                  <a:lnTo>
                    <a:pt x="36" y="11"/>
                  </a:lnTo>
                  <a:lnTo>
                    <a:pt x="32" y="9"/>
                  </a:lnTo>
                  <a:lnTo>
                    <a:pt x="36" y="9"/>
                  </a:lnTo>
                  <a:lnTo>
                    <a:pt x="41" y="9"/>
                  </a:lnTo>
                  <a:lnTo>
                    <a:pt x="43" y="10"/>
                  </a:lnTo>
                  <a:lnTo>
                    <a:pt x="46" y="10"/>
                  </a:lnTo>
                  <a:lnTo>
                    <a:pt x="49" y="9"/>
                  </a:lnTo>
                  <a:lnTo>
                    <a:pt x="49" y="7"/>
                  </a:lnTo>
                  <a:lnTo>
                    <a:pt x="47" y="6"/>
                  </a:lnTo>
                  <a:lnTo>
                    <a:pt x="43" y="6"/>
                  </a:lnTo>
                  <a:lnTo>
                    <a:pt x="40" y="6"/>
                  </a:lnTo>
                  <a:lnTo>
                    <a:pt x="38" y="6"/>
                  </a:lnTo>
                  <a:lnTo>
                    <a:pt x="36" y="6"/>
                  </a:lnTo>
                  <a:lnTo>
                    <a:pt x="32" y="4"/>
                  </a:lnTo>
                  <a:lnTo>
                    <a:pt x="33" y="1"/>
                  </a:lnTo>
                  <a:lnTo>
                    <a:pt x="36" y="1"/>
                  </a:lnTo>
                  <a:lnTo>
                    <a:pt x="39" y="1"/>
                  </a:lnTo>
                  <a:lnTo>
                    <a:pt x="41" y="1"/>
                  </a:lnTo>
                  <a:lnTo>
                    <a:pt x="45" y="0"/>
                  </a:lnTo>
                  <a:lnTo>
                    <a:pt x="50" y="1"/>
                  </a:lnTo>
                  <a:lnTo>
                    <a:pt x="54" y="2"/>
                  </a:lnTo>
                  <a:lnTo>
                    <a:pt x="56" y="3"/>
                  </a:lnTo>
                  <a:lnTo>
                    <a:pt x="58" y="3"/>
                  </a:lnTo>
                  <a:lnTo>
                    <a:pt x="62" y="4"/>
                  </a:lnTo>
                  <a:lnTo>
                    <a:pt x="64" y="6"/>
                  </a:lnTo>
                  <a:lnTo>
                    <a:pt x="67" y="8"/>
                  </a:lnTo>
                  <a:lnTo>
                    <a:pt x="68" y="11"/>
                  </a:lnTo>
                  <a:lnTo>
                    <a:pt x="71" y="14"/>
                  </a:lnTo>
                  <a:lnTo>
                    <a:pt x="74" y="16"/>
                  </a:lnTo>
                  <a:lnTo>
                    <a:pt x="76" y="18"/>
                  </a:lnTo>
                  <a:lnTo>
                    <a:pt x="79" y="21"/>
                  </a:lnTo>
                  <a:lnTo>
                    <a:pt x="81" y="21"/>
                  </a:lnTo>
                  <a:lnTo>
                    <a:pt x="84" y="24"/>
                  </a:lnTo>
                  <a:lnTo>
                    <a:pt x="83" y="26"/>
                  </a:lnTo>
                  <a:lnTo>
                    <a:pt x="87" y="27"/>
                  </a:lnTo>
                  <a:lnTo>
                    <a:pt x="90" y="27"/>
                  </a:lnTo>
                  <a:lnTo>
                    <a:pt x="92" y="27"/>
                  </a:lnTo>
                  <a:lnTo>
                    <a:pt x="92" y="27"/>
                  </a:lnTo>
                  <a:close/>
                  <a:moveTo>
                    <a:pt x="2573" y="44"/>
                  </a:moveTo>
                  <a:lnTo>
                    <a:pt x="2573" y="43"/>
                  </a:lnTo>
                  <a:lnTo>
                    <a:pt x="2571" y="42"/>
                  </a:lnTo>
                  <a:lnTo>
                    <a:pt x="2573" y="43"/>
                  </a:lnTo>
                  <a:lnTo>
                    <a:pt x="2576" y="43"/>
                  </a:lnTo>
                  <a:lnTo>
                    <a:pt x="2579" y="43"/>
                  </a:lnTo>
                  <a:lnTo>
                    <a:pt x="2582" y="43"/>
                  </a:lnTo>
                  <a:lnTo>
                    <a:pt x="2584" y="43"/>
                  </a:lnTo>
                  <a:lnTo>
                    <a:pt x="2588" y="43"/>
                  </a:lnTo>
                  <a:lnTo>
                    <a:pt x="2591" y="43"/>
                  </a:lnTo>
                  <a:lnTo>
                    <a:pt x="2593" y="44"/>
                  </a:lnTo>
                  <a:lnTo>
                    <a:pt x="2597" y="43"/>
                  </a:lnTo>
                  <a:lnTo>
                    <a:pt x="2599" y="44"/>
                  </a:lnTo>
                  <a:lnTo>
                    <a:pt x="2601" y="44"/>
                  </a:lnTo>
                  <a:lnTo>
                    <a:pt x="2603" y="45"/>
                  </a:lnTo>
                  <a:lnTo>
                    <a:pt x="2607" y="46"/>
                  </a:lnTo>
                  <a:lnTo>
                    <a:pt x="2609" y="47"/>
                  </a:lnTo>
                  <a:lnTo>
                    <a:pt x="2607" y="50"/>
                  </a:lnTo>
                  <a:lnTo>
                    <a:pt x="2603" y="51"/>
                  </a:lnTo>
                  <a:lnTo>
                    <a:pt x="2601" y="52"/>
                  </a:lnTo>
                  <a:lnTo>
                    <a:pt x="2598" y="53"/>
                  </a:lnTo>
                  <a:lnTo>
                    <a:pt x="2596" y="54"/>
                  </a:lnTo>
                  <a:lnTo>
                    <a:pt x="2592" y="54"/>
                  </a:lnTo>
                  <a:lnTo>
                    <a:pt x="2590" y="55"/>
                  </a:lnTo>
                  <a:lnTo>
                    <a:pt x="2586" y="54"/>
                  </a:lnTo>
                  <a:lnTo>
                    <a:pt x="2583" y="53"/>
                  </a:lnTo>
                  <a:lnTo>
                    <a:pt x="2586" y="52"/>
                  </a:lnTo>
                  <a:lnTo>
                    <a:pt x="2589" y="52"/>
                  </a:lnTo>
                  <a:lnTo>
                    <a:pt x="2586" y="51"/>
                  </a:lnTo>
                  <a:lnTo>
                    <a:pt x="2583" y="51"/>
                  </a:lnTo>
                  <a:lnTo>
                    <a:pt x="2581" y="50"/>
                  </a:lnTo>
                  <a:lnTo>
                    <a:pt x="2577" y="50"/>
                  </a:lnTo>
                  <a:lnTo>
                    <a:pt x="2575" y="50"/>
                  </a:lnTo>
                  <a:lnTo>
                    <a:pt x="2572" y="47"/>
                  </a:lnTo>
                  <a:lnTo>
                    <a:pt x="2575" y="47"/>
                  </a:lnTo>
                  <a:lnTo>
                    <a:pt x="2573" y="44"/>
                  </a:lnTo>
                  <a:lnTo>
                    <a:pt x="2573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1" name="Freeform 221">
              <a:extLst>
                <a:ext uri="{FF2B5EF4-FFF2-40B4-BE49-F238E27FC236}">
                  <a16:creationId xmlns:a16="http://schemas.microsoft.com/office/drawing/2014/main" id="{1BEEBBBB-95A0-42CF-AFD2-3943A36B2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4775" y="5389563"/>
              <a:ext cx="79375" cy="77788"/>
            </a:xfrm>
            <a:custGeom>
              <a:avLst/>
              <a:gdLst>
                <a:gd name="T0" fmla="*/ 26 w 50"/>
                <a:gd name="T1" fmla="*/ 8 h 49"/>
                <a:gd name="T2" fmla="*/ 31 w 50"/>
                <a:gd name="T3" fmla="*/ 8 h 49"/>
                <a:gd name="T4" fmla="*/ 33 w 50"/>
                <a:gd name="T5" fmla="*/ 6 h 49"/>
                <a:gd name="T6" fmla="*/ 38 w 50"/>
                <a:gd name="T7" fmla="*/ 5 h 49"/>
                <a:gd name="T8" fmla="*/ 44 w 50"/>
                <a:gd name="T9" fmla="*/ 4 h 49"/>
                <a:gd name="T10" fmla="*/ 50 w 50"/>
                <a:gd name="T11" fmla="*/ 4 h 49"/>
                <a:gd name="T12" fmla="*/ 50 w 50"/>
                <a:gd name="T13" fmla="*/ 9 h 49"/>
                <a:gd name="T14" fmla="*/ 50 w 50"/>
                <a:gd name="T15" fmla="*/ 15 h 49"/>
                <a:gd name="T16" fmla="*/ 50 w 50"/>
                <a:gd name="T17" fmla="*/ 21 h 49"/>
                <a:gd name="T18" fmla="*/ 50 w 50"/>
                <a:gd name="T19" fmla="*/ 25 h 49"/>
                <a:gd name="T20" fmla="*/ 46 w 50"/>
                <a:gd name="T21" fmla="*/ 25 h 49"/>
                <a:gd name="T22" fmla="*/ 44 w 50"/>
                <a:gd name="T23" fmla="*/ 31 h 49"/>
                <a:gd name="T24" fmla="*/ 45 w 50"/>
                <a:gd name="T25" fmla="*/ 36 h 49"/>
                <a:gd name="T26" fmla="*/ 45 w 50"/>
                <a:gd name="T27" fmla="*/ 42 h 49"/>
                <a:gd name="T28" fmla="*/ 41 w 50"/>
                <a:gd name="T29" fmla="*/ 38 h 49"/>
                <a:gd name="T30" fmla="*/ 41 w 50"/>
                <a:gd name="T31" fmla="*/ 36 h 49"/>
                <a:gd name="T32" fmla="*/ 36 w 50"/>
                <a:gd name="T33" fmla="*/ 34 h 49"/>
                <a:gd name="T34" fmla="*/ 36 w 50"/>
                <a:gd name="T35" fmla="*/ 38 h 49"/>
                <a:gd name="T36" fmla="*/ 34 w 50"/>
                <a:gd name="T37" fmla="*/ 43 h 49"/>
                <a:gd name="T38" fmla="*/ 31 w 50"/>
                <a:gd name="T39" fmla="*/ 44 h 49"/>
                <a:gd name="T40" fmla="*/ 29 w 50"/>
                <a:gd name="T41" fmla="*/ 49 h 49"/>
                <a:gd name="T42" fmla="*/ 24 w 50"/>
                <a:gd name="T43" fmla="*/ 48 h 49"/>
                <a:gd name="T44" fmla="*/ 19 w 50"/>
                <a:gd name="T45" fmla="*/ 47 h 49"/>
                <a:gd name="T46" fmla="*/ 21 w 50"/>
                <a:gd name="T47" fmla="*/ 43 h 49"/>
                <a:gd name="T48" fmla="*/ 16 w 50"/>
                <a:gd name="T49" fmla="*/ 43 h 49"/>
                <a:gd name="T50" fmla="*/ 11 w 50"/>
                <a:gd name="T51" fmla="*/ 38 h 49"/>
                <a:gd name="T52" fmla="*/ 9 w 50"/>
                <a:gd name="T53" fmla="*/ 32 h 49"/>
                <a:gd name="T54" fmla="*/ 9 w 50"/>
                <a:gd name="T55" fmla="*/ 27 h 49"/>
                <a:gd name="T56" fmla="*/ 10 w 50"/>
                <a:gd name="T57" fmla="*/ 27 h 49"/>
                <a:gd name="T58" fmla="*/ 8 w 50"/>
                <a:gd name="T59" fmla="*/ 23 h 49"/>
                <a:gd name="T60" fmla="*/ 3 w 50"/>
                <a:gd name="T61" fmla="*/ 17 h 49"/>
                <a:gd name="T62" fmla="*/ 1 w 50"/>
                <a:gd name="T63" fmla="*/ 11 h 49"/>
                <a:gd name="T64" fmla="*/ 0 w 50"/>
                <a:gd name="T65" fmla="*/ 6 h 49"/>
                <a:gd name="T66" fmla="*/ 0 w 50"/>
                <a:gd name="T67" fmla="*/ 0 h 49"/>
                <a:gd name="T68" fmla="*/ 5 w 50"/>
                <a:gd name="T69" fmla="*/ 2 h 49"/>
                <a:gd name="T70" fmla="*/ 11 w 50"/>
                <a:gd name="T71" fmla="*/ 4 h 49"/>
                <a:gd name="T72" fmla="*/ 16 w 50"/>
                <a:gd name="T73" fmla="*/ 6 h 49"/>
                <a:gd name="T74" fmla="*/ 21 w 50"/>
                <a:gd name="T75" fmla="*/ 8 h 49"/>
                <a:gd name="T76" fmla="*/ 25 w 50"/>
                <a:gd name="T77" fmla="*/ 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0" h="49">
                  <a:moveTo>
                    <a:pt x="25" y="8"/>
                  </a:moveTo>
                  <a:lnTo>
                    <a:pt x="26" y="8"/>
                  </a:lnTo>
                  <a:lnTo>
                    <a:pt x="28" y="7"/>
                  </a:lnTo>
                  <a:lnTo>
                    <a:pt x="31" y="8"/>
                  </a:lnTo>
                  <a:lnTo>
                    <a:pt x="30" y="6"/>
                  </a:lnTo>
                  <a:lnTo>
                    <a:pt x="33" y="6"/>
                  </a:lnTo>
                  <a:lnTo>
                    <a:pt x="36" y="5"/>
                  </a:lnTo>
                  <a:lnTo>
                    <a:pt x="38" y="5"/>
                  </a:lnTo>
                  <a:lnTo>
                    <a:pt x="42" y="4"/>
                  </a:lnTo>
                  <a:lnTo>
                    <a:pt x="44" y="4"/>
                  </a:lnTo>
                  <a:lnTo>
                    <a:pt x="46" y="1"/>
                  </a:lnTo>
                  <a:lnTo>
                    <a:pt x="50" y="4"/>
                  </a:lnTo>
                  <a:lnTo>
                    <a:pt x="50" y="7"/>
                  </a:lnTo>
                  <a:lnTo>
                    <a:pt x="50" y="9"/>
                  </a:lnTo>
                  <a:lnTo>
                    <a:pt x="50" y="13"/>
                  </a:lnTo>
                  <a:lnTo>
                    <a:pt x="50" y="15"/>
                  </a:lnTo>
                  <a:lnTo>
                    <a:pt x="50" y="17"/>
                  </a:lnTo>
                  <a:lnTo>
                    <a:pt x="50" y="21"/>
                  </a:lnTo>
                  <a:lnTo>
                    <a:pt x="50" y="23"/>
                  </a:lnTo>
                  <a:lnTo>
                    <a:pt x="50" y="25"/>
                  </a:lnTo>
                  <a:lnTo>
                    <a:pt x="47" y="23"/>
                  </a:lnTo>
                  <a:lnTo>
                    <a:pt x="46" y="25"/>
                  </a:lnTo>
                  <a:lnTo>
                    <a:pt x="45" y="28"/>
                  </a:lnTo>
                  <a:lnTo>
                    <a:pt x="44" y="31"/>
                  </a:lnTo>
                  <a:lnTo>
                    <a:pt x="45" y="34"/>
                  </a:lnTo>
                  <a:lnTo>
                    <a:pt x="45" y="36"/>
                  </a:lnTo>
                  <a:lnTo>
                    <a:pt x="45" y="39"/>
                  </a:lnTo>
                  <a:lnTo>
                    <a:pt x="45" y="42"/>
                  </a:lnTo>
                  <a:lnTo>
                    <a:pt x="42" y="40"/>
                  </a:lnTo>
                  <a:lnTo>
                    <a:pt x="41" y="38"/>
                  </a:lnTo>
                  <a:lnTo>
                    <a:pt x="44" y="39"/>
                  </a:lnTo>
                  <a:lnTo>
                    <a:pt x="41" y="36"/>
                  </a:lnTo>
                  <a:lnTo>
                    <a:pt x="38" y="36"/>
                  </a:lnTo>
                  <a:lnTo>
                    <a:pt x="36" y="34"/>
                  </a:lnTo>
                  <a:lnTo>
                    <a:pt x="35" y="35"/>
                  </a:lnTo>
                  <a:lnTo>
                    <a:pt x="36" y="38"/>
                  </a:lnTo>
                  <a:lnTo>
                    <a:pt x="35" y="40"/>
                  </a:lnTo>
                  <a:lnTo>
                    <a:pt x="34" y="43"/>
                  </a:lnTo>
                  <a:lnTo>
                    <a:pt x="31" y="41"/>
                  </a:lnTo>
                  <a:lnTo>
                    <a:pt x="31" y="44"/>
                  </a:lnTo>
                  <a:lnTo>
                    <a:pt x="30" y="47"/>
                  </a:lnTo>
                  <a:lnTo>
                    <a:pt x="29" y="49"/>
                  </a:lnTo>
                  <a:lnTo>
                    <a:pt x="27" y="48"/>
                  </a:lnTo>
                  <a:lnTo>
                    <a:pt x="24" y="48"/>
                  </a:lnTo>
                  <a:lnTo>
                    <a:pt x="21" y="47"/>
                  </a:lnTo>
                  <a:lnTo>
                    <a:pt x="19" y="47"/>
                  </a:lnTo>
                  <a:lnTo>
                    <a:pt x="18" y="44"/>
                  </a:lnTo>
                  <a:lnTo>
                    <a:pt x="21" y="43"/>
                  </a:lnTo>
                  <a:lnTo>
                    <a:pt x="18" y="44"/>
                  </a:lnTo>
                  <a:lnTo>
                    <a:pt x="16" y="43"/>
                  </a:lnTo>
                  <a:lnTo>
                    <a:pt x="13" y="40"/>
                  </a:lnTo>
                  <a:lnTo>
                    <a:pt x="11" y="38"/>
                  </a:lnTo>
                  <a:lnTo>
                    <a:pt x="10" y="35"/>
                  </a:lnTo>
                  <a:lnTo>
                    <a:pt x="9" y="32"/>
                  </a:lnTo>
                  <a:lnTo>
                    <a:pt x="8" y="30"/>
                  </a:lnTo>
                  <a:lnTo>
                    <a:pt x="9" y="27"/>
                  </a:lnTo>
                  <a:lnTo>
                    <a:pt x="11" y="30"/>
                  </a:lnTo>
                  <a:lnTo>
                    <a:pt x="10" y="27"/>
                  </a:lnTo>
                  <a:lnTo>
                    <a:pt x="8" y="25"/>
                  </a:lnTo>
                  <a:lnTo>
                    <a:pt x="8" y="23"/>
                  </a:lnTo>
                  <a:lnTo>
                    <a:pt x="5" y="19"/>
                  </a:lnTo>
                  <a:lnTo>
                    <a:pt x="3" y="17"/>
                  </a:lnTo>
                  <a:lnTo>
                    <a:pt x="2" y="14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2" y="1"/>
                  </a:lnTo>
                  <a:lnTo>
                    <a:pt x="5" y="2"/>
                  </a:lnTo>
                  <a:lnTo>
                    <a:pt x="8" y="2"/>
                  </a:lnTo>
                  <a:lnTo>
                    <a:pt x="11" y="4"/>
                  </a:lnTo>
                  <a:lnTo>
                    <a:pt x="13" y="5"/>
                  </a:lnTo>
                  <a:lnTo>
                    <a:pt x="16" y="6"/>
                  </a:lnTo>
                  <a:lnTo>
                    <a:pt x="19" y="7"/>
                  </a:lnTo>
                  <a:lnTo>
                    <a:pt x="21" y="8"/>
                  </a:lnTo>
                  <a:lnTo>
                    <a:pt x="24" y="8"/>
                  </a:lnTo>
                  <a:lnTo>
                    <a:pt x="25" y="8"/>
                  </a:lnTo>
                  <a:lnTo>
                    <a:pt x="25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2" name="Freeform 222">
              <a:extLst>
                <a:ext uri="{FF2B5EF4-FFF2-40B4-BE49-F238E27FC236}">
                  <a16:creationId xmlns:a16="http://schemas.microsoft.com/office/drawing/2014/main" id="{5DB93F65-E033-4CD4-8218-CAE338C5C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7913" y="4462463"/>
              <a:ext cx="431800" cy="223838"/>
            </a:xfrm>
            <a:custGeom>
              <a:avLst/>
              <a:gdLst>
                <a:gd name="T0" fmla="*/ 254 w 272"/>
                <a:gd name="T1" fmla="*/ 137 h 141"/>
                <a:gd name="T2" fmla="*/ 234 w 272"/>
                <a:gd name="T3" fmla="*/ 133 h 141"/>
                <a:gd name="T4" fmla="*/ 223 w 272"/>
                <a:gd name="T5" fmla="*/ 126 h 141"/>
                <a:gd name="T6" fmla="*/ 215 w 272"/>
                <a:gd name="T7" fmla="*/ 119 h 141"/>
                <a:gd name="T8" fmla="*/ 207 w 272"/>
                <a:gd name="T9" fmla="*/ 107 h 141"/>
                <a:gd name="T10" fmla="*/ 191 w 272"/>
                <a:gd name="T11" fmla="*/ 102 h 141"/>
                <a:gd name="T12" fmla="*/ 184 w 272"/>
                <a:gd name="T13" fmla="*/ 97 h 141"/>
                <a:gd name="T14" fmla="*/ 180 w 272"/>
                <a:gd name="T15" fmla="*/ 102 h 141"/>
                <a:gd name="T16" fmla="*/ 175 w 272"/>
                <a:gd name="T17" fmla="*/ 102 h 141"/>
                <a:gd name="T18" fmla="*/ 170 w 272"/>
                <a:gd name="T19" fmla="*/ 103 h 141"/>
                <a:gd name="T20" fmla="*/ 163 w 272"/>
                <a:gd name="T21" fmla="*/ 109 h 141"/>
                <a:gd name="T22" fmla="*/ 155 w 272"/>
                <a:gd name="T23" fmla="*/ 107 h 141"/>
                <a:gd name="T24" fmla="*/ 170 w 272"/>
                <a:gd name="T25" fmla="*/ 116 h 141"/>
                <a:gd name="T26" fmla="*/ 156 w 272"/>
                <a:gd name="T27" fmla="*/ 121 h 141"/>
                <a:gd name="T28" fmla="*/ 139 w 272"/>
                <a:gd name="T29" fmla="*/ 121 h 141"/>
                <a:gd name="T30" fmla="*/ 126 w 272"/>
                <a:gd name="T31" fmla="*/ 110 h 141"/>
                <a:gd name="T32" fmla="*/ 120 w 272"/>
                <a:gd name="T33" fmla="*/ 106 h 141"/>
                <a:gd name="T34" fmla="*/ 107 w 272"/>
                <a:gd name="T35" fmla="*/ 104 h 141"/>
                <a:gd name="T36" fmla="*/ 111 w 272"/>
                <a:gd name="T37" fmla="*/ 94 h 141"/>
                <a:gd name="T38" fmla="*/ 110 w 272"/>
                <a:gd name="T39" fmla="*/ 89 h 141"/>
                <a:gd name="T40" fmla="*/ 101 w 272"/>
                <a:gd name="T41" fmla="*/ 80 h 141"/>
                <a:gd name="T42" fmla="*/ 97 w 272"/>
                <a:gd name="T43" fmla="*/ 73 h 141"/>
                <a:gd name="T44" fmla="*/ 88 w 272"/>
                <a:gd name="T45" fmla="*/ 64 h 141"/>
                <a:gd name="T46" fmla="*/ 78 w 272"/>
                <a:gd name="T47" fmla="*/ 62 h 141"/>
                <a:gd name="T48" fmla="*/ 64 w 272"/>
                <a:gd name="T49" fmla="*/ 56 h 141"/>
                <a:gd name="T50" fmla="*/ 52 w 272"/>
                <a:gd name="T51" fmla="*/ 53 h 141"/>
                <a:gd name="T52" fmla="*/ 45 w 272"/>
                <a:gd name="T53" fmla="*/ 50 h 141"/>
                <a:gd name="T54" fmla="*/ 36 w 272"/>
                <a:gd name="T55" fmla="*/ 39 h 141"/>
                <a:gd name="T56" fmla="*/ 33 w 272"/>
                <a:gd name="T57" fmla="*/ 47 h 141"/>
                <a:gd name="T58" fmla="*/ 25 w 272"/>
                <a:gd name="T59" fmla="*/ 42 h 141"/>
                <a:gd name="T60" fmla="*/ 17 w 272"/>
                <a:gd name="T61" fmla="*/ 32 h 141"/>
                <a:gd name="T62" fmla="*/ 33 w 272"/>
                <a:gd name="T63" fmla="*/ 29 h 141"/>
                <a:gd name="T64" fmla="*/ 35 w 272"/>
                <a:gd name="T65" fmla="*/ 25 h 141"/>
                <a:gd name="T66" fmla="*/ 19 w 272"/>
                <a:gd name="T67" fmla="*/ 25 h 141"/>
                <a:gd name="T68" fmla="*/ 11 w 272"/>
                <a:gd name="T69" fmla="*/ 17 h 141"/>
                <a:gd name="T70" fmla="*/ 3 w 272"/>
                <a:gd name="T71" fmla="*/ 10 h 141"/>
                <a:gd name="T72" fmla="*/ 15 w 272"/>
                <a:gd name="T73" fmla="*/ 2 h 141"/>
                <a:gd name="T74" fmla="*/ 29 w 272"/>
                <a:gd name="T75" fmla="*/ 2 h 141"/>
                <a:gd name="T76" fmla="*/ 42 w 272"/>
                <a:gd name="T77" fmla="*/ 8 h 141"/>
                <a:gd name="T78" fmla="*/ 43 w 272"/>
                <a:gd name="T79" fmla="*/ 25 h 141"/>
                <a:gd name="T80" fmla="*/ 51 w 272"/>
                <a:gd name="T81" fmla="*/ 35 h 141"/>
                <a:gd name="T82" fmla="*/ 64 w 272"/>
                <a:gd name="T83" fmla="*/ 38 h 141"/>
                <a:gd name="T84" fmla="*/ 76 w 272"/>
                <a:gd name="T85" fmla="*/ 25 h 141"/>
                <a:gd name="T86" fmla="*/ 87 w 272"/>
                <a:gd name="T87" fmla="*/ 18 h 141"/>
                <a:gd name="T88" fmla="*/ 102 w 272"/>
                <a:gd name="T89" fmla="*/ 19 h 141"/>
                <a:gd name="T90" fmla="*/ 121 w 272"/>
                <a:gd name="T91" fmla="*/ 27 h 141"/>
                <a:gd name="T92" fmla="*/ 136 w 272"/>
                <a:gd name="T93" fmla="*/ 30 h 141"/>
                <a:gd name="T94" fmla="*/ 154 w 272"/>
                <a:gd name="T95" fmla="*/ 37 h 141"/>
                <a:gd name="T96" fmla="*/ 171 w 272"/>
                <a:gd name="T97" fmla="*/ 42 h 141"/>
                <a:gd name="T98" fmla="*/ 186 w 272"/>
                <a:gd name="T99" fmla="*/ 50 h 141"/>
                <a:gd name="T100" fmla="*/ 195 w 272"/>
                <a:gd name="T101" fmla="*/ 54 h 141"/>
                <a:gd name="T102" fmla="*/ 203 w 272"/>
                <a:gd name="T103" fmla="*/ 70 h 141"/>
                <a:gd name="T104" fmla="*/ 217 w 272"/>
                <a:gd name="T105" fmla="*/ 75 h 141"/>
                <a:gd name="T106" fmla="*/ 230 w 272"/>
                <a:gd name="T107" fmla="*/ 85 h 141"/>
                <a:gd name="T108" fmla="*/ 218 w 272"/>
                <a:gd name="T109" fmla="*/ 89 h 141"/>
                <a:gd name="T110" fmla="*/ 230 w 272"/>
                <a:gd name="T111" fmla="*/ 104 h 141"/>
                <a:gd name="T112" fmla="*/ 239 w 272"/>
                <a:gd name="T113" fmla="*/ 114 h 141"/>
                <a:gd name="T114" fmla="*/ 249 w 272"/>
                <a:gd name="T115" fmla="*/ 122 h 141"/>
                <a:gd name="T116" fmla="*/ 259 w 272"/>
                <a:gd name="T117" fmla="*/ 128 h 141"/>
                <a:gd name="T118" fmla="*/ 264 w 272"/>
                <a:gd name="T119" fmla="*/ 135 h 141"/>
                <a:gd name="T120" fmla="*/ 268 w 272"/>
                <a:gd name="T121" fmla="*/ 14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2" h="141">
                  <a:moveTo>
                    <a:pt x="259" y="139"/>
                  </a:moveTo>
                  <a:lnTo>
                    <a:pt x="260" y="138"/>
                  </a:lnTo>
                  <a:lnTo>
                    <a:pt x="259" y="138"/>
                  </a:lnTo>
                  <a:lnTo>
                    <a:pt x="258" y="138"/>
                  </a:lnTo>
                  <a:lnTo>
                    <a:pt x="256" y="137"/>
                  </a:lnTo>
                  <a:lnTo>
                    <a:pt x="254" y="137"/>
                  </a:lnTo>
                  <a:lnTo>
                    <a:pt x="248" y="136"/>
                  </a:lnTo>
                  <a:lnTo>
                    <a:pt x="246" y="136"/>
                  </a:lnTo>
                  <a:lnTo>
                    <a:pt x="242" y="133"/>
                  </a:lnTo>
                  <a:lnTo>
                    <a:pt x="240" y="135"/>
                  </a:lnTo>
                  <a:lnTo>
                    <a:pt x="237" y="135"/>
                  </a:lnTo>
                  <a:lnTo>
                    <a:pt x="234" y="133"/>
                  </a:lnTo>
                  <a:lnTo>
                    <a:pt x="232" y="135"/>
                  </a:lnTo>
                  <a:lnTo>
                    <a:pt x="230" y="132"/>
                  </a:lnTo>
                  <a:lnTo>
                    <a:pt x="228" y="132"/>
                  </a:lnTo>
                  <a:lnTo>
                    <a:pt x="226" y="131"/>
                  </a:lnTo>
                  <a:lnTo>
                    <a:pt x="225" y="128"/>
                  </a:lnTo>
                  <a:lnTo>
                    <a:pt x="223" y="126"/>
                  </a:lnTo>
                  <a:lnTo>
                    <a:pt x="220" y="124"/>
                  </a:lnTo>
                  <a:lnTo>
                    <a:pt x="220" y="124"/>
                  </a:lnTo>
                  <a:lnTo>
                    <a:pt x="217" y="122"/>
                  </a:lnTo>
                  <a:lnTo>
                    <a:pt x="218" y="119"/>
                  </a:lnTo>
                  <a:lnTo>
                    <a:pt x="218" y="119"/>
                  </a:lnTo>
                  <a:lnTo>
                    <a:pt x="215" y="119"/>
                  </a:lnTo>
                  <a:lnTo>
                    <a:pt x="213" y="118"/>
                  </a:lnTo>
                  <a:lnTo>
                    <a:pt x="213" y="115"/>
                  </a:lnTo>
                  <a:lnTo>
                    <a:pt x="211" y="113"/>
                  </a:lnTo>
                  <a:lnTo>
                    <a:pt x="211" y="112"/>
                  </a:lnTo>
                  <a:lnTo>
                    <a:pt x="208" y="110"/>
                  </a:lnTo>
                  <a:lnTo>
                    <a:pt x="207" y="107"/>
                  </a:lnTo>
                  <a:lnTo>
                    <a:pt x="205" y="105"/>
                  </a:lnTo>
                  <a:lnTo>
                    <a:pt x="201" y="103"/>
                  </a:lnTo>
                  <a:lnTo>
                    <a:pt x="199" y="104"/>
                  </a:lnTo>
                  <a:lnTo>
                    <a:pt x="196" y="103"/>
                  </a:lnTo>
                  <a:lnTo>
                    <a:pt x="194" y="102"/>
                  </a:lnTo>
                  <a:lnTo>
                    <a:pt x="191" y="102"/>
                  </a:lnTo>
                  <a:lnTo>
                    <a:pt x="189" y="102"/>
                  </a:lnTo>
                  <a:lnTo>
                    <a:pt x="189" y="98"/>
                  </a:lnTo>
                  <a:lnTo>
                    <a:pt x="188" y="99"/>
                  </a:lnTo>
                  <a:lnTo>
                    <a:pt x="187" y="98"/>
                  </a:lnTo>
                  <a:lnTo>
                    <a:pt x="187" y="98"/>
                  </a:lnTo>
                  <a:lnTo>
                    <a:pt x="184" y="97"/>
                  </a:lnTo>
                  <a:lnTo>
                    <a:pt x="183" y="97"/>
                  </a:lnTo>
                  <a:lnTo>
                    <a:pt x="183" y="99"/>
                  </a:lnTo>
                  <a:lnTo>
                    <a:pt x="182" y="99"/>
                  </a:lnTo>
                  <a:lnTo>
                    <a:pt x="181" y="99"/>
                  </a:lnTo>
                  <a:lnTo>
                    <a:pt x="181" y="101"/>
                  </a:lnTo>
                  <a:lnTo>
                    <a:pt x="180" y="102"/>
                  </a:lnTo>
                  <a:lnTo>
                    <a:pt x="179" y="101"/>
                  </a:lnTo>
                  <a:lnTo>
                    <a:pt x="175" y="99"/>
                  </a:lnTo>
                  <a:lnTo>
                    <a:pt x="173" y="97"/>
                  </a:lnTo>
                  <a:lnTo>
                    <a:pt x="173" y="97"/>
                  </a:lnTo>
                  <a:lnTo>
                    <a:pt x="174" y="98"/>
                  </a:lnTo>
                  <a:lnTo>
                    <a:pt x="175" y="102"/>
                  </a:lnTo>
                  <a:lnTo>
                    <a:pt x="177" y="104"/>
                  </a:lnTo>
                  <a:lnTo>
                    <a:pt x="174" y="105"/>
                  </a:lnTo>
                  <a:lnTo>
                    <a:pt x="172" y="104"/>
                  </a:lnTo>
                  <a:lnTo>
                    <a:pt x="169" y="103"/>
                  </a:lnTo>
                  <a:lnTo>
                    <a:pt x="169" y="103"/>
                  </a:lnTo>
                  <a:lnTo>
                    <a:pt x="170" y="103"/>
                  </a:lnTo>
                  <a:lnTo>
                    <a:pt x="170" y="104"/>
                  </a:lnTo>
                  <a:lnTo>
                    <a:pt x="172" y="106"/>
                  </a:lnTo>
                  <a:lnTo>
                    <a:pt x="171" y="107"/>
                  </a:lnTo>
                  <a:lnTo>
                    <a:pt x="169" y="109"/>
                  </a:lnTo>
                  <a:lnTo>
                    <a:pt x="165" y="109"/>
                  </a:lnTo>
                  <a:lnTo>
                    <a:pt x="163" y="109"/>
                  </a:lnTo>
                  <a:lnTo>
                    <a:pt x="161" y="109"/>
                  </a:lnTo>
                  <a:lnTo>
                    <a:pt x="157" y="109"/>
                  </a:lnTo>
                  <a:lnTo>
                    <a:pt x="155" y="106"/>
                  </a:lnTo>
                  <a:lnTo>
                    <a:pt x="152" y="107"/>
                  </a:lnTo>
                  <a:lnTo>
                    <a:pt x="153" y="107"/>
                  </a:lnTo>
                  <a:lnTo>
                    <a:pt x="155" y="107"/>
                  </a:lnTo>
                  <a:lnTo>
                    <a:pt x="157" y="110"/>
                  </a:lnTo>
                  <a:lnTo>
                    <a:pt x="161" y="109"/>
                  </a:lnTo>
                  <a:lnTo>
                    <a:pt x="163" y="111"/>
                  </a:lnTo>
                  <a:lnTo>
                    <a:pt x="165" y="111"/>
                  </a:lnTo>
                  <a:lnTo>
                    <a:pt x="169" y="114"/>
                  </a:lnTo>
                  <a:lnTo>
                    <a:pt x="170" y="116"/>
                  </a:lnTo>
                  <a:lnTo>
                    <a:pt x="167" y="119"/>
                  </a:lnTo>
                  <a:lnTo>
                    <a:pt x="164" y="120"/>
                  </a:lnTo>
                  <a:lnTo>
                    <a:pt x="162" y="121"/>
                  </a:lnTo>
                  <a:lnTo>
                    <a:pt x="158" y="123"/>
                  </a:lnTo>
                  <a:lnTo>
                    <a:pt x="158" y="123"/>
                  </a:lnTo>
                  <a:lnTo>
                    <a:pt x="156" y="121"/>
                  </a:lnTo>
                  <a:lnTo>
                    <a:pt x="153" y="120"/>
                  </a:lnTo>
                  <a:lnTo>
                    <a:pt x="150" y="121"/>
                  </a:lnTo>
                  <a:lnTo>
                    <a:pt x="147" y="121"/>
                  </a:lnTo>
                  <a:lnTo>
                    <a:pt x="145" y="121"/>
                  </a:lnTo>
                  <a:lnTo>
                    <a:pt x="143" y="120"/>
                  </a:lnTo>
                  <a:lnTo>
                    <a:pt x="139" y="121"/>
                  </a:lnTo>
                  <a:lnTo>
                    <a:pt x="137" y="120"/>
                  </a:lnTo>
                  <a:lnTo>
                    <a:pt x="133" y="119"/>
                  </a:lnTo>
                  <a:lnTo>
                    <a:pt x="131" y="115"/>
                  </a:lnTo>
                  <a:lnTo>
                    <a:pt x="129" y="113"/>
                  </a:lnTo>
                  <a:lnTo>
                    <a:pt x="128" y="111"/>
                  </a:lnTo>
                  <a:lnTo>
                    <a:pt x="126" y="110"/>
                  </a:lnTo>
                  <a:lnTo>
                    <a:pt x="123" y="107"/>
                  </a:lnTo>
                  <a:lnTo>
                    <a:pt x="123" y="107"/>
                  </a:lnTo>
                  <a:lnTo>
                    <a:pt x="123" y="106"/>
                  </a:lnTo>
                  <a:lnTo>
                    <a:pt x="124" y="103"/>
                  </a:lnTo>
                  <a:lnTo>
                    <a:pt x="123" y="105"/>
                  </a:lnTo>
                  <a:lnTo>
                    <a:pt x="120" y="106"/>
                  </a:lnTo>
                  <a:lnTo>
                    <a:pt x="118" y="106"/>
                  </a:lnTo>
                  <a:lnTo>
                    <a:pt x="115" y="107"/>
                  </a:lnTo>
                  <a:lnTo>
                    <a:pt x="112" y="104"/>
                  </a:lnTo>
                  <a:lnTo>
                    <a:pt x="110" y="106"/>
                  </a:lnTo>
                  <a:lnTo>
                    <a:pt x="107" y="107"/>
                  </a:lnTo>
                  <a:lnTo>
                    <a:pt x="107" y="104"/>
                  </a:lnTo>
                  <a:lnTo>
                    <a:pt x="110" y="102"/>
                  </a:lnTo>
                  <a:lnTo>
                    <a:pt x="111" y="98"/>
                  </a:lnTo>
                  <a:lnTo>
                    <a:pt x="107" y="96"/>
                  </a:lnTo>
                  <a:lnTo>
                    <a:pt x="105" y="94"/>
                  </a:lnTo>
                  <a:lnTo>
                    <a:pt x="109" y="94"/>
                  </a:lnTo>
                  <a:lnTo>
                    <a:pt x="111" y="94"/>
                  </a:lnTo>
                  <a:lnTo>
                    <a:pt x="112" y="93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0"/>
                  </a:lnTo>
                  <a:lnTo>
                    <a:pt x="107" y="89"/>
                  </a:lnTo>
                  <a:lnTo>
                    <a:pt x="110" y="89"/>
                  </a:lnTo>
                  <a:lnTo>
                    <a:pt x="112" y="90"/>
                  </a:lnTo>
                  <a:lnTo>
                    <a:pt x="109" y="89"/>
                  </a:lnTo>
                  <a:lnTo>
                    <a:pt x="106" y="88"/>
                  </a:lnTo>
                  <a:lnTo>
                    <a:pt x="105" y="85"/>
                  </a:lnTo>
                  <a:lnTo>
                    <a:pt x="102" y="82"/>
                  </a:lnTo>
                  <a:lnTo>
                    <a:pt x="101" y="80"/>
                  </a:lnTo>
                  <a:lnTo>
                    <a:pt x="100" y="77"/>
                  </a:lnTo>
                  <a:lnTo>
                    <a:pt x="100" y="77"/>
                  </a:lnTo>
                  <a:lnTo>
                    <a:pt x="101" y="75"/>
                  </a:lnTo>
                  <a:lnTo>
                    <a:pt x="98" y="75"/>
                  </a:lnTo>
                  <a:lnTo>
                    <a:pt x="101" y="72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6" y="72"/>
                  </a:lnTo>
                  <a:lnTo>
                    <a:pt x="96" y="69"/>
                  </a:lnTo>
                  <a:lnTo>
                    <a:pt x="94" y="68"/>
                  </a:lnTo>
                  <a:lnTo>
                    <a:pt x="90" y="67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5" y="63"/>
                  </a:lnTo>
                  <a:lnTo>
                    <a:pt x="83" y="62"/>
                  </a:lnTo>
                  <a:lnTo>
                    <a:pt x="80" y="62"/>
                  </a:lnTo>
                  <a:lnTo>
                    <a:pt x="79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6" y="60"/>
                  </a:lnTo>
                  <a:lnTo>
                    <a:pt x="72" y="59"/>
                  </a:lnTo>
                  <a:lnTo>
                    <a:pt x="70" y="58"/>
                  </a:lnTo>
                  <a:lnTo>
                    <a:pt x="68" y="56"/>
                  </a:lnTo>
                  <a:lnTo>
                    <a:pt x="64" y="56"/>
                  </a:lnTo>
                  <a:lnTo>
                    <a:pt x="63" y="56"/>
                  </a:lnTo>
                  <a:lnTo>
                    <a:pt x="60" y="55"/>
                  </a:lnTo>
                  <a:lnTo>
                    <a:pt x="58" y="55"/>
                  </a:lnTo>
                  <a:lnTo>
                    <a:pt x="54" y="54"/>
                  </a:lnTo>
                  <a:lnTo>
                    <a:pt x="52" y="53"/>
                  </a:lnTo>
                  <a:lnTo>
                    <a:pt x="52" y="53"/>
                  </a:lnTo>
                  <a:lnTo>
                    <a:pt x="51" y="52"/>
                  </a:lnTo>
                  <a:lnTo>
                    <a:pt x="50" y="50"/>
                  </a:lnTo>
                  <a:lnTo>
                    <a:pt x="53" y="48"/>
                  </a:lnTo>
                  <a:lnTo>
                    <a:pt x="50" y="48"/>
                  </a:lnTo>
                  <a:lnTo>
                    <a:pt x="47" y="50"/>
                  </a:lnTo>
                  <a:lnTo>
                    <a:pt x="45" y="50"/>
                  </a:lnTo>
                  <a:lnTo>
                    <a:pt x="43" y="46"/>
                  </a:lnTo>
                  <a:lnTo>
                    <a:pt x="41" y="47"/>
                  </a:lnTo>
                  <a:lnTo>
                    <a:pt x="39" y="46"/>
                  </a:lnTo>
                  <a:lnTo>
                    <a:pt x="37" y="45"/>
                  </a:lnTo>
                  <a:lnTo>
                    <a:pt x="36" y="42"/>
                  </a:lnTo>
                  <a:lnTo>
                    <a:pt x="36" y="39"/>
                  </a:lnTo>
                  <a:lnTo>
                    <a:pt x="38" y="37"/>
                  </a:lnTo>
                  <a:lnTo>
                    <a:pt x="36" y="37"/>
                  </a:lnTo>
                  <a:lnTo>
                    <a:pt x="36" y="41"/>
                  </a:lnTo>
                  <a:lnTo>
                    <a:pt x="35" y="43"/>
                  </a:lnTo>
                  <a:lnTo>
                    <a:pt x="33" y="45"/>
                  </a:lnTo>
                  <a:lnTo>
                    <a:pt x="33" y="47"/>
                  </a:lnTo>
                  <a:lnTo>
                    <a:pt x="30" y="51"/>
                  </a:lnTo>
                  <a:lnTo>
                    <a:pt x="28" y="50"/>
                  </a:lnTo>
                  <a:lnTo>
                    <a:pt x="25" y="50"/>
                  </a:lnTo>
                  <a:lnTo>
                    <a:pt x="24" y="47"/>
                  </a:lnTo>
                  <a:lnTo>
                    <a:pt x="26" y="44"/>
                  </a:lnTo>
                  <a:lnTo>
                    <a:pt x="25" y="42"/>
                  </a:lnTo>
                  <a:lnTo>
                    <a:pt x="22" y="39"/>
                  </a:lnTo>
                  <a:lnTo>
                    <a:pt x="20" y="37"/>
                  </a:lnTo>
                  <a:lnTo>
                    <a:pt x="18" y="35"/>
                  </a:lnTo>
                  <a:lnTo>
                    <a:pt x="15" y="35"/>
                  </a:lnTo>
                  <a:lnTo>
                    <a:pt x="15" y="33"/>
                  </a:lnTo>
                  <a:lnTo>
                    <a:pt x="17" y="32"/>
                  </a:lnTo>
                  <a:lnTo>
                    <a:pt x="20" y="33"/>
                  </a:lnTo>
                  <a:lnTo>
                    <a:pt x="22" y="33"/>
                  </a:lnTo>
                  <a:lnTo>
                    <a:pt x="25" y="33"/>
                  </a:lnTo>
                  <a:lnTo>
                    <a:pt x="27" y="29"/>
                  </a:lnTo>
                  <a:lnTo>
                    <a:pt x="29" y="28"/>
                  </a:lnTo>
                  <a:lnTo>
                    <a:pt x="33" y="29"/>
                  </a:lnTo>
                  <a:lnTo>
                    <a:pt x="37" y="30"/>
                  </a:lnTo>
                  <a:lnTo>
                    <a:pt x="37" y="28"/>
                  </a:lnTo>
                  <a:lnTo>
                    <a:pt x="41" y="28"/>
                  </a:lnTo>
                  <a:lnTo>
                    <a:pt x="41" y="25"/>
                  </a:lnTo>
                  <a:lnTo>
                    <a:pt x="37" y="25"/>
                  </a:lnTo>
                  <a:lnTo>
                    <a:pt x="35" y="25"/>
                  </a:lnTo>
                  <a:lnTo>
                    <a:pt x="29" y="25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4" y="26"/>
                  </a:lnTo>
                  <a:lnTo>
                    <a:pt x="22" y="26"/>
                  </a:lnTo>
                  <a:lnTo>
                    <a:pt x="19" y="25"/>
                  </a:lnTo>
                  <a:lnTo>
                    <a:pt x="17" y="25"/>
                  </a:lnTo>
                  <a:lnTo>
                    <a:pt x="15" y="24"/>
                  </a:lnTo>
                  <a:lnTo>
                    <a:pt x="12" y="20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1" y="17"/>
                  </a:lnTo>
                  <a:lnTo>
                    <a:pt x="8" y="15"/>
                  </a:lnTo>
                  <a:lnTo>
                    <a:pt x="5" y="15"/>
                  </a:lnTo>
                  <a:lnTo>
                    <a:pt x="2" y="16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3" y="10"/>
                  </a:lnTo>
                  <a:lnTo>
                    <a:pt x="3" y="9"/>
                  </a:lnTo>
                  <a:lnTo>
                    <a:pt x="3" y="5"/>
                  </a:lnTo>
                  <a:lnTo>
                    <a:pt x="7" y="4"/>
                  </a:lnTo>
                  <a:lnTo>
                    <a:pt x="9" y="4"/>
                  </a:lnTo>
                  <a:lnTo>
                    <a:pt x="11" y="4"/>
                  </a:lnTo>
                  <a:lnTo>
                    <a:pt x="15" y="2"/>
                  </a:lnTo>
                  <a:lnTo>
                    <a:pt x="17" y="0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4" y="0"/>
                  </a:lnTo>
                  <a:lnTo>
                    <a:pt x="27" y="1"/>
                  </a:lnTo>
                  <a:lnTo>
                    <a:pt x="29" y="2"/>
                  </a:lnTo>
                  <a:lnTo>
                    <a:pt x="33" y="4"/>
                  </a:lnTo>
                  <a:lnTo>
                    <a:pt x="35" y="5"/>
                  </a:lnTo>
                  <a:lnTo>
                    <a:pt x="37" y="4"/>
                  </a:lnTo>
                  <a:lnTo>
                    <a:pt x="38" y="5"/>
                  </a:lnTo>
                  <a:lnTo>
                    <a:pt x="42" y="5"/>
                  </a:lnTo>
                  <a:lnTo>
                    <a:pt x="42" y="8"/>
                  </a:lnTo>
                  <a:lnTo>
                    <a:pt x="43" y="11"/>
                  </a:lnTo>
                  <a:lnTo>
                    <a:pt x="44" y="13"/>
                  </a:lnTo>
                  <a:lnTo>
                    <a:pt x="43" y="16"/>
                  </a:lnTo>
                  <a:lnTo>
                    <a:pt x="42" y="19"/>
                  </a:lnTo>
                  <a:lnTo>
                    <a:pt x="43" y="21"/>
                  </a:lnTo>
                  <a:lnTo>
                    <a:pt x="43" y="25"/>
                  </a:lnTo>
                  <a:lnTo>
                    <a:pt x="43" y="27"/>
                  </a:lnTo>
                  <a:lnTo>
                    <a:pt x="45" y="29"/>
                  </a:lnTo>
                  <a:lnTo>
                    <a:pt x="46" y="33"/>
                  </a:lnTo>
                  <a:lnTo>
                    <a:pt x="47" y="29"/>
                  </a:lnTo>
                  <a:lnTo>
                    <a:pt x="50" y="33"/>
                  </a:lnTo>
                  <a:lnTo>
                    <a:pt x="51" y="35"/>
                  </a:lnTo>
                  <a:lnTo>
                    <a:pt x="52" y="37"/>
                  </a:lnTo>
                  <a:lnTo>
                    <a:pt x="54" y="41"/>
                  </a:lnTo>
                  <a:lnTo>
                    <a:pt x="56" y="41"/>
                  </a:lnTo>
                  <a:lnTo>
                    <a:pt x="59" y="41"/>
                  </a:lnTo>
                  <a:lnTo>
                    <a:pt x="62" y="41"/>
                  </a:lnTo>
                  <a:lnTo>
                    <a:pt x="64" y="38"/>
                  </a:lnTo>
                  <a:lnTo>
                    <a:pt x="67" y="36"/>
                  </a:lnTo>
                  <a:lnTo>
                    <a:pt x="68" y="34"/>
                  </a:lnTo>
                  <a:lnTo>
                    <a:pt x="69" y="32"/>
                  </a:lnTo>
                  <a:lnTo>
                    <a:pt x="71" y="29"/>
                  </a:lnTo>
                  <a:lnTo>
                    <a:pt x="72" y="27"/>
                  </a:lnTo>
                  <a:lnTo>
                    <a:pt x="76" y="25"/>
                  </a:lnTo>
                  <a:lnTo>
                    <a:pt x="78" y="26"/>
                  </a:lnTo>
                  <a:lnTo>
                    <a:pt x="80" y="25"/>
                  </a:lnTo>
                  <a:lnTo>
                    <a:pt x="84" y="24"/>
                  </a:lnTo>
                  <a:lnTo>
                    <a:pt x="85" y="21"/>
                  </a:lnTo>
                  <a:lnTo>
                    <a:pt x="85" y="19"/>
                  </a:lnTo>
                  <a:lnTo>
                    <a:pt x="87" y="18"/>
                  </a:lnTo>
                  <a:lnTo>
                    <a:pt x="90" y="16"/>
                  </a:lnTo>
                  <a:lnTo>
                    <a:pt x="93" y="15"/>
                  </a:lnTo>
                  <a:lnTo>
                    <a:pt x="94" y="15"/>
                  </a:lnTo>
                  <a:lnTo>
                    <a:pt x="97" y="17"/>
                  </a:lnTo>
                  <a:lnTo>
                    <a:pt x="100" y="18"/>
                  </a:lnTo>
                  <a:lnTo>
                    <a:pt x="102" y="19"/>
                  </a:lnTo>
                  <a:lnTo>
                    <a:pt x="105" y="19"/>
                  </a:lnTo>
                  <a:lnTo>
                    <a:pt x="107" y="21"/>
                  </a:lnTo>
                  <a:lnTo>
                    <a:pt x="111" y="22"/>
                  </a:lnTo>
                  <a:lnTo>
                    <a:pt x="113" y="24"/>
                  </a:lnTo>
                  <a:lnTo>
                    <a:pt x="115" y="25"/>
                  </a:lnTo>
                  <a:lnTo>
                    <a:pt x="121" y="27"/>
                  </a:lnTo>
                  <a:lnTo>
                    <a:pt x="123" y="27"/>
                  </a:lnTo>
                  <a:lnTo>
                    <a:pt x="126" y="27"/>
                  </a:lnTo>
                  <a:lnTo>
                    <a:pt x="128" y="28"/>
                  </a:lnTo>
                  <a:lnTo>
                    <a:pt x="131" y="28"/>
                  </a:lnTo>
                  <a:lnTo>
                    <a:pt x="132" y="30"/>
                  </a:lnTo>
                  <a:lnTo>
                    <a:pt x="136" y="30"/>
                  </a:lnTo>
                  <a:lnTo>
                    <a:pt x="137" y="30"/>
                  </a:lnTo>
                  <a:lnTo>
                    <a:pt x="138" y="30"/>
                  </a:lnTo>
                  <a:lnTo>
                    <a:pt x="141" y="32"/>
                  </a:lnTo>
                  <a:lnTo>
                    <a:pt x="144" y="33"/>
                  </a:lnTo>
                  <a:lnTo>
                    <a:pt x="152" y="37"/>
                  </a:lnTo>
                  <a:lnTo>
                    <a:pt x="154" y="37"/>
                  </a:lnTo>
                  <a:lnTo>
                    <a:pt x="157" y="38"/>
                  </a:lnTo>
                  <a:lnTo>
                    <a:pt x="163" y="41"/>
                  </a:lnTo>
                  <a:lnTo>
                    <a:pt x="165" y="41"/>
                  </a:lnTo>
                  <a:lnTo>
                    <a:pt x="167" y="41"/>
                  </a:lnTo>
                  <a:lnTo>
                    <a:pt x="169" y="41"/>
                  </a:lnTo>
                  <a:lnTo>
                    <a:pt x="171" y="42"/>
                  </a:lnTo>
                  <a:lnTo>
                    <a:pt x="173" y="43"/>
                  </a:lnTo>
                  <a:lnTo>
                    <a:pt x="177" y="45"/>
                  </a:lnTo>
                  <a:lnTo>
                    <a:pt x="179" y="46"/>
                  </a:lnTo>
                  <a:lnTo>
                    <a:pt x="182" y="46"/>
                  </a:lnTo>
                  <a:lnTo>
                    <a:pt x="184" y="47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9" y="51"/>
                  </a:lnTo>
                  <a:lnTo>
                    <a:pt x="191" y="54"/>
                  </a:lnTo>
                  <a:lnTo>
                    <a:pt x="192" y="54"/>
                  </a:lnTo>
                  <a:lnTo>
                    <a:pt x="195" y="54"/>
                  </a:lnTo>
                  <a:lnTo>
                    <a:pt x="198" y="56"/>
                  </a:lnTo>
                  <a:lnTo>
                    <a:pt x="199" y="59"/>
                  </a:lnTo>
                  <a:lnTo>
                    <a:pt x="203" y="62"/>
                  </a:lnTo>
                  <a:lnTo>
                    <a:pt x="203" y="64"/>
                  </a:lnTo>
                  <a:lnTo>
                    <a:pt x="201" y="67"/>
                  </a:lnTo>
                  <a:lnTo>
                    <a:pt x="203" y="70"/>
                  </a:lnTo>
                  <a:lnTo>
                    <a:pt x="205" y="70"/>
                  </a:lnTo>
                  <a:lnTo>
                    <a:pt x="208" y="71"/>
                  </a:lnTo>
                  <a:lnTo>
                    <a:pt x="211" y="71"/>
                  </a:lnTo>
                  <a:lnTo>
                    <a:pt x="213" y="72"/>
                  </a:lnTo>
                  <a:lnTo>
                    <a:pt x="216" y="75"/>
                  </a:lnTo>
                  <a:lnTo>
                    <a:pt x="217" y="75"/>
                  </a:lnTo>
                  <a:lnTo>
                    <a:pt x="220" y="77"/>
                  </a:lnTo>
                  <a:lnTo>
                    <a:pt x="223" y="76"/>
                  </a:lnTo>
                  <a:lnTo>
                    <a:pt x="225" y="77"/>
                  </a:lnTo>
                  <a:lnTo>
                    <a:pt x="228" y="79"/>
                  </a:lnTo>
                  <a:lnTo>
                    <a:pt x="230" y="81"/>
                  </a:lnTo>
                  <a:lnTo>
                    <a:pt x="230" y="85"/>
                  </a:lnTo>
                  <a:lnTo>
                    <a:pt x="229" y="87"/>
                  </a:lnTo>
                  <a:lnTo>
                    <a:pt x="226" y="87"/>
                  </a:lnTo>
                  <a:lnTo>
                    <a:pt x="224" y="87"/>
                  </a:lnTo>
                  <a:lnTo>
                    <a:pt x="221" y="87"/>
                  </a:lnTo>
                  <a:lnTo>
                    <a:pt x="218" y="87"/>
                  </a:lnTo>
                  <a:lnTo>
                    <a:pt x="218" y="89"/>
                  </a:lnTo>
                  <a:lnTo>
                    <a:pt x="220" y="92"/>
                  </a:lnTo>
                  <a:lnTo>
                    <a:pt x="221" y="94"/>
                  </a:lnTo>
                  <a:lnTo>
                    <a:pt x="222" y="97"/>
                  </a:lnTo>
                  <a:lnTo>
                    <a:pt x="224" y="98"/>
                  </a:lnTo>
                  <a:lnTo>
                    <a:pt x="226" y="101"/>
                  </a:lnTo>
                  <a:lnTo>
                    <a:pt x="230" y="104"/>
                  </a:lnTo>
                  <a:lnTo>
                    <a:pt x="232" y="104"/>
                  </a:lnTo>
                  <a:lnTo>
                    <a:pt x="233" y="105"/>
                  </a:lnTo>
                  <a:lnTo>
                    <a:pt x="234" y="106"/>
                  </a:lnTo>
                  <a:lnTo>
                    <a:pt x="234" y="107"/>
                  </a:lnTo>
                  <a:lnTo>
                    <a:pt x="235" y="112"/>
                  </a:lnTo>
                  <a:lnTo>
                    <a:pt x="239" y="114"/>
                  </a:lnTo>
                  <a:lnTo>
                    <a:pt x="240" y="116"/>
                  </a:lnTo>
                  <a:lnTo>
                    <a:pt x="242" y="120"/>
                  </a:lnTo>
                  <a:lnTo>
                    <a:pt x="245" y="119"/>
                  </a:lnTo>
                  <a:lnTo>
                    <a:pt x="248" y="119"/>
                  </a:lnTo>
                  <a:lnTo>
                    <a:pt x="250" y="120"/>
                  </a:lnTo>
                  <a:lnTo>
                    <a:pt x="249" y="122"/>
                  </a:lnTo>
                  <a:lnTo>
                    <a:pt x="250" y="126"/>
                  </a:lnTo>
                  <a:lnTo>
                    <a:pt x="252" y="127"/>
                  </a:lnTo>
                  <a:lnTo>
                    <a:pt x="255" y="127"/>
                  </a:lnTo>
                  <a:lnTo>
                    <a:pt x="257" y="127"/>
                  </a:lnTo>
                  <a:lnTo>
                    <a:pt x="259" y="127"/>
                  </a:lnTo>
                  <a:lnTo>
                    <a:pt x="259" y="128"/>
                  </a:lnTo>
                  <a:lnTo>
                    <a:pt x="259" y="129"/>
                  </a:lnTo>
                  <a:lnTo>
                    <a:pt x="256" y="129"/>
                  </a:lnTo>
                  <a:lnTo>
                    <a:pt x="258" y="132"/>
                  </a:lnTo>
                  <a:lnTo>
                    <a:pt x="259" y="133"/>
                  </a:lnTo>
                  <a:lnTo>
                    <a:pt x="260" y="133"/>
                  </a:lnTo>
                  <a:lnTo>
                    <a:pt x="264" y="135"/>
                  </a:lnTo>
                  <a:lnTo>
                    <a:pt x="266" y="135"/>
                  </a:lnTo>
                  <a:lnTo>
                    <a:pt x="268" y="136"/>
                  </a:lnTo>
                  <a:lnTo>
                    <a:pt x="272" y="136"/>
                  </a:lnTo>
                  <a:lnTo>
                    <a:pt x="268" y="137"/>
                  </a:lnTo>
                  <a:lnTo>
                    <a:pt x="266" y="138"/>
                  </a:lnTo>
                  <a:lnTo>
                    <a:pt x="268" y="140"/>
                  </a:lnTo>
                  <a:lnTo>
                    <a:pt x="265" y="141"/>
                  </a:lnTo>
                  <a:lnTo>
                    <a:pt x="263" y="141"/>
                  </a:lnTo>
                  <a:lnTo>
                    <a:pt x="259" y="140"/>
                  </a:lnTo>
                  <a:lnTo>
                    <a:pt x="259" y="139"/>
                  </a:lnTo>
                  <a:lnTo>
                    <a:pt x="259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3" name="Freeform 223">
              <a:extLst>
                <a:ext uri="{FF2B5EF4-FFF2-40B4-BE49-F238E27FC236}">
                  <a16:creationId xmlns:a16="http://schemas.microsoft.com/office/drawing/2014/main" id="{D20B03B4-FFC7-4B25-9897-7A8F1A946B3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6900" y="4302125"/>
              <a:ext cx="225425" cy="241300"/>
            </a:xfrm>
            <a:custGeom>
              <a:avLst/>
              <a:gdLst>
                <a:gd name="T0" fmla="*/ 19 w 142"/>
                <a:gd name="T1" fmla="*/ 135 h 152"/>
                <a:gd name="T2" fmla="*/ 15 w 142"/>
                <a:gd name="T3" fmla="*/ 121 h 152"/>
                <a:gd name="T4" fmla="*/ 14 w 142"/>
                <a:gd name="T5" fmla="*/ 111 h 152"/>
                <a:gd name="T6" fmla="*/ 8 w 142"/>
                <a:gd name="T7" fmla="*/ 105 h 152"/>
                <a:gd name="T8" fmla="*/ 3 w 142"/>
                <a:gd name="T9" fmla="*/ 93 h 152"/>
                <a:gd name="T10" fmla="*/ 0 w 142"/>
                <a:gd name="T11" fmla="*/ 82 h 152"/>
                <a:gd name="T12" fmla="*/ 3 w 142"/>
                <a:gd name="T13" fmla="*/ 76 h 152"/>
                <a:gd name="T14" fmla="*/ 11 w 142"/>
                <a:gd name="T15" fmla="*/ 68 h 152"/>
                <a:gd name="T16" fmla="*/ 22 w 142"/>
                <a:gd name="T17" fmla="*/ 72 h 152"/>
                <a:gd name="T18" fmla="*/ 30 w 142"/>
                <a:gd name="T19" fmla="*/ 77 h 152"/>
                <a:gd name="T20" fmla="*/ 29 w 142"/>
                <a:gd name="T21" fmla="*/ 74 h 152"/>
                <a:gd name="T22" fmla="*/ 34 w 142"/>
                <a:gd name="T23" fmla="*/ 66 h 152"/>
                <a:gd name="T24" fmla="*/ 34 w 142"/>
                <a:gd name="T25" fmla="*/ 61 h 152"/>
                <a:gd name="T26" fmla="*/ 46 w 142"/>
                <a:gd name="T27" fmla="*/ 56 h 152"/>
                <a:gd name="T28" fmla="*/ 57 w 142"/>
                <a:gd name="T29" fmla="*/ 52 h 152"/>
                <a:gd name="T30" fmla="*/ 67 w 142"/>
                <a:gd name="T31" fmla="*/ 40 h 152"/>
                <a:gd name="T32" fmla="*/ 75 w 142"/>
                <a:gd name="T33" fmla="*/ 33 h 152"/>
                <a:gd name="T34" fmla="*/ 84 w 142"/>
                <a:gd name="T35" fmla="*/ 27 h 152"/>
                <a:gd name="T36" fmla="*/ 85 w 142"/>
                <a:gd name="T37" fmla="*/ 28 h 152"/>
                <a:gd name="T38" fmla="*/ 90 w 142"/>
                <a:gd name="T39" fmla="*/ 24 h 152"/>
                <a:gd name="T40" fmla="*/ 96 w 142"/>
                <a:gd name="T41" fmla="*/ 19 h 152"/>
                <a:gd name="T42" fmla="*/ 102 w 142"/>
                <a:gd name="T43" fmla="*/ 8 h 152"/>
                <a:gd name="T44" fmla="*/ 108 w 142"/>
                <a:gd name="T45" fmla="*/ 6 h 152"/>
                <a:gd name="T46" fmla="*/ 118 w 142"/>
                <a:gd name="T47" fmla="*/ 5 h 152"/>
                <a:gd name="T48" fmla="*/ 123 w 142"/>
                <a:gd name="T49" fmla="*/ 15 h 152"/>
                <a:gd name="T50" fmla="*/ 130 w 142"/>
                <a:gd name="T51" fmla="*/ 16 h 152"/>
                <a:gd name="T52" fmla="*/ 140 w 142"/>
                <a:gd name="T53" fmla="*/ 22 h 152"/>
                <a:gd name="T54" fmla="*/ 132 w 142"/>
                <a:gd name="T55" fmla="*/ 28 h 152"/>
                <a:gd name="T56" fmla="*/ 132 w 142"/>
                <a:gd name="T57" fmla="*/ 36 h 152"/>
                <a:gd name="T58" fmla="*/ 119 w 142"/>
                <a:gd name="T59" fmla="*/ 36 h 152"/>
                <a:gd name="T60" fmla="*/ 119 w 142"/>
                <a:gd name="T61" fmla="*/ 46 h 152"/>
                <a:gd name="T62" fmla="*/ 117 w 142"/>
                <a:gd name="T63" fmla="*/ 53 h 152"/>
                <a:gd name="T64" fmla="*/ 119 w 142"/>
                <a:gd name="T65" fmla="*/ 57 h 152"/>
                <a:gd name="T66" fmla="*/ 123 w 142"/>
                <a:gd name="T67" fmla="*/ 68 h 152"/>
                <a:gd name="T68" fmla="*/ 139 w 142"/>
                <a:gd name="T69" fmla="*/ 82 h 152"/>
                <a:gd name="T70" fmla="*/ 130 w 142"/>
                <a:gd name="T71" fmla="*/ 85 h 152"/>
                <a:gd name="T72" fmla="*/ 120 w 142"/>
                <a:gd name="T73" fmla="*/ 87 h 152"/>
                <a:gd name="T74" fmla="*/ 117 w 142"/>
                <a:gd name="T75" fmla="*/ 100 h 152"/>
                <a:gd name="T76" fmla="*/ 116 w 142"/>
                <a:gd name="T77" fmla="*/ 108 h 152"/>
                <a:gd name="T78" fmla="*/ 108 w 142"/>
                <a:gd name="T79" fmla="*/ 112 h 152"/>
                <a:gd name="T80" fmla="*/ 103 w 142"/>
                <a:gd name="T81" fmla="*/ 120 h 152"/>
                <a:gd name="T82" fmla="*/ 105 w 142"/>
                <a:gd name="T83" fmla="*/ 130 h 152"/>
                <a:gd name="T84" fmla="*/ 100 w 142"/>
                <a:gd name="T85" fmla="*/ 139 h 152"/>
                <a:gd name="T86" fmla="*/ 86 w 142"/>
                <a:gd name="T87" fmla="*/ 149 h 152"/>
                <a:gd name="T88" fmla="*/ 79 w 142"/>
                <a:gd name="T89" fmla="*/ 147 h 152"/>
                <a:gd name="T90" fmla="*/ 74 w 142"/>
                <a:gd name="T91" fmla="*/ 143 h 152"/>
                <a:gd name="T92" fmla="*/ 67 w 142"/>
                <a:gd name="T93" fmla="*/ 143 h 152"/>
                <a:gd name="T94" fmla="*/ 57 w 142"/>
                <a:gd name="T95" fmla="*/ 137 h 152"/>
                <a:gd name="T96" fmla="*/ 46 w 142"/>
                <a:gd name="T97" fmla="*/ 142 h 152"/>
                <a:gd name="T98" fmla="*/ 40 w 142"/>
                <a:gd name="T99" fmla="*/ 136 h 152"/>
                <a:gd name="T100" fmla="*/ 30 w 142"/>
                <a:gd name="T101" fmla="*/ 138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42" h="152">
                  <a:moveTo>
                    <a:pt x="28" y="135"/>
                  </a:moveTo>
                  <a:lnTo>
                    <a:pt x="26" y="136"/>
                  </a:lnTo>
                  <a:lnTo>
                    <a:pt x="23" y="135"/>
                  </a:lnTo>
                  <a:lnTo>
                    <a:pt x="21" y="136"/>
                  </a:lnTo>
                  <a:lnTo>
                    <a:pt x="19" y="135"/>
                  </a:lnTo>
                  <a:lnTo>
                    <a:pt x="19" y="133"/>
                  </a:lnTo>
                  <a:lnTo>
                    <a:pt x="17" y="129"/>
                  </a:lnTo>
                  <a:lnTo>
                    <a:pt x="17" y="127"/>
                  </a:lnTo>
                  <a:lnTo>
                    <a:pt x="16" y="125"/>
                  </a:lnTo>
                  <a:lnTo>
                    <a:pt x="15" y="121"/>
                  </a:lnTo>
                  <a:lnTo>
                    <a:pt x="15" y="119"/>
                  </a:lnTo>
                  <a:lnTo>
                    <a:pt x="15" y="119"/>
                  </a:lnTo>
                  <a:lnTo>
                    <a:pt x="16" y="116"/>
                  </a:lnTo>
                  <a:lnTo>
                    <a:pt x="15" y="113"/>
                  </a:lnTo>
                  <a:lnTo>
                    <a:pt x="14" y="111"/>
                  </a:lnTo>
                  <a:lnTo>
                    <a:pt x="11" y="109"/>
                  </a:lnTo>
                  <a:lnTo>
                    <a:pt x="8" y="108"/>
                  </a:lnTo>
                  <a:lnTo>
                    <a:pt x="6" y="108"/>
                  </a:lnTo>
                  <a:lnTo>
                    <a:pt x="5" y="105"/>
                  </a:lnTo>
                  <a:lnTo>
                    <a:pt x="8" y="105"/>
                  </a:lnTo>
                  <a:lnTo>
                    <a:pt x="3" y="102"/>
                  </a:lnTo>
                  <a:lnTo>
                    <a:pt x="5" y="99"/>
                  </a:lnTo>
                  <a:lnTo>
                    <a:pt x="4" y="99"/>
                  </a:lnTo>
                  <a:lnTo>
                    <a:pt x="4" y="95"/>
                  </a:lnTo>
                  <a:lnTo>
                    <a:pt x="3" y="93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6"/>
                  </a:lnTo>
                  <a:lnTo>
                    <a:pt x="0" y="84"/>
                  </a:lnTo>
                  <a:lnTo>
                    <a:pt x="0" y="82"/>
                  </a:lnTo>
                  <a:lnTo>
                    <a:pt x="4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2" y="79"/>
                  </a:lnTo>
                  <a:lnTo>
                    <a:pt x="3" y="76"/>
                  </a:lnTo>
                  <a:lnTo>
                    <a:pt x="4" y="74"/>
                  </a:lnTo>
                  <a:lnTo>
                    <a:pt x="6" y="71"/>
                  </a:lnTo>
                  <a:lnTo>
                    <a:pt x="9" y="68"/>
                  </a:lnTo>
                  <a:lnTo>
                    <a:pt x="11" y="67"/>
                  </a:lnTo>
                  <a:lnTo>
                    <a:pt x="11" y="68"/>
                  </a:lnTo>
                  <a:lnTo>
                    <a:pt x="13" y="71"/>
                  </a:lnTo>
                  <a:lnTo>
                    <a:pt x="15" y="72"/>
                  </a:lnTo>
                  <a:lnTo>
                    <a:pt x="17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2" y="74"/>
                  </a:lnTo>
                  <a:lnTo>
                    <a:pt x="24" y="74"/>
                  </a:lnTo>
                  <a:lnTo>
                    <a:pt x="24" y="76"/>
                  </a:lnTo>
                  <a:lnTo>
                    <a:pt x="26" y="75"/>
                  </a:lnTo>
                  <a:lnTo>
                    <a:pt x="30" y="77"/>
                  </a:lnTo>
                  <a:lnTo>
                    <a:pt x="32" y="77"/>
                  </a:lnTo>
                  <a:lnTo>
                    <a:pt x="33" y="77"/>
                  </a:lnTo>
                  <a:lnTo>
                    <a:pt x="34" y="77"/>
                  </a:lnTo>
                  <a:lnTo>
                    <a:pt x="31" y="77"/>
                  </a:lnTo>
                  <a:lnTo>
                    <a:pt x="29" y="74"/>
                  </a:lnTo>
                  <a:lnTo>
                    <a:pt x="31" y="74"/>
                  </a:lnTo>
                  <a:lnTo>
                    <a:pt x="30" y="70"/>
                  </a:lnTo>
                  <a:lnTo>
                    <a:pt x="31" y="68"/>
                  </a:lnTo>
                  <a:lnTo>
                    <a:pt x="32" y="67"/>
                  </a:lnTo>
                  <a:lnTo>
                    <a:pt x="34" y="66"/>
                  </a:lnTo>
                  <a:lnTo>
                    <a:pt x="31" y="67"/>
                  </a:lnTo>
                  <a:lnTo>
                    <a:pt x="31" y="63"/>
                  </a:lnTo>
                  <a:lnTo>
                    <a:pt x="34" y="63"/>
                  </a:lnTo>
                  <a:lnTo>
                    <a:pt x="36" y="63"/>
                  </a:lnTo>
                  <a:lnTo>
                    <a:pt x="34" y="61"/>
                  </a:lnTo>
                  <a:lnTo>
                    <a:pt x="36" y="58"/>
                  </a:lnTo>
                  <a:lnTo>
                    <a:pt x="38" y="57"/>
                  </a:lnTo>
                  <a:lnTo>
                    <a:pt x="40" y="57"/>
                  </a:lnTo>
                  <a:lnTo>
                    <a:pt x="43" y="56"/>
                  </a:lnTo>
                  <a:lnTo>
                    <a:pt x="46" y="56"/>
                  </a:lnTo>
                  <a:lnTo>
                    <a:pt x="48" y="54"/>
                  </a:lnTo>
                  <a:lnTo>
                    <a:pt x="50" y="54"/>
                  </a:lnTo>
                  <a:lnTo>
                    <a:pt x="54" y="53"/>
                  </a:lnTo>
                  <a:lnTo>
                    <a:pt x="56" y="52"/>
                  </a:lnTo>
                  <a:lnTo>
                    <a:pt x="57" y="52"/>
                  </a:lnTo>
                  <a:lnTo>
                    <a:pt x="58" y="50"/>
                  </a:lnTo>
                  <a:lnTo>
                    <a:pt x="60" y="46"/>
                  </a:lnTo>
                  <a:lnTo>
                    <a:pt x="63" y="44"/>
                  </a:lnTo>
                  <a:lnTo>
                    <a:pt x="65" y="42"/>
                  </a:lnTo>
                  <a:lnTo>
                    <a:pt x="67" y="40"/>
                  </a:lnTo>
                  <a:lnTo>
                    <a:pt x="69" y="36"/>
                  </a:lnTo>
                  <a:lnTo>
                    <a:pt x="69" y="34"/>
                  </a:lnTo>
                  <a:lnTo>
                    <a:pt x="69" y="33"/>
                  </a:lnTo>
                  <a:lnTo>
                    <a:pt x="72" y="33"/>
                  </a:lnTo>
                  <a:lnTo>
                    <a:pt x="75" y="33"/>
                  </a:lnTo>
                  <a:lnTo>
                    <a:pt x="77" y="31"/>
                  </a:lnTo>
                  <a:lnTo>
                    <a:pt x="79" y="31"/>
                  </a:lnTo>
                  <a:lnTo>
                    <a:pt x="81" y="28"/>
                  </a:lnTo>
                  <a:lnTo>
                    <a:pt x="82" y="27"/>
                  </a:lnTo>
                  <a:lnTo>
                    <a:pt x="84" y="27"/>
                  </a:lnTo>
                  <a:lnTo>
                    <a:pt x="83" y="28"/>
                  </a:lnTo>
                  <a:lnTo>
                    <a:pt x="84" y="29"/>
                  </a:lnTo>
                  <a:lnTo>
                    <a:pt x="84" y="29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7"/>
                  </a:lnTo>
                  <a:lnTo>
                    <a:pt x="89" y="27"/>
                  </a:lnTo>
                  <a:lnTo>
                    <a:pt x="90" y="27"/>
                  </a:lnTo>
                  <a:lnTo>
                    <a:pt x="91" y="24"/>
                  </a:lnTo>
                  <a:lnTo>
                    <a:pt x="90" y="24"/>
                  </a:lnTo>
                  <a:lnTo>
                    <a:pt x="89" y="23"/>
                  </a:lnTo>
                  <a:lnTo>
                    <a:pt x="89" y="22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6" y="19"/>
                  </a:lnTo>
                  <a:lnTo>
                    <a:pt x="97" y="17"/>
                  </a:lnTo>
                  <a:lnTo>
                    <a:pt x="97" y="16"/>
                  </a:lnTo>
                  <a:lnTo>
                    <a:pt x="99" y="14"/>
                  </a:lnTo>
                  <a:lnTo>
                    <a:pt x="100" y="11"/>
                  </a:lnTo>
                  <a:lnTo>
                    <a:pt x="102" y="8"/>
                  </a:lnTo>
                  <a:lnTo>
                    <a:pt x="105" y="6"/>
                  </a:lnTo>
                  <a:lnTo>
                    <a:pt x="106" y="2"/>
                  </a:lnTo>
                  <a:lnTo>
                    <a:pt x="109" y="0"/>
                  </a:lnTo>
                  <a:lnTo>
                    <a:pt x="109" y="2"/>
                  </a:lnTo>
                  <a:lnTo>
                    <a:pt x="108" y="6"/>
                  </a:lnTo>
                  <a:lnTo>
                    <a:pt x="110" y="3"/>
                  </a:lnTo>
                  <a:lnTo>
                    <a:pt x="111" y="0"/>
                  </a:lnTo>
                  <a:lnTo>
                    <a:pt x="114" y="2"/>
                  </a:lnTo>
                  <a:lnTo>
                    <a:pt x="116" y="5"/>
                  </a:lnTo>
                  <a:lnTo>
                    <a:pt x="118" y="5"/>
                  </a:lnTo>
                  <a:lnTo>
                    <a:pt x="120" y="8"/>
                  </a:lnTo>
                  <a:lnTo>
                    <a:pt x="120" y="9"/>
                  </a:lnTo>
                  <a:lnTo>
                    <a:pt x="120" y="12"/>
                  </a:lnTo>
                  <a:lnTo>
                    <a:pt x="119" y="15"/>
                  </a:lnTo>
                  <a:lnTo>
                    <a:pt x="123" y="15"/>
                  </a:lnTo>
                  <a:lnTo>
                    <a:pt x="125" y="12"/>
                  </a:lnTo>
                  <a:lnTo>
                    <a:pt x="126" y="16"/>
                  </a:lnTo>
                  <a:lnTo>
                    <a:pt x="124" y="18"/>
                  </a:lnTo>
                  <a:lnTo>
                    <a:pt x="126" y="18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3" y="18"/>
                  </a:lnTo>
                  <a:lnTo>
                    <a:pt x="135" y="19"/>
                  </a:lnTo>
                  <a:lnTo>
                    <a:pt x="137" y="22"/>
                  </a:lnTo>
                  <a:lnTo>
                    <a:pt x="140" y="22"/>
                  </a:lnTo>
                  <a:lnTo>
                    <a:pt x="142" y="23"/>
                  </a:lnTo>
                  <a:lnTo>
                    <a:pt x="140" y="26"/>
                  </a:lnTo>
                  <a:lnTo>
                    <a:pt x="137" y="27"/>
                  </a:lnTo>
                  <a:lnTo>
                    <a:pt x="135" y="27"/>
                  </a:lnTo>
                  <a:lnTo>
                    <a:pt x="132" y="28"/>
                  </a:lnTo>
                  <a:lnTo>
                    <a:pt x="130" y="27"/>
                  </a:lnTo>
                  <a:lnTo>
                    <a:pt x="126" y="28"/>
                  </a:lnTo>
                  <a:lnTo>
                    <a:pt x="128" y="32"/>
                  </a:lnTo>
                  <a:lnTo>
                    <a:pt x="131" y="33"/>
                  </a:lnTo>
                  <a:lnTo>
                    <a:pt x="132" y="36"/>
                  </a:lnTo>
                  <a:lnTo>
                    <a:pt x="130" y="36"/>
                  </a:lnTo>
                  <a:lnTo>
                    <a:pt x="127" y="36"/>
                  </a:lnTo>
                  <a:lnTo>
                    <a:pt x="125" y="37"/>
                  </a:lnTo>
                  <a:lnTo>
                    <a:pt x="122" y="36"/>
                  </a:lnTo>
                  <a:lnTo>
                    <a:pt x="119" y="36"/>
                  </a:lnTo>
                  <a:lnTo>
                    <a:pt x="119" y="39"/>
                  </a:lnTo>
                  <a:lnTo>
                    <a:pt x="117" y="40"/>
                  </a:lnTo>
                  <a:lnTo>
                    <a:pt x="119" y="42"/>
                  </a:lnTo>
                  <a:lnTo>
                    <a:pt x="122" y="45"/>
                  </a:lnTo>
                  <a:lnTo>
                    <a:pt x="119" y="46"/>
                  </a:lnTo>
                  <a:lnTo>
                    <a:pt x="117" y="46"/>
                  </a:lnTo>
                  <a:lnTo>
                    <a:pt x="114" y="48"/>
                  </a:lnTo>
                  <a:lnTo>
                    <a:pt x="116" y="50"/>
                  </a:lnTo>
                  <a:lnTo>
                    <a:pt x="117" y="53"/>
                  </a:lnTo>
                  <a:lnTo>
                    <a:pt x="117" y="53"/>
                  </a:lnTo>
                  <a:lnTo>
                    <a:pt x="119" y="53"/>
                  </a:lnTo>
                  <a:lnTo>
                    <a:pt x="119" y="54"/>
                  </a:lnTo>
                  <a:lnTo>
                    <a:pt x="118" y="54"/>
                  </a:lnTo>
                  <a:lnTo>
                    <a:pt x="118" y="56"/>
                  </a:lnTo>
                  <a:lnTo>
                    <a:pt x="119" y="57"/>
                  </a:lnTo>
                  <a:lnTo>
                    <a:pt x="122" y="58"/>
                  </a:lnTo>
                  <a:lnTo>
                    <a:pt x="123" y="60"/>
                  </a:lnTo>
                  <a:lnTo>
                    <a:pt x="125" y="63"/>
                  </a:lnTo>
                  <a:lnTo>
                    <a:pt x="124" y="66"/>
                  </a:lnTo>
                  <a:lnTo>
                    <a:pt x="123" y="68"/>
                  </a:lnTo>
                  <a:lnTo>
                    <a:pt x="125" y="71"/>
                  </a:lnTo>
                  <a:lnTo>
                    <a:pt x="131" y="76"/>
                  </a:lnTo>
                  <a:lnTo>
                    <a:pt x="133" y="77"/>
                  </a:lnTo>
                  <a:lnTo>
                    <a:pt x="135" y="80"/>
                  </a:lnTo>
                  <a:lnTo>
                    <a:pt x="139" y="82"/>
                  </a:lnTo>
                  <a:lnTo>
                    <a:pt x="139" y="82"/>
                  </a:lnTo>
                  <a:lnTo>
                    <a:pt x="137" y="83"/>
                  </a:lnTo>
                  <a:lnTo>
                    <a:pt x="135" y="85"/>
                  </a:lnTo>
                  <a:lnTo>
                    <a:pt x="132" y="85"/>
                  </a:lnTo>
                  <a:lnTo>
                    <a:pt x="130" y="85"/>
                  </a:lnTo>
                  <a:lnTo>
                    <a:pt x="127" y="84"/>
                  </a:lnTo>
                  <a:lnTo>
                    <a:pt x="124" y="82"/>
                  </a:lnTo>
                  <a:lnTo>
                    <a:pt x="124" y="85"/>
                  </a:lnTo>
                  <a:lnTo>
                    <a:pt x="122" y="85"/>
                  </a:lnTo>
                  <a:lnTo>
                    <a:pt x="120" y="87"/>
                  </a:lnTo>
                  <a:lnTo>
                    <a:pt x="118" y="91"/>
                  </a:lnTo>
                  <a:lnTo>
                    <a:pt x="118" y="93"/>
                  </a:lnTo>
                  <a:lnTo>
                    <a:pt x="118" y="95"/>
                  </a:lnTo>
                  <a:lnTo>
                    <a:pt x="117" y="97"/>
                  </a:lnTo>
                  <a:lnTo>
                    <a:pt x="117" y="100"/>
                  </a:lnTo>
                  <a:lnTo>
                    <a:pt x="117" y="103"/>
                  </a:lnTo>
                  <a:lnTo>
                    <a:pt x="119" y="102"/>
                  </a:lnTo>
                  <a:lnTo>
                    <a:pt x="118" y="104"/>
                  </a:lnTo>
                  <a:lnTo>
                    <a:pt x="117" y="106"/>
                  </a:lnTo>
                  <a:lnTo>
                    <a:pt x="116" y="108"/>
                  </a:lnTo>
                  <a:lnTo>
                    <a:pt x="115" y="106"/>
                  </a:lnTo>
                  <a:lnTo>
                    <a:pt x="115" y="108"/>
                  </a:lnTo>
                  <a:lnTo>
                    <a:pt x="113" y="110"/>
                  </a:lnTo>
                  <a:lnTo>
                    <a:pt x="110" y="112"/>
                  </a:lnTo>
                  <a:lnTo>
                    <a:pt x="108" y="112"/>
                  </a:lnTo>
                  <a:lnTo>
                    <a:pt x="107" y="114"/>
                  </a:lnTo>
                  <a:lnTo>
                    <a:pt x="105" y="116"/>
                  </a:lnTo>
                  <a:lnTo>
                    <a:pt x="103" y="119"/>
                  </a:lnTo>
                  <a:lnTo>
                    <a:pt x="100" y="120"/>
                  </a:lnTo>
                  <a:lnTo>
                    <a:pt x="103" y="120"/>
                  </a:lnTo>
                  <a:lnTo>
                    <a:pt x="103" y="123"/>
                  </a:lnTo>
                  <a:lnTo>
                    <a:pt x="102" y="126"/>
                  </a:lnTo>
                  <a:lnTo>
                    <a:pt x="105" y="127"/>
                  </a:lnTo>
                  <a:lnTo>
                    <a:pt x="105" y="127"/>
                  </a:lnTo>
                  <a:lnTo>
                    <a:pt x="105" y="130"/>
                  </a:lnTo>
                  <a:lnTo>
                    <a:pt x="102" y="130"/>
                  </a:lnTo>
                  <a:lnTo>
                    <a:pt x="102" y="133"/>
                  </a:lnTo>
                  <a:lnTo>
                    <a:pt x="102" y="136"/>
                  </a:lnTo>
                  <a:lnTo>
                    <a:pt x="99" y="137"/>
                  </a:lnTo>
                  <a:lnTo>
                    <a:pt x="100" y="139"/>
                  </a:lnTo>
                  <a:lnTo>
                    <a:pt x="98" y="142"/>
                  </a:lnTo>
                  <a:lnTo>
                    <a:pt x="97" y="145"/>
                  </a:lnTo>
                  <a:lnTo>
                    <a:pt x="92" y="147"/>
                  </a:lnTo>
                  <a:lnTo>
                    <a:pt x="89" y="148"/>
                  </a:lnTo>
                  <a:lnTo>
                    <a:pt x="86" y="149"/>
                  </a:lnTo>
                  <a:lnTo>
                    <a:pt x="83" y="151"/>
                  </a:lnTo>
                  <a:lnTo>
                    <a:pt x="81" y="152"/>
                  </a:lnTo>
                  <a:lnTo>
                    <a:pt x="79" y="152"/>
                  </a:lnTo>
                  <a:lnTo>
                    <a:pt x="79" y="149"/>
                  </a:lnTo>
                  <a:lnTo>
                    <a:pt x="79" y="147"/>
                  </a:lnTo>
                  <a:lnTo>
                    <a:pt x="77" y="144"/>
                  </a:lnTo>
                  <a:lnTo>
                    <a:pt x="77" y="142"/>
                  </a:lnTo>
                  <a:lnTo>
                    <a:pt x="76" y="142"/>
                  </a:lnTo>
                  <a:lnTo>
                    <a:pt x="74" y="143"/>
                  </a:lnTo>
                  <a:lnTo>
                    <a:pt x="74" y="143"/>
                  </a:lnTo>
                  <a:lnTo>
                    <a:pt x="75" y="139"/>
                  </a:lnTo>
                  <a:lnTo>
                    <a:pt x="74" y="140"/>
                  </a:lnTo>
                  <a:lnTo>
                    <a:pt x="72" y="139"/>
                  </a:lnTo>
                  <a:lnTo>
                    <a:pt x="71" y="142"/>
                  </a:lnTo>
                  <a:lnTo>
                    <a:pt x="67" y="143"/>
                  </a:lnTo>
                  <a:lnTo>
                    <a:pt x="65" y="142"/>
                  </a:lnTo>
                  <a:lnTo>
                    <a:pt x="65" y="139"/>
                  </a:lnTo>
                  <a:lnTo>
                    <a:pt x="62" y="140"/>
                  </a:lnTo>
                  <a:lnTo>
                    <a:pt x="59" y="139"/>
                  </a:lnTo>
                  <a:lnTo>
                    <a:pt x="57" y="137"/>
                  </a:lnTo>
                  <a:lnTo>
                    <a:pt x="56" y="139"/>
                  </a:lnTo>
                  <a:lnTo>
                    <a:pt x="52" y="142"/>
                  </a:lnTo>
                  <a:lnTo>
                    <a:pt x="50" y="143"/>
                  </a:lnTo>
                  <a:lnTo>
                    <a:pt x="48" y="142"/>
                  </a:lnTo>
                  <a:lnTo>
                    <a:pt x="46" y="142"/>
                  </a:lnTo>
                  <a:lnTo>
                    <a:pt x="42" y="143"/>
                  </a:lnTo>
                  <a:lnTo>
                    <a:pt x="40" y="144"/>
                  </a:lnTo>
                  <a:lnTo>
                    <a:pt x="40" y="142"/>
                  </a:lnTo>
                  <a:lnTo>
                    <a:pt x="40" y="139"/>
                  </a:lnTo>
                  <a:lnTo>
                    <a:pt x="40" y="136"/>
                  </a:lnTo>
                  <a:lnTo>
                    <a:pt x="39" y="134"/>
                  </a:lnTo>
                  <a:lnTo>
                    <a:pt x="38" y="136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0" y="138"/>
                  </a:lnTo>
                  <a:lnTo>
                    <a:pt x="26" y="138"/>
                  </a:lnTo>
                  <a:lnTo>
                    <a:pt x="28" y="135"/>
                  </a:lnTo>
                  <a:lnTo>
                    <a:pt x="28" y="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4" name="Freeform 224">
              <a:extLst>
                <a:ext uri="{FF2B5EF4-FFF2-40B4-BE49-F238E27FC236}">
                  <a16:creationId xmlns:a16="http://schemas.microsoft.com/office/drawing/2014/main" id="{8DDCECC2-EE63-4AC0-8B07-B5F35D1EAC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8450" y="4330700"/>
              <a:ext cx="393700" cy="307975"/>
            </a:xfrm>
            <a:custGeom>
              <a:avLst/>
              <a:gdLst>
                <a:gd name="T0" fmla="*/ 120 w 248"/>
                <a:gd name="T1" fmla="*/ 92 h 194"/>
                <a:gd name="T2" fmla="*/ 127 w 248"/>
                <a:gd name="T3" fmla="*/ 96 h 194"/>
                <a:gd name="T4" fmla="*/ 129 w 248"/>
                <a:gd name="T5" fmla="*/ 104 h 194"/>
                <a:gd name="T6" fmla="*/ 131 w 248"/>
                <a:gd name="T7" fmla="*/ 110 h 194"/>
                <a:gd name="T8" fmla="*/ 133 w 248"/>
                <a:gd name="T9" fmla="*/ 110 h 194"/>
                <a:gd name="T10" fmla="*/ 143 w 248"/>
                <a:gd name="T11" fmla="*/ 112 h 194"/>
                <a:gd name="T12" fmla="*/ 149 w 248"/>
                <a:gd name="T13" fmla="*/ 121 h 194"/>
                <a:gd name="T14" fmla="*/ 146 w 248"/>
                <a:gd name="T15" fmla="*/ 131 h 194"/>
                <a:gd name="T16" fmla="*/ 146 w 248"/>
                <a:gd name="T17" fmla="*/ 142 h 194"/>
                <a:gd name="T18" fmla="*/ 145 w 248"/>
                <a:gd name="T19" fmla="*/ 153 h 194"/>
                <a:gd name="T20" fmla="*/ 140 w 248"/>
                <a:gd name="T21" fmla="*/ 154 h 194"/>
                <a:gd name="T22" fmla="*/ 131 w 248"/>
                <a:gd name="T23" fmla="*/ 154 h 194"/>
                <a:gd name="T24" fmla="*/ 128 w 248"/>
                <a:gd name="T25" fmla="*/ 159 h 194"/>
                <a:gd name="T26" fmla="*/ 123 w 248"/>
                <a:gd name="T27" fmla="*/ 152 h 194"/>
                <a:gd name="T28" fmla="*/ 115 w 248"/>
                <a:gd name="T29" fmla="*/ 145 h 194"/>
                <a:gd name="T30" fmla="*/ 105 w 248"/>
                <a:gd name="T31" fmla="*/ 137 h 194"/>
                <a:gd name="T32" fmla="*/ 97 w 248"/>
                <a:gd name="T33" fmla="*/ 128 h 194"/>
                <a:gd name="T34" fmla="*/ 86 w 248"/>
                <a:gd name="T35" fmla="*/ 120 h 194"/>
                <a:gd name="T36" fmla="*/ 80 w 248"/>
                <a:gd name="T37" fmla="*/ 111 h 194"/>
                <a:gd name="T38" fmla="*/ 75 w 248"/>
                <a:gd name="T39" fmla="*/ 100 h 194"/>
                <a:gd name="T40" fmla="*/ 71 w 248"/>
                <a:gd name="T41" fmla="*/ 90 h 194"/>
                <a:gd name="T42" fmla="*/ 63 w 248"/>
                <a:gd name="T43" fmla="*/ 81 h 194"/>
                <a:gd name="T44" fmla="*/ 55 w 248"/>
                <a:gd name="T45" fmla="*/ 74 h 194"/>
                <a:gd name="T46" fmla="*/ 51 w 248"/>
                <a:gd name="T47" fmla="*/ 64 h 194"/>
                <a:gd name="T48" fmla="*/ 45 w 248"/>
                <a:gd name="T49" fmla="*/ 50 h 194"/>
                <a:gd name="T50" fmla="*/ 37 w 248"/>
                <a:gd name="T51" fmla="*/ 47 h 194"/>
                <a:gd name="T52" fmla="*/ 31 w 248"/>
                <a:gd name="T53" fmla="*/ 38 h 194"/>
                <a:gd name="T54" fmla="*/ 23 w 248"/>
                <a:gd name="T55" fmla="*/ 27 h 194"/>
                <a:gd name="T56" fmla="*/ 13 w 248"/>
                <a:gd name="T57" fmla="*/ 21 h 194"/>
                <a:gd name="T58" fmla="*/ 3 w 248"/>
                <a:gd name="T59" fmla="*/ 10 h 194"/>
                <a:gd name="T60" fmla="*/ 6 w 248"/>
                <a:gd name="T61" fmla="*/ 0 h 194"/>
                <a:gd name="T62" fmla="*/ 17 w 248"/>
                <a:gd name="T63" fmla="*/ 6 h 194"/>
                <a:gd name="T64" fmla="*/ 28 w 248"/>
                <a:gd name="T65" fmla="*/ 7 h 194"/>
                <a:gd name="T66" fmla="*/ 37 w 248"/>
                <a:gd name="T67" fmla="*/ 10 h 194"/>
                <a:gd name="T68" fmla="*/ 42 w 248"/>
                <a:gd name="T69" fmla="*/ 19 h 194"/>
                <a:gd name="T70" fmla="*/ 52 w 248"/>
                <a:gd name="T71" fmla="*/ 27 h 194"/>
                <a:gd name="T72" fmla="*/ 63 w 248"/>
                <a:gd name="T73" fmla="*/ 35 h 194"/>
                <a:gd name="T74" fmla="*/ 66 w 248"/>
                <a:gd name="T75" fmla="*/ 41 h 194"/>
                <a:gd name="T76" fmla="*/ 72 w 248"/>
                <a:gd name="T77" fmla="*/ 45 h 194"/>
                <a:gd name="T78" fmla="*/ 79 w 248"/>
                <a:gd name="T79" fmla="*/ 52 h 194"/>
                <a:gd name="T80" fmla="*/ 82 w 248"/>
                <a:gd name="T81" fmla="*/ 49 h 194"/>
                <a:gd name="T82" fmla="*/ 91 w 248"/>
                <a:gd name="T83" fmla="*/ 56 h 194"/>
                <a:gd name="T84" fmla="*/ 97 w 248"/>
                <a:gd name="T85" fmla="*/ 64 h 194"/>
                <a:gd name="T86" fmla="*/ 107 w 248"/>
                <a:gd name="T87" fmla="*/ 68 h 194"/>
                <a:gd name="T88" fmla="*/ 100 w 248"/>
                <a:gd name="T89" fmla="*/ 75 h 194"/>
                <a:gd name="T90" fmla="*/ 107 w 248"/>
                <a:gd name="T91" fmla="*/ 73 h 194"/>
                <a:gd name="T92" fmla="*/ 118 w 248"/>
                <a:gd name="T93" fmla="*/ 76 h 194"/>
                <a:gd name="T94" fmla="*/ 111 w 248"/>
                <a:gd name="T95" fmla="*/ 83 h 194"/>
                <a:gd name="T96" fmla="*/ 112 w 248"/>
                <a:gd name="T97" fmla="*/ 85 h 194"/>
                <a:gd name="T98" fmla="*/ 248 w 248"/>
                <a:gd name="T9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8" h="194">
                  <a:moveTo>
                    <a:pt x="112" y="88"/>
                  </a:moveTo>
                  <a:lnTo>
                    <a:pt x="116" y="90"/>
                  </a:lnTo>
                  <a:lnTo>
                    <a:pt x="118" y="92"/>
                  </a:lnTo>
                  <a:lnTo>
                    <a:pt x="120" y="92"/>
                  </a:lnTo>
                  <a:lnTo>
                    <a:pt x="124" y="92"/>
                  </a:lnTo>
                  <a:lnTo>
                    <a:pt x="124" y="92"/>
                  </a:lnTo>
                  <a:lnTo>
                    <a:pt x="126" y="93"/>
                  </a:lnTo>
                  <a:lnTo>
                    <a:pt x="127" y="96"/>
                  </a:lnTo>
                  <a:lnTo>
                    <a:pt x="127" y="99"/>
                  </a:lnTo>
                  <a:lnTo>
                    <a:pt x="128" y="101"/>
                  </a:lnTo>
                  <a:lnTo>
                    <a:pt x="128" y="102"/>
                  </a:lnTo>
                  <a:lnTo>
                    <a:pt x="129" y="104"/>
                  </a:lnTo>
                  <a:lnTo>
                    <a:pt x="133" y="105"/>
                  </a:lnTo>
                  <a:lnTo>
                    <a:pt x="132" y="108"/>
                  </a:lnTo>
                  <a:lnTo>
                    <a:pt x="129" y="110"/>
                  </a:lnTo>
                  <a:lnTo>
                    <a:pt x="131" y="110"/>
                  </a:lnTo>
                  <a:lnTo>
                    <a:pt x="131" y="113"/>
                  </a:lnTo>
                  <a:lnTo>
                    <a:pt x="128" y="116"/>
                  </a:lnTo>
                  <a:lnTo>
                    <a:pt x="131" y="112"/>
                  </a:lnTo>
                  <a:lnTo>
                    <a:pt x="133" y="110"/>
                  </a:lnTo>
                  <a:lnTo>
                    <a:pt x="135" y="110"/>
                  </a:lnTo>
                  <a:lnTo>
                    <a:pt x="137" y="110"/>
                  </a:lnTo>
                  <a:lnTo>
                    <a:pt x="140" y="110"/>
                  </a:lnTo>
                  <a:lnTo>
                    <a:pt x="143" y="112"/>
                  </a:lnTo>
                  <a:lnTo>
                    <a:pt x="145" y="115"/>
                  </a:lnTo>
                  <a:lnTo>
                    <a:pt x="145" y="118"/>
                  </a:lnTo>
                  <a:lnTo>
                    <a:pt x="149" y="119"/>
                  </a:lnTo>
                  <a:lnTo>
                    <a:pt x="149" y="121"/>
                  </a:lnTo>
                  <a:lnTo>
                    <a:pt x="148" y="124"/>
                  </a:lnTo>
                  <a:lnTo>
                    <a:pt x="146" y="127"/>
                  </a:lnTo>
                  <a:lnTo>
                    <a:pt x="146" y="129"/>
                  </a:lnTo>
                  <a:lnTo>
                    <a:pt x="146" y="131"/>
                  </a:lnTo>
                  <a:lnTo>
                    <a:pt x="145" y="135"/>
                  </a:lnTo>
                  <a:lnTo>
                    <a:pt x="145" y="137"/>
                  </a:lnTo>
                  <a:lnTo>
                    <a:pt x="146" y="139"/>
                  </a:lnTo>
                  <a:lnTo>
                    <a:pt x="146" y="142"/>
                  </a:lnTo>
                  <a:lnTo>
                    <a:pt x="146" y="145"/>
                  </a:lnTo>
                  <a:lnTo>
                    <a:pt x="146" y="147"/>
                  </a:lnTo>
                  <a:lnTo>
                    <a:pt x="146" y="150"/>
                  </a:lnTo>
                  <a:lnTo>
                    <a:pt x="145" y="153"/>
                  </a:lnTo>
                  <a:lnTo>
                    <a:pt x="145" y="155"/>
                  </a:lnTo>
                  <a:lnTo>
                    <a:pt x="144" y="159"/>
                  </a:lnTo>
                  <a:lnTo>
                    <a:pt x="142" y="155"/>
                  </a:lnTo>
                  <a:lnTo>
                    <a:pt x="140" y="154"/>
                  </a:lnTo>
                  <a:lnTo>
                    <a:pt x="137" y="154"/>
                  </a:lnTo>
                  <a:lnTo>
                    <a:pt x="136" y="156"/>
                  </a:lnTo>
                  <a:lnTo>
                    <a:pt x="133" y="155"/>
                  </a:lnTo>
                  <a:lnTo>
                    <a:pt x="131" y="154"/>
                  </a:lnTo>
                  <a:lnTo>
                    <a:pt x="128" y="154"/>
                  </a:lnTo>
                  <a:lnTo>
                    <a:pt x="129" y="156"/>
                  </a:lnTo>
                  <a:lnTo>
                    <a:pt x="128" y="159"/>
                  </a:lnTo>
                  <a:lnTo>
                    <a:pt x="128" y="159"/>
                  </a:lnTo>
                  <a:lnTo>
                    <a:pt x="127" y="158"/>
                  </a:lnTo>
                  <a:lnTo>
                    <a:pt x="125" y="155"/>
                  </a:lnTo>
                  <a:lnTo>
                    <a:pt x="125" y="154"/>
                  </a:lnTo>
                  <a:lnTo>
                    <a:pt x="123" y="152"/>
                  </a:lnTo>
                  <a:lnTo>
                    <a:pt x="120" y="150"/>
                  </a:lnTo>
                  <a:lnTo>
                    <a:pt x="118" y="146"/>
                  </a:lnTo>
                  <a:lnTo>
                    <a:pt x="116" y="145"/>
                  </a:lnTo>
                  <a:lnTo>
                    <a:pt x="115" y="145"/>
                  </a:lnTo>
                  <a:lnTo>
                    <a:pt x="112" y="143"/>
                  </a:lnTo>
                  <a:lnTo>
                    <a:pt x="109" y="142"/>
                  </a:lnTo>
                  <a:lnTo>
                    <a:pt x="107" y="139"/>
                  </a:lnTo>
                  <a:lnTo>
                    <a:pt x="105" y="137"/>
                  </a:lnTo>
                  <a:lnTo>
                    <a:pt x="101" y="135"/>
                  </a:lnTo>
                  <a:lnTo>
                    <a:pt x="99" y="133"/>
                  </a:lnTo>
                  <a:lnTo>
                    <a:pt x="98" y="130"/>
                  </a:lnTo>
                  <a:lnTo>
                    <a:pt x="97" y="128"/>
                  </a:lnTo>
                  <a:lnTo>
                    <a:pt x="94" y="126"/>
                  </a:lnTo>
                  <a:lnTo>
                    <a:pt x="91" y="124"/>
                  </a:lnTo>
                  <a:lnTo>
                    <a:pt x="89" y="122"/>
                  </a:lnTo>
                  <a:lnTo>
                    <a:pt x="86" y="120"/>
                  </a:lnTo>
                  <a:lnTo>
                    <a:pt x="85" y="117"/>
                  </a:lnTo>
                  <a:lnTo>
                    <a:pt x="83" y="115"/>
                  </a:lnTo>
                  <a:lnTo>
                    <a:pt x="80" y="111"/>
                  </a:lnTo>
                  <a:lnTo>
                    <a:pt x="80" y="111"/>
                  </a:lnTo>
                  <a:lnTo>
                    <a:pt x="79" y="108"/>
                  </a:lnTo>
                  <a:lnTo>
                    <a:pt x="79" y="105"/>
                  </a:lnTo>
                  <a:lnTo>
                    <a:pt x="77" y="102"/>
                  </a:lnTo>
                  <a:lnTo>
                    <a:pt x="75" y="100"/>
                  </a:lnTo>
                  <a:lnTo>
                    <a:pt x="74" y="98"/>
                  </a:lnTo>
                  <a:lnTo>
                    <a:pt x="72" y="94"/>
                  </a:lnTo>
                  <a:lnTo>
                    <a:pt x="72" y="92"/>
                  </a:lnTo>
                  <a:lnTo>
                    <a:pt x="71" y="90"/>
                  </a:lnTo>
                  <a:lnTo>
                    <a:pt x="68" y="86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1"/>
                  </a:lnTo>
                  <a:lnTo>
                    <a:pt x="63" y="77"/>
                  </a:lnTo>
                  <a:lnTo>
                    <a:pt x="59" y="76"/>
                  </a:lnTo>
                  <a:lnTo>
                    <a:pt x="57" y="75"/>
                  </a:lnTo>
                  <a:lnTo>
                    <a:pt x="55" y="74"/>
                  </a:lnTo>
                  <a:lnTo>
                    <a:pt x="54" y="71"/>
                  </a:lnTo>
                  <a:lnTo>
                    <a:pt x="54" y="69"/>
                  </a:lnTo>
                  <a:lnTo>
                    <a:pt x="52" y="66"/>
                  </a:lnTo>
                  <a:lnTo>
                    <a:pt x="51" y="64"/>
                  </a:lnTo>
                  <a:lnTo>
                    <a:pt x="50" y="61"/>
                  </a:lnTo>
                  <a:lnTo>
                    <a:pt x="49" y="58"/>
                  </a:lnTo>
                  <a:lnTo>
                    <a:pt x="50" y="56"/>
                  </a:lnTo>
                  <a:lnTo>
                    <a:pt x="45" y="50"/>
                  </a:lnTo>
                  <a:lnTo>
                    <a:pt x="42" y="49"/>
                  </a:lnTo>
                  <a:lnTo>
                    <a:pt x="39" y="48"/>
                  </a:lnTo>
                  <a:lnTo>
                    <a:pt x="39" y="47"/>
                  </a:lnTo>
                  <a:lnTo>
                    <a:pt x="37" y="47"/>
                  </a:lnTo>
                  <a:lnTo>
                    <a:pt x="34" y="44"/>
                  </a:lnTo>
                  <a:lnTo>
                    <a:pt x="34" y="41"/>
                  </a:lnTo>
                  <a:lnTo>
                    <a:pt x="33" y="39"/>
                  </a:lnTo>
                  <a:lnTo>
                    <a:pt x="31" y="38"/>
                  </a:lnTo>
                  <a:lnTo>
                    <a:pt x="29" y="35"/>
                  </a:lnTo>
                  <a:lnTo>
                    <a:pt x="26" y="32"/>
                  </a:lnTo>
                  <a:lnTo>
                    <a:pt x="25" y="30"/>
                  </a:lnTo>
                  <a:lnTo>
                    <a:pt x="23" y="27"/>
                  </a:lnTo>
                  <a:lnTo>
                    <a:pt x="20" y="26"/>
                  </a:lnTo>
                  <a:lnTo>
                    <a:pt x="17" y="25"/>
                  </a:lnTo>
                  <a:lnTo>
                    <a:pt x="15" y="23"/>
                  </a:lnTo>
                  <a:lnTo>
                    <a:pt x="13" y="21"/>
                  </a:lnTo>
                  <a:lnTo>
                    <a:pt x="9" y="18"/>
                  </a:lnTo>
                  <a:lnTo>
                    <a:pt x="7" y="15"/>
                  </a:lnTo>
                  <a:lnTo>
                    <a:pt x="5" y="13"/>
                  </a:lnTo>
                  <a:lnTo>
                    <a:pt x="3" y="10"/>
                  </a:lnTo>
                  <a:lnTo>
                    <a:pt x="0" y="5"/>
                  </a:lnTo>
                  <a:lnTo>
                    <a:pt x="0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1"/>
                  </a:lnTo>
                  <a:lnTo>
                    <a:pt x="12" y="5"/>
                  </a:lnTo>
                  <a:lnTo>
                    <a:pt x="14" y="6"/>
                  </a:lnTo>
                  <a:lnTo>
                    <a:pt x="17" y="6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5" y="6"/>
                  </a:lnTo>
                  <a:lnTo>
                    <a:pt x="28" y="7"/>
                  </a:lnTo>
                  <a:lnTo>
                    <a:pt x="31" y="6"/>
                  </a:lnTo>
                  <a:lnTo>
                    <a:pt x="32" y="6"/>
                  </a:lnTo>
                  <a:lnTo>
                    <a:pt x="34" y="8"/>
                  </a:lnTo>
                  <a:lnTo>
                    <a:pt x="37" y="10"/>
                  </a:lnTo>
                  <a:lnTo>
                    <a:pt x="38" y="13"/>
                  </a:lnTo>
                  <a:lnTo>
                    <a:pt x="41" y="16"/>
                  </a:lnTo>
                  <a:lnTo>
                    <a:pt x="42" y="18"/>
                  </a:lnTo>
                  <a:lnTo>
                    <a:pt x="42" y="19"/>
                  </a:lnTo>
                  <a:lnTo>
                    <a:pt x="45" y="22"/>
                  </a:lnTo>
                  <a:lnTo>
                    <a:pt x="47" y="24"/>
                  </a:lnTo>
                  <a:lnTo>
                    <a:pt x="49" y="26"/>
                  </a:lnTo>
                  <a:lnTo>
                    <a:pt x="52" y="27"/>
                  </a:lnTo>
                  <a:lnTo>
                    <a:pt x="55" y="28"/>
                  </a:lnTo>
                  <a:lnTo>
                    <a:pt x="58" y="31"/>
                  </a:lnTo>
                  <a:lnTo>
                    <a:pt x="60" y="33"/>
                  </a:lnTo>
                  <a:lnTo>
                    <a:pt x="63" y="35"/>
                  </a:lnTo>
                  <a:lnTo>
                    <a:pt x="64" y="36"/>
                  </a:lnTo>
                  <a:lnTo>
                    <a:pt x="66" y="39"/>
                  </a:lnTo>
                  <a:lnTo>
                    <a:pt x="66" y="42"/>
                  </a:lnTo>
                  <a:lnTo>
                    <a:pt x="66" y="41"/>
                  </a:lnTo>
                  <a:lnTo>
                    <a:pt x="67" y="43"/>
                  </a:lnTo>
                  <a:lnTo>
                    <a:pt x="68" y="43"/>
                  </a:lnTo>
                  <a:lnTo>
                    <a:pt x="71" y="43"/>
                  </a:lnTo>
                  <a:lnTo>
                    <a:pt x="72" y="45"/>
                  </a:lnTo>
                  <a:lnTo>
                    <a:pt x="74" y="48"/>
                  </a:lnTo>
                  <a:lnTo>
                    <a:pt x="76" y="50"/>
                  </a:lnTo>
                  <a:lnTo>
                    <a:pt x="79" y="52"/>
                  </a:lnTo>
                  <a:lnTo>
                    <a:pt x="79" y="52"/>
                  </a:lnTo>
                  <a:lnTo>
                    <a:pt x="79" y="50"/>
                  </a:lnTo>
                  <a:lnTo>
                    <a:pt x="77" y="48"/>
                  </a:lnTo>
                  <a:lnTo>
                    <a:pt x="80" y="47"/>
                  </a:lnTo>
                  <a:lnTo>
                    <a:pt x="82" y="49"/>
                  </a:lnTo>
                  <a:lnTo>
                    <a:pt x="84" y="51"/>
                  </a:lnTo>
                  <a:lnTo>
                    <a:pt x="85" y="54"/>
                  </a:lnTo>
                  <a:lnTo>
                    <a:pt x="88" y="54"/>
                  </a:lnTo>
                  <a:lnTo>
                    <a:pt x="91" y="56"/>
                  </a:lnTo>
                  <a:lnTo>
                    <a:pt x="93" y="58"/>
                  </a:lnTo>
                  <a:lnTo>
                    <a:pt x="96" y="60"/>
                  </a:lnTo>
                  <a:lnTo>
                    <a:pt x="96" y="61"/>
                  </a:lnTo>
                  <a:lnTo>
                    <a:pt x="97" y="64"/>
                  </a:lnTo>
                  <a:lnTo>
                    <a:pt x="99" y="66"/>
                  </a:lnTo>
                  <a:lnTo>
                    <a:pt x="101" y="68"/>
                  </a:lnTo>
                  <a:lnTo>
                    <a:pt x="103" y="68"/>
                  </a:lnTo>
                  <a:lnTo>
                    <a:pt x="107" y="68"/>
                  </a:lnTo>
                  <a:lnTo>
                    <a:pt x="108" y="71"/>
                  </a:lnTo>
                  <a:lnTo>
                    <a:pt x="106" y="73"/>
                  </a:lnTo>
                  <a:lnTo>
                    <a:pt x="103" y="74"/>
                  </a:lnTo>
                  <a:lnTo>
                    <a:pt x="100" y="75"/>
                  </a:lnTo>
                  <a:lnTo>
                    <a:pt x="99" y="74"/>
                  </a:lnTo>
                  <a:lnTo>
                    <a:pt x="102" y="75"/>
                  </a:lnTo>
                  <a:lnTo>
                    <a:pt x="105" y="74"/>
                  </a:lnTo>
                  <a:lnTo>
                    <a:pt x="107" y="73"/>
                  </a:lnTo>
                  <a:lnTo>
                    <a:pt x="110" y="71"/>
                  </a:lnTo>
                  <a:lnTo>
                    <a:pt x="112" y="70"/>
                  </a:lnTo>
                  <a:lnTo>
                    <a:pt x="115" y="74"/>
                  </a:lnTo>
                  <a:lnTo>
                    <a:pt x="118" y="76"/>
                  </a:lnTo>
                  <a:lnTo>
                    <a:pt x="118" y="77"/>
                  </a:lnTo>
                  <a:lnTo>
                    <a:pt x="117" y="78"/>
                  </a:lnTo>
                  <a:lnTo>
                    <a:pt x="114" y="81"/>
                  </a:lnTo>
                  <a:lnTo>
                    <a:pt x="111" y="83"/>
                  </a:lnTo>
                  <a:lnTo>
                    <a:pt x="112" y="83"/>
                  </a:lnTo>
                  <a:lnTo>
                    <a:pt x="115" y="84"/>
                  </a:lnTo>
                  <a:lnTo>
                    <a:pt x="112" y="84"/>
                  </a:lnTo>
                  <a:lnTo>
                    <a:pt x="112" y="85"/>
                  </a:lnTo>
                  <a:lnTo>
                    <a:pt x="112" y="88"/>
                  </a:lnTo>
                  <a:lnTo>
                    <a:pt x="112" y="88"/>
                  </a:lnTo>
                  <a:close/>
                  <a:moveTo>
                    <a:pt x="248" y="194"/>
                  </a:moveTo>
                  <a:lnTo>
                    <a:pt x="248" y="194"/>
                  </a:lnTo>
                  <a:lnTo>
                    <a:pt x="248" y="194"/>
                  </a:lnTo>
                  <a:lnTo>
                    <a:pt x="24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5" name="Freeform 225">
              <a:extLst>
                <a:ext uri="{FF2B5EF4-FFF2-40B4-BE49-F238E27FC236}">
                  <a16:creationId xmlns:a16="http://schemas.microsoft.com/office/drawing/2014/main" id="{71557924-DBDC-4786-AEF5-8000AD3945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4950" y="2201863"/>
              <a:ext cx="2239962" cy="3606800"/>
            </a:xfrm>
            <a:custGeom>
              <a:avLst/>
              <a:gdLst>
                <a:gd name="T0" fmla="*/ 178 w 1411"/>
                <a:gd name="T1" fmla="*/ 2262 h 2272"/>
                <a:gd name="T2" fmla="*/ 312 w 1411"/>
                <a:gd name="T3" fmla="*/ 2194 h 2272"/>
                <a:gd name="T4" fmla="*/ 230 w 1411"/>
                <a:gd name="T5" fmla="*/ 2250 h 2272"/>
                <a:gd name="T6" fmla="*/ 185 w 1411"/>
                <a:gd name="T7" fmla="*/ 2212 h 2272"/>
                <a:gd name="T8" fmla="*/ 177 w 1411"/>
                <a:gd name="T9" fmla="*/ 2239 h 2272"/>
                <a:gd name="T10" fmla="*/ 161 w 1411"/>
                <a:gd name="T11" fmla="*/ 2248 h 2272"/>
                <a:gd name="T12" fmla="*/ 188 w 1411"/>
                <a:gd name="T13" fmla="*/ 2257 h 2272"/>
                <a:gd name="T14" fmla="*/ 244 w 1411"/>
                <a:gd name="T15" fmla="*/ 2253 h 2272"/>
                <a:gd name="T16" fmla="*/ 587 w 1411"/>
                <a:gd name="T17" fmla="*/ 1458 h 2272"/>
                <a:gd name="T18" fmla="*/ 525 w 1411"/>
                <a:gd name="T19" fmla="*/ 1461 h 2272"/>
                <a:gd name="T20" fmla="*/ 478 w 1411"/>
                <a:gd name="T21" fmla="*/ 1428 h 2272"/>
                <a:gd name="T22" fmla="*/ 441 w 1411"/>
                <a:gd name="T23" fmla="*/ 1439 h 2272"/>
                <a:gd name="T24" fmla="*/ 452 w 1411"/>
                <a:gd name="T25" fmla="*/ 1401 h 2272"/>
                <a:gd name="T26" fmla="*/ 424 w 1411"/>
                <a:gd name="T27" fmla="*/ 1354 h 2272"/>
                <a:gd name="T28" fmla="*/ 356 w 1411"/>
                <a:gd name="T29" fmla="*/ 1337 h 2272"/>
                <a:gd name="T30" fmla="*/ 322 w 1411"/>
                <a:gd name="T31" fmla="*/ 1307 h 2272"/>
                <a:gd name="T32" fmla="*/ 285 w 1411"/>
                <a:gd name="T33" fmla="*/ 1287 h 2272"/>
                <a:gd name="T34" fmla="*/ 261 w 1411"/>
                <a:gd name="T35" fmla="*/ 1272 h 2272"/>
                <a:gd name="T36" fmla="*/ 175 w 1411"/>
                <a:gd name="T37" fmla="*/ 1252 h 2272"/>
                <a:gd name="T38" fmla="*/ 151 w 1411"/>
                <a:gd name="T39" fmla="*/ 1281 h 2272"/>
                <a:gd name="T40" fmla="*/ 119 w 1411"/>
                <a:gd name="T41" fmla="*/ 1269 h 2272"/>
                <a:gd name="T42" fmla="*/ 84 w 1411"/>
                <a:gd name="T43" fmla="*/ 1307 h 2272"/>
                <a:gd name="T44" fmla="*/ 17 w 1411"/>
                <a:gd name="T45" fmla="*/ 1296 h 2272"/>
                <a:gd name="T46" fmla="*/ 12 w 1411"/>
                <a:gd name="T47" fmla="*/ 1306 h 2272"/>
                <a:gd name="T48" fmla="*/ 60 w 1411"/>
                <a:gd name="T49" fmla="*/ 1299 h 2272"/>
                <a:gd name="T50" fmla="*/ 76 w 1411"/>
                <a:gd name="T51" fmla="*/ 1364 h 2272"/>
                <a:gd name="T52" fmla="*/ 43 w 1411"/>
                <a:gd name="T53" fmla="*/ 1407 h 2272"/>
                <a:gd name="T54" fmla="*/ 41 w 1411"/>
                <a:gd name="T55" fmla="*/ 1452 h 2272"/>
                <a:gd name="T56" fmla="*/ 29 w 1411"/>
                <a:gd name="T57" fmla="*/ 1496 h 2272"/>
                <a:gd name="T58" fmla="*/ 85 w 1411"/>
                <a:gd name="T59" fmla="*/ 1590 h 2272"/>
                <a:gd name="T60" fmla="*/ 159 w 1411"/>
                <a:gd name="T61" fmla="*/ 1660 h 2272"/>
                <a:gd name="T62" fmla="*/ 169 w 1411"/>
                <a:gd name="T63" fmla="*/ 1776 h 2272"/>
                <a:gd name="T64" fmla="*/ 155 w 1411"/>
                <a:gd name="T65" fmla="*/ 1888 h 2272"/>
                <a:gd name="T66" fmla="*/ 131 w 1411"/>
                <a:gd name="T67" fmla="*/ 1966 h 2272"/>
                <a:gd name="T68" fmla="*/ 142 w 1411"/>
                <a:gd name="T69" fmla="*/ 2025 h 2272"/>
                <a:gd name="T70" fmla="*/ 141 w 1411"/>
                <a:gd name="T71" fmla="*/ 2075 h 2272"/>
                <a:gd name="T72" fmla="*/ 125 w 1411"/>
                <a:gd name="T73" fmla="*/ 2102 h 2272"/>
                <a:gd name="T74" fmla="*/ 109 w 1411"/>
                <a:gd name="T75" fmla="*/ 2108 h 2272"/>
                <a:gd name="T76" fmla="*/ 131 w 1411"/>
                <a:gd name="T77" fmla="*/ 2134 h 2272"/>
                <a:gd name="T78" fmla="*/ 125 w 1411"/>
                <a:gd name="T79" fmla="*/ 2154 h 2272"/>
                <a:gd name="T80" fmla="*/ 121 w 1411"/>
                <a:gd name="T81" fmla="*/ 2178 h 2272"/>
                <a:gd name="T82" fmla="*/ 133 w 1411"/>
                <a:gd name="T83" fmla="*/ 2203 h 2272"/>
                <a:gd name="T84" fmla="*/ 128 w 1411"/>
                <a:gd name="T85" fmla="*/ 2205 h 2272"/>
                <a:gd name="T86" fmla="*/ 144 w 1411"/>
                <a:gd name="T87" fmla="*/ 2219 h 2272"/>
                <a:gd name="T88" fmla="*/ 153 w 1411"/>
                <a:gd name="T89" fmla="*/ 2230 h 2272"/>
                <a:gd name="T90" fmla="*/ 198 w 1411"/>
                <a:gd name="T91" fmla="*/ 2209 h 2272"/>
                <a:gd name="T92" fmla="*/ 192 w 1411"/>
                <a:gd name="T93" fmla="*/ 2167 h 2272"/>
                <a:gd name="T94" fmla="*/ 230 w 1411"/>
                <a:gd name="T95" fmla="*/ 2128 h 2272"/>
                <a:gd name="T96" fmla="*/ 243 w 1411"/>
                <a:gd name="T97" fmla="*/ 2067 h 2272"/>
                <a:gd name="T98" fmla="*/ 249 w 1411"/>
                <a:gd name="T99" fmla="*/ 2033 h 2272"/>
                <a:gd name="T100" fmla="*/ 288 w 1411"/>
                <a:gd name="T101" fmla="*/ 1981 h 2272"/>
                <a:gd name="T102" fmla="*/ 345 w 1411"/>
                <a:gd name="T103" fmla="*/ 1916 h 2272"/>
                <a:gd name="T104" fmla="*/ 347 w 1411"/>
                <a:gd name="T105" fmla="*/ 1910 h 2272"/>
                <a:gd name="T106" fmla="*/ 427 w 1411"/>
                <a:gd name="T107" fmla="*/ 1861 h 2272"/>
                <a:gd name="T108" fmla="*/ 442 w 1411"/>
                <a:gd name="T109" fmla="*/ 1858 h 2272"/>
                <a:gd name="T110" fmla="*/ 478 w 1411"/>
                <a:gd name="T111" fmla="*/ 1768 h 2272"/>
                <a:gd name="T112" fmla="*/ 545 w 1411"/>
                <a:gd name="T113" fmla="*/ 1739 h 2272"/>
                <a:gd name="T114" fmla="*/ 593 w 1411"/>
                <a:gd name="T115" fmla="*/ 1685 h 2272"/>
                <a:gd name="T116" fmla="*/ 623 w 1411"/>
                <a:gd name="T117" fmla="*/ 1577 h 2272"/>
                <a:gd name="T118" fmla="*/ 195 w 1411"/>
                <a:gd name="T119" fmla="*/ 1646 h 2272"/>
                <a:gd name="T120" fmla="*/ 196 w 1411"/>
                <a:gd name="T121" fmla="*/ 1642 h 2272"/>
                <a:gd name="T122" fmla="*/ 329 w 1411"/>
                <a:gd name="T123" fmla="*/ 2200 h 2272"/>
                <a:gd name="T124" fmla="*/ 472 w 1411"/>
                <a:gd name="T125" fmla="*/ 1422 h 2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11" h="2272">
                  <a:moveTo>
                    <a:pt x="1407" y="1"/>
                  </a:moveTo>
                  <a:lnTo>
                    <a:pt x="1411" y="1"/>
                  </a:lnTo>
                  <a:lnTo>
                    <a:pt x="1411" y="0"/>
                  </a:lnTo>
                  <a:lnTo>
                    <a:pt x="1407" y="1"/>
                  </a:lnTo>
                  <a:close/>
                  <a:moveTo>
                    <a:pt x="202" y="2266"/>
                  </a:moveTo>
                  <a:lnTo>
                    <a:pt x="200" y="2265"/>
                  </a:lnTo>
                  <a:lnTo>
                    <a:pt x="196" y="2264"/>
                  </a:lnTo>
                  <a:lnTo>
                    <a:pt x="200" y="2264"/>
                  </a:lnTo>
                  <a:lnTo>
                    <a:pt x="202" y="2264"/>
                  </a:lnTo>
                  <a:lnTo>
                    <a:pt x="200" y="2262"/>
                  </a:lnTo>
                  <a:lnTo>
                    <a:pt x="196" y="2262"/>
                  </a:lnTo>
                  <a:lnTo>
                    <a:pt x="194" y="2262"/>
                  </a:lnTo>
                  <a:lnTo>
                    <a:pt x="191" y="2260"/>
                  </a:lnTo>
                  <a:lnTo>
                    <a:pt x="194" y="2261"/>
                  </a:lnTo>
                  <a:lnTo>
                    <a:pt x="196" y="2262"/>
                  </a:lnTo>
                  <a:lnTo>
                    <a:pt x="200" y="2261"/>
                  </a:lnTo>
                  <a:lnTo>
                    <a:pt x="200" y="2258"/>
                  </a:lnTo>
                  <a:lnTo>
                    <a:pt x="198" y="2257"/>
                  </a:lnTo>
                  <a:lnTo>
                    <a:pt x="194" y="2258"/>
                  </a:lnTo>
                  <a:lnTo>
                    <a:pt x="192" y="2258"/>
                  </a:lnTo>
                  <a:lnTo>
                    <a:pt x="188" y="2260"/>
                  </a:lnTo>
                  <a:lnTo>
                    <a:pt x="186" y="2260"/>
                  </a:lnTo>
                  <a:lnTo>
                    <a:pt x="184" y="2260"/>
                  </a:lnTo>
                  <a:lnTo>
                    <a:pt x="181" y="2260"/>
                  </a:lnTo>
                  <a:lnTo>
                    <a:pt x="178" y="2262"/>
                  </a:lnTo>
                  <a:lnTo>
                    <a:pt x="178" y="2262"/>
                  </a:lnTo>
                  <a:lnTo>
                    <a:pt x="178" y="2262"/>
                  </a:lnTo>
                  <a:lnTo>
                    <a:pt x="182" y="2263"/>
                  </a:lnTo>
                  <a:lnTo>
                    <a:pt x="184" y="2263"/>
                  </a:lnTo>
                  <a:lnTo>
                    <a:pt x="182" y="2265"/>
                  </a:lnTo>
                  <a:lnTo>
                    <a:pt x="184" y="2266"/>
                  </a:lnTo>
                  <a:lnTo>
                    <a:pt x="187" y="2267"/>
                  </a:lnTo>
                  <a:lnTo>
                    <a:pt x="190" y="2269"/>
                  </a:lnTo>
                  <a:lnTo>
                    <a:pt x="188" y="2266"/>
                  </a:lnTo>
                  <a:lnTo>
                    <a:pt x="186" y="2264"/>
                  </a:lnTo>
                  <a:lnTo>
                    <a:pt x="187" y="2262"/>
                  </a:lnTo>
                  <a:lnTo>
                    <a:pt x="191" y="2263"/>
                  </a:lnTo>
                  <a:lnTo>
                    <a:pt x="193" y="2264"/>
                  </a:lnTo>
                  <a:lnTo>
                    <a:pt x="194" y="2267"/>
                  </a:lnTo>
                  <a:lnTo>
                    <a:pt x="198" y="2266"/>
                  </a:lnTo>
                  <a:lnTo>
                    <a:pt x="200" y="2269"/>
                  </a:lnTo>
                  <a:lnTo>
                    <a:pt x="202" y="2271"/>
                  </a:lnTo>
                  <a:lnTo>
                    <a:pt x="205" y="2272"/>
                  </a:lnTo>
                  <a:lnTo>
                    <a:pt x="204" y="2270"/>
                  </a:lnTo>
                  <a:lnTo>
                    <a:pt x="202" y="2266"/>
                  </a:lnTo>
                  <a:close/>
                  <a:moveTo>
                    <a:pt x="323" y="2195"/>
                  </a:moveTo>
                  <a:lnTo>
                    <a:pt x="326" y="2193"/>
                  </a:lnTo>
                  <a:lnTo>
                    <a:pt x="323" y="2193"/>
                  </a:lnTo>
                  <a:lnTo>
                    <a:pt x="321" y="2193"/>
                  </a:lnTo>
                  <a:lnTo>
                    <a:pt x="318" y="2193"/>
                  </a:lnTo>
                  <a:lnTo>
                    <a:pt x="315" y="2192"/>
                  </a:lnTo>
                  <a:lnTo>
                    <a:pt x="315" y="2193"/>
                  </a:lnTo>
                  <a:lnTo>
                    <a:pt x="314" y="2193"/>
                  </a:lnTo>
                  <a:lnTo>
                    <a:pt x="312" y="2194"/>
                  </a:lnTo>
                  <a:lnTo>
                    <a:pt x="309" y="2192"/>
                  </a:lnTo>
                  <a:lnTo>
                    <a:pt x="306" y="2192"/>
                  </a:lnTo>
                  <a:lnTo>
                    <a:pt x="309" y="2194"/>
                  </a:lnTo>
                  <a:lnTo>
                    <a:pt x="311" y="2196"/>
                  </a:lnTo>
                  <a:lnTo>
                    <a:pt x="314" y="2197"/>
                  </a:lnTo>
                  <a:lnTo>
                    <a:pt x="312" y="2196"/>
                  </a:lnTo>
                  <a:lnTo>
                    <a:pt x="309" y="2197"/>
                  </a:lnTo>
                  <a:lnTo>
                    <a:pt x="306" y="2197"/>
                  </a:lnTo>
                  <a:lnTo>
                    <a:pt x="309" y="2198"/>
                  </a:lnTo>
                  <a:lnTo>
                    <a:pt x="312" y="2198"/>
                  </a:lnTo>
                  <a:lnTo>
                    <a:pt x="309" y="2200"/>
                  </a:lnTo>
                  <a:lnTo>
                    <a:pt x="307" y="2203"/>
                  </a:lnTo>
                  <a:lnTo>
                    <a:pt x="304" y="2203"/>
                  </a:lnTo>
                  <a:lnTo>
                    <a:pt x="302" y="2204"/>
                  </a:lnTo>
                  <a:lnTo>
                    <a:pt x="304" y="2205"/>
                  </a:lnTo>
                  <a:lnTo>
                    <a:pt x="307" y="2205"/>
                  </a:lnTo>
                  <a:lnTo>
                    <a:pt x="310" y="2205"/>
                  </a:lnTo>
                  <a:lnTo>
                    <a:pt x="312" y="2203"/>
                  </a:lnTo>
                  <a:lnTo>
                    <a:pt x="315" y="2202"/>
                  </a:lnTo>
                  <a:lnTo>
                    <a:pt x="316" y="2202"/>
                  </a:lnTo>
                  <a:lnTo>
                    <a:pt x="319" y="2200"/>
                  </a:lnTo>
                  <a:lnTo>
                    <a:pt x="321" y="2196"/>
                  </a:lnTo>
                  <a:lnTo>
                    <a:pt x="323" y="2195"/>
                  </a:lnTo>
                  <a:close/>
                  <a:moveTo>
                    <a:pt x="239" y="2253"/>
                  </a:moveTo>
                  <a:lnTo>
                    <a:pt x="236" y="2253"/>
                  </a:lnTo>
                  <a:lnTo>
                    <a:pt x="234" y="2252"/>
                  </a:lnTo>
                  <a:lnTo>
                    <a:pt x="230" y="2250"/>
                  </a:lnTo>
                  <a:lnTo>
                    <a:pt x="228" y="2249"/>
                  </a:lnTo>
                  <a:lnTo>
                    <a:pt x="226" y="2248"/>
                  </a:lnTo>
                  <a:lnTo>
                    <a:pt x="222" y="2245"/>
                  </a:lnTo>
                  <a:lnTo>
                    <a:pt x="220" y="2244"/>
                  </a:lnTo>
                  <a:lnTo>
                    <a:pt x="218" y="2243"/>
                  </a:lnTo>
                  <a:lnTo>
                    <a:pt x="215" y="2240"/>
                  </a:lnTo>
                  <a:lnTo>
                    <a:pt x="212" y="2239"/>
                  </a:lnTo>
                  <a:lnTo>
                    <a:pt x="209" y="2236"/>
                  </a:lnTo>
                  <a:lnTo>
                    <a:pt x="209" y="2235"/>
                  </a:lnTo>
                  <a:lnTo>
                    <a:pt x="205" y="2232"/>
                  </a:lnTo>
                  <a:lnTo>
                    <a:pt x="204" y="2230"/>
                  </a:lnTo>
                  <a:lnTo>
                    <a:pt x="203" y="2227"/>
                  </a:lnTo>
                  <a:lnTo>
                    <a:pt x="201" y="2227"/>
                  </a:lnTo>
                  <a:lnTo>
                    <a:pt x="198" y="2226"/>
                  </a:lnTo>
                  <a:lnTo>
                    <a:pt x="200" y="2223"/>
                  </a:lnTo>
                  <a:lnTo>
                    <a:pt x="202" y="2222"/>
                  </a:lnTo>
                  <a:lnTo>
                    <a:pt x="201" y="2219"/>
                  </a:lnTo>
                  <a:lnTo>
                    <a:pt x="199" y="2216"/>
                  </a:lnTo>
                  <a:lnTo>
                    <a:pt x="198" y="2215"/>
                  </a:lnTo>
                  <a:lnTo>
                    <a:pt x="198" y="2214"/>
                  </a:lnTo>
                  <a:lnTo>
                    <a:pt x="196" y="2214"/>
                  </a:lnTo>
                  <a:lnTo>
                    <a:pt x="196" y="2214"/>
                  </a:lnTo>
                  <a:lnTo>
                    <a:pt x="196" y="2214"/>
                  </a:lnTo>
                  <a:lnTo>
                    <a:pt x="193" y="2214"/>
                  </a:lnTo>
                  <a:lnTo>
                    <a:pt x="191" y="2215"/>
                  </a:lnTo>
                  <a:lnTo>
                    <a:pt x="188" y="2214"/>
                  </a:lnTo>
                  <a:lnTo>
                    <a:pt x="185" y="2212"/>
                  </a:lnTo>
                  <a:lnTo>
                    <a:pt x="185" y="2212"/>
                  </a:lnTo>
                  <a:lnTo>
                    <a:pt x="184" y="2214"/>
                  </a:lnTo>
                  <a:lnTo>
                    <a:pt x="182" y="2216"/>
                  </a:lnTo>
                  <a:lnTo>
                    <a:pt x="182" y="2216"/>
                  </a:lnTo>
                  <a:lnTo>
                    <a:pt x="181" y="2218"/>
                  </a:lnTo>
                  <a:lnTo>
                    <a:pt x="178" y="2218"/>
                  </a:lnTo>
                  <a:lnTo>
                    <a:pt x="176" y="2216"/>
                  </a:lnTo>
                  <a:lnTo>
                    <a:pt x="173" y="2216"/>
                  </a:lnTo>
                  <a:lnTo>
                    <a:pt x="174" y="2219"/>
                  </a:lnTo>
                  <a:lnTo>
                    <a:pt x="177" y="2219"/>
                  </a:lnTo>
                  <a:lnTo>
                    <a:pt x="175" y="2222"/>
                  </a:lnTo>
                  <a:lnTo>
                    <a:pt x="171" y="2222"/>
                  </a:lnTo>
                  <a:lnTo>
                    <a:pt x="171" y="2224"/>
                  </a:lnTo>
                  <a:lnTo>
                    <a:pt x="171" y="2227"/>
                  </a:lnTo>
                  <a:lnTo>
                    <a:pt x="173" y="2228"/>
                  </a:lnTo>
                  <a:lnTo>
                    <a:pt x="175" y="2230"/>
                  </a:lnTo>
                  <a:lnTo>
                    <a:pt x="178" y="2229"/>
                  </a:lnTo>
                  <a:lnTo>
                    <a:pt x="178" y="2228"/>
                  </a:lnTo>
                  <a:lnTo>
                    <a:pt x="182" y="2228"/>
                  </a:lnTo>
                  <a:lnTo>
                    <a:pt x="184" y="2227"/>
                  </a:lnTo>
                  <a:lnTo>
                    <a:pt x="187" y="2228"/>
                  </a:lnTo>
                  <a:lnTo>
                    <a:pt x="186" y="2231"/>
                  </a:lnTo>
                  <a:lnTo>
                    <a:pt x="183" y="2232"/>
                  </a:lnTo>
                  <a:lnTo>
                    <a:pt x="181" y="2233"/>
                  </a:lnTo>
                  <a:lnTo>
                    <a:pt x="178" y="2235"/>
                  </a:lnTo>
                  <a:lnTo>
                    <a:pt x="176" y="2237"/>
                  </a:lnTo>
                  <a:lnTo>
                    <a:pt x="177" y="2239"/>
                  </a:lnTo>
                  <a:lnTo>
                    <a:pt x="178" y="2243"/>
                  </a:lnTo>
                  <a:lnTo>
                    <a:pt x="181" y="2244"/>
                  </a:lnTo>
                  <a:lnTo>
                    <a:pt x="184" y="2244"/>
                  </a:lnTo>
                  <a:lnTo>
                    <a:pt x="186" y="2246"/>
                  </a:lnTo>
                  <a:lnTo>
                    <a:pt x="190" y="2247"/>
                  </a:lnTo>
                  <a:lnTo>
                    <a:pt x="192" y="2248"/>
                  </a:lnTo>
                  <a:lnTo>
                    <a:pt x="190" y="2250"/>
                  </a:lnTo>
                  <a:lnTo>
                    <a:pt x="186" y="2250"/>
                  </a:lnTo>
                  <a:lnTo>
                    <a:pt x="188" y="2248"/>
                  </a:lnTo>
                  <a:lnTo>
                    <a:pt x="185" y="2247"/>
                  </a:lnTo>
                  <a:lnTo>
                    <a:pt x="183" y="2246"/>
                  </a:lnTo>
                  <a:lnTo>
                    <a:pt x="181" y="2245"/>
                  </a:lnTo>
                  <a:lnTo>
                    <a:pt x="179" y="2248"/>
                  </a:lnTo>
                  <a:lnTo>
                    <a:pt x="178" y="2245"/>
                  </a:lnTo>
                  <a:lnTo>
                    <a:pt x="177" y="2247"/>
                  </a:lnTo>
                  <a:lnTo>
                    <a:pt x="174" y="2247"/>
                  </a:lnTo>
                  <a:lnTo>
                    <a:pt x="169" y="2244"/>
                  </a:lnTo>
                  <a:lnTo>
                    <a:pt x="166" y="2245"/>
                  </a:lnTo>
                  <a:lnTo>
                    <a:pt x="169" y="2245"/>
                  </a:lnTo>
                  <a:lnTo>
                    <a:pt x="171" y="2247"/>
                  </a:lnTo>
                  <a:lnTo>
                    <a:pt x="174" y="2249"/>
                  </a:lnTo>
                  <a:lnTo>
                    <a:pt x="171" y="2248"/>
                  </a:lnTo>
                  <a:lnTo>
                    <a:pt x="168" y="2249"/>
                  </a:lnTo>
                  <a:lnTo>
                    <a:pt x="169" y="2246"/>
                  </a:lnTo>
                  <a:lnTo>
                    <a:pt x="167" y="2246"/>
                  </a:lnTo>
                  <a:lnTo>
                    <a:pt x="165" y="2248"/>
                  </a:lnTo>
                  <a:lnTo>
                    <a:pt x="161" y="2248"/>
                  </a:lnTo>
                  <a:lnTo>
                    <a:pt x="159" y="2248"/>
                  </a:lnTo>
                  <a:lnTo>
                    <a:pt x="157" y="2249"/>
                  </a:lnTo>
                  <a:lnTo>
                    <a:pt x="153" y="2248"/>
                  </a:lnTo>
                  <a:lnTo>
                    <a:pt x="157" y="2250"/>
                  </a:lnTo>
                  <a:lnTo>
                    <a:pt x="153" y="2250"/>
                  </a:lnTo>
                  <a:lnTo>
                    <a:pt x="151" y="2249"/>
                  </a:lnTo>
                  <a:lnTo>
                    <a:pt x="152" y="2253"/>
                  </a:lnTo>
                  <a:lnTo>
                    <a:pt x="156" y="2253"/>
                  </a:lnTo>
                  <a:lnTo>
                    <a:pt x="158" y="2252"/>
                  </a:lnTo>
                  <a:lnTo>
                    <a:pt x="161" y="2250"/>
                  </a:lnTo>
                  <a:lnTo>
                    <a:pt x="162" y="2253"/>
                  </a:lnTo>
                  <a:lnTo>
                    <a:pt x="165" y="2252"/>
                  </a:lnTo>
                  <a:lnTo>
                    <a:pt x="164" y="2255"/>
                  </a:lnTo>
                  <a:lnTo>
                    <a:pt x="167" y="2254"/>
                  </a:lnTo>
                  <a:lnTo>
                    <a:pt x="169" y="2254"/>
                  </a:lnTo>
                  <a:lnTo>
                    <a:pt x="167" y="2256"/>
                  </a:lnTo>
                  <a:lnTo>
                    <a:pt x="169" y="2255"/>
                  </a:lnTo>
                  <a:lnTo>
                    <a:pt x="173" y="2255"/>
                  </a:lnTo>
                  <a:lnTo>
                    <a:pt x="175" y="2253"/>
                  </a:lnTo>
                  <a:lnTo>
                    <a:pt x="175" y="2256"/>
                  </a:lnTo>
                  <a:lnTo>
                    <a:pt x="178" y="2256"/>
                  </a:lnTo>
                  <a:lnTo>
                    <a:pt x="178" y="2254"/>
                  </a:lnTo>
                  <a:lnTo>
                    <a:pt x="178" y="2253"/>
                  </a:lnTo>
                  <a:lnTo>
                    <a:pt x="181" y="2255"/>
                  </a:lnTo>
                  <a:lnTo>
                    <a:pt x="183" y="2256"/>
                  </a:lnTo>
                  <a:lnTo>
                    <a:pt x="186" y="2256"/>
                  </a:lnTo>
                  <a:lnTo>
                    <a:pt x="188" y="2257"/>
                  </a:lnTo>
                  <a:lnTo>
                    <a:pt x="192" y="2257"/>
                  </a:lnTo>
                  <a:lnTo>
                    <a:pt x="194" y="2255"/>
                  </a:lnTo>
                  <a:lnTo>
                    <a:pt x="196" y="2257"/>
                  </a:lnTo>
                  <a:lnTo>
                    <a:pt x="198" y="2256"/>
                  </a:lnTo>
                  <a:lnTo>
                    <a:pt x="196" y="2255"/>
                  </a:lnTo>
                  <a:lnTo>
                    <a:pt x="196" y="2255"/>
                  </a:lnTo>
                  <a:lnTo>
                    <a:pt x="199" y="2256"/>
                  </a:lnTo>
                  <a:lnTo>
                    <a:pt x="199" y="2256"/>
                  </a:lnTo>
                  <a:lnTo>
                    <a:pt x="201" y="2255"/>
                  </a:lnTo>
                  <a:lnTo>
                    <a:pt x="202" y="2255"/>
                  </a:lnTo>
                  <a:lnTo>
                    <a:pt x="203" y="2256"/>
                  </a:lnTo>
                  <a:lnTo>
                    <a:pt x="207" y="2256"/>
                  </a:lnTo>
                  <a:lnTo>
                    <a:pt x="209" y="2257"/>
                  </a:lnTo>
                  <a:lnTo>
                    <a:pt x="212" y="2256"/>
                  </a:lnTo>
                  <a:lnTo>
                    <a:pt x="215" y="2257"/>
                  </a:lnTo>
                  <a:lnTo>
                    <a:pt x="217" y="2257"/>
                  </a:lnTo>
                  <a:lnTo>
                    <a:pt x="220" y="2257"/>
                  </a:lnTo>
                  <a:lnTo>
                    <a:pt x="222" y="2258"/>
                  </a:lnTo>
                  <a:lnTo>
                    <a:pt x="226" y="2260"/>
                  </a:lnTo>
                  <a:lnTo>
                    <a:pt x="228" y="2258"/>
                  </a:lnTo>
                  <a:lnTo>
                    <a:pt x="230" y="2258"/>
                  </a:lnTo>
                  <a:lnTo>
                    <a:pt x="234" y="2257"/>
                  </a:lnTo>
                  <a:lnTo>
                    <a:pt x="236" y="2257"/>
                  </a:lnTo>
                  <a:lnTo>
                    <a:pt x="239" y="2257"/>
                  </a:lnTo>
                  <a:lnTo>
                    <a:pt x="242" y="2257"/>
                  </a:lnTo>
                  <a:lnTo>
                    <a:pt x="243" y="2255"/>
                  </a:lnTo>
                  <a:lnTo>
                    <a:pt x="244" y="2253"/>
                  </a:lnTo>
                  <a:lnTo>
                    <a:pt x="242" y="2252"/>
                  </a:lnTo>
                  <a:lnTo>
                    <a:pt x="239" y="2253"/>
                  </a:lnTo>
                  <a:close/>
                  <a:moveTo>
                    <a:pt x="659" y="1517"/>
                  </a:moveTo>
                  <a:lnTo>
                    <a:pt x="660" y="1513"/>
                  </a:lnTo>
                  <a:lnTo>
                    <a:pt x="657" y="1510"/>
                  </a:lnTo>
                  <a:lnTo>
                    <a:pt x="657" y="1508"/>
                  </a:lnTo>
                  <a:lnTo>
                    <a:pt x="656" y="1502"/>
                  </a:lnTo>
                  <a:lnTo>
                    <a:pt x="654" y="1495"/>
                  </a:lnTo>
                  <a:lnTo>
                    <a:pt x="653" y="1492"/>
                  </a:lnTo>
                  <a:lnTo>
                    <a:pt x="651" y="1489"/>
                  </a:lnTo>
                  <a:lnTo>
                    <a:pt x="648" y="1488"/>
                  </a:lnTo>
                  <a:lnTo>
                    <a:pt x="645" y="1488"/>
                  </a:lnTo>
                  <a:lnTo>
                    <a:pt x="635" y="1488"/>
                  </a:lnTo>
                  <a:lnTo>
                    <a:pt x="631" y="1487"/>
                  </a:lnTo>
                  <a:lnTo>
                    <a:pt x="628" y="1486"/>
                  </a:lnTo>
                  <a:lnTo>
                    <a:pt x="623" y="1483"/>
                  </a:lnTo>
                  <a:lnTo>
                    <a:pt x="623" y="1483"/>
                  </a:lnTo>
                  <a:lnTo>
                    <a:pt x="621" y="1482"/>
                  </a:lnTo>
                  <a:lnTo>
                    <a:pt x="620" y="1479"/>
                  </a:lnTo>
                  <a:lnTo>
                    <a:pt x="617" y="1477"/>
                  </a:lnTo>
                  <a:lnTo>
                    <a:pt x="614" y="1475"/>
                  </a:lnTo>
                  <a:lnTo>
                    <a:pt x="612" y="1472"/>
                  </a:lnTo>
                  <a:lnTo>
                    <a:pt x="610" y="1469"/>
                  </a:lnTo>
                  <a:lnTo>
                    <a:pt x="608" y="1469"/>
                  </a:lnTo>
                  <a:lnTo>
                    <a:pt x="600" y="1463"/>
                  </a:lnTo>
                  <a:lnTo>
                    <a:pt x="588" y="1458"/>
                  </a:lnTo>
                  <a:lnTo>
                    <a:pt x="587" y="1458"/>
                  </a:lnTo>
                  <a:lnTo>
                    <a:pt x="582" y="1457"/>
                  </a:lnTo>
                  <a:lnTo>
                    <a:pt x="575" y="1458"/>
                  </a:lnTo>
                  <a:lnTo>
                    <a:pt x="572" y="1458"/>
                  </a:lnTo>
                  <a:lnTo>
                    <a:pt x="571" y="1460"/>
                  </a:lnTo>
                  <a:lnTo>
                    <a:pt x="567" y="1458"/>
                  </a:lnTo>
                  <a:lnTo>
                    <a:pt x="563" y="1457"/>
                  </a:lnTo>
                  <a:lnTo>
                    <a:pt x="562" y="1458"/>
                  </a:lnTo>
                  <a:lnTo>
                    <a:pt x="559" y="1457"/>
                  </a:lnTo>
                  <a:lnTo>
                    <a:pt x="558" y="1457"/>
                  </a:lnTo>
                  <a:lnTo>
                    <a:pt x="555" y="1457"/>
                  </a:lnTo>
                  <a:lnTo>
                    <a:pt x="550" y="1453"/>
                  </a:lnTo>
                  <a:lnTo>
                    <a:pt x="544" y="1451"/>
                  </a:lnTo>
                  <a:lnTo>
                    <a:pt x="542" y="1451"/>
                  </a:lnTo>
                  <a:lnTo>
                    <a:pt x="542" y="1452"/>
                  </a:lnTo>
                  <a:lnTo>
                    <a:pt x="536" y="1453"/>
                  </a:lnTo>
                  <a:lnTo>
                    <a:pt x="534" y="1456"/>
                  </a:lnTo>
                  <a:lnTo>
                    <a:pt x="533" y="1457"/>
                  </a:lnTo>
                  <a:lnTo>
                    <a:pt x="532" y="1458"/>
                  </a:lnTo>
                  <a:lnTo>
                    <a:pt x="531" y="1456"/>
                  </a:lnTo>
                  <a:lnTo>
                    <a:pt x="534" y="1452"/>
                  </a:lnTo>
                  <a:lnTo>
                    <a:pt x="531" y="1452"/>
                  </a:lnTo>
                  <a:lnTo>
                    <a:pt x="529" y="1453"/>
                  </a:lnTo>
                  <a:lnTo>
                    <a:pt x="528" y="1459"/>
                  </a:lnTo>
                  <a:lnTo>
                    <a:pt x="526" y="1461"/>
                  </a:lnTo>
                  <a:lnTo>
                    <a:pt x="524" y="1465"/>
                  </a:lnTo>
                  <a:lnTo>
                    <a:pt x="523" y="1463"/>
                  </a:lnTo>
                  <a:lnTo>
                    <a:pt x="525" y="1461"/>
                  </a:lnTo>
                  <a:lnTo>
                    <a:pt x="525" y="1459"/>
                  </a:lnTo>
                  <a:lnTo>
                    <a:pt x="526" y="1453"/>
                  </a:lnTo>
                  <a:lnTo>
                    <a:pt x="529" y="1451"/>
                  </a:lnTo>
                  <a:lnTo>
                    <a:pt x="528" y="1448"/>
                  </a:lnTo>
                  <a:lnTo>
                    <a:pt x="526" y="1450"/>
                  </a:lnTo>
                  <a:lnTo>
                    <a:pt x="523" y="1450"/>
                  </a:lnTo>
                  <a:lnTo>
                    <a:pt x="526" y="1449"/>
                  </a:lnTo>
                  <a:lnTo>
                    <a:pt x="527" y="1446"/>
                  </a:lnTo>
                  <a:lnTo>
                    <a:pt x="523" y="1441"/>
                  </a:lnTo>
                  <a:lnTo>
                    <a:pt x="520" y="1441"/>
                  </a:lnTo>
                  <a:lnTo>
                    <a:pt x="520" y="1439"/>
                  </a:lnTo>
                  <a:lnTo>
                    <a:pt x="518" y="1440"/>
                  </a:lnTo>
                  <a:lnTo>
                    <a:pt x="517" y="1442"/>
                  </a:lnTo>
                  <a:lnTo>
                    <a:pt x="516" y="1440"/>
                  </a:lnTo>
                  <a:lnTo>
                    <a:pt x="516" y="1437"/>
                  </a:lnTo>
                  <a:lnTo>
                    <a:pt x="515" y="1440"/>
                  </a:lnTo>
                  <a:lnTo>
                    <a:pt x="515" y="1437"/>
                  </a:lnTo>
                  <a:lnTo>
                    <a:pt x="506" y="1435"/>
                  </a:lnTo>
                  <a:lnTo>
                    <a:pt x="505" y="1433"/>
                  </a:lnTo>
                  <a:lnTo>
                    <a:pt x="499" y="1433"/>
                  </a:lnTo>
                  <a:lnTo>
                    <a:pt x="493" y="1429"/>
                  </a:lnTo>
                  <a:lnTo>
                    <a:pt x="491" y="1429"/>
                  </a:lnTo>
                  <a:lnTo>
                    <a:pt x="489" y="1427"/>
                  </a:lnTo>
                  <a:lnTo>
                    <a:pt x="488" y="1429"/>
                  </a:lnTo>
                  <a:lnTo>
                    <a:pt x="485" y="1427"/>
                  </a:lnTo>
                  <a:lnTo>
                    <a:pt x="483" y="1428"/>
                  </a:lnTo>
                  <a:lnTo>
                    <a:pt x="478" y="1428"/>
                  </a:lnTo>
                  <a:lnTo>
                    <a:pt x="476" y="1431"/>
                  </a:lnTo>
                  <a:lnTo>
                    <a:pt x="475" y="1435"/>
                  </a:lnTo>
                  <a:lnTo>
                    <a:pt x="473" y="1439"/>
                  </a:lnTo>
                  <a:lnTo>
                    <a:pt x="477" y="1439"/>
                  </a:lnTo>
                  <a:lnTo>
                    <a:pt x="474" y="1440"/>
                  </a:lnTo>
                  <a:lnTo>
                    <a:pt x="474" y="1442"/>
                  </a:lnTo>
                  <a:lnTo>
                    <a:pt x="471" y="1439"/>
                  </a:lnTo>
                  <a:lnTo>
                    <a:pt x="468" y="1441"/>
                  </a:lnTo>
                  <a:lnTo>
                    <a:pt x="466" y="1443"/>
                  </a:lnTo>
                  <a:lnTo>
                    <a:pt x="464" y="1444"/>
                  </a:lnTo>
                  <a:lnTo>
                    <a:pt x="461" y="1448"/>
                  </a:lnTo>
                  <a:lnTo>
                    <a:pt x="459" y="1452"/>
                  </a:lnTo>
                  <a:lnTo>
                    <a:pt x="459" y="1453"/>
                  </a:lnTo>
                  <a:lnTo>
                    <a:pt x="459" y="1451"/>
                  </a:lnTo>
                  <a:lnTo>
                    <a:pt x="461" y="1443"/>
                  </a:lnTo>
                  <a:lnTo>
                    <a:pt x="459" y="1443"/>
                  </a:lnTo>
                  <a:lnTo>
                    <a:pt x="457" y="1444"/>
                  </a:lnTo>
                  <a:lnTo>
                    <a:pt x="455" y="1448"/>
                  </a:lnTo>
                  <a:lnTo>
                    <a:pt x="454" y="1444"/>
                  </a:lnTo>
                  <a:lnTo>
                    <a:pt x="452" y="1443"/>
                  </a:lnTo>
                  <a:lnTo>
                    <a:pt x="449" y="1445"/>
                  </a:lnTo>
                  <a:lnTo>
                    <a:pt x="447" y="1445"/>
                  </a:lnTo>
                  <a:lnTo>
                    <a:pt x="443" y="1443"/>
                  </a:lnTo>
                  <a:lnTo>
                    <a:pt x="442" y="1443"/>
                  </a:lnTo>
                  <a:lnTo>
                    <a:pt x="442" y="1441"/>
                  </a:lnTo>
                  <a:lnTo>
                    <a:pt x="442" y="1440"/>
                  </a:lnTo>
                  <a:lnTo>
                    <a:pt x="441" y="1439"/>
                  </a:lnTo>
                  <a:lnTo>
                    <a:pt x="441" y="1439"/>
                  </a:lnTo>
                  <a:lnTo>
                    <a:pt x="441" y="1437"/>
                  </a:lnTo>
                  <a:lnTo>
                    <a:pt x="441" y="1432"/>
                  </a:lnTo>
                  <a:lnTo>
                    <a:pt x="438" y="1433"/>
                  </a:lnTo>
                  <a:lnTo>
                    <a:pt x="430" y="1437"/>
                  </a:lnTo>
                  <a:lnTo>
                    <a:pt x="429" y="1437"/>
                  </a:lnTo>
                  <a:lnTo>
                    <a:pt x="426" y="1440"/>
                  </a:lnTo>
                  <a:lnTo>
                    <a:pt x="421" y="1442"/>
                  </a:lnTo>
                  <a:lnTo>
                    <a:pt x="421" y="1442"/>
                  </a:lnTo>
                  <a:lnTo>
                    <a:pt x="418" y="1441"/>
                  </a:lnTo>
                  <a:lnTo>
                    <a:pt x="415" y="1441"/>
                  </a:lnTo>
                  <a:lnTo>
                    <a:pt x="415" y="1440"/>
                  </a:lnTo>
                  <a:lnTo>
                    <a:pt x="422" y="1437"/>
                  </a:lnTo>
                  <a:lnTo>
                    <a:pt x="424" y="1439"/>
                  </a:lnTo>
                  <a:lnTo>
                    <a:pt x="426" y="1434"/>
                  </a:lnTo>
                  <a:lnTo>
                    <a:pt x="429" y="1433"/>
                  </a:lnTo>
                  <a:lnTo>
                    <a:pt x="429" y="1431"/>
                  </a:lnTo>
                  <a:lnTo>
                    <a:pt x="434" y="1422"/>
                  </a:lnTo>
                  <a:lnTo>
                    <a:pt x="435" y="1420"/>
                  </a:lnTo>
                  <a:lnTo>
                    <a:pt x="437" y="1419"/>
                  </a:lnTo>
                  <a:lnTo>
                    <a:pt x="440" y="1416"/>
                  </a:lnTo>
                  <a:lnTo>
                    <a:pt x="443" y="1415"/>
                  </a:lnTo>
                  <a:lnTo>
                    <a:pt x="449" y="1406"/>
                  </a:lnTo>
                  <a:lnTo>
                    <a:pt x="452" y="1403"/>
                  </a:lnTo>
                  <a:lnTo>
                    <a:pt x="452" y="1402"/>
                  </a:lnTo>
                  <a:lnTo>
                    <a:pt x="450" y="1402"/>
                  </a:lnTo>
                  <a:lnTo>
                    <a:pt x="452" y="1401"/>
                  </a:lnTo>
                  <a:lnTo>
                    <a:pt x="454" y="1399"/>
                  </a:lnTo>
                  <a:lnTo>
                    <a:pt x="454" y="1395"/>
                  </a:lnTo>
                  <a:lnTo>
                    <a:pt x="452" y="1394"/>
                  </a:lnTo>
                  <a:lnTo>
                    <a:pt x="449" y="1393"/>
                  </a:lnTo>
                  <a:lnTo>
                    <a:pt x="447" y="1393"/>
                  </a:lnTo>
                  <a:lnTo>
                    <a:pt x="444" y="1391"/>
                  </a:lnTo>
                  <a:lnTo>
                    <a:pt x="442" y="1390"/>
                  </a:lnTo>
                  <a:lnTo>
                    <a:pt x="442" y="1386"/>
                  </a:lnTo>
                  <a:lnTo>
                    <a:pt x="440" y="1384"/>
                  </a:lnTo>
                  <a:lnTo>
                    <a:pt x="440" y="1382"/>
                  </a:lnTo>
                  <a:lnTo>
                    <a:pt x="438" y="1376"/>
                  </a:lnTo>
                  <a:lnTo>
                    <a:pt x="438" y="1374"/>
                  </a:lnTo>
                  <a:lnTo>
                    <a:pt x="437" y="1365"/>
                  </a:lnTo>
                  <a:lnTo>
                    <a:pt x="435" y="1368"/>
                  </a:lnTo>
                  <a:lnTo>
                    <a:pt x="435" y="1363"/>
                  </a:lnTo>
                  <a:lnTo>
                    <a:pt x="433" y="1360"/>
                  </a:lnTo>
                  <a:lnTo>
                    <a:pt x="431" y="1359"/>
                  </a:lnTo>
                  <a:lnTo>
                    <a:pt x="431" y="1362"/>
                  </a:lnTo>
                  <a:lnTo>
                    <a:pt x="432" y="1365"/>
                  </a:lnTo>
                  <a:lnTo>
                    <a:pt x="431" y="1362"/>
                  </a:lnTo>
                  <a:lnTo>
                    <a:pt x="429" y="1364"/>
                  </a:lnTo>
                  <a:lnTo>
                    <a:pt x="430" y="1360"/>
                  </a:lnTo>
                  <a:lnTo>
                    <a:pt x="426" y="1356"/>
                  </a:lnTo>
                  <a:lnTo>
                    <a:pt x="425" y="1358"/>
                  </a:lnTo>
                  <a:lnTo>
                    <a:pt x="424" y="1359"/>
                  </a:lnTo>
                  <a:lnTo>
                    <a:pt x="425" y="1356"/>
                  </a:lnTo>
                  <a:lnTo>
                    <a:pt x="424" y="1354"/>
                  </a:lnTo>
                  <a:lnTo>
                    <a:pt x="421" y="1352"/>
                  </a:lnTo>
                  <a:lnTo>
                    <a:pt x="420" y="1354"/>
                  </a:lnTo>
                  <a:lnTo>
                    <a:pt x="421" y="1351"/>
                  </a:lnTo>
                  <a:lnTo>
                    <a:pt x="420" y="1351"/>
                  </a:lnTo>
                  <a:lnTo>
                    <a:pt x="417" y="1349"/>
                  </a:lnTo>
                  <a:lnTo>
                    <a:pt x="412" y="1343"/>
                  </a:lnTo>
                  <a:lnTo>
                    <a:pt x="411" y="1343"/>
                  </a:lnTo>
                  <a:lnTo>
                    <a:pt x="404" y="1342"/>
                  </a:lnTo>
                  <a:lnTo>
                    <a:pt x="401" y="1340"/>
                  </a:lnTo>
                  <a:lnTo>
                    <a:pt x="399" y="1340"/>
                  </a:lnTo>
                  <a:lnTo>
                    <a:pt x="396" y="1345"/>
                  </a:lnTo>
                  <a:lnTo>
                    <a:pt x="395" y="1346"/>
                  </a:lnTo>
                  <a:lnTo>
                    <a:pt x="397" y="1342"/>
                  </a:lnTo>
                  <a:lnTo>
                    <a:pt x="397" y="1340"/>
                  </a:lnTo>
                  <a:lnTo>
                    <a:pt x="395" y="1338"/>
                  </a:lnTo>
                  <a:lnTo>
                    <a:pt x="383" y="1337"/>
                  </a:lnTo>
                  <a:lnTo>
                    <a:pt x="383" y="1339"/>
                  </a:lnTo>
                  <a:lnTo>
                    <a:pt x="382" y="1339"/>
                  </a:lnTo>
                  <a:lnTo>
                    <a:pt x="379" y="1337"/>
                  </a:lnTo>
                  <a:lnTo>
                    <a:pt x="373" y="1337"/>
                  </a:lnTo>
                  <a:lnTo>
                    <a:pt x="371" y="1338"/>
                  </a:lnTo>
                  <a:lnTo>
                    <a:pt x="371" y="1339"/>
                  </a:lnTo>
                  <a:lnTo>
                    <a:pt x="371" y="1341"/>
                  </a:lnTo>
                  <a:lnTo>
                    <a:pt x="369" y="1339"/>
                  </a:lnTo>
                  <a:lnTo>
                    <a:pt x="363" y="1338"/>
                  </a:lnTo>
                  <a:lnTo>
                    <a:pt x="356" y="1337"/>
                  </a:lnTo>
                  <a:lnTo>
                    <a:pt x="356" y="1337"/>
                  </a:lnTo>
                  <a:lnTo>
                    <a:pt x="355" y="1337"/>
                  </a:lnTo>
                  <a:lnTo>
                    <a:pt x="354" y="1341"/>
                  </a:lnTo>
                  <a:lnTo>
                    <a:pt x="353" y="1343"/>
                  </a:lnTo>
                  <a:lnTo>
                    <a:pt x="354" y="1341"/>
                  </a:lnTo>
                  <a:lnTo>
                    <a:pt x="354" y="1335"/>
                  </a:lnTo>
                  <a:lnTo>
                    <a:pt x="352" y="1333"/>
                  </a:lnTo>
                  <a:lnTo>
                    <a:pt x="349" y="1333"/>
                  </a:lnTo>
                  <a:lnTo>
                    <a:pt x="346" y="1329"/>
                  </a:lnTo>
                  <a:lnTo>
                    <a:pt x="343" y="1325"/>
                  </a:lnTo>
                  <a:lnTo>
                    <a:pt x="340" y="1325"/>
                  </a:lnTo>
                  <a:lnTo>
                    <a:pt x="339" y="1324"/>
                  </a:lnTo>
                  <a:lnTo>
                    <a:pt x="337" y="1324"/>
                  </a:lnTo>
                  <a:lnTo>
                    <a:pt x="335" y="1328"/>
                  </a:lnTo>
                  <a:lnTo>
                    <a:pt x="335" y="1331"/>
                  </a:lnTo>
                  <a:lnTo>
                    <a:pt x="333" y="1331"/>
                  </a:lnTo>
                  <a:lnTo>
                    <a:pt x="335" y="1329"/>
                  </a:lnTo>
                  <a:lnTo>
                    <a:pt x="335" y="1325"/>
                  </a:lnTo>
                  <a:lnTo>
                    <a:pt x="336" y="1323"/>
                  </a:lnTo>
                  <a:lnTo>
                    <a:pt x="336" y="1321"/>
                  </a:lnTo>
                  <a:lnTo>
                    <a:pt x="336" y="1318"/>
                  </a:lnTo>
                  <a:lnTo>
                    <a:pt x="335" y="1316"/>
                  </a:lnTo>
                  <a:lnTo>
                    <a:pt x="331" y="1313"/>
                  </a:lnTo>
                  <a:lnTo>
                    <a:pt x="328" y="1309"/>
                  </a:lnTo>
                  <a:lnTo>
                    <a:pt x="326" y="1307"/>
                  </a:lnTo>
                  <a:lnTo>
                    <a:pt x="322" y="1306"/>
                  </a:lnTo>
                  <a:lnTo>
                    <a:pt x="320" y="1305"/>
                  </a:lnTo>
                  <a:lnTo>
                    <a:pt x="322" y="1307"/>
                  </a:lnTo>
                  <a:lnTo>
                    <a:pt x="318" y="1304"/>
                  </a:lnTo>
                  <a:lnTo>
                    <a:pt x="315" y="1302"/>
                  </a:lnTo>
                  <a:lnTo>
                    <a:pt x="312" y="1300"/>
                  </a:lnTo>
                  <a:lnTo>
                    <a:pt x="309" y="1300"/>
                  </a:lnTo>
                  <a:lnTo>
                    <a:pt x="309" y="1302"/>
                  </a:lnTo>
                  <a:lnTo>
                    <a:pt x="305" y="1300"/>
                  </a:lnTo>
                  <a:lnTo>
                    <a:pt x="303" y="1300"/>
                  </a:lnTo>
                  <a:lnTo>
                    <a:pt x="297" y="1304"/>
                  </a:lnTo>
                  <a:lnTo>
                    <a:pt x="293" y="1300"/>
                  </a:lnTo>
                  <a:lnTo>
                    <a:pt x="293" y="1300"/>
                  </a:lnTo>
                  <a:lnTo>
                    <a:pt x="298" y="1300"/>
                  </a:lnTo>
                  <a:lnTo>
                    <a:pt x="301" y="1294"/>
                  </a:lnTo>
                  <a:lnTo>
                    <a:pt x="304" y="1290"/>
                  </a:lnTo>
                  <a:lnTo>
                    <a:pt x="301" y="1287"/>
                  </a:lnTo>
                  <a:lnTo>
                    <a:pt x="298" y="1287"/>
                  </a:lnTo>
                  <a:lnTo>
                    <a:pt x="294" y="1285"/>
                  </a:lnTo>
                  <a:lnTo>
                    <a:pt x="290" y="1285"/>
                  </a:lnTo>
                  <a:lnTo>
                    <a:pt x="290" y="1285"/>
                  </a:lnTo>
                  <a:lnTo>
                    <a:pt x="289" y="1287"/>
                  </a:lnTo>
                  <a:lnTo>
                    <a:pt x="290" y="1285"/>
                  </a:lnTo>
                  <a:lnTo>
                    <a:pt x="288" y="1282"/>
                  </a:lnTo>
                  <a:lnTo>
                    <a:pt x="286" y="1281"/>
                  </a:lnTo>
                  <a:lnTo>
                    <a:pt x="285" y="1281"/>
                  </a:lnTo>
                  <a:lnTo>
                    <a:pt x="285" y="1282"/>
                  </a:lnTo>
                  <a:lnTo>
                    <a:pt x="287" y="1283"/>
                  </a:lnTo>
                  <a:lnTo>
                    <a:pt x="286" y="1283"/>
                  </a:lnTo>
                  <a:lnTo>
                    <a:pt x="285" y="1287"/>
                  </a:lnTo>
                  <a:lnTo>
                    <a:pt x="285" y="1287"/>
                  </a:lnTo>
                  <a:lnTo>
                    <a:pt x="285" y="1286"/>
                  </a:lnTo>
                  <a:lnTo>
                    <a:pt x="285" y="1282"/>
                  </a:lnTo>
                  <a:lnTo>
                    <a:pt x="284" y="1286"/>
                  </a:lnTo>
                  <a:lnTo>
                    <a:pt x="283" y="1286"/>
                  </a:lnTo>
                  <a:lnTo>
                    <a:pt x="281" y="1282"/>
                  </a:lnTo>
                  <a:lnTo>
                    <a:pt x="281" y="1281"/>
                  </a:lnTo>
                  <a:lnTo>
                    <a:pt x="279" y="1279"/>
                  </a:lnTo>
                  <a:lnTo>
                    <a:pt x="277" y="1281"/>
                  </a:lnTo>
                  <a:lnTo>
                    <a:pt x="275" y="1281"/>
                  </a:lnTo>
                  <a:lnTo>
                    <a:pt x="273" y="1280"/>
                  </a:lnTo>
                  <a:lnTo>
                    <a:pt x="276" y="1280"/>
                  </a:lnTo>
                  <a:lnTo>
                    <a:pt x="279" y="1279"/>
                  </a:lnTo>
                  <a:lnTo>
                    <a:pt x="277" y="1275"/>
                  </a:lnTo>
                  <a:lnTo>
                    <a:pt x="275" y="1278"/>
                  </a:lnTo>
                  <a:lnTo>
                    <a:pt x="275" y="1274"/>
                  </a:lnTo>
                  <a:lnTo>
                    <a:pt x="277" y="1273"/>
                  </a:lnTo>
                  <a:lnTo>
                    <a:pt x="283" y="1274"/>
                  </a:lnTo>
                  <a:lnTo>
                    <a:pt x="285" y="1272"/>
                  </a:lnTo>
                  <a:lnTo>
                    <a:pt x="288" y="1271"/>
                  </a:lnTo>
                  <a:lnTo>
                    <a:pt x="286" y="1272"/>
                  </a:lnTo>
                  <a:lnTo>
                    <a:pt x="277" y="1271"/>
                  </a:lnTo>
                  <a:lnTo>
                    <a:pt x="275" y="1272"/>
                  </a:lnTo>
                  <a:lnTo>
                    <a:pt x="272" y="1271"/>
                  </a:lnTo>
                  <a:lnTo>
                    <a:pt x="267" y="1273"/>
                  </a:lnTo>
                  <a:lnTo>
                    <a:pt x="263" y="1272"/>
                  </a:lnTo>
                  <a:lnTo>
                    <a:pt x="261" y="1272"/>
                  </a:lnTo>
                  <a:lnTo>
                    <a:pt x="259" y="1273"/>
                  </a:lnTo>
                  <a:lnTo>
                    <a:pt x="261" y="1273"/>
                  </a:lnTo>
                  <a:lnTo>
                    <a:pt x="263" y="1274"/>
                  </a:lnTo>
                  <a:lnTo>
                    <a:pt x="259" y="1274"/>
                  </a:lnTo>
                  <a:lnTo>
                    <a:pt x="255" y="1275"/>
                  </a:lnTo>
                  <a:lnTo>
                    <a:pt x="251" y="1279"/>
                  </a:lnTo>
                  <a:lnTo>
                    <a:pt x="250" y="1280"/>
                  </a:lnTo>
                  <a:lnTo>
                    <a:pt x="244" y="1280"/>
                  </a:lnTo>
                  <a:lnTo>
                    <a:pt x="238" y="1279"/>
                  </a:lnTo>
                  <a:lnTo>
                    <a:pt x="236" y="1278"/>
                  </a:lnTo>
                  <a:lnTo>
                    <a:pt x="232" y="1274"/>
                  </a:lnTo>
                  <a:lnTo>
                    <a:pt x="232" y="1273"/>
                  </a:lnTo>
                  <a:lnTo>
                    <a:pt x="228" y="1273"/>
                  </a:lnTo>
                  <a:lnTo>
                    <a:pt x="222" y="1273"/>
                  </a:lnTo>
                  <a:lnTo>
                    <a:pt x="210" y="1274"/>
                  </a:lnTo>
                  <a:lnTo>
                    <a:pt x="204" y="1274"/>
                  </a:lnTo>
                  <a:lnTo>
                    <a:pt x="202" y="1273"/>
                  </a:lnTo>
                  <a:lnTo>
                    <a:pt x="201" y="1272"/>
                  </a:lnTo>
                  <a:lnTo>
                    <a:pt x="202" y="1269"/>
                  </a:lnTo>
                  <a:lnTo>
                    <a:pt x="200" y="1264"/>
                  </a:lnTo>
                  <a:lnTo>
                    <a:pt x="194" y="1261"/>
                  </a:lnTo>
                  <a:lnTo>
                    <a:pt x="184" y="1261"/>
                  </a:lnTo>
                  <a:lnTo>
                    <a:pt x="182" y="1258"/>
                  </a:lnTo>
                  <a:lnTo>
                    <a:pt x="181" y="1256"/>
                  </a:lnTo>
                  <a:lnTo>
                    <a:pt x="181" y="1254"/>
                  </a:lnTo>
                  <a:lnTo>
                    <a:pt x="178" y="1251"/>
                  </a:lnTo>
                  <a:lnTo>
                    <a:pt x="175" y="1252"/>
                  </a:lnTo>
                  <a:lnTo>
                    <a:pt x="175" y="1254"/>
                  </a:lnTo>
                  <a:lnTo>
                    <a:pt x="175" y="1256"/>
                  </a:lnTo>
                  <a:lnTo>
                    <a:pt x="175" y="1257"/>
                  </a:lnTo>
                  <a:lnTo>
                    <a:pt x="175" y="1260"/>
                  </a:lnTo>
                  <a:lnTo>
                    <a:pt x="178" y="1258"/>
                  </a:lnTo>
                  <a:lnTo>
                    <a:pt x="181" y="1258"/>
                  </a:lnTo>
                  <a:lnTo>
                    <a:pt x="179" y="1261"/>
                  </a:lnTo>
                  <a:lnTo>
                    <a:pt x="176" y="1260"/>
                  </a:lnTo>
                  <a:lnTo>
                    <a:pt x="176" y="1262"/>
                  </a:lnTo>
                  <a:lnTo>
                    <a:pt x="171" y="1264"/>
                  </a:lnTo>
                  <a:lnTo>
                    <a:pt x="166" y="1264"/>
                  </a:lnTo>
                  <a:lnTo>
                    <a:pt x="159" y="1269"/>
                  </a:lnTo>
                  <a:lnTo>
                    <a:pt x="157" y="1270"/>
                  </a:lnTo>
                  <a:lnTo>
                    <a:pt x="157" y="1271"/>
                  </a:lnTo>
                  <a:lnTo>
                    <a:pt x="157" y="1273"/>
                  </a:lnTo>
                  <a:lnTo>
                    <a:pt x="160" y="1279"/>
                  </a:lnTo>
                  <a:lnTo>
                    <a:pt x="164" y="1283"/>
                  </a:lnTo>
                  <a:lnTo>
                    <a:pt x="164" y="1283"/>
                  </a:lnTo>
                  <a:lnTo>
                    <a:pt x="164" y="1290"/>
                  </a:lnTo>
                  <a:lnTo>
                    <a:pt x="160" y="1294"/>
                  </a:lnTo>
                  <a:lnTo>
                    <a:pt x="157" y="1295"/>
                  </a:lnTo>
                  <a:lnTo>
                    <a:pt x="153" y="1292"/>
                  </a:lnTo>
                  <a:lnTo>
                    <a:pt x="155" y="1290"/>
                  </a:lnTo>
                  <a:lnTo>
                    <a:pt x="151" y="1289"/>
                  </a:lnTo>
                  <a:lnTo>
                    <a:pt x="150" y="1286"/>
                  </a:lnTo>
                  <a:lnTo>
                    <a:pt x="149" y="1285"/>
                  </a:lnTo>
                  <a:lnTo>
                    <a:pt x="151" y="1281"/>
                  </a:lnTo>
                  <a:lnTo>
                    <a:pt x="156" y="1275"/>
                  </a:lnTo>
                  <a:lnTo>
                    <a:pt x="156" y="1273"/>
                  </a:lnTo>
                  <a:lnTo>
                    <a:pt x="156" y="1271"/>
                  </a:lnTo>
                  <a:lnTo>
                    <a:pt x="153" y="1268"/>
                  </a:lnTo>
                  <a:lnTo>
                    <a:pt x="156" y="1266"/>
                  </a:lnTo>
                  <a:lnTo>
                    <a:pt x="152" y="1264"/>
                  </a:lnTo>
                  <a:lnTo>
                    <a:pt x="151" y="1262"/>
                  </a:lnTo>
                  <a:lnTo>
                    <a:pt x="152" y="1260"/>
                  </a:lnTo>
                  <a:lnTo>
                    <a:pt x="155" y="1258"/>
                  </a:lnTo>
                  <a:lnTo>
                    <a:pt x="157" y="1257"/>
                  </a:lnTo>
                  <a:lnTo>
                    <a:pt x="160" y="1256"/>
                  </a:lnTo>
                  <a:lnTo>
                    <a:pt x="160" y="1255"/>
                  </a:lnTo>
                  <a:lnTo>
                    <a:pt x="162" y="1252"/>
                  </a:lnTo>
                  <a:lnTo>
                    <a:pt x="161" y="1249"/>
                  </a:lnTo>
                  <a:lnTo>
                    <a:pt x="157" y="1247"/>
                  </a:lnTo>
                  <a:lnTo>
                    <a:pt x="151" y="1251"/>
                  </a:lnTo>
                  <a:lnTo>
                    <a:pt x="149" y="1253"/>
                  </a:lnTo>
                  <a:lnTo>
                    <a:pt x="148" y="1255"/>
                  </a:lnTo>
                  <a:lnTo>
                    <a:pt x="141" y="1257"/>
                  </a:lnTo>
                  <a:lnTo>
                    <a:pt x="140" y="1258"/>
                  </a:lnTo>
                  <a:lnTo>
                    <a:pt x="139" y="1260"/>
                  </a:lnTo>
                  <a:lnTo>
                    <a:pt x="135" y="1262"/>
                  </a:lnTo>
                  <a:lnTo>
                    <a:pt x="132" y="1264"/>
                  </a:lnTo>
                  <a:lnTo>
                    <a:pt x="125" y="1264"/>
                  </a:lnTo>
                  <a:lnTo>
                    <a:pt x="123" y="1263"/>
                  </a:lnTo>
                  <a:lnTo>
                    <a:pt x="121" y="1264"/>
                  </a:lnTo>
                  <a:lnTo>
                    <a:pt x="119" y="1269"/>
                  </a:lnTo>
                  <a:lnTo>
                    <a:pt x="117" y="1271"/>
                  </a:lnTo>
                  <a:lnTo>
                    <a:pt x="116" y="1271"/>
                  </a:lnTo>
                  <a:lnTo>
                    <a:pt x="116" y="1269"/>
                  </a:lnTo>
                  <a:lnTo>
                    <a:pt x="119" y="1268"/>
                  </a:lnTo>
                  <a:lnTo>
                    <a:pt x="117" y="1268"/>
                  </a:lnTo>
                  <a:lnTo>
                    <a:pt x="111" y="1265"/>
                  </a:lnTo>
                  <a:lnTo>
                    <a:pt x="111" y="1266"/>
                  </a:lnTo>
                  <a:lnTo>
                    <a:pt x="109" y="1269"/>
                  </a:lnTo>
                  <a:lnTo>
                    <a:pt x="106" y="1270"/>
                  </a:lnTo>
                  <a:lnTo>
                    <a:pt x="106" y="1272"/>
                  </a:lnTo>
                  <a:lnTo>
                    <a:pt x="105" y="1272"/>
                  </a:lnTo>
                  <a:lnTo>
                    <a:pt x="102" y="1273"/>
                  </a:lnTo>
                  <a:lnTo>
                    <a:pt x="102" y="1277"/>
                  </a:lnTo>
                  <a:lnTo>
                    <a:pt x="101" y="1278"/>
                  </a:lnTo>
                  <a:lnTo>
                    <a:pt x="101" y="1280"/>
                  </a:lnTo>
                  <a:lnTo>
                    <a:pt x="101" y="1283"/>
                  </a:lnTo>
                  <a:lnTo>
                    <a:pt x="101" y="1287"/>
                  </a:lnTo>
                  <a:lnTo>
                    <a:pt x="100" y="1289"/>
                  </a:lnTo>
                  <a:lnTo>
                    <a:pt x="97" y="1289"/>
                  </a:lnTo>
                  <a:lnTo>
                    <a:pt x="94" y="1291"/>
                  </a:lnTo>
                  <a:lnTo>
                    <a:pt x="92" y="1294"/>
                  </a:lnTo>
                  <a:lnTo>
                    <a:pt x="89" y="1297"/>
                  </a:lnTo>
                  <a:lnTo>
                    <a:pt x="87" y="1299"/>
                  </a:lnTo>
                  <a:lnTo>
                    <a:pt x="84" y="1303"/>
                  </a:lnTo>
                  <a:lnTo>
                    <a:pt x="85" y="1308"/>
                  </a:lnTo>
                  <a:lnTo>
                    <a:pt x="83" y="1309"/>
                  </a:lnTo>
                  <a:lnTo>
                    <a:pt x="84" y="1307"/>
                  </a:lnTo>
                  <a:lnTo>
                    <a:pt x="79" y="1302"/>
                  </a:lnTo>
                  <a:lnTo>
                    <a:pt x="77" y="1299"/>
                  </a:lnTo>
                  <a:lnTo>
                    <a:pt x="75" y="1299"/>
                  </a:lnTo>
                  <a:lnTo>
                    <a:pt x="73" y="1297"/>
                  </a:lnTo>
                  <a:lnTo>
                    <a:pt x="71" y="1295"/>
                  </a:lnTo>
                  <a:lnTo>
                    <a:pt x="68" y="1292"/>
                  </a:lnTo>
                  <a:lnTo>
                    <a:pt x="66" y="1291"/>
                  </a:lnTo>
                  <a:lnTo>
                    <a:pt x="60" y="1289"/>
                  </a:lnTo>
                  <a:lnTo>
                    <a:pt x="56" y="1289"/>
                  </a:lnTo>
                  <a:lnTo>
                    <a:pt x="54" y="1289"/>
                  </a:lnTo>
                  <a:lnTo>
                    <a:pt x="55" y="1288"/>
                  </a:lnTo>
                  <a:lnTo>
                    <a:pt x="54" y="1288"/>
                  </a:lnTo>
                  <a:lnTo>
                    <a:pt x="50" y="1288"/>
                  </a:lnTo>
                  <a:lnTo>
                    <a:pt x="48" y="1287"/>
                  </a:lnTo>
                  <a:lnTo>
                    <a:pt x="46" y="1287"/>
                  </a:lnTo>
                  <a:lnTo>
                    <a:pt x="43" y="1290"/>
                  </a:lnTo>
                  <a:lnTo>
                    <a:pt x="42" y="1290"/>
                  </a:lnTo>
                  <a:lnTo>
                    <a:pt x="42" y="1290"/>
                  </a:lnTo>
                  <a:lnTo>
                    <a:pt x="42" y="1291"/>
                  </a:lnTo>
                  <a:lnTo>
                    <a:pt x="41" y="1291"/>
                  </a:lnTo>
                  <a:lnTo>
                    <a:pt x="39" y="1292"/>
                  </a:lnTo>
                  <a:lnTo>
                    <a:pt x="33" y="1295"/>
                  </a:lnTo>
                  <a:lnTo>
                    <a:pt x="29" y="1297"/>
                  </a:lnTo>
                  <a:lnTo>
                    <a:pt x="24" y="1298"/>
                  </a:lnTo>
                  <a:lnTo>
                    <a:pt x="20" y="1297"/>
                  </a:lnTo>
                  <a:lnTo>
                    <a:pt x="15" y="1294"/>
                  </a:lnTo>
                  <a:lnTo>
                    <a:pt x="17" y="1296"/>
                  </a:lnTo>
                  <a:lnTo>
                    <a:pt x="13" y="1296"/>
                  </a:lnTo>
                  <a:lnTo>
                    <a:pt x="11" y="1295"/>
                  </a:lnTo>
                  <a:lnTo>
                    <a:pt x="11" y="1292"/>
                  </a:lnTo>
                  <a:lnTo>
                    <a:pt x="8" y="1291"/>
                  </a:lnTo>
                  <a:lnTo>
                    <a:pt x="8" y="1289"/>
                  </a:lnTo>
                  <a:lnTo>
                    <a:pt x="6" y="1287"/>
                  </a:lnTo>
                  <a:lnTo>
                    <a:pt x="5" y="1288"/>
                  </a:lnTo>
                  <a:lnTo>
                    <a:pt x="3" y="1287"/>
                  </a:lnTo>
                  <a:lnTo>
                    <a:pt x="2" y="1287"/>
                  </a:lnTo>
                  <a:lnTo>
                    <a:pt x="3" y="1288"/>
                  </a:lnTo>
                  <a:lnTo>
                    <a:pt x="0" y="1291"/>
                  </a:lnTo>
                  <a:lnTo>
                    <a:pt x="0" y="1295"/>
                  </a:lnTo>
                  <a:lnTo>
                    <a:pt x="4" y="1296"/>
                  </a:lnTo>
                  <a:lnTo>
                    <a:pt x="4" y="1296"/>
                  </a:lnTo>
                  <a:lnTo>
                    <a:pt x="3" y="1297"/>
                  </a:lnTo>
                  <a:lnTo>
                    <a:pt x="2" y="1298"/>
                  </a:lnTo>
                  <a:lnTo>
                    <a:pt x="3" y="1302"/>
                  </a:lnTo>
                  <a:lnTo>
                    <a:pt x="3" y="1303"/>
                  </a:lnTo>
                  <a:lnTo>
                    <a:pt x="2" y="1303"/>
                  </a:lnTo>
                  <a:lnTo>
                    <a:pt x="0" y="1304"/>
                  </a:lnTo>
                  <a:lnTo>
                    <a:pt x="0" y="1305"/>
                  </a:lnTo>
                  <a:lnTo>
                    <a:pt x="0" y="1305"/>
                  </a:lnTo>
                  <a:lnTo>
                    <a:pt x="2" y="1308"/>
                  </a:lnTo>
                  <a:lnTo>
                    <a:pt x="3" y="1305"/>
                  </a:lnTo>
                  <a:lnTo>
                    <a:pt x="8" y="1304"/>
                  </a:lnTo>
                  <a:lnTo>
                    <a:pt x="10" y="1304"/>
                  </a:lnTo>
                  <a:lnTo>
                    <a:pt x="12" y="1306"/>
                  </a:lnTo>
                  <a:lnTo>
                    <a:pt x="14" y="1306"/>
                  </a:lnTo>
                  <a:lnTo>
                    <a:pt x="15" y="1307"/>
                  </a:lnTo>
                  <a:lnTo>
                    <a:pt x="19" y="1309"/>
                  </a:lnTo>
                  <a:lnTo>
                    <a:pt x="19" y="1311"/>
                  </a:lnTo>
                  <a:lnTo>
                    <a:pt x="22" y="1313"/>
                  </a:lnTo>
                  <a:lnTo>
                    <a:pt x="24" y="1314"/>
                  </a:lnTo>
                  <a:lnTo>
                    <a:pt x="24" y="1311"/>
                  </a:lnTo>
                  <a:lnTo>
                    <a:pt x="27" y="1311"/>
                  </a:lnTo>
                  <a:lnTo>
                    <a:pt x="28" y="1314"/>
                  </a:lnTo>
                  <a:lnTo>
                    <a:pt x="30" y="1320"/>
                  </a:lnTo>
                  <a:lnTo>
                    <a:pt x="33" y="1320"/>
                  </a:lnTo>
                  <a:lnTo>
                    <a:pt x="36" y="1318"/>
                  </a:lnTo>
                  <a:lnTo>
                    <a:pt x="36" y="1317"/>
                  </a:lnTo>
                  <a:lnTo>
                    <a:pt x="41" y="1316"/>
                  </a:lnTo>
                  <a:lnTo>
                    <a:pt x="40" y="1314"/>
                  </a:lnTo>
                  <a:lnTo>
                    <a:pt x="34" y="1307"/>
                  </a:lnTo>
                  <a:lnTo>
                    <a:pt x="36" y="1305"/>
                  </a:lnTo>
                  <a:lnTo>
                    <a:pt x="38" y="1305"/>
                  </a:lnTo>
                  <a:lnTo>
                    <a:pt x="43" y="1302"/>
                  </a:lnTo>
                  <a:lnTo>
                    <a:pt x="46" y="1297"/>
                  </a:lnTo>
                  <a:lnTo>
                    <a:pt x="47" y="1296"/>
                  </a:lnTo>
                  <a:lnTo>
                    <a:pt x="48" y="1296"/>
                  </a:lnTo>
                  <a:lnTo>
                    <a:pt x="49" y="1295"/>
                  </a:lnTo>
                  <a:lnTo>
                    <a:pt x="51" y="1295"/>
                  </a:lnTo>
                  <a:lnTo>
                    <a:pt x="55" y="1294"/>
                  </a:lnTo>
                  <a:lnTo>
                    <a:pt x="55" y="1296"/>
                  </a:lnTo>
                  <a:lnTo>
                    <a:pt x="60" y="1299"/>
                  </a:lnTo>
                  <a:lnTo>
                    <a:pt x="63" y="1304"/>
                  </a:lnTo>
                  <a:lnTo>
                    <a:pt x="63" y="1302"/>
                  </a:lnTo>
                  <a:lnTo>
                    <a:pt x="64" y="1303"/>
                  </a:lnTo>
                  <a:lnTo>
                    <a:pt x="66" y="1302"/>
                  </a:lnTo>
                  <a:lnTo>
                    <a:pt x="70" y="1305"/>
                  </a:lnTo>
                  <a:lnTo>
                    <a:pt x="67" y="1304"/>
                  </a:lnTo>
                  <a:lnTo>
                    <a:pt x="65" y="1305"/>
                  </a:lnTo>
                  <a:lnTo>
                    <a:pt x="65" y="1308"/>
                  </a:lnTo>
                  <a:lnTo>
                    <a:pt x="64" y="1308"/>
                  </a:lnTo>
                  <a:lnTo>
                    <a:pt x="63" y="1307"/>
                  </a:lnTo>
                  <a:lnTo>
                    <a:pt x="63" y="1311"/>
                  </a:lnTo>
                  <a:lnTo>
                    <a:pt x="66" y="1315"/>
                  </a:lnTo>
                  <a:lnTo>
                    <a:pt x="73" y="1322"/>
                  </a:lnTo>
                  <a:lnTo>
                    <a:pt x="74" y="1325"/>
                  </a:lnTo>
                  <a:lnTo>
                    <a:pt x="76" y="1328"/>
                  </a:lnTo>
                  <a:lnTo>
                    <a:pt x="77" y="1330"/>
                  </a:lnTo>
                  <a:lnTo>
                    <a:pt x="75" y="1333"/>
                  </a:lnTo>
                  <a:lnTo>
                    <a:pt x="79" y="1339"/>
                  </a:lnTo>
                  <a:lnTo>
                    <a:pt x="79" y="1341"/>
                  </a:lnTo>
                  <a:lnTo>
                    <a:pt x="75" y="1342"/>
                  </a:lnTo>
                  <a:lnTo>
                    <a:pt x="76" y="1345"/>
                  </a:lnTo>
                  <a:lnTo>
                    <a:pt x="77" y="1347"/>
                  </a:lnTo>
                  <a:lnTo>
                    <a:pt x="77" y="1355"/>
                  </a:lnTo>
                  <a:lnTo>
                    <a:pt x="77" y="1357"/>
                  </a:lnTo>
                  <a:lnTo>
                    <a:pt x="79" y="1360"/>
                  </a:lnTo>
                  <a:lnTo>
                    <a:pt x="76" y="1362"/>
                  </a:lnTo>
                  <a:lnTo>
                    <a:pt x="76" y="1364"/>
                  </a:lnTo>
                  <a:lnTo>
                    <a:pt x="80" y="1364"/>
                  </a:lnTo>
                  <a:lnTo>
                    <a:pt x="79" y="1366"/>
                  </a:lnTo>
                  <a:lnTo>
                    <a:pt x="81" y="1366"/>
                  </a:lnTo>
                  <a:lnTo>
                    <a:pt x="80" y="1366"/>
                  </a:lnTo>
                  <a:lnTo>
                    <a:pt x="79" y="1369"/>
                  </a:lnTo>
                  <a:lnTo>
                    <a:pt x="77" y="1371"/>
                  </a:lnTo>
                  <a:lnTo>
                    <a:pt x="76" y="1374"/>
                  </a:lnTo>
                  <a:lnTo>
                    <a:pt x="76" y="1374"/>
                  </a:lnTo>
                  <a:lnTo>
                    <a:pt x="74" y="1377"/>
                  </a:lnTo>
                  <a:lnTo>
                    <a:pt x="72" y="1381"/>
                  </a:lnTo>
                  <a:lnTo>
                    <a:pt x="72" y="1383"/>
                  </a:lnTo>
                  <a:lnTo>
                    <a:pt x="70" y="1383"/>
                  </a:lnTo>
                  <a:lnTo>
                    <a:pt x="68" y="1384"/>
                  </a:lnTo>
                  <a:lnTo>
                    <a:pt x="66" y="1384"/>
                  </a:lnTo>
                  <a:lnTo>
                    <a:pt x="60" y="1385"/>
                  </a:lnTo>
                  <a:lnTo>
                    <a:pt x="59" y="1389"/>
                  </a:lnTo>
                  <a:lnTo>
                    <a:pt x="60" y="1392"/>
                  </a:lnTo>
                  <a:lnTo>
                    <a:pt x="58" y="1394"/>
                  </a:lnTo>
                  <a:lnTo>
                    <a:pt x="56" y="1394"/>
                  </a:lnTo>
                  <a:lnTo>
                    <a:pt x="56" y="1397"/>
                  </a:lnTo>
                  <a:lnTo>
                    <a:pt x="57" y="1399"/>
                  </a:lnTo>
                  <a:lnTo>
                    <a:pt x="56" y="1401"/>
                  </a:lnTo>
                  <a:lnTo>
                    <a:pt x="55" y="1403"/>
                  </a:lnTo>
                  <a:lnTo>
                    <a:pt x="49" y="1405"/>
                  </a:lnTo>
                  <a:lnTo>
                    <a:pt x="47" y="1405"/>
                  </a:lnTo>
                  <a:lnTo>
                    <a:pt x="46" y="1407"/>
                  </a:lnTo>
                  <a:lnTo>
                    <a:pt x="43" y="1407"/>
                  </a:lnTo>
                  <a:lnTo>
                    <a:pt x="41" y="1408"/>
                  </a:lnTo>
                  <a:lnTo>
                    <a:pt x="40" y="1410"/>
                  </a:lnTo>
                  <a:lnTo>
                    <a:pt x="41" y="1414"/>
                  </a:lnTo>
                  <a:lnTo>
                    <a:pt x="40" y="1417"/>
                  </a:lnTo>
                  <a:lnTo>
                    <a:pt x="39" y="1418"/>
                  </a:lnTo>
                  <a:lnTo>
                    <a:pt x="34" y="1424"/>
                  </a:lnTo>
                  <a:lnTo>
                    <a:pt x="36" y="1426"/>
                  </a:lnTo>
                  <a:lnTo>
                    <a:pt x="38" y="1427"/>
                  </a:lnTo>
                  <a:lnTo>
                    <a:pt x="34" y="1427"/>
                  </a:lnTo>
                  <a:lnTo>
                    <a:pt x="33" y="1431"/>
                  </a:lnTo>
                  <a:lnTo>
                    <a:pt x="31" y="1432"/>
                  </a:lnTo>
                  <a:lnTo>
                    <a:pt x="29" y="1434"/>
                  </a:lnTo>
                  <a:lnTo>
                    <a:pt x="31" y="1436"/>
                  </a:lnTo>
                  <a:lnTo>
                    <a:pt x="30" y="1440"/>
                  </a:lnTo>
                  <a:lnTo>
                    <a:pt x="30" y="1442"/>
                  </a:lnTo>
                  <a:lnTo>
                    <a:pt x="31" y="1444"/>
                  </a:lnTo>
                  <a:lnTo>
                    <a:pt x="31" y="1448"/>
                  </a:lnTo>
                  <a:lnTo>
                    <a:pt x="29" y="1449"/>
                  </a:lnTo>
                  <a:lnTo>
                    <a:pt x="28" y="1449"/>
                  </a:lnTo>
                  <a:lnTo>
                    <a:pt x="30" y="1451"/>
                  </a:lnTo>
                  <a:lnTo>
                    <a:pt x="33" y="1452"/>
                  </a:lnTo>
                  <a:lnTo>
                    <a:pt x="36" y="1454"/>
                  </a:lnTo>
                  <a:lnTo>
                    <a:pt x="38" y="1454"/>
                  </a:lnTo>
                  <a:lnTo>
                    <a:pt x="41" y="1451"/>
                  </a:lnTo>
                  <a:lnTo>
                    <a:pt x="41" y="1452"/>
                  </a:lnTo>
                  <a:lnTo>
                    <a:pt x="42" y="1452"/>
                  </a:lnTo>
                  <a:lnTo>
                    <a:pt x="41" y="1452"/>
                  </a:lnTo>
                  <a:lnTo>
                    <a:pt x="41" y="1454"/>
                  </a:lnTo>
                  <a:lnTo>
                    <a:pt x="42" y="1454"/>
                  </a:lnTo>
                  <a:lnTo>
                    <a:pt x="43" y="1451"/>
                  </a:lnTo>
                  <a:lnTo>
                    <a:pt x="42" y="1449"/>
                  </a:lnTo>
                  <a:lnTo>
                    <a:pt x="42" y="1448"/>
                  </a:lnTo>
                  <a:lnTo>
                    <a:pt x="45" y="1446"/>
                  </a:lnTo>
                  <a:lnTo>
                    <a:pt x="43" y="1449"/>
                  </a:lnTo>
                  <a:lnTo>
                    <a:pt x="43" y="1451"/>
                  </a:lnTo>
                  <a:lnTo>
                    <a:pt x="45" y="1454"/>
                  </a:lnTo>
                  <a:lnTo>
                    <a:pt x="43" y="1457"/>
                  </a:lnTo>
                  <a:lnTo>
                    <a:pt x="42" y="1461"/>
                  </a:lnTo>
                  <a:lnTo>
                    <a:pt x="41" y="1462"/>
                  </a:lnTo>
                  <a:lnTo>
                    <a:pt x="39" y="1465"/>
                  </a:lnTo>
                  <a:lnTo>
                    <a:pt x="38" y="1465"/>
                  </a:lnTo>
                  <a:lnTo>
                    <a:pt x="37" y="1465"/>
                  </a:lnTo>
                  <a:lnTo>
                    <a:pt x="33" y="1467"/>
                  </a:lnTo>
                  <a:lnTo>
                    <a:pt x="31" y="1469"/>
                  </a:lnTo>
                  <a:lnTo>
                    <a:pt x="29" y="1472"/>
                  </a:lnTo>
                  <a:lnTo>
                    <a:pt x="23" y="1477"/>
                  </a:lnTo>
                  <a:lnTo>
                    <a:pt x="23" y="1479"/>
                  </a:lnTo>
                  <a:lnTo>
                    <a:pt x="23" y="1480"/>
                  </a:lnTo>
                  <a:lnTo>
                    <a:pt x="23" y="1484"/>
                  </a:lnTo>
                  <a:lnTo>
                    <a:pt x="25" y="1486"/>
                  </a:lnTo>
                  <a:lnTo>
                    <a:pt x="25" y="1488"/>
                  </a:lnTo>
                  <a:lnTo>
                    <a:pt x="25" y="1491"/>
                  </a:lnTo>
                  <a:lnTo>
                    <a:pt x="29" y="1494"/>
                  </a:lnTo>
                  <a:lnTo>
                    <a:pt x="29" y="1496"/>
                  </a:lnTo>
                  <a:lnTo>
                    <a:pt x="28" y="1499"/>
                  </a:lnTo>
                  <a:lnTo>
                    <a:pt x="25" y="1499"/>
                  </a:lnTo>
                  <a:lnTo>
                    <a:pt x="25" y="1502"/>
                  </a:lnTo>
                  <a:lnTo>
                    <a:pt x="28" y="1503"/>
                  </a:lnTo>
                  <a:lnTo>
                    <a:pt x="33" y="1505"/>
                  </a:lnTo>
                  <a:lnTo>
                    <a:pt x="41" y="1511"/>
                  </a:lnTo>
                  <a:lnTo>
                    <a:pt x="41" y="1512"/>
                  </a:lnTo>
                  <a:lnTo>
                    <a:pt x="45" y="1517"/>
                  </a:lnTo>
                  <a:lnTo>
                    <a:pt x="45" y="1517"/>
                  </a:lnTo>
                  <a:lnTo>
                    <a:pt x="47" y="1519"/>
                  </a:lnTo>
                  <a:lnTo>
                    <a:pt x="47" y="1520"/>
                  </a:lnTo>
                  <a:lnTo>
                    <a:pt x="49" y="1526"/>
                  </a:lnTo>
                  <a:lnTo>
                    <a:pt x="50" y="1528"/>
                  </a:lnTo>
                  <a:lnTo>
                    <a:pt x="54" y="1530"/>
                  </a:lnTo>
                  <a:lnTo>
                    <a:pt x="57" y="1535"/>
                  </a:lnTo>
                  <a:lnTo>
                    <a:pt x="62" y="1546"/>
                  </a:lnTo>
                  <a:lnTo>
                    <a:pt x="63" y="1548"/>
                  </a:lnTo>
                  <a:lnTo>
                    <a:pt x="66" y="1559"/>
                  </a:lnTo>
                  <a:lnTo>
                    <a:pt x="72" y="1568"/>
                  </a:lnTo>
                  <a:lnTo>
                    <a:pt x="73" y="1571"/>
                  </a:lnTo>
                  <a:lnTo>
                    <a:pt x="73" y="1573"/>
                  </a:lnTo>
                  <a:lnTo>
                    <a:pt x="76" y="1576"/>
                  </a:lnTo>
                  <a:lnTo>
                    <a:pt x="79" y="1578"/>
                  </a:lnTo>
                  <a:lnTo>
                    <a:pt x="80" y="1581"/>
                  </a:lnTo>
                  <a:lnTo>
                    <a:pt x="80" y="1583"/>
                  </a:lnTo>
                  <a:lnTo>
                    <a:pt x="80" y="1585"/>
                  </a:lnTo>
                  <a:lnTo>
                    <a:pt x="85" y="1590"/>
                  </a:lnTo>
                  <a:lnTo>
                    <a:pt x="88" y="1595"/>
                  </a:lnTo>
                  <a:lnTo>
                    <a:pt x="89" y="1598"/>
                  </a:lnTo>
                  <a:lnTo>
                    <a:pt x="92" y="1602"/>
                  </a:lnTo>
                  <a:lnTo>
                    <a:pt x="93" y="1605"/>
                  </a:lnTo>
                  <a:lnTo>
                    <a:pt x="93" y="1607"/>
                  </a:lnTo>
                  <a:lnTo>
                    <a:pt x="91" y="1610"/>
                  </a:lnTo>
                  <a:lnTo>
                    <a:pt x="92" y="1613"/>
                  </a:lnTo>
                  <a:lnTo>
                    <a:pt x="96" y="1617"/>
                  </a:lnTo>
                  <a:lnTo>
                    <a:pt x="97" y="1621"/>
                  </a:lnTo>
                  <a:lnTo>
                    <a:pt x="102" y="1624"/>
                  </a:lnTo>
                  <a:lnTo>
                    <a:pt x="106" y="1629"/>
                  </a:lnTo>
                  <a:lnTo>
                    <a:pt x="107" y="1631"/>
                  </a:lnTo>
                  <a:lnTo>
                    <a:pt x="109" y="1632"/>
                  </a:lnTo>
                  <a:lnTo>
                    <a:pt x="116" y="1636"/>
                  </a:lnTo>
                  <a:lnTo>
                    <a:pt x="118" y="1638"/>
                  </a:lnTo>
                  <a:lnTo>
                    <a:pt x="122" y="1638"/>
                  </a:lnTo>
                  <a:lnTo>
                    <a:pt x="126" y="1642"/>
                  </a:lnTo>
                  <a:lnTo>
                    <a:pt x="139" y="1647"/>
                  </a:lnTo>
                  <a:lnTo>
                    <a:pt x="140" y="1648"/>
                  </a:lnTo>
                  <a:lnTo>
                    <a:pt x="143" y="1649"/>
                  </a:lnTo>
                  <a:lnTo>
                    <a:pt x="145" y="1650"/>
                  </a:lnTo>
                  <a:lnTo>
                    <a:pt x="149" y="1654"/>
                  </a:lnTo>
                  <a:lnTo>
                    <a:pt x="150" y="1654"/>
                  </a:lnTo>
                  <a:lnTo>
                    <a:pt x="152" y="1656"/>
                  </a:lnTo>
                  <a:lnTo>
                    <a:pt x="156" y="1657"/>
                  </a:lnTo>
                  <a:lnTo>
                    <a:pt x="158" y="1658"/>
                  </a:lnTo>
                  <a:lnTo>
                    <a:pt x="159" y="1660"/>
                  </a:lnTo>
                  <a:lnTo>
                    <a:pt x="159" y="1664"/>
                  </a:lnTo>
                  <a:lnTo>
                    <a:pt x="165" y="1666"/>
                  </a:lnTo>
                  <a:lnTo>
                    <a:pt x="173" y="1673"/>
                  </a:lnTo>
                  <a:lnTo>
                    <a:pt x="174" y="1674"/>
                  </a:lnTo>
                  <a:lnTo>
                    <a:pt x="174" y="1676"/>
                  </a:lnTo>
                  <a:lnTo>
                    <a:pt x="174" y="1682"/>
                  </a:lnTo>
                  <a:lnTo>
                    <a:pt x="175" y="1688"/>
                  </a:lnTo>
                  <a:lnTo>
                    <a:pt x="176" y="1696"/>
                  </a:lnTo>
                  <a:lnTo>
                    <a:pt x="175" y="1701"/>
                  </a:lnTo>
                  <a:lnTo>
                    <a:pt x="175" y="1707"/>
                  </a:lnTo>
                  <a:lnTo>
                    <a:pt x="176" y="1709"/>
                  </a:lnTo>
                  <a:lnTo>
                    <a:pt x="177" y="1717"/>
                  </a:lnTo>
                  <a:lnTo>
                    <a:pt x="176" y="1719"/>
                  </a:lnTo>
                  <a:lnTo>
                    <a:pt x="176" y="1722"/>
                  </a:lnTo>
                  <a:lnTo>
                    <a:pt x="175" y="1731"/>
                  </a:lnTo>
                  <a:lnTo>
                    <a:pt x="174" y="1739"/>
                  </a:lnTo>
                  <a:lnTo>
                    <a:pt x="169" y="1743"/>
                  </a:lnTo>
                  <a:lnTo>
                    <a:pt x="169" y="1745"/>
                  </a:lnTo>
                  <a:lnTo>
                    <a:pt x="173" y="1747"/>
                  </a:lnTo>
                  <a:lnTo>
                    <a:pt x="173" y="1749"/>
                  </a:lnTo>
                  <a:lnTo>
                    <a:pt x="171" y="1751"/>
                  </a:lnTo>
                  <a:lnTo>
                    <a:pt x="171" y="1757"/>
                  </a:lnTo>
                  <a:lnTo>
                    <a:pt x="170" y="1762"/>
                  </a:lnTo>
                  <a:lnTo>
                    <a:pt x="171" y="1768"/>
                  </a:lnTo>
                  <a:lnTo>
                    <a:pt x="171" y="1770"/>
                  </a:lnTo>
                  <a:lnTo>
                    <a:pt x="171" y="1773"/>
                  </a:lnTo>
                  <a:lnTo>
                    <a:pt x="169" y="1776"/>
                  </a:lnTo>
                  <a:lnTo>
                    <a:pt x="169" y="1778"/>
                  </a:lnTo>
                  <a:lnTo>
                    <a:pt x="168" y="1781"/>
                  </a:lnTo>
                  <a:lnTo>
                    <a:pt x="169" y="1783"/>
                  </a:lnTo>
                  <a:lnTo>
                    <a:pt x="169" y="1786"/>
                  </a:lnTo>
                  <a:lnTo>
                    <a:pt x="169" y="1787"/>
                  </a:lnTo>
                  <a:lnTo>
                    <a:pt x="165" y="1801"/>
                  </a:lnTo>
                  <a:lnTo>
                    <a:pt x="166" y="1804"/>
                  </a:lnTo>
                  <a:lnTo>
                    <a:pt x="164" y="1808"/>
                  </a:lnTo>
                  <a:lnTo>
                    <a:pt x="162" y="1813"/>
                  </a:lnTo>
                  <a:lnTo>
                    <a:pt x="161" y="1818"/>
                  </a:lnTo>
                  <a:lnTo>
                    <a:pt x="158" y="1827"/>
                  </a:lnTo>
                  <a:lnTo>
                    <a:pt x="158" y="1830"/>
                  </a:lnTo>
                  <a:lnTo>
                    <a:pt x="160" y="1833"/>
                  </a:lnTo>
                  <a:lnTo>
                    <a:pt x="160" y="1838"/>
                  </a:lnTo>
                  <a:lnTo>
                    <a:pt x="160" y="1841"/>
                  </a:lnTo>
                  <a:lnTo>
                    <a:pt x="159" y="1842"/>
                  </a:lnTo>
                  <a:lnTo>
                    <a:pt x="159" y="1845"/>
                  </a:lnTo>
                  <a:lnTo>
                    <a:pt x="157" y="1846"/>
                  </a:lnTo>
                  <a:lnTo>
                    <a:pt x="155" y="1848"/>
                  </a:lnTo>
                  <a:lnTo>
                    <a:pt x="155" y="1852"/>
                  </a:lnTo>
                  <a:lnTo>
                    <a:pt x="157" y="1867"/>
                  </a:lnTo>
                  <a:lnTo>
                    <a:pt x="157" y="1869"/>
                  </a:lnTo>
                  <a:lnTo>
                    <a:pt x="157" y="1875"/>
                  </a:lnTo>
                  <a:lnTo>
                    <a:pt x="159" y="1878"/>
                  </a:lnTo>
                  <a:lnTo>
                    <a:pt x="157" y="1884"/>
                  </a:lnTo>
                  <a:lnTo>
                    <a:pt x="157" y="1886"/>
                  </a:lnTo>
                  <a:lnTo>
                    <a:pt x="155" y="1888"/>
                  </a:lnTo>
                  <a:lnTo>
                    <a:pt x="155" y="1894"/>
                  </a:lnTo>
                  <a:lnTo>
                    <a:pt x="156" y="1897"/>
                  </a:lnTo>
                  <a:lnTo>
                    <a:pt x="153" y="1899"/>
                  </a:lnTo>
                  <a:lnTo>
                    <a:pt x="151" y="1904"/>
                  </a:lnTo>
                  <a:lnTo>
                    <a:pt x="151" y="1907"/>
                  </a:lnTo>
                  <a:lnTo>
                    <a:pt x="150" y="1908"/>
                  </a:lnTo>
                  <a:lnTo>
                    <a:pt x="150" y="1914"/>
                  </a:lnTo>
                  <a:lnTo>
                    <a:pt x="148" y="1918"/>
                  </a:lnTo>
                  <a:lnTo>
                    <a:pt x="148" y="1919"/>
                  </a:lnTo>
                  <a:lnTo>
                    <a:pt x="144" y="1923"/>
                  </a:lnTo>
                  <a:lnTo>
                    <a:pt x="143" y="1927"/>
                  </a:lnTo>
                  <a:lnTo>
                    <a:pt x="142" y="1931"/>
                  </a:lnTo>
                  <a:lnTo>
                    <a:pt x="140" y="1935"/>
                  </a:lnTo>
                  <a:lnTo>
                    <a:pt x="140" y="1937"/>
                  </a:lnTo>
                  <a:lnTo>
                    <a:pt x="139" y="1940"/>
                  </a:lnTo>
                  <a:lnTo>
                    <a:pt x="138" y="1942"/>
                  </a:lnTo>
                  <a:lnTo>
                    <a:pt x="138" y="1945"/>
                  </a:lnTo>
                  <a:lnTo>
                    <a:pt x="134" y="1946"/>
                  </a:lnTo>
                  <a:lnTo>
                    <a:pt x="134" y="1952"/>
                  </a:lnTo>
                  <a:lnTo>
                    <a:pt x="132" y="1953"/>
                  </a:lnTo>
                  <a:lnTo>
                    <a:pt x="130" y="1952"/>
                  </a:lnTo>
                  <a:lnTo>
                    <a:pt x="127" y="1955"/>
                  </a:lnTo>
                  <a:lnTo>
                    <a:pt x="128" y="1957"/>
                  </a:lnTo>
                  <a:lnTo>
                    <a:pt x="127" y="1958"/>
                  </a:lnTo>
                  <a:lnTo>
                    <a:pt x="128" y="1962"/>
                  </a:lnTo>
                  <a:lnTo>
                    <a:pt x="130" y="1964"/>
                  </a:lnTo>
                  <a:lnTo>
                    <a:pt x="131" y="1966"/>
                  </a:lnTo>
                  <a:lnTo>
                    <a:pt x="130" y="1972"/>
                  </a:lnTo>
                  <a:lnTo>
                    <a:pt x="131" y="1975"/>
                  </a:lnTo>
                  <a:lnTo>
                    <a:pt x="134" y="1984"/>
                  </a:lnTo>
                  <a:lnTo>
                    <a:pt x="134" y="1987"/>
                  </a:lnTo>
                  <a:lnTo>
                    <a:pt x="133" y="1990"/>
                  </a:lnTo>
                  <a:lnTo>
                    <a:pt x="132" y="1992"/>
                  </a:lnTo>
                  <a:lnTo>
                    <a:pt x="132" y="1995"/>
                  </a:lnTo>
                  <a:lnTo>
                    <a:pt x="130" y="1996"/>
                  </a:lnTo>
                  <a:lnTo>
                    <a:pt x="127" y="1997"/>
                  </a:lnTo>
                  <a:lnTo>
                    <a:pt x="127" y="2000"/>
                  </a:lnTo>
                  <a:lnTo>
                    <a:pt x="126" y="2004"/>
                  </a:lnTo>
                  <a:lnTo>
                    <a:pt x="126" y="2006"/>
                  </a:lnTo>
                  <a:lnTo>
                    <a:pt x="123" y="2013"/>
                  </a:lnTo>
                  <a:lnTo>
                    <a:pt x="124" y="2016"/>
                  </a:lnTo>
                  <a:lnTo>
                    <a:pt x="125" y="2018"/>
                  </a:lnTo>
                  <a:lnTo>
                    <a:pt x="125" y="2022"/>
                  </a:lnTo>
                  <a:lnTo>
                    <a:pt x="127" y="2023"/>
                  </a:lnTo>
                  <a:lnTo>
                    <a:pt x="130" y="2023"/>
                  </a:lnTo>
                  <a:lnTo>
                    <a:pt x="128" y="2026"/>
                  </a:lnTo>
                  <a:lnTo>
                    <a:pt x="130" y="2026"/>
                  </a:lnTo>
                  <a:lnTo>
                    <a:pt x="135" y="2026"/>
                  </a:lnTo>
                  <a:lnTo>
                    <a:pt x="135" y="2023"/>
                  </a:lnTo>
                  <a:lnTo>
                    <a:pt x="139" y="2022"/>
                  </a:lnTo>
                  <a:lnTo>
                    <a:pt x="143" y="2025"/>
                  </a:lnTo>
                  <a:lnTo>
                    <a:pt x="145" y="2022"/>
                  </a:lnTo>
                  <a:lnTo>
                    <a:pt x="145" y="2025"/>
                  </a:lnTo>
                  <a:lnTo>
                    <a:pt x="142" y="2025"/>
                  </a:lnTo>
                  <a:lnTo>
                    <a:pt x="140" y="2027"/>
                  </a:lnTo>
                  <a:lnTo>
                    <a:pt x="140" y="2030"/>
                  </a:lnTo>
                  <a:lnTo>
                    <a:pt x="143" y="2031"/>
                  </a:lnTo>
                  <a:lnTo>
                    <a:pt x="144" y="2032"/>
                  </a:lnTo>
                  <a:lnTo>
                    <a:pt x="144" y="2038"/>
                  </a:lnTo>
                  <a:lnTo>
                    <a:pt x="143" y="2035"/>
                  </a:lnTo>
                  <a:lnTo>
                    <a:pt x="141" y="2033"/>
                  </a:lnTo>
                  <a:lnTo>
                    <a:pt x="140" y="2036"/>
                  </a:lnTo>
                  <a:lnTo>
                    <a:pt x="143" y="2039"/>
                  </a:lnTo>
                  <a:lnTo>
                    <a:pt x="142" y="2039"/>
                  </a:lnTo>
                  <a:lnTo>
                    <a:pt x="140" y="2038"/>
                  </a:lnTo>
                  <a:lnTo>
                    <a:pt x="140" y="2043"/>
                  </a:lnTo>
                  <a:lnTo>
                    <a:pt x="141" y="2046"/>
                  </a:lnTo>
                  <a:lnTo>
                    <a:pt x="138" y="2048"/>
                  </a:lnTo>
                  <a:lnTo>
                    <a:pt x="138" y="2050"/>
                  </a:lnTo>
                  <a:lnTo>
                    <a:pt x="135" y="2053"/>
                  </a:lnTo>
                  <a:lnTo>
                    <a:pt x="136" y="2056"/>
                  </a:lnTo>
                  <a:lnTo>
                    <a:pt x="138" y="2056"/>
                  </a:lnTo>
                  <a:lnTo>
                    <a:pt x="136" y="2058"/>
                  </a:lnTo>
                  <a:lnTo>
                    <a:pt x="139" y="2058"/>
                  </a:lnTo>
                  <a:lnTo>
                    <a:pt x="133" y="2066"/>
                  </a:lnTo>
                  <a:lnTo>
                    <a:pt x="134" y="2067"/>
                  </a:lnTo>
                  <a:lnTo>
                    <a:pt x="138" y="2068"/>
                  </a:lnTo>
                  <a:lnTo>
                    <a:pt x="140" y="2070"/>
                  </a:lnTo>
                  <a:lnTo>
                    <a:pt x="142" y="2069"/>
                  </a:lnTo>
                  <a:lnTo>
                    <a:pt x="142" y="2072"/>
                  </a:lnTo>
                  <a:lnTo>
                    <a:pt x="141" y="2075"/>
                  </a:lnTo>
                  <a:lnTo>
                    <a:pt x="139" y="2077"/>
                  </a:lnTo>
                  <a:lnTo>
                    <a:pt x="135" y="2079"/>
                  </a:lnTo>
                  <a:lnTo>
                    <a:pt x="133" y="2079"/>
                  </a:lnTo>
                  <a:lnTo>
                    <a:pt x="132" y="2079"/>
                  </a:lnTo>
                  <a:lnTo>
                    <a:pt x="133" y="2083"/>
                  </a:lnTo>
                  <a:lnTo>
                    <a:pt x="135" y="2085"/>
                  </a:lnTo>
                  <a:lnTo>
                    <a:pt x="138" y="2087"/>
                  </a:lnTo>
                  <a:lnTo>
                    <a:pt x="140" y="2087"/>
                  </a:lnTo>
                  <a:lnTo>
                    <a:pt x="139" y="2087"/>
                  </a:lnTo>
                  <a:lnTo>
                    <a:pt x="136" y="2087"/>
                  </a:lnTo>
                  <a:lnTo>
                    <a:pt x="134" y="2085"/>
                  </a:lnTo>
                  <a:lnTo>
                    <a:pt x="131" y="2087"/>
                  </a:lnTo>
                  <a:lnTo>
                    <a:pt x="130" y="2090"/>
                  </a:lnTo>
                  <a:lnTo>
                    <a:pt x="130" y="2092"/>
                  </a:lnTo>
                  <a:lnTo>
                    <a:pt x="132" y="2091"/>
                  </a:lnTo>
                  <a:lnTo>
                    <a:pt x="130" y="2093"/>
                  </a:lnTo>
                  <a:lnTo>
                    <a:pt x="128" y="2096"/>
                  </a:lnTo>
                  <a:lnTo>
                    <a:pt x="128" y="2099"/>
                  </a:lnTo>
                  <a:lnTo>
                    <a:pt x="127" y="2101"/>
                  </a:lnTo>
                  <a:lnTo>
                    <a:pt x="131" y="2099"/>
                  </a:lnTo>
                  <a:lnTo>
                    <a:pt x="130" y="2101"/>
                  </a:lnTo>
                  <a:lnTo>
                    <a:pt x="126" y="2104"/>
                  </a:lnTo>
                  <a:lnTo>
                    <a:pt x="125" y="2107"/>
                  </a:lnTo>
                  <a:lnTo>
                    <a:pt x="125" y="2104"/>
                  </a:lnTo>
                  <a:lnTo>
                    <a:pt x="126" y="2102"/>
                  </a:lnTo>
                  <a:lnTo>
                    <a:pt x="124" y="2100"/>
                  </a:lnTo>
                  <a:lnTo>
                    <a:pt x="125" y="2102"/>
                  </a:lnTo>
                  <a:lnTo>
                    <a:pt x="122" y="2101"/>
                  </a:lnTo>
                  <a:lnTo>
                    <a:pt x="119" y="2101"/>
                  </a:lnTo>
                  <a:lnTo>
                    <a:pt x="117" y="2100"/>
                  </a:lnTo>
                  <a:lnTo>
                    <a:pt x="119" y="2101"/>
                  </a:lnTo>
                  <a:lnTo>
                    <a:pt x="122" y="2100"/>
                  </a:lnTo>
                  <a:lnTo>
                    <a:pt x="124" y="2098"/>
                  </a:lnTo>
                  <a:lnTo>
                    <a:pt x="121" y="2095"/>
                  </a:lnTo>
                  <a:lnTo>
                    <a:pt x="118" y="2093"/>
                  </a:lnTo>
                  <a:lnTo>
                    <a:pt x="117" y="2096"/>
                  </a:lnTo>
                  <a:lnTo>
                    <a:pt x="115" y="2094"/>
                  </a:lnTo>
                  <a:lnTo>
                    <a:pt x="113" y="2094"/>
                  </a:lnTo>
                  <a:lnTo>
                    <a:pt x="109" y="2095"/>
                  </a:lnTo>
                  <a:lnTo>
                    <a:pt x="108" y="2098"/>
                  </a:lnTo>
                  <a:lnTo>
                    <a:pt x="110" y="2099"/>
                  </a:lnTo>
                  <a:lnTo>
                    <a:pt x="113" y="2096"/>
                  </a:lnTo>
                  <a:lnTo>
                    <a:pt x="113" y="2099"/>
                  </a:lnTo>
                  <a:lnTo>
                    <a:pt x="110" y="2101"/>
                  </a:lnTo>
                  <a:lnTo>
                    <a:pt x="108" y="2102"/>
                  </a:lnTo>
                  <a:lnTo>
                    <a:pt x="102" y="2106"/>
                  </a:lnTo>
                  <a:lnTo>
                    <a:pt x="100" y="2109"/>
                  </a:lnTo>
                  <a:lnTo>
                    <a:pt x="100" y="2111"/>
                  </a:lnTo>
                  <a:lnTo>
                    <a:pt x="104" y="2113"/>
                  </a:lnTo>
                  <a:lnTo>
                    <a:pt x="105" y="2110"/>
                  </a:lnTo>
                  <a:lnTo>
                    <a:pt x="101" y="2109"/>
                  </a:lnTo>
                  <a:lnTo>
                    <a:pt x="107" y="2108"/>
                  </a:lnTo>
                  <a:lnTo>
                    <a:pt x="109" y="2106"/>
                  </a:lnTo>
                  <a:lnTo>
                    <a:pt x="109" y="2108"/>
                  </a:lnTo>
                  <a:lnTo>
                    <a:pt x="111" y="2110"/>
                  </a:lnTo>
                  <a:lnTo>
                    <a:pt x="114" y="2112"/>
                  </a:lnTo>
                  <a:lnTo>
                    <a:pt x="117" y="2112"/>
                  </a:lnTo>
                  <a:lnTo>
                    <a:pt x="116" y="2110"/>
                  </a:lnTo>
                  <a:lnTo>
                    <a:pt x="118" y="2110"/>
                  </a:lnTo>
                  <a:lnTo>
                    <a:pt x="122" y="2111"/>
                  </a:lnTo>
                  <a:lnTo>
                    <a:pt x="122" y="2115"/>
                  </a:lnTo>
                  <a:lnTo>
                    <a:pt x="122" y="2115"/>
                  </a:lnTo>
                  <a:lnTo>
                    <a:pt x="124" y="2115"/>
                  </a:lnTo>
                  <a:lnTo>
                    <a:pt x="123" y="2116"/>
                  </a:lnTo>
                  <a:lnTo>
                    <a:pt x="123" y="2117"/>
                  </a:lnTo>
                  <a:lnTo>
                    <a:pt x="122" y="2119"/>
                  </a:lnTo>
                  <a:lnTo>
                    <a:pt x="119" y="2118"/>
                  </a:lnTo>
                  <a:lnTo>
                    <a:pt x="117" y="2120"/>
                  </a:lnTo>
                  <a:lnTo>
                    <a:pt x="118" y="2124"/>
                  </a:lnTo>
                  <a:lnTo>
                    <a:pt x="121" y="2125"/>
                  </a:lnTo>
                  <a:lnTo>
                    <a:pt x="121" y="2127"/>
                  </a:lnTo>
                  <a:lnTo>
                    <a:pt x="115" y="2125"/>
                  </a:lnTo>
                  <a:lnTo>
                    <a:pt x="114" y="2127"/>
                  </a:lnTo>
                  <a:lnTo>
                    <a:pt x="122" y="2127"/>
                  </a:lnTo>
                  <a:lnTo>
                    <a:pt x="125" y="2128"/>
                  </a:lnTo>
                  <a:lnTo>
                    <a:pt x="126" y="2126"/>
                  </a:lnTo>
                  <a:lnTo>
                    <a:pt x="130" y="2128"/>
                  </a:lnTo>
                  <a:lnTo>
                    <a:pt x="131" y="2130"/>
                  </a:lnTo>
                  <a:lnTo>
                    <a:pt x="133" y="2132"/>
                  </a:lnTo>
                  <a:lnTo>
                    <a:pt x="131" y="2132"/>
                  </a:lnTo>
                  <a:lnTo>
                    <a:pt x="131" y="2134"/>
                  </a:lnTo>
                  <a:lnTo>
                    <a:pt x="132" y="2135"/>
                  </a:lnTo>
                  <a:lnTo>
                    <a:pt x="130" y="2136"/>
                  </a:lnTo>
                  <a:lnTo>
                    <a:pt x="126" y="2133"/>
                  </a:lnTo>
                  <a:lnTo>
                    <a:pt x="124" y="2132"/>
                  </a:lnTo>
                  <a:lnTo>
                    <a:pt x="122" y="2132"/>
                  </a:lnTo>
                  <a:lnTo>
                    <a:pt x="121" y="2134"/>
                  </a:lnTo>
                  <a:lnTo>
                    <a:pt x="118" y="2132"/>
                  </a:lnTo>
                  <a:lnTo>
                    <a:pt x="115" y="2132"/>
                  </a:lnTo>
                  <a:lnTo>
                    <a:pt x="117" y="2134"/>
                  </a:lnTo>
                  <a:lnTo>
                    <a:pt x="122" y="2138"/>
                  </a:lnTo>
                  <a:lnTo>
                    <a:pt x="123" y="2141"/>
                  </a:lnTo>
                  <a:lnTo>
                    <a:pt x="121" y="2139"/>
                  </a:lnTo>
                  <a:lnTo>
                    <a:pt x="118" y="2142"/>
                  </a:lnTo>
                  <a:lnTo>
                    <a:pt x="121" y="2144"/>
                  </a:lnTo>
                  <a:lnTo>
                    <a:pt x="123" y="2144"/>
                  </a:lnTo>
                  <a:lnTo>
                    <a:pt x="119" y="2144"/>
                  </a:lnTo>
                  <a:lnTo>
                    <a:pt x="117" y="2147"/>
                  </a:lnTo>
                  <a:lnTo>
                    <a:pt x="117" y="2150"/>
                  </a:lnTo>
                  <a:lnTo>
                    <a:pt x="117" y="2153"/>
                  </a:lnTo>
                  <a:lnTo>
                    <a:pt x="117" y="2155"/>
                  </a:lnTo>
                  <a:lnTo>
                    <a:pt x="119" y="2158"/>
                  </a:lnTo>
                  <a:lnTo>
                    <a:pt x="122" y="2155"/>
                  </a:lnTo>
                  <a:lnTo>
                    <a:pt x="121" y="2153"/>
                  </a:lnTo>
                  <a:lnTo>
                    <a:pt x="123" y="2150"/>
                  </a:lnTo>
                  <a:lnTo>
                    <a:pt x="125" y="2150"/>
                  </a:lnTo>
                  <a:lnTo>
                    <a:pt x="124" y="2152"/>
                  </a:lnTo>
                  <a:lnTo>
                    <a:pt x="125" y="2154"/>
                  </a:lnTo>
                  <a:lnTo>
                    <a:pt x="122" y="2154"/>
                  </a:lnTo>
                  <a:lnTo>
                    <a:pt x="122" y="2156"/>
                  </a:lnTo>
                  <a:lnTo>
                    <a:pt x="125" y="2158"/>
                  </a:lnTo>
                  <a:lnTo>
                    <a:pt x="126" y="2161"/>
                  </a:lnTo>
                  <a:lnTo>
                    <a:pt x="124" y="2159"/>
                  </a:lnTo>
                  <a:lnTo>
                    <a:pt x="122" y="2159"/>
                  </a:lnTo>
                  <a:lnTo>
                    <a:pt x="119" y="2162"/>
                  </a:lnTo>
                  <a:lnTo>
                    <a:pt x="122" y="2162"/>
                  </a:lnTo>
                  <a:lnTo>
                    <a:pt x="119" y="2163"/>
                  </a:lnTo>
                  <a:lnTo>
                    <a:pt x="122" y="2166"/>
                  </a:lnTo>
                  <a:lnTo>
                    <a:pt x="124" y="2164"/>
                  </a:lnTo>
                  <a:lnTo>
                    <a:pt x="123" y="2167"/>
                  </a:lnTo>
                  <a:lnTo>
                    <a:pt x="122" y="2167"/>
                  </a:lnTo>
                  <a:lnTo>
                    <a:pt x="118" y="2166"/>
                  </a:lnTo>
                  <a:lnTo>
                    <a:pt x="118" y="2167"/>
                  </a:lnTo>
                  <a:lnTo>
                    <a:pt x="121" y="2170"/>
                  </a:lnTo>
                  <a:lnTo>
                    <a:pt x="123" y="2170"/>
                  </a:lnTo>
                  <a:lnTo>
                    <a:pt x="121" y="2170"/>
                  </a:lnTo>
                  <a:lnTo>
                    <a:pt x="117" y="2169"/>
                  </a:lnTo>
                  <a:lnTo>
                    <a:pt x="115" y="2169"/>
                  </a:lnTo>
                  <a:lnTo>
                    <a:pt x="117" y="2171"/>
                  </a:lnTo>
                  <a:lnTo>
                    <a:pt x="119" y="2171"/>
                  </a:lnTo>
                  <a:lnTo>
                    <a:pt x="119" y="2175"/>
                  </a:lnTo>
                  <a:lnTo>
                    <a:pt x="122" y="2173"/>
                  </a:lnTo>
                  <a:lnTo>
                    <a:pt x="124" y="2176"/>
                  </a:lnTo>
                  <a:lnTo>
                    <a:pt x="122" y="2176"/>
                  </a:lnTo>
                  <a:lnTo>
                    <a:pt x="121" y="2178"/>
                  </a:lnTo>
                  <a:lnTo>
                    <a:pt x="122" y="2181"/>
                  </a:lnTo>
                  <a:lnTo>
                    <a:pt x="125" y="2181"/>
                  </a:lnTo>
                  <a:lnTo>
                    <a:pt x="127" y="2176"/>
                  </a:lnTo>
                  <a:lnTo>
                    <a:pt x="128" y="2175"/>
                  </a:lnTo>
                  <a:lnTo>
                    <a:pt x="127" y="2177"/>
                  </a:lnTo>
                  <a:lnTo>
                    <a:pt x="131" y="2179"/>
                  </a:lnTo>
                  <a:lnTo>
                    <a:pt x="127" y="2178"/>
                  </a:lnTo>
                  <a:lnTo>
                    <a:pt x="126" y="2181"/>
                  </a:lnTo>
                  <a:lnTo>
                    <a:pt x="126" y="2184"/>
                  </a:lnTo>
                  <a:lnTo>
                    <a:pt x="123" y="2183"/>
                  </a:lnTo>
                  <a:lnTo>
                    <a:pt x="121" y="2183"/>
                  </a:lnTo>
                  <a:lnTo>
                    <a:pt x="121" y="2186"/>
                  </a:lnTo>
                  <a:lnTo>
                    <a:pt x="122" y="2188"/>
                  </a:lnTo>
                  <a:lnTo>
                    <a:pt x="124" y="2188"/>
                  </a:lnTo>
                  <a:lnTo>
                    <a:pt x="127" y="2187"/>
                  </a:lnTo>
                  <a:lnTo>
                    <a:pt x="127" y="2190"/>
                  </a:lnTo>
                  <a:lnTo>
                    <a:pt x="128" y="2196"/>
                  </a:lnTo>
                  <a:lnTo>
                    <a:pt x="126" y="2193"/>
                  </a:lnTo>
                  <a:lnTo>
                    <a:pt x="125" y="2195"/>
                  </a:lnTo>
                  <a:lnTo>
                    <a:pt x="126" y="2198"/>
                  </a:lnTo>
                  <a:lnTo>
                    <a:pt x="130" y="2197"/>
                  </a:lnTo>
                  <a:lnTo>
                    <a:pt x="130" y="2200"/>
                  </a:lnTo>
                  <a:lnTo>
                    <a:pt x="131" y="2203"/>
                  </a:lnTo>
                  <a:lnTo>
                    <a:pt x="128" y="2200"/>
                  </a:lnTo>
                  <a:lnTo>
                    <a:pt x="130" y="2203"/>
                  </a:lnTo>
                  <a:lnTo>
                    <a:pt x="132" y="2205"/>
                  </a:lnTo>
                  <a:lnTo>
                    <a:pt x="133" y="2203"/>
                  </a:lnTo>
                  <a:lnTo>
                    <a:pt x="132" y="2197"/>
                  </a:lnTo>
                  <a:lnTo>
                    <a:pt x="133" y="2203"/>
                  </a:lnTo>
                  <a:lnTo>
                    <a:pt x="136" y="2202"/>
                  </a:lnTo>
                  <a:lnTo>
                    <a:pt x="136" y="2198"/>
                  </a:lnTo>
                  <a:lnTo>
                    <a:pt x="133" y="2196"/>
                  </a:lnTo>
                  <a:lnTo>
                    <a:pt x="142" y="2200"/>
                  </a:lnTo>
                  <a:lnTo>
                    <a:pt x="141" y="2197"/>
                  </a:lnTo>
                  <a:lnTo>
                    <a:pt x="139" y="2195"/>
                  </a:lnTo>
                  <a:lnTo>
                    <a:pt x="135" y="2196"/>
                  </a:lnTo>
                  <a:lnTo>
                    <a:pt x="135" y="2193"/>
                  </a:lnTo>
                  <a:lnTo>
                    <a:pt x="135" y="2193"/>
                  </a:lnTo>
                  <a:lnTo>
                    <a:pt x="139" y="2195"/>
                  </a:lnTo>
                  <a:lnTo>
                    <a:pt x="141" y="2196"/>
                  </a:lnTo>
                  <a:lnTo>
                    <a:pt x="144" y="2198"/>
                  </a:lnTo>
                  <a:lnTo>
                    <a:pt x="144" y="2201"/>
                  </a:lnTo>
                  <a:lnTo>
                    <a:pt x="142" y="2202"/>
                  </a:lnTo>
                  <a:lnTo>
                    <a:pt x="143" y="2205"/>
                  </a:lnTo>
                  <a:lnTo>
                    <a:pt x="144" y="2206"/>
                  </a:lnTo>
                  <a:lnTo>
                    <a:pt x="143" y="2209"/>
                  </a:lnTo>
                  <a:lnTo>
                    <a:pt x="141" y="2210"/>
                  </a:lnTo>
                  <a:lnTo>
                    <a:pt x="139" y="2211"/>
                  </a:lnTo>
                  <a:lnTo>
                    <a:pt x="141" y="2210"/>
                  </a:lnTo>
                  <a:lnTo>
                    <a:pt x="143" y="2206"/>
                  </a:lnTo>
                  <a:lnTo>
                    <a:pt x="141" y="2204"/>
                  </a:lnTo>
                  <a:lnTo>
                    <a:pt x="140" y="2204"/>
                  </a:lnTo>
                  <a:lnTo>
                    <a:pt x="140" y="2206"/>
                  </a:lnTo>
                  <a:lnTo>
                    <a:pt x="128" y="2205"/>
                  </a:lnTo>
                  <a:lnTo>
                    <a:pt x="128" y="2211"/>
                  </a:lnTo>
                  <a:lnTo>
                    <a:pt x="128" y="2214"/>
                  </a:lnTo>
                  <a:lnTo>
                    <a:pt x="128" y="2216"/>
                  </a:lnTo>
                  <a:lnTo>
                    <a:pt x="131" y="2214"/>
                  </a:lnTo>
                  <a:lnTo>
                    <a:pt x="134" y="2214"/>
                  </a:lnTo>
                  <a:lnTo>
                    <a:pt x="134" y="2212"/>
                  </a:lnTo>
                  <a:lnTo>
                    <a:pt x="138" y="2212"/>
                  </a:lnTo>
                  <a:lnTo>
                    <a:pt x="135" y="2214"/>
                  </a:lnTo>
                  <a:lnTo>
                    <a:pt x="134" y="2218"/>
                  </a:lnTo>
                  <a:lnTo>
                    <a:pt x="131" y="2218"/>
                  </a:lnTo>
                  <a:lnTo>
                    <a:pt x="134" y="2219"/>
                  </a:lnTo>
                  <a:lnTo>
                    <a:pt x="131" y="2221"/>
                  </a:lnTo>
                  <a:lnTo>
                    <a:pt x="134" y="2223"/>
                  </a:lnTo>
                  <a:lnTo>
                    <a:pt x="136" y="2222"/>
                  </a:lnTo>
                  <a:lnTo>
                    <a:pt x="138" y="2220"/>
                  </a:lnTo>
                  <a:lnTo>
                    <a:pt x="141" y="2214"/>
                  </a:lnTo>
                  <a:lnTo>
                    <a:pt x="139" y="2215"/>
                  </a:lnTo>
                  <a:lnTo>
                    <a:pt x="139" y="2212"/>
                  </a:lnTo>
                  <a:lnTo>
                    <a:pt x="142" y="2213"/>
                  </a:lnTo>
                  <a:lnTo>
                    <a:pt x="152" y="2213"/>
                  </a:lnTo>
                  <a:lnTo>
                    <a:pt x="156" y="2213"/>
                  </a:lnTo>
                  <a:lnTo>
                    <a:pt x="158" y="2214"/>
                  </a:lnTo>
                  <a:lnTo>
                    <a:pt x="156" y="2215"/>
                  </a:lnTo>
                  <a:lnTo>
                    <a:pt x="152" y="2215"/>
                  </a:lnTo>
                  <a:lnTo>
                    <a:pt x="150" y="2214"/>
                  </a:lnTo>
                  <a:lnTo>
                    <a:pt x="148" y="2215"/>
                  </a:lnTo>
                  <a:lnTo>
                    <a:pt x="144" y="2219"/>
                  </a:lnTo>
                  <a:lnTo>
                    <a:pt x="140" y="2218"/>
                  </a:lnTo>
                  <a:lnTo>
                    <a:pt x="138" y="2220"/>
                  </a:lnTo>
                  <a:lnTo>
                    <a:pt x="139" y="2222"/>
                  </a:lnTo>
                  <a:lnTo>
                    <a:pt x="141" y="2223"/>
                  </a:lnTo>
                  <a:lnTo>
                    <a:pt x="141" y="2227"/>
                  </a:lnTo>
                  <a:lnTo>
                    <a:pt x="139" y="2224"/>
                  </a:lnTo>
                  <a:lnTo>
                    <a:pt x="135" y="2224"/>
                  </a:lnTo>
                  <a:lnTo>
                    <a:pt x="138" y="2227"/>
                  </a:lnTo>
                  <a:lnTo>
                    <a:pt x="140" y="2229"/>
                  </a:lnTo>
                  <a:lnTo>
                    <a:pt x="142" y="2231"/>
                  </a:lnTo>
                  <a:lnTo>
                    <a:pt x="145" y="2231"/>
                  </a:lnTo>
                  <a:lnTo>
                    <a:pt x="143" y="2229"/>
                  </a:lnTo>
                  <a:lnTo>
                    <a:pt x="145" y="2226"/>
                  </a:lnTo>
                  <a:lnTo>
                    <a:pt x="148" y="2226"/>
                  </a:lnTo>
                  <a:lnTo>
                    <a:pt x="145" y="2223"/>
                  </a:lnTo>
                  <a:lnTo>
                    <a:pt x="148" y="2222"/>
                  </a:lnTo>
                  <a:lnTo>
                    <a:pt x="150" y="2223"/>
                  </a:lnTo>
                  <a:lnTo>
                    <a:pt x="152" y="2221"/>
                  </a:lnTo>
                  <a:lnTo>
                    <a:pt x="158" y="2218"/>
                  </a:lnTo>
                  <a:lnTo>
                    <a:pt x="159" y="2216"/>
                  </a:lnTo>
                  <a:lnTo>
                    <a:pt x="161" y="2218"/>
                  </a:lnTo>
                  <a:lnTo>
                    <a:pt x="161" y="2220"/>
                  </a:lnTo>
                  <a:lnTo>
                    <a:pt x="160" y="2223"/>
                  </a:lnTo>
                  <a:lnTo>
                    <a:pt x="155" y="2226"/>
                  </a:lnTo>
                  <a:lnTo>
                    <a:pt x="153" y="2231"/>
                  </a:lnTo>
                  <a:lnTo>
                    <a:pt x="151" y="2232"/>
                  </a:lnTo>
                  <a:lnTo>
                    <a:pt x="153" y="2230"/>
                  </a:lnTo>
                  <a:lnTo>
                    <a:pt x="153" y="2227"/>
                  </a:lnTo>
                  <a:lnTo>
                    <a:pt x="150" y="2226"/>
                  </a:lnTo>
                  <a:lnTo>
                    <a:pt x="150" y="2229"/>
                  </a:lnTo>
                  <a:lnTo>
                    <a:pt x="149" y="2226"/>
                  </a:lnTo>
                  <a:lnTo>
                    <a:pt x="147" y="2227"/>
                  </a:lnTo>
                  <a:lnTo>
                    <a:pt x="144" y="2229"/>
                  </a:lnTo>
                  <a:lnTo>
                    <a:pt x="149" y="2235"/>
                  </a:lnTo>
                  <a:lnTo>
                    <a:pt x="152" y="2235"/>
                  </a:lnTo>
                  <a:lnTo>
                    <a:pt x="155" y="2236"/>
                  </a:lnTo>
                  <a:lnTo>
                    <a:pt x="160" y="2238"/>
                  </a:lnTo>
                  <a:lnTo>
                    <a:pt x="164" y="2237"/>
                  </a:lnTo>
                  <a:lnTo>
                    <a:pt x="165" y="2235"/>
                  </a:lnTo>
                  <a:lnTo>
                    <a:pt x="165" y="2231"/>
                  </a:lnTo>
                  <a:lnTo>
                    <a:pt x="165" y="2229"/>
                  </a:lnTo>
                  <a:lnTo>
                    <a:pt x="165" y="2226"/>
                  </a:lnTo>
                  <a:lnTo>
                    <a:pt x="167" y="2218"/>
                  </a:lnTo>
                  <a:lnTo>
                    <a:pt x="170" y="2215"/>
                  </a:lnTo>
                  <a:lnTo>
                    <a:pt x="173" y="2215"/>
                  </a:lnTo>
                  <a:lnTo>
                    <a:pt x="175" y="2214"/>
                  </a:lnTo>
                  <a:lnTo>
                    <a:pt x="181" y="2212"/>
                  </a:lnTo>
                  <a:lnTo>
                    <a:pt x="183" y="2212"/>
                  </a:lnTo>
                  <a:lnTo>
                    <a:pt x="184" y="2211"/>
                  </a:lnTo>
                  <a:lnTo>
                    <a:pt x="185" y="2209"/>
                  </a:lnTo>
                  <a:lnTo>
                    <a:pt x="187" y="2206"/>
                  </a:lnTo>
                  <a:lnTo>
                    <a:pt x="191" y="2206"/>
                  </a:lnTo>
                  <a:lnTo>
                    <a:pt x="193" y="2209"/>
                  </a:lnTo>
                  <a:lnTo>
                    <a:pt x="198" y="2209"/>
                  </a:lnTo>
                  <a:lnTo>
                    <a:pt x="199" y="2209"/>
                  </a:lnTo>
                  <a:lnTo>
                    <a:pt x="200" y="2210"/>
                  </a:lnTo>
                  <a:lnTo>
                    <a:pt x="200" y="2210"/>
                  </a:lnTo>
                  <a:lnTo>
                    <a:pt x="199" y="2207"/>
                  </a:lnTo>
                  <a:lnTo>
                    <a:pt x="195" y="2202"/>
                  </a:lnTo>
                  <a:lnTo>
                    <a:pt x="192" y="2196"/>
                  </a:lnTo>
                  <a:lnTo>
                    <a:pt x="190" y="2197"/>
                  </a:lnTo>
                  <a:lnTo>
                    <a:pt x="186" y="2195"/>
                  </a:lnTo>
                  <a:lnTo>
                    <a:pt x="183" y="2196"/>
                  </a:lnTo>
                  <a:lnTo>
                    <a:pt x="186" y="2195"/>
                  </a:lnTo>
                  <a:lnTo>
                    <a:pt x="188" y="2195"/>
                  </a:lnTo>
                  <a:lnTo>
                    <a:pt x="192" y="2195"/>
                  </a:lnTo>
                  <a:lnTo>
                    <a:pt x="192" y="2193"/>
                  </a:lnTo>
                  <a:lnTo>
                    <a:pt x="190" y="2184"/>
                  </a:lnTo>
                  <a:lnTo>
                    <a:pt x="187" y="2185"/>
                  </a:lnTo>
                  <a:lnTo>
                    <a:pt x="186" y="2186"/>
                  </a:lnTo>
                  <a:lnTo>
                    <a:pt x="186" y="2186"/>
                  </a:lnTo>
                  <a:lnTo>
                    <a:pt x="187" y="2185"/>
                  </a:lnTo>
                  <a:lnTo>
                    <a:pt x="188" y="2184"/>
                  </a:lnTo>
                  <a:lnTo>
                    <a:pt x="191" y="2178"/>
                  </a:lnTo>
                  <a:lnTo>
                    <a:pt x="192" y="2176"/>
                  </a:lnTo>
                  <a:lnTo>
                    <a:pt x="193" y="2172"/>
                  </a:lnTo>
                  <a:lnTo>
                    <a:pt x="199" y="2170"/>
                  </a:lnTo>
                  <a:lnTo>
                    <a:pt x="198" y="2167"/>
                  </a:lnTo>
                  <a:lnTo>
                    <a:pt x="193" y="2167"/>
                  </a:lnTo>
                  <a:lnTo>
                    <a:pt x="193" y="2167"/>
                  </a:lnTo>
                  <a:lnTo>
                    <a:pt x="192" y="2167"/>
                  </a:lnTo>
                  <a:lnTo>
                    <a:pt x="193" y="2167"/>
                  </a:lnTo>
                  <a:lnTo>
                    <a:pt x="196" y="2166"/>
                  </a:lnTo>
                  <a:lnTo>
                    <a:pt x="196" y="2164"/>
                  </a:lnTo>
                  <a:lnTo>
                    <a:pt x="196" y="2162"/>
                  </a:lnTo>
                  <a:lnTo>
                    <a:pt x="195" y="2162"/>
                  </a:lnTo>
                  <a:lnTo>
                    <a:pt x="196" y="2162"/>
                  </a:lnTo>
                  <a:lnTo>
                    <a:pt x="199" y="2167"/>
                  </a:lnTo>
                  <a:lnTo>
                    <a:pt x="201" y="2169"/>
                  </a:lnTo>
                  <a:lnTo>
                    <a:pt x="204" y="2168"/>
                  </a:lnTo>
                  <a:lnTo>
                    <a:pt x="207" y="2167"/>
                  </a:lnTo>
                  <a:lnTo>
                    <a:pt x="209" y="2164"/>
                  </a:lnTo>
                  <a:lnTo>
                    <a:pt x="210" y="2156"/>
                  </a:lnTo>
                  <a:lnTo>
                    <a:pt x="210" y="2153"/>
                  </a:lnTo>
                  <a:lnTo>
                    <a:pt x="211" y="2151"/>
                  </a:lnTo>
                  <a:lnTo>
                    <a:pt x="212" y="2149"/>
                  </a:lnTo>
                  <a:lnTo>
                    <a:pt x="213" y="2147"/>
                  </a:lnTo>
                  <a:lnTo>
                    <a:pt x="216" y="2146"/>
                  </a:lnTo>
                  <a:lnTo>
                    <a:pt x="218" y="2143"/>
                  </a:lnTo>
                  <a:lnTo>
                    <a:pt x="226" y="2138"/>
                  </a:lnTo>
                  <a:lnTo>
                    <a:pt x="228" y="2137"/>
                  </a:lnTo>
                  <a:lnTo>
                    <a:pt x="230" y="2135"/>
                  </a:lnTo>
                  <a:lnTo>
                    <a:pt x="234" y="2133"/>
                  </a:lnTo>
                  <a:lnTo>
                    <a:pt x="236" y="2130"/>
                  </a:lnTo>
                  <a:lnTo>
                    <a:pt x="234" y="2127"/>
                  </a:lnTo>
                  <a:lnTo>
                    <a:pt x="228" y="2129"/>
                  </a:lnTo>
                  <a:lnTo>
                    <a:pt x="227" y="2129"/>
                  </a:lnTo>
                  <a:lnTo>
                    <a:pt x="230" y="2128"/>
                  </a:lnTo>
                  <a:lnTo>
                    <a:pt x="233" y="2127"/>
                  </a:lnTo>
                  <a:lnTo>
                    <a:pt x="235" y="2125"/>
                  </a:lnTo>
                  <a:lnTo>
                    <a:pt x="236" y="2119"/>
                  </a:lnTo>
                  <a:lnTo>
                    <a:pt x="235" y="2117"/>
                  </a:lnTo>
                  <a:lnTo>
                    <a:pt x="233" y="2115"/>
                  </a:lnTo>
                  <a:lnTo>
                    <a:pt x="230" y="2116"/>
                  </a:lnTo>
                  <a:lnTo>
                    <a:pt x="222" y="2115"/>
                  </a:lnTo>
                  <a:lnTo>
                    <a:pt x="219" y="2111"/>
                  </a:lnTo>
                  <a:lnTo>
                    <a:pt x="213" y="2107"/>
                  </a:lnTo>
                  <a:lnTo>
                    <a:pt x="212" y="2104"/>
                  </a:lnTo>
                  <a:lnTo>
                    <a:pt x="211" y="2101"/>
                  </a:lnTo>
                  <a:lnTo>
                    <a:pt x="211" y="2099"/>
                  </a:lnTo>
                  <a:lnTo>
                    <a:pt x="211" y="2096"/>
                  </a:lnTo>
                  <a:lnTo>
                    <a:pt x="215" y="2092"/>
                  </a:lnTo>
                  <a:lnTo>
                    <a:pt x="218" y="2086"/>
                  </a:lnTo>
                  <a:lnTo>
                    <a:pt x="221" y="2083"/>
                  </a:lnTo>
                  <a:lnTo>
                    <a:pt x="224" y="2083"/>
                  </a:lnTo>
                  <a:lnTo>
                    <a:pt x="226" y="2082"/>
                  </a:lnTo>
                  <a:lnTo>
                    <a:pt x="229" y="2079"/>
                  </a:lnTo>
                  <a:lnTo>
                    <a:pt x="233" y="2079"/>
                  </a:lnTo>
                  <a:lnTo>
                    <a:pt x="238" y="2081"/>
                  </a:lnTo>
                  <a:lnTo>
                    <a:pt x="238" y="2079"/>
                  </a:lnTo>
                  <a:lnTo>
                    <a:pt x="237" y="2077"/>
                  </a:lnTo>
                  <a:lnTo>
                    <a:pt x="237" y="2075"/>
                  </a:lnTo>
                  <a:lnTo>
                    <a:pt x="241" y="2073"/>
                  </a:lnTo>
                  <a:lnTo>
                    <a:pt x="242" y="2070"/>
                  </a:lnTo>
                  <a:lnTo>
                    <a:pt x="243" y="2067"/>
                  </a:lnTo>
                  <a:lnTo>
                    <a:pt x="244" y="2065"/>
                  </a:lnTo>
                  <a:lnTo>
                    <a:pt x="242" y="2059"/>
                  </a:lnTo>
                  <a:lnTo>
                    <a:pt x="243" y="2057"/>
                  </a:lnTo>
                  <a:lnTo>
                    <a:pt x="245" y="2053"/>
                  </a:lnTo>
                  <a:lnTo>
                    <a:pt x="246" y="2051"/>
                  </a:lnTo>
                  <a:lnTo>
                    <a:pt x="249" y="2049"/>
                  </a:lnTo>
                  <a:lnTo>
                    <a:pt x="254" y="2048"/>
                  </a:lnTo>
                  <a:lnTo>
                    <a:pt x="249" y="2043"/>
                  </a:lnTo>
                  <a:lnTo>
                    <a:pt x="247" y="2041"/>
                  </a:lnTo>
                  <a:lnTo>
                    <a:pt x="252" y="2039"/>
                  </a:lnTo>
                  <a:lnTo>
                    <a:pt x="255" y="2039"/>
                  </a:lnTo>
                  <a:lnTo>
                    <a:pt x="258" y="2041"/>
                  </a:lnTo>
                  <a:lnTo>
                    <a:pt x="258" y="2044"/>
                  </a:lnTo>
                  <a:lnTo>
                    <a:pt x="261" y="2044"/>
                  </a:lnTo>
                  <a:lnTo>
                    <a:pt x="263" y="2043"/>
                  </a:lnTo>
                  <a:lnTo>
                    <a:pt x="266" y="2041"/>
                  </a:lnTo>
                  <a:lnTo>
                    <a:pt x="266" y="2038"/>
                  </a:lnTo>
                  <a:lnTo>
                    <a:pt x="266" y="2035"/>
                  </a:lnTo>
                  <a:lnTo>
                    <a:pt x="264" y="2033"/>
                  </a:lnTo>
                  <a:lnTo>
                    <a:pt x="262" y="2032"/>
                  </a:lnTo>
                  <a:lnTo>
                    <a:pt x="259" y="2033"/>
                  </a:lnTo>
                  <a:lnTo>
                    <a:pt x="256" y="2033"/>
                  </a:lnTo>
                  <a:lnTo>
                    <a:pt x="259" y="2034"/>
                  </a:lnTo>
                  <a:lnTo>
                    <a:pt x="259" y="2036"/>
                  </a:lnTo>
                  <a:lnTo>
                    <a:pt x="253" y="2036"/>
                  </a:lnTo>
                  <a:lnTo>
                    <a:pt x="254" y="2034"/>
                  </a:lnTo>
                  <a:lnTo>
                    <a:pt x="249" y="2033"/>
                  </a:lnTo>
                  <a:lnTo>
                    <a:pt x="245" y="2030"/>
                  </a:lnTo>
                  <a:lnTo>
                    <a:pt x="246" y="2022"/>
                  </a:lnTo>
                  <a:lnTo>
                    <a:pt x="244" y="2016"/>
                  </a:lnTo>
                  <a:lnTo>
                    <a:pt x="244" y="2014"/>
                  </a:lnTo>
                  <a:lnTo>
                    <a:pt x="245" y="2012"/>
                  </a:lnTo>
                  <a:lnTo>
                    <a:pt x="247" y="2009"/>
                  </a:lnTo>
                  <a:lnTo>
                    <a:pt x="250" y="2009"/>
                  </a:lnTo>
                  <a:lnTo>
                    <a:pt x="253" y="2012"/>
                  </a:lnTo>
                  <a:lnTo>
                    <a:pt x="261" y="2014"/>
                  </a:lnTo>
                  <a:lnTo>
                    <a:pt x="263" y="2016"/>
                  </a:lnTo>
                  <a:lnTo>
                    <a:pt x="269" y="2016"/>
                  </a:lnTo>
                  <a:lnTo>
                    <a:pt x="275" y="2015"/>
                  </a:lnTo>
                  <a:lnTo>
                    <a:pt x="283" y="2012"/>
                  </a:lnTo>
                  <a:lnTo>
                    <a:pt x="284" y="2009"/>
                  </a:lnTo>
                  <a:lnTo>
                    <a:pt x="284" y="2006"/>
                  </a:lnTo>
                  <a:lnTo>
                    <a:pt x="281" y="2004"/>
                  </a:lnTo>
                  <a:lnTo>
                    <a:pt x="281" y="2001"/>
                  </a:lnTo>
                  <a:lnTo>
                    <a:pt x="284" y="1995"/>
                  </a:lnTo>
                  <a:lnTo>
                    <a:pt x="286" y="1995"/>
                  </a:lnTo>
                  <a:lnTo>
                    <a:pt x="287" y="1989"/>
                  </a:lnTo>
                  <a:lnTo>
                    <a:pt x="284" y="1987"/>
                  </a:lnTo>
                  <a:lnTo>
                    <a:pt x="287" y="1988"/>
                  </a:lnTo>
                  <a:lnTo>
                    <a:pt x="284" y="1985"/>
                  </a:lnTo>
                  <a:lnTo>
                    <a:pt x="283" y="1983"/>
                  </a:lnTo>
                  <a:lnTo>
                    <a:pt x="283" y="1980"/>
                  </a:lnTo>
                  <a:lnTo>
                    <a:pt x="286" y="1979"/>
                  </a:lnTo>
                  <a:lnTo>
                    <a:pt x="288" y="1981"/>
                  </a:lnTo>
                  <a:lnTo>
                    <a:pt x="292" y="1981"/>
                  </a:lnTo>
                  <a:lnTo>
                    <a:pt x="294" y="1981"/>
                  </a:lnTo>
                  <a:lnTo>
                    <a:pt x="296" y="1981"/>
                  </a:lnTo>
                  <a:lnTo>
                    <a:pt x="299" y="1981"/>
                  </a:lnTo>
                  <a:lnTo>
                    <a:pt x="304" y="1981"/>
                  </a:lnTo>
                  <a:lnTo>
                    <a:pt x="315" y="1979"/>
                  </a:lnTo>
                  <a:lnTo>
                    <a:pt x="329" y="1976"/>
                  </a:lnTo>
                  <a:lnTo>
                    <a:pt x="339" y="1972"/>
                  </a:lnTo>
                  <a:lnTo>
                    <a:pt x="346" y="1970"/>
                  </a:lnTo>
                  <a:lnTo>
                    <a:pt x="348" y="1967"/>
                  </a:lnTo>
                  <a:lnTo>
                    <a:pt x="348" y="1964"/>
                  </a:lnTo>
                  <a:lnTo>
                    <a:pt x="350" y="1962"/>
                  </a:lnTo>
                  <a:lnTo>
                    <a:pt x="355" y="1956"/>
                  </a:lnTo>
                  <a:lnTo>
                    <a:pt x="358" y="1950"/>
                  </a:lnTo>
                  <a:lnTo>
                    <a:pt x="361" y="1948"/>
                  </a:lnTo>
                  <a:lnTo>
                    <a:pt x="361" y="1942"/>
                  </a:lnTo>
                  <a:lnTo>
                    <a:pt x="360" y="1939"/>
                  </a:lnTo>
                  <a:lnTo>
                    <a:pt x="360" y="1939"/>
                  </a:lnTo>
                  <a:lnTo>
                    <a:pt x="356" y="1939"/>
                  </a:lnTo>
                  <a:lnTo>
                    <a:pt x="354" y="1938"/>
                  </a:lnTo>
                  <a:lnTo>
                    <a:pt x="352" y="1935"/>
                  </a:lnTo>
                  <a:lnTo>
                    <a:pt x="350" y="1932"/>
                  </a:lnTo>
                  <a:lnTo>
                    <a:pt x="352" y="1930"/>
                  </a:lnTo>
                  <a:lnTo>
                    <a:pt x="354" y="1924"/>
                  </a:lnTo>
                  <a:lnTo>
                    <a:pt x="353" y="1922"/>
                  </a:lnTo>
                  <a:lnTo>
                    <a:pt x="349" y="1919"/>
                  </a:lnTo>
                  <a:lnTo>
                    <a:pt x="345" y="1916"/>
                  </a:lnTo>
                  <a:lnTo>
                    <a:pt x="340" y="1914"/>
                  </a:lnTo>
                  <a:lnTo>
                    <a:pt x="337" y="1912"/>
                  </a:lnTo>
                  <a:lnTo>
                    <a:pt x="335" y="1907"/>
                  </a:lnTo>
                  <a:lnTo>
                    <a:pt x="337" y="1906"/>
                  </a:lnTo>
                  <a:lnTo>
                    <a:pt x="337" y="1906"/>
                  </a:lnTo>
                  <a:lnTo>
                    <a:pt x="336" y="1903"/>
                  </a:lnTo>
                  <a:lnTo>
                    <a:pt x="336" y="1901"/>
                  </a:lnTo>
                  <a:lnTo>
                    <a:pt x="335" y="1897"/>
                  </a:lnTo>
                  <a:lnTo>
                    <a:pt x="335" y="1895"/>
                  </a:lnTo>
                  <a:lnTo>
                    <a:pt x="337" y="1891"/>
                  </a:lnTo>
                  <a:lnTo>
                    <a:pt x="337" y="1889"/>
                  </a:lnTo>
                  <a:lnTo>
                    <a:pt x="339" y="1889"/>
                  </a:lnTo>
                  <a:lnTo>
                    <a:pt x="339" y="1888"/>
                  </a:lnTo>
                  <a:lnTo>
                    <a:pt x="340" y="1886"/>
                  </a:lnTo>
                  <a:lnTo>
                    <a:pt x="339" y="1880"/>
                  </a:lnTo>
                  <a:lnTo>
                    <a:pt x="339" y="1879"/>
                  </a:lnTo>
                  <a:lnTo>
                    <a:pt x="341" y="1887"/>
                  </a:lnTo>
                  <a:lnTo>
                    <a:pt x="339" y="1888"/>
                  </a:lnTo>
                  <a:lnTo>
                    <a:pt x="339" y="1889"/>
                  </a:lnTo>
                  <a:lnTo>
                    <a:pt x="339" y="1889"/>
                  </a:lnTo>
                  <a:lnTo>
                    <a:pt x="337" y="1894"/>
                  </a:lnTo>
                  <a:lnTo>
                    <a:pt x="337" y="1899"/>
                  </a:lnTo>
                  <a:lnTo>
                    <a:pt x="337" y="1901"/>
                  </a:lnTo>
                  <a:lnTo>
                    <a:pt x="339" y="1904"/>
                  </a:lnTo>
                  <a:lnTo>
                    <a:pt x="344" y="1908"/>
                  </a:lnTo>
                  <a:lnTo>
                    <a:pt x="345" y="1911"/>
                  </a:lnTo>
                  <a:lnTo>
                    <a:pt x="347" y="1910"/>
                  </a:lnTo>
                  <a:lnTo>
                    <a:pt x="354" y="1910"/>
                  </a:lnTo>
                  <a:lnTo>
                    <a:pt x="360" y="1914"/>
                  </a:lnTo>
                  <a:lnTo>
                    <a:pt x="365" y="1915"/>
                  </a:lnTo>
                  <a:lnTo>
                    <a:pt x="367" y="1918"/>
                  </a:lnTo>
                  <a:lnTo>
                    <a:pt x="372" y="1915"/>
                  </a:lnTo>
                  <a:lnTo>
                    <a:pt x="374" y="1914"/>
                  </a:lnTo>
                  <a:lnTo>
                    <a:pt x="379" y="1915"/>
                  </a:lnTo>
                  <a:lnTo>
                    <a:pt x="381" y="1916"/>
                  </a:lnTo>
                  <a:lnTo>
                    <a:pt x="383" y="1918"/>
                  </a:lnTo>
                  <a:lnTo>
                    <a:pt x="387" y="1916"/>
                  </a:lnTo>
                  <a:lnTo>
                    <a:pt x="396" y="1913"/>
                  </a:lnTo>
                  <a:lnTo>
                    <a:pt x="398" y="1910"/>
                  </a:lnTo>
                  <a:lnTo>
                    <a:pt x="400" y="1908"/>
                  </a:lnTo>
                  <a:lnTo>
                    <a:pt x="401" y="1906"/>
                  </a:lnTo>
                  <a:lnTo>
                    <a:pt x="404" y="1903"/>
                  </a:lnTo>
                  <a:lnTo>
                    <a:pt x="405" y="1901"/>
                  </a:lnTo>
                  <a:lnTo>
                    <a:pt x="406" y="1898"/>
                  </a:lnTo>
                  <a:lnTo>
                    <a:pt x="414" y="1891"/>
                  </a:lnTo>
                  <a:lnTo>
                    <a:pt x="416" y="1889"/>
                  </a:lnTo>
                  <a:lnTo>
                    <a:pt x="417" y="1886"/>
                  </a:lnTo>
                  <a:lnTo>
                    <a:pt x="418" y="1884"/>
                  </a:lnTo>
                  <a:lnTo>
                    <a:pt x="418" y="1881"/>
                  </a:lnTo>
                  <a:lnTo>
                    <a:pt x="423" y="1873"/>
                  </a:lnTo>
                  <a:lnTo>
                    <a:pt x="422" y="1870"/>
                  </a:lnTo>
                  <a:lnTo>
                    <a:pt x="422" y="1869"/>
                  </a:lnTo>
                  <a:lnTo>
                    <a:pt x="424" y="1863"/>
                  </a:lnTo>
                  <a:lnTo>
                    <a:pt x="427" y="1861"/>
                  </a:lnTo>
                  <a:lnTo>
                    <a:pt x="429" y="1861"/>
                  </a:lnTo>
                  <a:lnTo>
                    <a:pt x="431" y="1859"/>
                  </a:lnTo>
                  <a:lnTo>
                    <a:pt x="432" y="1856"/>
                  </a:lnTo>
                  <a:lnTo>
                    <a:pt x="434" y="1851"/>
                  </a:lnTo>
                  <a:lnTo>
                    <a:pt x="437" y="1847"/>
                  </a:lnTo>
                  <a:lnTo>
                    <a:pt x="434" y="1845"/>
                  </a:lnTo>
                  <a:lnTo>
                    <a:pt x="434" y="1843"/>
                  </a:lnTo>
                  <a:lnTo>
                    <a:pt x="435" y="1843"/>
                  </a:lnTo>
                  <a:lnTo>
                    <a:pt x="435" y="1845"/>
                  </a:lnTo>
                  <a:lnTo>
                    <a:pt x="439" y="1848"/>
                  </a:lnTo>
                  <a:lnTo>
                    <a:pt x="441" y="1846"/>
                  </a:lnTo>
                  <a:lnTo>
                    <a:pt x="444" y="1845"/>
                  </a:lnTo>
                  <a:lnTo>
                    <a:pt x="444" y="1848"/>
                  </a:lnTo>
                  <a:lnTo>
                    <a:pt x="442" y="1852"/>
                  </a:lnTo>
                  <a:lnTo>
                    <a:pt x="442" y="1854"/>
                  </a:lnTo>
                  <a:lnTo>
                    <a:pt x="439" y="1855"/>
                  </a:lnTo>
                  <a:lnTo>
                    <a:pt x="439" y="1858"/>
                  </a:lnTo>
                  <a:lnTo>
                    <a:pt x="435" y="1858"/>
                  </a:lnTo>
                  <a:lnTo>
                    <a:pt x="437" y="1861"/>
                  </a:lnTo>
                  <a:lnTo>
                    <a:pt x="435" y="1863"/>
                  </a:lnTo>
                  <a:lnTo>
                    <a:pt x="432" y="1864"/>
                  </a:lnTo>
                  <a:lnTo>
                    <a:pt x="431" y="1868"/>
                  </a:lnTo>
                  <a:lnTo>
                    <a:pt x="425" y="1870"/>
                  </a:lnTo>
                  <a:lnTo>
                    <a:pt x="424" y="1872"/>
                  </a:lnTo>
                  <a:lnTo>
                    <a:pt x="432" y="1868"/>
                  </a:lnTo>
                  <a:lnTo>
                    <a:pt x="438" y="1863"/>
                  </a:lnTo>
                  <a:lnTo>
                    <a:pt x="442" y="1858"/>
                  </a:lnTo>
                  <a:lnTo>
                    <a:pt x="447" y="1851"/>
                  </a:lnTo>
                  <a:lnTo>
                    <a:pt x="448" y="1847"/>
                  </a:lnTo>
                  <a:lnTo>
                    <a:pt x="451" y="1839"/>
                  </a:lnTo>
                  <a:lnTo>
                    <a:pt x="455" y="1834"/>
                  </a:lnTo>
                  <a:lnTo>
                    <a:pt x="460" y="1826"/>
                  </a:lnTo>
                  <a:lnTo>
                    <a:pt x="468" y="1820"/>
                  </a:lnTo>
                  <a:lnTo>
                    <a:pt x="468" y="1819"/>
                  </a:lnTo>
                  <a:lnTo>
                    <a:pt x="468" y="1818"/>
                  </a:lnTo>
                  <a:lnTo>
                    <a:pt x="469" y="1819"/>
                  </a:lnTo>
                  <a:lnTo>
                    <a:pt x="471" y="1817"/>
                  </a:lnTo>
                  <a:lnTo>
                    <a:pt x="471" y="1813"/>
                  </a:lnTo>
                  <a:lnTo>
                    <a:pt x="471" y="1811"/>
                  </a:lnTo>
                  <a:lnTo>
                    <a:pt x="472" y="1798"/>
                  </a:lnTo>
                  <a:lnTo>
                    <a:pt x="471" y="1792"/>
                  </a:lnTo>
                  <a:lnTo>
                    <a:pt x="471" y="1788"/>
                  </a:lnTo>
                  <a:lnTo>
                    <a:pt x="469" y="1785"/>
                  </a:lnTo>
                  <a:lnTo>
                    <a:pt x="472" y="1783"/>
                  </a:lnTo>
                  <a:lnTo>
                    <a:pt x="472" y="1779"/>
                  </a:lnTo>
                  <a:lnTo>
                    <a:pt x="474" y="1777"/>
                  </a:lnTo>
                  <a:lnTo>
                    <a:pt x="473" y="1777"/>
                  </a:lnTo>
                  <a:lnTo>
                    <a:pt x="472" y="1776"/>
                  </a:lnTo>
                  <a:lnTo>
                    <a:pt x="469" y="1775"/>
                  </a:lnTo>
                  <a:lnTo>
                    <a:pt x="472" y="1775"/>
                  </a:lnTo>
                  <a:lnTo>
                    <a:pt x="473" y="1773"/>
                  </a:lnTo>
                  <a:lnTo>
                    <a:pt x="478" y="1773"/>
                  </a:lnTo>
                  <a:lnTo>
                    <a:pt x="480" y="1771"/>
                  </a:lnTo>
                  <a:lnTo>
                    <a:pt x="478" y="1768"/>
                  </a:lnTo>
                  <a:lnTo>
                    <a:pt x="480" y="1769"/>
                  </a:lnTo>
                  <a:lnTo>
                    <a:pt x="482" y="1766"/>
                  </a:lnTo>
                  <a:lnTo>
                    <a:pt x="485" y="1765"/>
                  </a:lnTo>
                  <a:lnTo>
                    <a:pt x="491" y="1761"/>
                  </a:lnTo>
                  <a:lnTo>
                    <a:pt x="495" y="1757"/>
                  </a:lnTo>
                  <a:lnTo>
                    <a:pt x="499" y="1754"/>
                  </a:lnTo>
                  <a:lnTo>
                    <a:pt x="501" y="1753"/>
                  </a:lnTo>
                  <a:lnTo>
                    <a:pt x="501" y="1752"/>
                  </a:lnTo>
                  <a:lnTo>
                    <a:pt x="502" y="1752"/>
                  </a:lnTo>
                  <a:lnTo>
                    <a:pt x="503" y="1753"/>
                  </a:lnTo>
                  <a:lnTo>
                    <a:pt x="506" y="1751"/>
                  </a:lnTo>
                  <a:lnTo>
                    <a:pt x="508" y="1750"/>
                  </a:lnTo>
                  <a:lnTo>
                    <a:pt x="511" y="1750"/>
                  </a:lnTo>
                  <a:lnTo>
                    <a:pt x="514" y="1751"/>
                  </a:lnTo>
                  <a:lnTo>
                    <a:pt x="515" y="1749"/>
                  </a:lnTo>
                  <a:lnTo>
                    <a:pt x="517" y="1748"/>
                  </a:lnTo>
                  <a:lnTo>
                    <a:pt x="520" y="1745"/>
                  </a:lnTo>
                  <a:lnTo>
                    <a:pt x="520" y="1745"/>
                  </a:lnTo>
                  <a:lnTo>
                    <a:pt x="527" y="1743"/>
                  </a:lnTo>
                  <a:lnTo>
                    <a:pt x="525" y="1741"/>
                  </a:lnTo>
                  <a:lnTo>
                    <a:pt x="529" y="1739"/>
                  </a:lnTo>
                  <a:lnTo>
                    <a:pt x="533" y="1740"/>
                  </a:lnTo>
                  <a:lnTo>
                    <a:pt x="535" y="1737"/>
                  </a:lnTo>
                  <a:lnTo>
                    <a:pt x="538" y="1739"/>
                  </a:lnTo>
                  <a:lnTo>
                    <a:pt x="540" y="1740"/>
                  </a:lnTo>
                  <a:lnTo>
                    <a:pt x="534" y="1741"/>
                  </a:lnTo>
                  <a:lnTo>
                    <a:pt x="545" y="1739"/>
                  </a:lnTo>
                  <a:lnTo>
                    <a:pt x="545" y="1737"/>
                  </a:lnTo>
                  <a:lnTo>
                    <a:pt x="544" y="1737"/>
                  </a:lnTo>
                  <a:lnTo>
                    <a:pt x="546" y="1734"/>
                  </a:lnTo>
                  <a:lnTo>
                    <a:pt x="546" y="1737"/>
                  </a:lnTo>
                  <a:lnTo>
                    <a:pt x="549" y="1739"/>
                  </a:lnTo>
                  <a:lnTo>
                    <a:pt x="555" y="1739"/>
                  </a:lnTo>
                  <a:lnTo>
                    <a:pt x="561" y="1739"/>
                  </a:lnTo>
                  <a:lnTo>
                    <a:pt x="561" y="1739"/>
                  </a:lnTo>
                  <a:lnTo>
                    <a:pt x="562" y="1736"/>
                  </a:lnTo>
                  <a:lnTo>
                    <a:pt x="561" y="1734"/>
                  </a:lnTo>
                  <a:lnTo>
                    <a:pt x="563" y="1731"/>
                  </a:lnTo>
                  <a:lnTo>
                    <a:pt x="567" y="1728"/>
                  </a:lnTo>
                  <a:lnTo>
                    <a:pt x="575" y="1725"/>
                  </a:lnTo>
                  <a:lnTo>
                    <a:pt x="575" y="1723"/>
                  </a:lnTo>
                  <a:lnTo>
                    <a:pt x="575" y="1716"/>
                  </a:lnTo>
                  <a:lnTo>
                    <a:pt x="577" y="1711"/>
                  </a:lnTo>
                  <a:lnTo>
                    <a:pt x="578" y="1709"/>
                  </a:lnTo>
                  <a:lnTo>
                    <a:pt x="580" y="1708"/>
                  </a:lnTo>
                  <a:lnTo>
                    <a:pt x="583" y="1705"/>
                  </a:lnTo>
                  <a:lnTo>
                    <a:pt x="585" y="1702"/>
                  </a:lnTo>
                  <a:lnTo>
                    <a:pt x="584" y="1700"/>
                  </a:lnTo>
                  <a:lnTo>
                    <a:pt x="586" y="1700"/>
                  </a:lnTo>
                  <a:lnTo>
                    <a:pt x="587" y="1696"/>
                  </a:lnTo>
                  <a:lnTo>
                    <a:pt x="588" y="1692"/>
                  </a:lnTo>
                  <a:lnTo>
                    <a:pt x="592" y="1691"/>
                  </a:lnTo>
                  <a:lnTo>
                    <a:pt x="593" y="1689"/>
                  </a:lnTo>
                  <a:lnTo>
                    <a:pt x="593" y="1685"/>
                  </a:lnTo>
                  <a:lnTo>
                    <a:pt x="592" y="1677"/>
                  </a:lnTo>
                  <a:lnTo>
                    <a:pt x="593" y="1672"/>
                  </a:lnTo>
                  <a:lnTo>
                    <a:pt x="595" y="1670"/>
                  </a:lnTo>
                  <a:lnTo>
                    <a:pt x="601" y="1664"/>
                  </a:lnTo>
                  <a:lnTo>
                    <a:pt x="600" y="1656"/>
                  </a:lnTo>
                  <a:lnTo>
                    <a:pt x="602" y="1645"/>
                  </a:lnTo>
                  <a:lnTo>
                    <a:pt x="604" y="1638"/>
                  </a:lnTo>
                  <a:lnTo>
                    <a:pt x="603" y="1634"/>
                  </a:lnTo>
                  <a:lnTo>
                    <a:pt x="602" y="1622"/>
                  </a:lnTo>
                  <a:lnTo>
                    <a:pt x="603" y="1615"/>
                  </a:lnTo>
                  <a:lnTo>
                    <a:pt x="603" y="1613"/>
                  </a:lnTo>
                  <a:lnTo>
                    <a:pt x="602" y="1610"/>
                  </a:lnTo>
                  <a:lnTo>
                    <a:pt x="603" y="1607"/>
                  </a:lnTo>
                  <a:lnTo>
                    <a:pt x="602" y="1604"/>
                  </a:lnTo>
                  <a:lnTo>
                    <a:pt x="601" y="1606"/>
                  </a:lnTo>
                  <a:lnTo>
                    <a:pt x="602" y="1603"/>
                  </a:lnTo>
                  <a:lnTo>
                    <a:pt x="605" y="1598"/>
                  </a:lnTo>
                  <a:lnTo>
                    <a:pt x="604" y="1594"/>
                  </a:lnTo>
                  <a:lnTo>
                    <a:pt x="606" y="1594"/>
                  </a:lnTo>
                  <a:lnTo>
                    <a:pt x="609" y="1594"/>
                  </a:lnTo>
                  <a:lnTo>
                    <a:pt x="610" y="1597"/>
                  </a:lnTo>
                  <a:lnTo>
                    <a:pt x="612" y="1596"/>
                  </a:lnTo>
                  <a:lnTo>
                    <a:pt x="614" y="1594"/>
                  </a:lnTo>
                  <a:lnTo>
                    <a:pt x="620" y="1586"/>
                  </a:lnTo>
                  <a:lnTo>
                    <a:pt x="623" y="1579"/>
                  </a:lnTo>
                  <a:lnTo>
                    <a:pt x="625" y="1578"/>
                  </a:lnTo>
                  <a:lnTo>
                    <a:pt x="623" y="1577"/>
                  </a:lnTo>
                  <a:lnTo>
                    <a:pt x="625" y="1574"/>
                  </a:lnTo>
                  <a:lnTo>
                    <a:pt x="627" y="1573"/>
                  </a:lnTo>
                  <a:lnTo>
                    <a:pt x="626" y="1570"/>
                  </a:lnTo>
                  <a:lnTo>
                    <a:pt x="629" y="1570"/>
                  </a:lnTo>
                  <a:lnTo>
                    <a:pt x="628" y="1566"/>
                  </a:lnTo>
                  <a:lnTo>
                    <a:pt x="631" y="1568"/>
                  </a:lnTo>
                  <a:lnTo>
                    <a:pt x="636" y="1563"/>
                  </a:lnTo>
                  <a:lnTo>
                    <a:pt x="638" y="1563"/>
                  </a:lnTo>
                  <a:lnTo>
                    <a:pt x="639" y="1561"/>
                  </a:lnTo>
                  <a:lnTo>
                    <a:pt x="646" y="1553"/>
                  </a:lnTo>
                  <a:lnTo>
                    <a:pt x="646" y="1552"/>
                  </a:lnTo>
                  <a:lnTo>
                    <a:pt x="647" y="1552"/>
                  </a:lnTo>
                  <a:lnTo>
                    <a:pt x="647" y="1552"/>
                  </a:lnTo>
                  <a:lnTo>
                    <a:pt x="653" y="1546"/>
                  </a:lnTo>
                  <a:lnTo>
                    <a:pt x="655" y="1540"/>
                  </a:lnTo>
                  <a:lnTo>
                    <a:pt x="657" y="1536"/>
                  </a:lnTo>
                  <a:lnTo>
                    <a:pt x="657" y="1534"/>
                  </a:lnTo>
                  <a:lnTo>
                    <a:pt x="659" y="1529"/>
                  </a:lnTo>
                  <a:lnTo>
                    <a:pt x="660" y="1527"/>
                  </a:lnTo>
                  <a:lnTo>
                    <a:pt x="659" y="1526"/>
                  </a:lnTo>
                  <a:lnTo>
                    <a:pt x="660" y="1522"/>
                  </a:lnTo>
                  <a:lnTo>
                    <a:pt x="659" y="1522"/>
                  </a:lnTo>
                  <a:lnTo>
                    <a:pt x="660" y="1521"/>
                  </a:lnTo>
                  <a:lnTo>
                    <a:pt x="660" y="1518"/>
                  </a:lnTo>
                  <a:lnTo>
                    <a:pt x="660" y="1516"/>
                  </a:lnTo>
                  <a:lnTo>
                    <a:pt x="659" y="1517"/>
                  </a:lnTo>
                  <a:close/>
                  <a:moveTo>
                    <a:pt x="195" y="1646"/>
                  </a:moveTo>
                  <a:lnTo>
                    <a:pt x="193" y="1646"/>
                  </a:lnTo>
                  <a:lnTo>
                    <a:pt x="193" y="1646"/>
                  </a:lnTo>
                  <a:lnTo>
                    <a:pt x="194" y="1648"/>
                  </a:lnTo>
                  <a:lnTo>
                    <a:pt x="192" y="1648"/>
                  </a:lnTo>
                  <a:lnTo>
                    <a:pt x="192" y="1645"/>
                  </a:lnTo>
                  <a:lnTo>
                    <a:pt x="192" y="1642"/>
                  </a:lnTo>
                  <a:lnTo>
                    <a:pt x="191" y="1642"/>
                  </a:lnTo>
                  <a:lnTo>
                    <a:pt x="191" y="1642"/>
                  </a:lnTo>
                  <a:lnTo>
                    <a:pt x="187" y="1643"/>
                  </a:lnTo>
                  <a:lnTo>
                    <a:pt x="185" y="1642"/>
                  </a:lnTo>
                  <a:lnTo>
                    <a:pt x="186" y="1640"/>
                  </a:lnTo>
                  <a:lnTo>
                    <a:pt x="183" y="1639"/>
                  </a:lnTo>
                  <a:lnTo>
                    <a:pt x="181" y="1637"/>
                  </a:lnTo>
                  <a:lnTo>
                    <a:pt x="178" y="1638"/>
                  </a:lnTo>
                  <a:lnTo>
                    <a:pt x="178" y="1636"/>
                  </a:lnTo>
                  <a:lnTo>
                    <a:pt x="181" y="1636"/>
                  </a:lnTo>
                  <a:lnTo>
                    <a:pt x="179" y="1633"/>
                  </a:lnTo>
                  <a:lnTo>
                    <a:pt x="181" y="1630"/>
                  </a:lnTo>
                  <a:lnTo>
                    <a:pt x="184" y="1631"/>
                  </a:lnTo>
                  <a:lnTo>
                    <a:pt x="186" y="1632"/>
                  </a:lnTo>
                  <a:lnTo>
                    <a:pt x="187" y="1633"/>
                  </a:lnTo>
                  <a:lnTo>
                    <a:pt x="190" y="1634"/>
                  </a:lnTo>
                  <a:lnTo>
                    <a:pt x="192" y="1638"/>
                  </a:lnTo>
                  <a:lnTo>
                    <a:pt x="194" y="1639"/>
                  </a:lnTo>
                  <a:lnTo>
                    <a:pt x="193" y="1641"/>
                  </a:lnTo>
                  <a:lnTo>
                    <a:pt x="194" y="1642"/>
                  </a:lnTo>
                  <a:lnTo>
                    <a:pt x="196" y="1642"/>
                  </a:lnTo>
                  <a:lnTo>
                    <a:pt x="195" y="1646"/>
                  </a:lnTo>
                  <a:close/>
                  <a:moveTo>
                    <a:pt x="344" y="2192"/>
                  </a:moveTo>
                  <a:lnTo>
                    <a:pt x="340" y="2192"/>
                  </a:lnTo>
                  <a:lnTo>
                    <a:pt x="338" y="2193"/>
                  </a:lnTo>
                  <a:lnTo>
                    <a:pt x="339" y="2196"/>
                  </a:lnTo>
                  <a:lnTo>
                    <a:pt x="337" y="2193"/>
                  </a:lnTo>
                  <a:lnTo>
                    <a:pt x="336" y="2190"/>
                  </a:lnTo>
                  <a:lnTo>
                    <a:pt x="333" y="2190"/>
                  </a:lnTo>
                  <a:lnTo>
                    <a:pt x="331" y="2192"/>
                  </a:lnTo>
                  <a:lnTo>
                    <a:pt x="329" y="2194"/>
                  </a:lnTo>
                  <a:lnTo>
                    <a:pt x="327" y="2194"/>
                  </a:lnTo>
                  <a:lnTo>
                    <a:pt x="329" y="2196"/>
                  </a:lnTo>
                  <a:lnTo>
                    <a:pt x="329" y="2200"/>
                  </a:lnTo>
                  <a:lnTo>
                    <a:pt x="326" y="2197"/>
                  </a:lnTo>
                  <a:lnTo>
                    <a:pt x="323" y="2200"/>
                  </a:lnTo>
                  <a:lnTo>
                    <a:pt x="322" y="2202"/>
                  </a:lnTo>
                  <a:lnTo>
                    <a:pt x="319" y="2205"/>
                  </a:lnTo>
                  <a:lnTo>
                    <a:pt x="321" y="2207"/>
                  </a:lnTo>
                  <a:lnTo>
                    <a:pt x="323" y="2209"/>
                  </a:lnTo>
                  <a:lnTo>
                    <a:pt x="324" y="2205"/>
                  </a:lnTo>
                  <a:lnTo>
                    <a:pt x="327" y="2205"/>
                  </a:lnTo>
                  <a:lnTo>
                    <a:pt x="326" y="2203"/>
                  </a:lnTo>
                  <a:lnTo>
                    <a:pt x="328" y="2203"/>
                  </a:lnTo>
                  <a:lnTo>
                    <a:pt x="331" y="2204"/>
                  </a:lnTo>
                  <a:lnTo>
                    <a:pt x="333" y="2205"/>
                  </a:lnTo>
                  <a:lnTo>
                    <a:pt x="331" y="2202"/>
                  </a:lnTo>
                  <a:lnTo>
                    <a:pt x="329" y="2200"/>
                  </a:lnTo>
                  <a:lnTo>
                    <a:pt x="332" y="2201"/>
                  </a:lnTo>
                  <a:lnTo>
                    <a:pt x="335" y="2201"/>
                  </a:lnTo>
                  <a:lnTo>
                    <a:pt x="337" y="2201"/>
                  </a:lnTo>
                  <a:lnTo>
                    <a:pt x="339" y="2198"/>
                  </a:lnTo>
                  <a:lnTo>
                    <a:pt x="339" y="2198"/>
                  </a:lnTo>
                  <a:lnTo>
                    <a:pt x="343" y="2198"/>
                  </a:lnTo>
                  <a:lnTo>
                    <a:pt x="345" y="2196"/>
                  </a:lnTo>
                  <a:lnTo>
                    <a:pt x="343" y="2194"/>
                  </a:lnTo>
                  <a:lnTo>
                    <a:pt x="345" y="2194"/>
                  </a:lnTo>
                  <a:lnTo>
                    <a:pt x="344" y="2192"/>
                  </a:lnTo>
                  <a:close/>
                  <a:moveTo>
                    <a:pt x="444" y="1443"/>
                  </a:moveTo>
                  <a:lnTo>
                    <a:pt x="447" y="1444"/>
                  </a:lnTo>
                  <a:lnTo>
                    <a:pt x="448" y="1443"/>
                  </a:lnTo>
                  <a:lnTo>
                    <a:pt x="447" y="1443"/>
                  </a:lnTo>
                  <a:lnTo>
                    <a:pt x="449" y="1443"/>
                  </a:lnTo>
                  <a:lnTo>
                    <a:pt x="452" y="1443"/>
                  </a:lnTo>
                  <a:lnTo>
                    <a:pt x="455" y="1443"/>
                  </a:lnTo>
                  <a:lnTo>
                    <a:pt x="457" y="1443"/>
                  </a:lnTo>
                  <a:lnTo>
                    <a:pt x="460" y="1441"/>
                  </a:lnTo>
                  <a:lnTo>
                    <a:pt x="463" y="1441"/>
                  </a:lnTo>
                  <a:lnTo>
                    <a:pt x="465" y="1440"/>
                  </a:lnTo>
                  <a:lnTo>
                    <a:pt x="468" y="1437"/>
                  </a:lnTo>
                  <a:lnTo>
                    <a:pt x="468" y="1435"/>
                  </a:lnTo>
                  <a:lnTo>
                    <a:pt x="471" y="1433"/>
                  </a:lnTo>
                  <a:lnTo>
                    <a:pt x="472" y="1431"/>
                  </a:lnTo>
                  <a:lnTo>
                    <a:pt x="474" y="1425"/>
                  </a:lnTo>
                  <a:lnTo>
                    <a:pt x="472" y="1422"/>
                  </a:lnTo>
                  <a:lnTo>
                    <a:pt x="463" y="1420"/>
                  </a:lnTo>
                  <a:lnTo>
                    <a:pt x="460" y="1422"/>
                  </a:lnTo>
                  <a:lnTo>
                    <a:pt x="448" y="1420"/>
                  </a:lnTo>
                  <a:lnTo>
                    <a:pt x="444" y="1420"/>
                  </a:lnTo>
                  <a:lnTo>
                    <a:pt x="442" y="1424"/>
                  </a:lnTo>
                  <a:lnTo>
                    <a:pt x="442" y="1426"/>
                  </a:lnTo>
                  <a:lnTo>
                    <a:pt x="444" y="1428"/>
                  </a:lnTo>
                  <a:lnTo>
                    <a:pt x="442" y="1427"/>
                  </a:lnTo>
                  <a:lnTo>
                    <a:pt x="441" y="1428"/>
                  </a:lnTo>
                  <a:lnTo>
                    <a:pt x="442" y="1429"/>
                  </a:lnTo>
                  <a:lnTo>
                    <a:pt x="441" y="1431"/>
                  </a:lnTo>
                  <a:lnTo>
                    <a:pt x="442" y="1434"/>
                  </a:lnTo>
                  <a:lnTo>
                    <a:pt x="444" y="1433"/>
                  </a:lnTo>
                  <a:lnTo>
                    <a:pt x="446" y="1433"/>
                  </a:lnTo>
                  <a:lnTo>
                    <a:pt x="444" y="1435"/>
                  </a:lnTo>
                  <a:lnTo>
                    <a:pt x="441" y="1435"/>
                  </a:lnTo>
                  <a:lnTo>
                    <a:pt x="441" y="1439"/>
                  </a:lnTo>
                  <a:lnTo>
                    <a:pt x="442" y="1440"/>
                  </a:lnTo>
                  <a:lnTo>
                    <a:pt x="444" y="14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6" name="Freeform 226">
              <a:extLst>
                <a:ext uri="{FF2B5EF4-FFF2-40B4-BE49-F238E27FC236}">
                  <a16:creationId xmlns:a16="http://schemas.microsoft.com/office/drawing/2014/main" id="{8EC33DB8-5E0D-45EA-9C8D-8B5AD18EBD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57650" y="4014788"/>
              <a:ext cx="704850" cy="419100"/>
            </a:xfrm>
            <a:custGeom>
              <a:avLst/>
              <a:gdLst>
                <a:gd name="T0" fmla="*/ 79 w 444"/>
                <a:gd name="T1" fmla="*/ 28 h 264"/>
                <a:gd name="T2" fmla="*/ 80 w 444"/>
                <a:gd name="T3" fmla="*/ 28 h 264"/>
                <a:gd name="T4" fmla="*/ 83 w 444"/>
                <a:gd name="T5" fmla="*/ 26 h 264"/>
                <a:gd name="T6" fmla="*/ 76 w 444"/>
                <a:gd name="T7" fmla="*/ 22 h 264"/>
                <a:gd name="T8" fmla="*/ 68 w 444"/>
                <a:gd name="T9" fmla="*/ 21 h 264"/>
                <a:gd name="T10" fmla="*/ 63 w 444"/>
                <a:gd name="T11" fmla="*/ 20 h 264"/>
                <a:gd name="T12" fmla="*/ 56 w 444"/>
                <a:gd name="T13" fmla="*/ 24 h 264"/>
                <a:gd name="T14" fmla="*/ 58 w 444"/>
                <a:gd name="T15" fmla="*/ 25 h 264"/>
                <a:gd name="T16" fmla="*/ 64 w 444"/>
                <a:gd name="T17" fmla="*/ 29 h 264"/>
                <a:gd name="T18" fmla="*/ 69 w 444"/>
                <a:gd name="T19" fmla="*/ 30 h 264"/>
                <a:gd name="T20" fmla="*/ 76 w 444"/>
                <a:gd name="T21" fmla="*/ 28 h 264"/>
                <a:gd name="T22" fmla="*/ 170 w 444"/>
                <a:gd name="T23" fmla="*/ 21 h 264"/>
                <a:gd name="T24" fmla="*/ 177 w 444"/>
                <a:gd name="T25" fmla="*/ 22 h 264"/>
                <a:gd name="T26" fmla="*/ 184 w 444"/>
                <a:gd name="T27" fmla="*/ 22 h 264"/>
                <a:gd name="T28" fmla="*/ 190 w 444"/>
                <a:gd name="T29" fmla="*/ 22 h 264"/>
                <a:gd name="T30" fmla="*/ 188 w 444"/>
                <a:gd name="T31" fmla="*/ 16 h 264"/>
                <a:gd name="T32" fmla="*/ 180 w 444"/>
                <a:gd name="T33" fmla="*/ 13 h 264"/>
                <a:gd name="T34" fmla="*/ 176 w 444"/>
                <a:gd name="T35" fmla="*/ 10 h 264"/>
                <a:gd name="T36" fmla="*/ 179 w 444"/>
                <a:gd name="T37" fmla="*/ 9 h 264"/>
                <a:gd name="T38" fmla="*/ 171 w 444"/>
                <a:gd name="T39" fmla="*/ 7 h 264"/>
                <a:gd name="T40" fmla="*/ 166 w 444"/>
                <a:gd name="T41" fmla="*/ 4 h 264"/>
                <a:gd name="T42" fmla="*/ 158 w 444"/>
                <a:gd name="T43" fmla="*/ 1 h 264"/>
                <a:gd name="T44" fmla="*/ 150 w 444"/>
                <a:gd name="T45" fmla="*/ 1 h 264"/>
                <a:gd name="T46" fmla="*/ 145 w 444"/>
                <a:gd name="T47" fmla="*/ 3 h 264"/>
                <a:gd name="T48" fmla="*/ 140 w 444"/>
                <a:gd name="T49" fmla="*/ 2 h 264"/>
                <a:gd name="T50" fmla="*/ 132 w 444"/>
                <a:gd name="T51" fmla="*/ 0 h 264"/>
                <a:gd name="T52" fmla="*/ 124 w 444"/>
                <a:gd name="T53" fmla="*/ 2 h 264"/>
                <a:gd name="T54" fmla="*/ 131 w 444"/>
                <a:gd name="T55" fmla="*/ 5 h 264"/>
                <a:gd name="T56" fmla="*/ 132 w 444"/>
                <a:gd name="T57" fmla="*/ 11 h 264"/>
                <a:gd name="T58" fmla="*/ 136 w 444"/>
                <a:gd name="T59" fmla="*/ 17 h 264"/>
                <a:gd name="T60" fmla="*/ 133 w 444"/>
                <a:gd name="T61" fmla="*/ 21 h 264"/>
                <a:gd name="T62" fmla="*/ 125 w 444"/>
                <a:gd name="T63" fmla="*/ 20 h 264"/>
                <a:gd name="T64" fmla="*/ 117 w 444"/>
                <a:gd name="T65" fmla="*/ 19 h 264"/>
                <a:gd name="T66" fmla="*/ 109 w 444"/>
                <a:gd name="T67" fmla="*/ 20 h 264"/>
                <a:gd name="T68" fmla="*/ 115 w 444"/>
                <a:gd name="T69" fmla="*/ 25 h 264"/>
                <a:gd name="T70" fmla="*/ 120 w 444"/>
                <a:gd name="T71" fmla="*/ 25 h 264"/>
                <a:gd name="T72" fmla="*/ 127 w 444"/>
                <a:gd name="T73" fmla="*/ 25 h 264"/>
                <a:gd name="T74" fmla="*/ 135 w 444"/>
                <a:gd name="T75" fmla="*/ 25 h 264"/>
                <a:gd name="T76" fmla="*/ 143 w 444"/>
                <a:gd name="T77" fmla="*/ 25 h 264"/>
                <a:gd name="T78" fmla="*/ 149 w 444"/>
                <a:gd name="T79" fmla="*/ 32 h 264"/>
                <a:gd name="T80" fmla="*/ 153 w 444"/>
                <a:gd name="T81" fmla="*/ 29 h 264"/>
                <a:gd name="T82" fmla="*/ 157 w 444"/>
                <a:gd name="T83" fmla="*/ 24 h 264"/>
                <a:gd name="T84" fmla="*/ 162 w 444"/>
                <a:gd name="T85" fmla="*/ 24 h 264"/>
                <a:gd name="T86" fmla="*/ 170 w 444"/>
                <a:gd name="T87" fmla="*/ 21 h 264"/>
                <a:gd name="T88" fmla="*/ 0 w 444"/>
                <a:gd name="T89" fmla="*/ 164 h 264"/>
                <a:gd name="T90" fmla="*/ 0 w 444"/>
                <a:gd name="T91" fmla="*/ 163 h 264"/>
                <a:gd name="T92" fmla="*/ 444 w 444"/>
                <a:gd name="T93" fmla="*/ 263 h 264"/>
                <a:gd name="T94" fmla="*/ 444 w 444"/>
                <a:gd name="T95" fmla="*/ 263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44" h="264">
                  <a:moveTo>
                    <a:pt x="76" y="28"/>
                  </a:moveTo>
                  <a:lnTo>
                    <a:pt x="77" y="28"/>
                  </a:lnTo>
                  <a:lnTo>
                    <a:pt x="79" y="28"/>
                  </a:lnTo>
                  <a:lnTo>
                    <a:pt x="77" y="28"/>
                  </a:lnTo>
                  <a:lnTo>
                    <a:pt x="79" y="28"/>
                  </a:lnTo>
                  <a:lnTo>
                    <a:pt x="80" y="28"/>
                  </a:lnTo>
                  <a:lnTo>
                    <a:pt x="82" y="29"/>
                  </a:lnTo>
                  <a:lnTo>
                    <a:pt x="84" y="27"/>
                  </a:lnTo>
                  <a:lnTo>
                    <a:pt x="83" y="26"/>
                  </a:lnTo>
                  <a:lnTo>
                    <a:pt x="81" y="25"/>
                  </a:lnTo>
                  <a:lnTo>
                    <a:pt x="79" y="24"/>
                  </a:lnTo>
                  <a:lnTo>
                    <a:pt x="76" y="22"/>
                  </a:lnTo>
                  <a:lnTo>
                    <a:pt x="73" y="21"/>
                  </a:lnTo>
                  <a:lnTo>
                    <a:pt x="71" y="21"/>
                  </a:lnTo>
                  <a:lnTo>
                    <a:pt x="68" y="21"/>
                  </a:lnTo>
                  <a:lnTo>
                    <a:pt x="67" y="20"/>
                  </a:lnTo>
                  <a:lnTo>
                    <a:pt x="64" y="20"/>
                  </a:lnTo>
                  <a:lnTo>
                    <a:pt x="63" y="20"/>
                  </a:lnTo>
                  <a:lnTo>
                    <a:pt x="60" y="21"/>
                  </a:lnTo>
                  <a:lnTo>
                    <a:pt x="58" y="21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5"/>
                  </a:lnTo>
                  <a:lnTo>
                    <a:pt x="58" y="25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4" y="29"/>
                  </a:lnTo>
                  <a:lnTo>
                    <a:pt x="66" y="29"/>
                  </a:lnTo>
                  <a:lnTo>
                    <a:pt x="68" y="29"/>
                  </a:lnTo>
                  <a:lnTo>
                    <a:pt x="69" y="30"/>
                  </a:lnTo>
                  <a:lnTo>
                    <a:pt x="73" y="29"/>
                  </a:lnTo>
                  <a:lnTo>
                    <a:pt x="74" y="29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close/>
                  <a:moveTo>
                    <a:pt x="170" y="21"/>
                  </a:moveTo>
                  <a:lnTo>
                    <a:pt x="171" y="21"/>
                  </a:lnTo>
                  <a:lnTo>
                    <a:pt x="174" y="21"/>
                  </a:lnTo>
                  <a:lnTo>
                    <a:pt x="177" y="22"/>
                  </a:lnTo>
                  <a:lnTo>
                    <a:pt x="179" y="21"/>
                  </a:lnTo>
                  <a:lnTo>
                    <a:pt x="182" y="21"/>
                  </a:lnTo>
                  <a:lnTo>
                    <a:pt x="184" y="22"/>
                  </a:lnTo>
                  <a:lnTo>
                    <a:pt x="186" y="24"/>
                  </a:lnTo>
                  <a:lnTo>
                    <a:pt x="190" y="22"/>
                  </a:lnTo>
                  <a:lnTo>
                    <a:pt x="190" y="22"/>
                  </a:lnTo>
                  <a:lnTo>
                    <a:pt x="192" y="20"/>
                  </a:lnTo>
                  <a:lnTo>
                    <a:pt x="192" y="18"/>
                  </a:lnTo>
                  <a:lnTo>
                    <a:pt x="188" y="16"/>
                  </a:lnTo>
                  <a:lnTo>
                    <a:pt x="186" y="13"/>
                  </a:lnTo>
                  <a:lnTo>
                    <a:pt x="184" y="13"/>
                  </a:lnTo>
                  <a:lnTo>
                    <a:pt x="180" y="13"/>
                  </a:lnTo>
                  <a:lnTo>
                    <a:pt x="178" y="12"/>
                  </a:lnTo>
                  <a:lnTo>
                    <a:pt x="175" y="10"/>
                  </a:lnTo>
                  <a:lnTo>
                    <a:pt x="176" y="10"/>
                  </a:lnTo>
                  <a:lnTo>
                    <a:pt x="179" y="10"/>
                  </a:lnTo>
                  <a:lnTo>
                    <a:pt x="182" y="9"/>
                  </a:lnTo>
                  <a:lnTo>
                    <a:pt x="179" y="9"/>
                  </a:lnTo>
                  <a:lnTo>
                    <a:pt x="176" y="9"/>
                  </a:lnTo>
                  <a:lnTo>
                    <a:pt x="174" y="9"/>
                  </a:lnTo>
                  <a:lnTo>
                    <a:pt x="171" y="7"/>
                  </a:lnTo>
                  <a:lnTo>
                    <a:pt x="170" y="4"/>
                  </a:lnTo>
                  <a:lnTo>
                    <a:pt x="169" y="4"/>
                  </a:lnTo>
                  <a:lnTo>
                    <a:pt x="166" y="4"/>
                  </a:lnTo>
                  <a:lnTo>
                    <a:pt x="163" y="2"/>
                  </a:lnTo>
                  <a:lnTo>
                    <a:pt x="160" y="2"/>
                  </a:lnTo>
                  <a:lnTo>
                    <a:pt x="158" y="1"/>
                  </a:lnTo>
                  <a:lnTo>
                    <a:pt x="156" y="1"/>
                  </a:lnTo>
                  <a:lnTo>
                    <a:pt x="152" y="1"/>
                  </a:lnTo>
                  <a:lnTo>
                    <a:pt x="150" y="1"/>
                  </a:lnTo>
                  <a:lnTo>
                    <a:pt x="148" y="1"/>
                  </a:lnTo>
                  <a:lnTo>
                    <a:pt x="147" y="3"/>
                  </a:lnTo>
                  <a:lnTo>
                    <a:pt x="145" y="3"/>
                  </a:lnTo>
                  <a:lnTo>
                    <a:pt x="143" y="3"/>
                  </a:lnTo>
                  <a:lnTo>
                    <a:pt x="142" y="3"/>
                  </a:lnTo>
                  <a:lnTo>
                    <a:pt x="140" y="2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2" y="0"/>
                  </a:lnTo>
                  <a:lnTo>
                    <a:pt x="130" y="1"/>
                  </a:lnTo>
                  <a:lnTo>
                    <a:pt x="127" y="0"/>
                  </a:lnTo>
                  <a:lnTo>
                    <a:pt x="124" y="2"/>
                  </a:lnTo>
                  <a:lnTo>
                    <a:pt x="125" y="4"/>
                  </a:lnTo>
                  <a:lnTo>
                    <a:pt x="127" y="4"/>
                  </a:lnTo>
                  <a:lnTo>
                    <a:pt x="131" y="5"/>
                  </a:lnTo>
                  <a:lnTo>
                    <a:pt x="133" y="7"/>
                  </a:lnTo>
                  <a:lnTo>
                    <a:pt x="132" y="10"/>
                  </a:lnTo>
                  <a:lnTo>
                    <a:pt x="132" y="11"/>
                  </a:lnTo>
                  <a:lnTo>
                    <a:pt x="133" y="12"/>
                  </a:lnTo>
                  <a:lnTo>
                    <a:pt x="134" y="15"/>
                  </a:lnTo>
                  <a:lnTo>
                    <a:pt x="136" y="17"/>
                  </a:lnTo>
                  <a:lnTo>
                    <a:pt x="137" y="20"/>
                  </a:lnTo>
                  <a:lnTo>
                    <a:pt x="135" y="20"/>
                  </a:lnTo>
                  <a:lnTo>
                    <a:pt x="133" y="21"/>
                  </a:lnTo>
                  <a:lnTo>
                    <a:pt x="131" y="21"/>
                  </a:lnTo>
                  <a:lnTo>
                    <a:pt x="127" y="21"/>
                  </a:lnTo>
                  <a:lnTo>
                    <a:pt x="125" y="20"/>
                  </a:lnTo>
                  <a:lnTo>
                    <a:pt x="123" y="20"/>
                  </a:lnTo>
                  <a:lnTo>
                    <a:pt x="119" y="19"/>
                  </a:lnTo>
                  <a:lnTo>
                    <a:pt x="117" y="19"/>
                  </a:lnTo>
                  <a:lnTo>
                    <a:pt x="114" y="18"/>
                  </a:lnTo>
                  <a:lnTo>
                    <a:pt x="113" y="18"/>
                  </a:lnTo>
                  <a:lnTo>
                    <a:pt x="109" y="20"/>
                  </a:lnTo>
                  <a:lnTo>
                    <a:pt x="109" y="22"/>
                  </a:lnTo>
                  <a:lnTo>
                    <a:pt x="111" y="24"/>
                  </a:lnTo>
                  <a:lnTo>
                    <a:pt x="115" y="25"/>
                  </a:lnTo>
                  <a:lnTo>
                    <a:pt x="117" y="27"/>
                  </a:lnTo>
                  <a:lnTo>
                    <a:pt x="118" y="26"/>
                  </a:lnTo>
                  <a:lnTo>
                    <a:pt x="120" y="25"/>
                  </a:lnTo>
                  <a:lnTo>
                    <a:pt x="123" y="24"/>
                  </a:lnTo>
                  <a:lnTo>
                    <a:pt x="124" y="25"/>
                  </a:lnTo>
                  <a:lnTo>
                    <a:pt x="127" y="25"/>
                  </a:lnTo>
                  <a:lnTo>
                    <a:pt x="130" y="25"/>
                  </a:lnTo>
                  <a:lnTo>
                    <a:pt x="132" y="25"/>
                  </a:lnTo>
                  <a:lnTo>
                    <a:pt x="135" y="25"/>
                  </a:lnTo>
                  <a:lnTo>
                    <a:pt x="137" y="25"/>
                  </a:lnTo>
                  <a:lnTo>
                    <a:pt x="141" y="25"/>
                  </a:lnTo>
                  <a:lnTo>
                    <a:pt x="143" y="25"/>
                  </a:lnTo>
                  <a:lnTo>
                    <a:pt x="145" y="27"/>
                  </a:lnTo>
                  <a:lnTo>
                    <a:pt x="148" y="28"/>
                  </a:lnTo>
                  <a:lnTo>
                    <a:pt x="149" y="32"/>
                  </a:lnTo>
                  <a:lnTo>
                    <a:pt x="151" y="32"/>
                  </a:lnTo>
                  <a:lnTo>
                    <a:pt x="152" y="32"/>
                  </a:lnTo>
                  <a:lnTo>
                    <a:pt x="153" y="29"/>
                  </a:lnTo>
                  <a:lnTo>
                    <a:pt x="156" y="26"/>
                  </a:lnTo>
                  <a:lnTo>
                    <a:pt x="156" y="24"/>
                  </a:lnTo>
                  <a:lnTo>
                    <a:pt x="157" y="24"/>
                  </a:lnTo>
                  <a:lnTo>
                    <a:pt x="159" y="22"/>
                  </a:lnTo>
                  <a:lnTo>
                    <a:pt x="162" y="24"/>
                  </a:lnTo>
                  <a:lnTo>
                    <a:pt x="162" y="24"/>
                  </a:lnTo>
                  <a:lnTo>
                    <a:pt x="165" y="25"/>
                  </a:lnTo>
                  <a:lnTo>
                    <a:pt x="168" y="25"/>
                  </a:lnTo>
                  <a:lnTo>
                    <a:pt x="170" y="21"/>
                  </a:lnTo>
                  <a:lnTo>
                    <a:pt x="170" y="21"/>
                  </a:lnTo>
                  <a:close/>
                  <a:moveTo>
                    <a:pt x="0" y="164"/>
                  </a:moveTo>
                  <a:lnTo>
                    <a:pt x="0" y="164"/>
                  </a:lnTo>
                  <a:lnTo>
                    <a:pt x="2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4"/>
                  </a:lnTo>
                  <a:lnTo>
                    <a:pt x="0" y="164"/>
                  </a:lnTo>
                  <a:close/>
                  <a:moveTo>
                    <a:pt x="444" y="263"/>
                  </a:moveTo>
                  <a:lnTo>
                    <a:pt x="444" y="264"/>
                  </a:lnTo>
                  <a:lnTo>
                    <a:pt x="444" y="263"/>
                  </a:lnTo>
                  <a:lnTo>
                    <a:pt x="444" y="2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7" name="Freeform 227">
              <a:extLst>
                <a:ext uri="{FF2B5EF4-FFF2-40B4-BE49-F238E27FC236}">
                  <a16:creationId xmlns:a16="http://schemas.microsoft.com/office/drawing/2014/main" id="{CB1B5C73-EE79-4E45-9E32-A4234A6CC0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3675" y="3940175"/>
              <a:ext cx="234950" cy="76200"/>
            </a:xfrm>
            <a:custGeom>
              <a:avLst/>
              <a:gdLst>
                <a:gd name="T0" fmla="*/ 102 w 148"/>
                <a:gd name="T1" fmla="*/ 48 h 48"/>
                <a:gd name="T2" fmla="*/ 108 w 148"/>
                <a:gd name="T3" fmla="*/ 48 h 48"/>
                <a:gd name="T4" fmla="*/ 117 w 148"/>
                <a:gd name="T5" fmla="*/ 47 h 48"/>
                <a:gd name="T6" fmla="*/ 125 w 148"/>
                <a:gd name="T7" fmla="*/ 47 h 48"/>
                <a:gd name="T8" fmla="*/ 133 w 148"/>
                <a:gd name="T9" fmla="*/ 48 h 48"/>
                <a:gd name="T10" fmla="*/ 134 w 148"/>
                <a:gd name="T11" fmla="*/ 46 h 48"/>
                <a:gd name="T12" fmla="*/ 135 w 148"/>
                <a:gd name="T13" fmla="*/ 48 h 48"/>
                <a:gd name="T14" fmla="*/ 140 w 148"/>
                <a:gd name="T15" fmla="*/ 46 h 48"/>
                <a:gd name="T16" fmla="*/ 148 w 148"/>
                <a:gd name="T17" fmla="*/ 42 h 48"/>
                <a:gd name="T18" fmla="*/ 140 w 148"/>
                <a:gd name="T19" fmla="*/ 39 h 48"/>
                <a:gd name="T20" fmla="*/ 134 w 148"/>
                <a:gd name="T21" fmla="*/ 37 h 48"/>
                <a:gd name="T22" fmla="*/ 127 w 148"/>
                <a:gd name="T23" fmla="*/ 37 h 48"/>
                <a:gd name="T24" fmla="*/ 127 w 148"/>
                <a:gd name="T25" fmla="*/ 33 h 48"/>
                <a:gd name="T26" fmla="*/ 123 w 148"/>
                <a:gd name="T27" fmla="*/ 30 h 48"/>
                <a:gd name="T28" fmla="*/ 117 w 148"/>
                <a:gd name="T29" fmla="*/ 28 h 48"/>
                <a:gd name="T30" fmla="*/ 109 w 148"/>
                <a:gd name="T31" fmla="*/ 25 h 48"/>
                <a:gd name="T32" fmla="*/ 105 w 148"/>
                <a:gd name="T33" fmla="*/ 24 h 48"/>
                <a:gd name="T34" fmla="*/ 103 w 148"/>
                <a:gd name="T35" fmla="*/ 21 h 48"/>
                <a:gd name="T36" fmla="*/ 96 w 148"/>
                <a:gd name="T37" fmla="*/ 19 h 48"/>
                <a:gd name="T38" fmla="*/ 90 w 148"/>
                <a:gd name="T39" fmla="*/ 15 h 48"/>
                <a:gd name="T40" fmla="*/ 82 w 148"/>
                <a:gd name="T41" fmla="*/ 12 h 48"/>
                <a:gd name="T42" fmla="*/ 75 w 148"/>
                <a:gd name="T43" fmla="*/ 11 h 48"/>
                <a:gd name="T44" fmla="*/ 69 w 148"/>
                <a:gd name="T45" fmla="*/ 5 h 48"/>
                <a:gd name="T46" fmla="*/ 64 w 148"/>
                <a:gd name="T47" fmla="*/ 4 h 48"/>
                <a:gd name="T48" fmla="*/ 57 w 148"/>
                <a:gd name="T49" fmla="*/ 2 h 48"/>
                <a:gd name="T50" fmla="*/ 48 w 148"/>
                <a:gd name="T51" fmla="*/ 2 h 48"/>
                <a:gd name="T52" fmla="*/ 41 w 148"/>
                <a:gd name="T53" fmla="*/ 0 h 48"/>
                <a:gd name="T54" fmla="*/ 36 w 148"/>
                <a:gd name="T55" fmla="*/ 0 h 48"/>
                <a:gd name="T56" fmla="*/ 26 w 148"/>
                <a:gd name="T57" fmla="*/ 4 h 48"/>
                <a:gd name="T58" fmla="*/ 21 w 148"/>
                <a:gd name="T59" fmla="*/ 5 h 48"/>
                <a:gd name="T60" fmla="*/ 13 w 148"/>
                <a:gd name="T61" fmla="*/ 8 h 48"/>
                <a:gd name="T62" fmla="*/ 6 w 148"/>
                <a:gd name="T63" fmla="*/ 14 h 48"/>
                <a:gd name="T64" fmla="*/ 3 w 148"/>
                <a:gd name="T65" fmla="*/ 19 h 48"/>
                <a:gd name="T66" fmla="*/ 5 w 148"/>
                <a:gd name="T67" fmla="*/ 19 h 48"/>
                <a:gd name="T68" fmla="*/ 13 w 148"/>
                <a:gd name="T69" fmla="*/ 16 h 48"/>
                <a:gd name="T70" fmla="*/ 19 w 148"/>
                <a:gd name="T71" fmla="*/ 15 h 48"/>
                <a:gd name="T72" fmla="*/ 26 w 148"/>
                <a:gd name="T73" fmla="*/ 9 h 48"/>
                <a:gd name="T74" fmla="*/ 33 w 148"/>
                <a:gd name="T75" fmla="*/ 8 h 48"/>
                <a:gd name="T76" fmla="*/ 39 w 148"/>
                <a:gd name="T77" fmla="*/ 8 h 48"/>
                <a:gd name="T78" fmla="*/ 45 w 148"/>
                <a:gd name="T79" fmla="*/ 9 h 48"/>
                <a:gd name="T80" fmla="*/ 40 w 148"/>
                <a:gd name="T81" fmla="*/ 13 h 48"/>
                <a:gd name="T82" fmla="*/ 48 w 148"/>
                <a:gd name="T83" fmla="*/ 15 h 48"/>
                <a:gd name="T84" fmla="*/ 54 w 148"/>
                <a:gd name="T85" fmla="*/ 17 h 48"/>
                <a:gd name="T86" fmla="*/ 60 w 148"/>
                <a:gd name="T87" fmla="*/ 16 h 48"/>
                <a:gd name="T88" fmla="*/ 63 w 148"/>
                <a:gd name="T89" fmla="*/ 19 h 48"/>
                <a:gd name="T90" fmla="*/ 67 w 148"/>
                <a:gd name="T91" fmla="*/ 22 h 48"/>
                <a:gd name="T92" fmla="*/ 71 w 148"/>
                <a:gd name="T93" fmla="*/ 22 h 48"/>
                <a:gd name="T94" fmla="*/ 76 w 148"/>
                <a:gd name="T95" fmla="*/ 23 h 48"/>
                <a:gd name="T96" fmla="*/ 83 w 148"/>
                <a:gd name="T97" fmla="*/ 23 h 48"/>
                <a:gd name="T98" fmla="*/ 86 w 148"/>
                <a:gd name="T99" fmla="*/ 26 h 48"/>
                <a:gd name="T100" fmla="*/ 91 w 148"/>
                <a:gd name="T101" fmla="*/ 34 h 48"/>
                <a:gd name="T102" fmla="*/ 98 w 148"/>
                <a:gd name="T103" fmla="*/ 37 h 48"/>
                <a:gd name="T104" fmla="*/ 105 w 148"/>
                <a:gd name="T105" fmla="*/ 39 h 48"/>
                <a:gd name="T106" fmla="*/ 106 w 148"/>
                <a:gd name="T107" fmla="*/ 42 h 48"/>
                <a:gd name="T108" fmla="*/ 100 w 148"/>
                <a:gd name="T109" fmla="*/ 4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8" h="48">
                  <a:moveTo>
                    <a:pt x="100" y="46"/>
                  </a:moveTo>
                  <a:lnTo>
                    <a:pt x="100" y="48"/>
                  </a:lnTo>
                  <a:lnTo>
                    <a:pt x="102" y="48"/>
                  </a:lnTo>
                  <a:lnTo>
                    <a:pt x="105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11" y="47"/>
                  </a:lnTo>
                  <a:lnTo>
                    <a:pt x="114" y="47"/>
                  </a:lnTo>
                  <a:lnTo>
                    <a:pt x="117" y="47"/>
                  </a:lnTo>
                  <a:lnTo>
                    <a:pt x="119" y="47"/>
                  </a:lnTo>
                  <a:lnTo>
                    <a:pt x="123" y="47"/>
                  </a:lnTo>
                  <a:lnTo>
                    <a:pt x="125" y="47"/>
                  </a:lnTo>
                  <a:lnTo>
                    <a:pt x="127" y="48"/>
                  </a:lnTo>
                  <a:lnTo>
                    <a:pt x="131" y="48"/>
                  </a:lnTo>
                  <a:lnTo>
                    <a:pt x="133" y="48"/>
                  </a:lnTo>
                  <a:lnTo>
                    <a:pt x="133" y="47"/>
                  </a:lnTo>
                  <a:lnTo>
                    <a:pt x="133" y="46"/>
                  </a:lnTo>
                  <a:lnTo>
                    <a:pt x="134" y="46"/>
                  </a:lnTo>
                  <a:lnTo>
                    <a:pt x="134" y="47"/>
                  </a:lnTo>
                  <a:lnTo>
                    <a:pt x="134" y="48"/>
                  </a:lnTo>
                  <a:lnTo>
                    <a:pt x="135" y="48"/>
                  </a:lnTo>
                  <a:lnTo>
                    <a:pt x="137" y="46"/>
                  </a:lnTo>
                  <a:lnTo>
                    <a:pt x="137" y="46"/>
                  </a:lnTo>
                  <a:lnTo>
                    <a:pt x="140" y="46"/>
                  </a:lnTo>
                  <a:lnTo>
                    <a:pt x="143" y="46"/>
                  </a:lnTo>
                  <a:lnTo>
                    <a:pt x="145" y="46"/>
                  </a:lnTo>
                  <a:lnTo>
                    <a:pt x="148" y="42"/>
                  </a:lnTo>
                  <a:lnTo>
                    <a:pt x="144" y="42"/>
                  </a:lnTo>
                  <a:lnTo>
                    <a:pt x="142" y="41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36" y="37"/>
                  </a:lnTo>
                  <a:lnTo>
                    <a:pt x="134" y="37"/>
                  </a:lnTo>
                  <a:lnTo>
                    <a:pt x="133" y="36"/>
                  </a:lnTo>
                  <a:lnTo>
                    <a:pt x="131" y="36"/>
                  </a:lnTo>
                  <a:lnTo>
                    <a:pt x="127" y="37"/>
                  </a:lnTo>
                  <a:lnTo>
                    <a:pt x="125" y="36"/>
                  </a:lnTo>
                  <a:lnTo>
                    <a:pt x="126" y="33"/>
                  </a:lnTo>
                  <a:lnTo>
                    <a:pt x="127" y="33"/>
                  </a:lnTo>
                  <a:lnTo>
                    <a:pt x="126" y="30"/>
                  </a:lnTo>
                  <a:lnTo>
                    <a:pt x="123" y="30"/>
                  </a:lnTo>
                  <a:lnTo>
                    <a:pt x="123" y="30"/>
                  </a:lnTo>
                  <a:lnTo>
                    <a:pt x="120" y="31"/>
                  </a:lnTo>
                  <a:lnTo>
                    <a:pt x="117" y="29"/>
                  </a:lnTo>
                  <a:lnTo>
                    <a:pt x="117" y="28"/>
                  </a:lnTo>
                  <a:lnTo>
                    <a:pt x="115" y="28"/>
                  </a:lnTo>
                  <a:lnTo>
                    <a:pt x="111" y="26"/>
                  </a:lnTo>
                  <a:lnTo>
                    <a:pt x="109" y="25"/>
                  </a:lnTo>
                  <a:lnTo>
                    <a:pt x="108" y="24"/>
                  </a:lnTo>
                  <a:lnTo>
                    <a:pt x="106" y="25"/>
                  </a:lnTo>
                  <a:lnTo>
                    <a:pt x="105" y="24"/>
                  </a:lnTo>
                  <a:lnTo>
                    <a:pt x="103" y="23"/>
                  </a:lnTo>
                  <a:lnTo>
                    <a:pt x="106" y="24"/>
                  </a:lnTo>
                  <a:lnTo>
                    <a:pt x="103" y="21"/>
                  </a:lnTo>
                  <a:lnTo>
                    <a:pt x="101" y="21"/>
                  </a:lnTo>
                  <a:lnTo>
                    <a:pt x="99" y="21"/>
                  </a:lnTo>
                  <a:lnTo>
                    <a:pt x="96" y="19"/>
                  </a:lnTo>
                  <a:lnTo>
                    <a:pt x="93" y="16"/>
                  </a:lnTo>
                  <a:lnTo>
                    <a:pt x="92" y="16"/>
                  </a:lnTo>
                  <a:lnTo>
                    <a:pt x="90" y="15"/>
                  </a:lnTo>
                  <a:lnTo>
                    <a:pt x="86" y="13"/>
                  </a:lnTo>
                  <a:lnTo>
                    <a:pt x="84" y="13"/>
                  </a:lnTo>
                  <a:lnTo>
                    <a:pt x="82" y="12"/>
                  </a:lnTo>
                  <a:lnTo>
                    <a:pt x="81" y="12"/>
                  </a:lnTo>
                  <a:lnTo>
                    <a:pt x="79" y="12"/>
                  </a:lnTo>
                  <a:lnTo>
                    <a:pt x="75" y="11"/>
                  </a:lnTo>
                  <a:lnTo>
                    <a:pt x="74" y="11"/>
                  </a:lnTo>
                  <a:lnTo>
                    <a:pt x="72" y="7"/>
                  </a:lnTo>
                  <a:lnTo>
                    <a:pt x="69" y="5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4" y="4"/>
                  </a:lnTo>
                  <a:lnTo>
                    <a:pt x="62" y="4"/>
                  </a:lnTo>
                  <a:lnTo>
                    <a:pt x="59" y="3"/>
                  </a:lnTo>
                  <a:lnTo>
                    <a:pt x="57" y="2"/>
                  </a:lnTo>
                  <a:lnTo>
                    <a:pt x="54" y="3"/>
                  </a:lnTo>
                  <a:lnTo>
                    <a:pt x="51" y="0"/>
                  </a:lnTo>
                  <a:lnTo>
                    <a:pt x="48" y="2"/>
                  </a:lnTo>
                  <a:lnTo>
                    <a:pt x="47" y="2"/>
                  </a:lnTo>
                  <a:lnTo>
                    <a:pt x="45" y="0"/>
                  </a:lnTo>
                  <a:lnTo>
                    <a:pt x="41" y="0"/>
                  </a:lnTo>
                  <a:lnTo>
                    <a:pt x="39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2" y="3"/>
                  </a:lnTo>
                  <a:lnTo>
                    <a:pt x="30" y="3"/>
                  </a:lnTo>
                  <a:lnTo>
                    <a:pt x="26" y="4"/>
                  </a:lnTo>
                  <a:lnTo>
                    <a:pt x="25" y="3"/>
                  </a:lnTo>
                  <a:lnTo>
                    <a:pt x="23" y="4"/>
                  </a:lnTo>
                  <a:lnTo>
                    <a:pt x="21" y="5"/>
                  </a:lnTo>
                  <a:lnTo>
                    <a:pt x="17" y="6"/>
                  </a:lnTo>
                  <a:lnTo>
                    <a:pt x="15" y="6"/>
                  </a:lnTo>
                  <a:lnTo>
                    <a:pt x="13" y="8"/>
                  </a:lnTo>
                  <a:lnTo>
                    <a:pt x="9" y="9"/>
                  </a:lnTo>
                  <a:lnTo>
                    <a:pt x="7" y="12"/>
                  </a:lnTo>
                  <a:lnTo>
                    <a:pt x="6" y="14"/>
                  </a:lnTo>
                  <a:lnTo>
                    <a:pt x="8" y="17"/>
                  </a:lnTo>
                  <a:lnTo>
                    <a:pt x="5" y="17"/>
                  </a:lnTo>
                  <a:lnTo>
                    <a:pt x="3" y="19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5" y="19"/>
                  </a:lnTo>
                  <a:lnTo>
                    <a:pt x="7" y="20"/>
                  </a:lnTo>
                  <a:lnTo>
                    <a:pt x="9" y="19"/>
                  </a:lnTo>
                  <a:lnTo>
                    <a:pt x="13" y="16"/>
                  </a:lnTo>
                  <a:lnTo>
                    <a:pt x="15" y="15"/>
                  </a:lnTo>
                  <a:lnTo>
                    <a:pt x="16" y="15"/>
                  </a:lnTo>
                  <a:lnTo>
                    <a:pt x="19" y="15"/>
                  </a:lnTo>
                  <a:lnTo>
                    <a:pt x="22" y="14"/>
                  </a:lnTo>
                  <a:lnTo>
                    <a:pt x="24" y="13"/>
                  </a:lnTo>
                  <a:lnTo>
                    <a:pt x="26" y="9"/>
                  </a:lnTo>
                  <a:lnTo>
                    <a:pt x="29" y="8"/>
                  </a:lnTo>
                  <a:lnTo>
                    <a:pt x="30" y="7"/>
                  </a:lnTo>
                  <a:lnTo>
                    <a:pt x="33" y="8"/>
                  </a:lnTo>
                  <a:lnTo>
                    <a:pt x="36" y="8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2" y="8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3" y="11"/>
                  </a:lnTo>
                  <a:lnTo>
                    <a:pt x="42" y="12"/>
                  </a:lnTo>
                  <a:lnTo>
                    <a:pt x="40" y="13"/>
                  </a:lnTo>
                  <a:lnTo>
                    <a:pt x="42" y="15"/>
                  </a:lnTo>
                  <a:lnTo>
                    <a:pt x="46" y="15"/>
                  </a:lnTo>
                  <a:lnTo>
                    <a:pt x="48" y="15"/>
                  </a:lnTo>
                  <a:lnTo>
                    <a:pt x="50" y="17"/>
                  </a:lnTo>
                  <a:lnTo>
                    <a:pt x="51" y="14"/>
                  </a:lnTo>
                  <a:lnTo>
                    <a:pt x="54" y="17"/>
                  </a:lnTo>
                  <a:lnTo>
                    <a:pt x="59" y="17"/>
                  </a:lnTo>
                  <a:lnTo>
                    <a:pt x="59" y="16"/>
                  </a:lnTo>
                  <a:lnTo>
                    <a:pt x="60" y="16"/>
                  </a:lnTo>
                  <a:lnTo>
                    <a:pt x="60" y="15"/>
                  </a:lnTo>
                  <a:lnTo>
                    <a:pt x="62" y="17"/>
                  </a:lnTo>
                  <a:lnTo>
                    <a:pt x="63" y="19"/>
                  </a:lnTo>
                  <a:lnTo>
                    <a:pt x="66" y="20"/>
                  </a:lnTo>
                  <a:lnTo>
                    <a:pt x="66" y="21"/>
                  </a:lnTo>
                  <a:lnTo>
                    <a:pt x="67" y="22"/>
                  </a:lnTo>
                  <a:lnTo>
                    <a:pt x="67" y="21"/>
                  </a:lnTo>
                  <a:lnTo>
                    <a:pt x="67" y="22"/>
                  </a:lnTo>
                  <a:lnTo>
                    <a:pt x="71" y="22"/>
                  </a:lnTo>
                  <a:lnTo>
                    <a:pt x="73" y="23"/>
                  </a:lnTo>
                  <a:lnTo>
                    <a:pt x="74" y="23"/>
                  </a:lnTo>
                  <a:lnTo>
                    <a:pt x="76" y="23"/>
                  </a:lnTo>
                  <a:lnTo>
                    <a:pt x="79" y="24"/>
                  </a:lnTo>
                  <a:lnTo>
                    <a:pt x="81" y="23"/>
                  </a:lnTo>
                  <a:lnTo>
                    <a:pt x="83" y="23"/>
                  </a:lnTo>
                  <a:lnTo>
                    <a:pt x="85" y="23"/>
                  </a:lnTo>
                  <a:lnTo>
                    <a:pt x="85" y="24"/>
                  </a:lnTo>
                  <a:lnTo>
                    <a:pt x="86" y="26"/>
                  </a:lnTo>
                  <a:lnTo>
                    <a:pt x="88" y="30"/>
                  </a:lnTo>
                  <a:lnTo>
                    <a:pt x="89" y="32"/>
                  </a:lnTo>
                  <a:lnTo>
                    <a:pt x="91" y="34"/>
                  </a:lnTo>
                  <a:lnTo>
                    <a:pt x="94" y="37"/>
                  </a:lnTo>
                  <a:lnTo>
                    <a:pt x="97" y="36"/>
                  </a:lnTo>
                  <a:lnTo>
                    <a:pt x="98" y="37"/>
                  </a:lnTo>
                  <a:lnTo>
                    <a:pt x="101" y="37"/>
                  </a:lnTo>
                  <a:lnTo>
                    <a:pt x="103" y="36"/>
                  </a:lnTo>
                  <a:lnTo>
                    <a:pt x="105" y="39"/>
                  </a:lnTo>
                  <a:lnTo>
                    <a:pt x="107" y="39"/>
                  </a:lnTo>
                  <a:lnTo>
                    <a:pt x="107" y="41"/>
                  </a:lnTo>
                  <a:lnTo>
                    <a:pt x="106" y="42"/>
                  </a:lnTo>
                  <a:lnTo>
                    <a:pt x="103" y="43"/>
                  </a:lnTo>
                  <a:lnTo>
                    <a:pt x="102" y="43"/>
                  </a:lnTo>
                  <a:lnTo>
                    <a:pt x="100" y="46"/>
                  </a:lnTo>
                  <a:lnTo>
                    <a:pt x="100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8" name="Freeform 228">
              <a:extLst>
                <a:ext uri="{FF2B5EF4-FFF2-40B4-BE49-F238E27FC236}">
                  <a16:creationId xmlns:a16="http://schemas.microsoft.com/office/drawing/2014/main" id="{AB921212-7CDB-49F9-9442-71A485A5F6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6913" y="3219450"/>
              <a:ext cx="1468437" cy="684213"/>
            </a:xfrm>
            <a:custGeom>
              <a:avLst/>
              <a:gdLst>
                <a:gd name="T0" fmla="*/ 913 w 925"/>
                <a:gd name="T1" fmla="*/ 80 h 431"/>
                <a:gd name="T2" fmla="*/ 918 w 925"/>
                <a:gd name="T3" fmla="*/ 87 h 431"/>
                <a:gd name="T4" fmla="*/ 923 w 925"/>
                <a:gd name="T5" fmla="*/ 77 h 431"/>
                <a:gd name="T6" fmla="*/ 918 w 925"/>
                <a:gd name="T7" fmla="*/ 74 h 431"/>
                <a:gd name="T8" fmla="*/ 921 w 925"/>
                <a:gd name="T9" fmla="*/ 63 h 431"/>
                <a:gd name="T10" fmla="*/ 910 w 925"/>
                <a:gd name="T11" fmla="*/ 73 h 431"/>
                <a:gd name="T12" fmla="*/ 910 w 925"/>
                <a:gd name="T13" fmla="*/ 65 h 431"/>
                <a:gd name="T14" fmla="*/ 915 w 925"/>
                <a:gd name="T15" fmla="*/ 59 h 431"/>
                <a:gd name="T16" fmla="*/ 914 w 925"/>
                <a:gd name="T17" fmla="*/ 55 h 431"/>
                <a:gd name="T18" fmla="*/ 905 w 925"/>
                <a:gd name="T19" fmla="*/ 58 h 431"/>
                <a:gd name="T20" fmla="*/ 907 w 925"/>
                <a:gd name="T21" fmla="*/ 54 h 431"/>
                <a:gd name="T22" fmla="*/ 909 w 925"/>
                <a:gd name="T23" fmla="*/ 47 h 431"/>
                <a:gd name="T24" fmla="*/ 906 w 925"/>
                <a:gd name="T25" fmla="*/ 40 h 431"/>
                <a:gd name="T26" fmla="*/ 900 w 925"/>
                <a:gd name="T27" fmla="*/ 38 h 431"/>
                <a:gd name="T28" fmla="*/ 890 w 925"/>
                <a:gd name="T29" fmla="*/ 46 h 431"/>
                <a:gd name="T30" fmla="*/ 888 w 925"/>
                <a:gd name="T31" fmla="*/ 41 h 431"/>
                <a:gd name="T32" fmla="*/ 880 w 925"/>
                <a:gd name="T33" fmla="*/ 39 h 431"/>
                <a:gd name="T34" fmla="*/ 881 w 925"/>
                <a:gd name="T35" fmla="*/ 33 h 431"/>
                <a:gd name="T36" fmla="*/ 881 w 925"/>
                <a:gd name="T37" fmla="*/ 30 h 431"/>
                <a:gd name="T38" fmla="*/ 871 w 925"/>
                <a:gd name="T39" fmla="*/ 32 h 431"/>
                <a:gd name="T40" fmla="*/ 869 w 925"/>
                <a:gd name="T41" fmla="*/ 30 h 431"/>
                <a:gd name="T42" fmla="*/ 876 w 925"/>
                <a:gd name="T43" fmla="*/ 18 h 431"/>
                <a:gd name="T44" fmla="*/ 879 w 925"/>
                <a:gd name="T45" fmla="*/ 7 h 431"/>
                <a:gd name="T46" fmla="*/ 887 w 925"/>
                <a:gd name="T47" fmla="*/ 1 h 431"/>
                <a:gd name="T48" fmla="*/ 873 w 925"/>
                <a:gd name="T49" fmla="*/ 4 h 431"/>
                <a:gd name="T50" fmla="*/ 863 w 925"/>
                <a:gd name="T51" fmla="*/ 16 h 431"/>
                <a:gd name="T52" fmla="*/ 855 w 925"/>
                <a:gd name="T53" fmla="*/ 30 h 431"/>
                <a:gd name="T54" fmla="*/ 852 w 925"/>
                <a:gd name="T55" fmla="*/ 38 h 431"/>
                <a:gd name="T56" fmla="*/ 850 w 925"/>
                <a:gd name="T57" fmla="*/ 47 h 431"/>
                <a:gd name="T58" fmla="*/ 844 w 925"/>
                <a:gd name="T59" fmla="*/ 49 h 431"/>
                <a:gd name="T60" fmla="*/ 837 w 925"/>
                <a:gd name="T61" fmla="*/ 54 h 431"/>
                <a:gd name="T62" fmla="*/ 842 w 925"/>
                <a:gd name="T63" fmla="*/ 56 h 431"/>
                <a:gd name="T64" fmla="*/ 838 w 925"/>
                <a:gd name="T65" fmla="*/ 63 h 431"/>
                <a:gd name="T66" fmla="*/ 837 w 925"/>
                <a:gd name="T67" fmla="*/ 73 h 431"/>
                <a:gd name="T68" fmla="*/ 849 w 925"/>
                <a:gd name="T69" fmla="*/ 71 h 431"/>
                <a:gd name="T70" fmla="*/ 862 w 925"/>
                <a:gd name="T71" fmla="*/ 72 h 431"/>
                <a:gd name="T72" fmla="*/ 873 w 925"/>
                <a:gd name="T73" fmla="*/ 72 h 431"/>
                <a:gd name="T74" fmla="*/ 881 w 925"/>
                <a:gd name="T75" fmla="*/ 69 h 431"/>
                <a:gd name="T76" fmla="*/ 887 w 925"/>
                <a:gd name="T77" fmla="*/ 74 h 431"/>
                <a:gd name="T78" fmla="*/ 896 w 925"/>
                <a:gd name="T79" fmla="*/ 72 h 431"/>
                <a:gd name="T80" fmla="*/ 883 w 925"/>
                <a:gd name="T81" fmla="*/ 81 h 431"/>
                <a:gd name="T82" fmla="*/ 888 w 925"/>
                <a:gd name="T83" fmla="*/ 84 h 431"/>
                <a:gd name="T84" fmla="*/ 898 w 925"/>
                <a:gd name="T85" fmla="*/ 75 h 431"/>
                <a:gd name="T86" fmla="*/ 904 w 925"/>
                <a:gd name="T87" fmla="*/ 67 h 431"/>
                <a:gd name="T88" fmla="*/ 905 w 925"/>
                <a:gd name="T89" fmla="*/ 80 h 431"/>
                <a:gd name="T90" fmla="*/ 827 w 925"/>
                <a:gd name="T91" fmla="*/ 98 h 431"/>
                <a:gd name="T92" fmla="*/ 813 w 925"/>
                <a:gd name="T93" fmla="*/ 107 h 431"/>
                <a:gd name="T94" fmla="*/ 804 w 925"/>
                <a:gd name="T95" fmla="*/ 102 h 431"/>
                <a:gd name="T96" fmla="*/ 810 w 925"/>
                <a:gd name="T97" fmla="*/ 89 h 431"/>
                <a:gd name="T98" fmla="*/ 819 w 925"/>
                <a:gd name="T99" fmla="*/ 87 h 431"/>
                <a:gd name="T100" fmla="*/ 815 w 925"/>
                <a:gd name="T101" fmla="*/ 98 h 431"/>
                <a:gd name="T102" fmla="*/ 808 w 925"/>
                <a:gd name="T103" fmla="*/ 104 h 431"/>
                <a:gd name="T104" fmla="*/ 816 w 925"/>
                <a:gd name="T105" fmla="*/ 101 h 431"/>
                <a:gd name="T106" fmla="*/ 816 w 925"/>
                <a:gd name="T107" fmla="*/ 97 h 431"/>
                <a:gd name="T108" fmla="*/ 2 w 925"/>
                <a:gd name="T109" fmla="*/ 295 h 431"/>
                <a:gd name="T110" fmla="*/ 164 w 925"/>
                <a:gd name="T111" fmla="*/ 428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25" h="431">
                  <a:moveTo>
                    <a:pt x="904" y="85"/>
                  </a:moveTo>
                  <a:lnTo>
                    <a:pt x="905" y="85"/>
                  </a:lnTo>
                  <a:lnTo>
                    <a:pt x="907" y="84"/>
                  </a:lnTo>
                  <a:lnTo>
                    <a:pt x="910" y="82"/>
                  </a:lnTo>
                  <a:lnTo>
                    <a:pt x="913" y="80"/>
                  </a:lnTo>
                  <a:lnTo>
                    <a:pt x="913" y="83"/>
                  </a:lnTo>
                  <a:lnTo>
                    <a:pt x="912" y="85"/>
                  </a:lnTo>
                  <a:lnTo>
                    <a:pt x="914" y="89"/>
                  </a:lnTo>
                  <a:lnTo>
                    <a:pt x="916" y="87"/>
                  </a:lnTo>
                  <a:lnTo>
                    <a:pt x="918" y="87"/>
                  </a:lnTo>
                  <a:lnTo>
                    <a:pt x="921" y="85"/>
                  </a:lnTo>
                  <a:lnTo>
                    <a:pt x="922" y="83"/>
                  </a:lnTo>
                  <a:lnTo>
                    <a:pt x="922" y="80"/>
                  </a:lnTo>
                  <a:lnTo>
                    <a:pt x="923" y="77"/>
                  </a:lnTo>
                  <a:lnTo>
                    <a:pt x="923" y="77"/>
                  </a:lnTo>
                  <a:lnTo>
                    <a:pt x="924" y="75"/>
                  </a:lnTo>
                  <a:lnTo>
                    <a:pt x="925" y="72"/>
                  </a:lnTo>
                  <a:lnTo>
                    <a:pt x="923" y="69"/>
                  </a:lnTo>
                  <a:lnTo>
                    <a:pt x="922" y="72"/>
                  </a:lnTo>
                  <a:lnTo>
                    <a:pt x="918" y="74"/>
                  </a:lnTo>
                  <a:lnTo>
                    <a:pt x="916" y="73"/>
                  </a:lnTo>
                  <a:lnTo>
                    <a:pt x="917" y="71"/>
                  </a:lnTo>
                  <a:lnTo>
                    <a:pt x="918" y="67"/>
                  </a:lnTo>
                  <a:lnTo>
                    <a:pt x="921" y="65"/>
                  </a:lnTo>
                  <a:lnTo>
                    <a:pt x="921" y="63"/>
                  </a:lnTo>
                  <a:lnTo>
                    <a:pt x="918" y="64"/>
                  </a:lnTo>
                  <a:lnTo>
                    <a:pt x="916" y="65"/>
                  </a:lnTo>
                  <a:lnTo>
                    <a:pt x="914" y="68"/>
                  </a:lnTo>
                  <a:lnTo>
                    <a:pt x="914" y="71"/>
                  </a:lnTo>
                  <a:lnTo>
                    <a:pt x="910" y="73"/>
                  </a:lnTo>
                  <a:lnTo>
                    <a:pt x="910" y="73"/>
                  </a:lnTo>
                  <a:lnTo>
                    <a:pt x="908" y="71"/>
                  </a:lnTo>
                  <a:lnTo>
                    <a:pt x="907" y="67"/>
                  </a:lnTo>
                  <a:lnTo>
                    <a:pt x="909" y="67"/>
                  </a:lnTo>
                  <a:lnTo>
                    <a:pt x="910" y="65"/>
                  </a:lnTo>
                  <a:lnTo>
                    <a:pt x="908" y="65"/>
                  </a:lnTo>
                  <a:lnTo>
                    <a:pt x="910" y="64"/>
                  </a:lnTo>
                  <a:lnTo>
                    <a:pt x="909" y="61"/>
                  </a:lnTo>
                  <a:lnTo>
                    <a:pt x="912" y="61"/>
                  </a:lnTo>
                  <a:lnTo>
                    <a:pt x="915" y="59"/>
                  </a:lnTo>
                  <a:lnTo>
                    <a:pt x="917" y="58"/>
                  </a:lnTo>
                  <a:lnTo>
                    <a:pt x="920" y="56"/>
                  </a:lnTo>
                  <a:lnTo>
                    <a:pt x="918" y="54"/>
                  </a:lnTo>
                  <a:lnTo>
                    <a:pt x="916" y="56"/>
                  </a:lnTo>
                  <a:lnTo>
                    <a:pt x="914" y="55"/>
                  </a:lnTo>
                  <a:lnTo>
                    <a:pt x="913" y="57"/>
                  </a:lnTo>
                  <a:lnTo>
                    <a:pt x="909" y="56"/>
                  </a:lnTo>
                  <a:lnTo>
                    <a:pt x="907" y="57"/>
                  </a:lnTo>
                  <a:lnTo>
                    <a:pt x="905" y="59"/>
                  </a:lnTo>
                  <a:lnTo>
                    <a:pt x="905" y="58"/>
                  </a:lnTo>
                  <a:lnTo>
                    <a:pt x="907" y="57"/>
                  </a:lnTo>
                  <a:lnTo>
                    <a:pt x="909" y="55"/>
                  </a:lnTo>
                  <a:lnTo>
                    <a:pt x="907" y="55"/>
                  </a:lnTo>
                  <a:lnTo>
                    <a:pt x="909" y="52"/>
                  </a:lnTo>
                  <a:lnTo>
                    <a:pt x="907" y="54"/>
                  </a:lnTo>
                  <a:lnTo>
                    <a:pt x="907" y="54"/>
                  </a:lnTo>
                  <a:lnTo>
                    <a:pt x="907" y="50"/>
                  </a:lnTo>
                  <a:lnTo>
                    <a:pt x="905" y="50"/>
                  </a:lnTo>
                  <a:lnTo>
                    <a:pt x="907" y="50"/>
                  </a:lnTo>
                  <a:lnTo>
                    <a:pt x="909" y="47"/>
                  </a:lnTo>
                  <a:lnTo>
                    <a:pt x="912" y="46"/>
                  </a:lnTo>
                  <a:lnTo>
                    <a:pt x="914" y="43"/>
                  </a:lnTo>
                  <a:lnTo>
                    <a:pt x="912" y="41"/>
                  </a:lnTo>
                  <a:lnTo>
                    <a:pt x="909" y="40"/>
                  </a:lnTo>
                  <a:lnTo>
                    <a:pt x="906" y="40"/>
                  </a:lnTo>
                  <a:lnTo>
                    <a:pt x="904" y="41"/>
                  </a:lnTo>
                  <a:lnTo>
                    <a:pt x="901" y="40"/>
                  </a:lnTo>
                  <a:lnTo>
                    <a:pt x="899" y="42"/>
                  </a:lnTo>
                  <a:lnTo>
                    <a:pt x="899" y="40"/>
                  </a:lnTo>
                  <a:lnTo>
                    <a:pt x="900" y="38"/>
                  </a:lnTo>
                  <a:lnTo>
                    <a:pt x="897" y="40"/>
                  </a:lnTo>
                  <a:lnTo>
                    <a:pt x="895" y="40"/>
                  </a:lnTo>
                  <a:lnTo>
                    <a:pt x="892" y="43"/>
                  </a:lnTo>
                  <a:lnTo>
                    <a:pt x="891" y="42"/>
                  </a:lnTo>
                  <a:lnTo>
                    <a:pt x="890" y="46"/>
                  </a:lnTo>
                  <a:lnTo>
                    <a:pt x="888" y="47"/>
                  </a:lnTo>
                  <a:lnTo>
                    <a:pt x="888" y="44"/>
                  </a:lnTo>
                  <a:lnTo>
                    <a:pt x="889" y="41"/>
                  </a:lnTo>
                  <a:lnTo>
                    <a:pt x="889" y="39"/>
                  </a:lnTo>
                  <a:lnTo>
                    <a:pt x="888" y="41"/>
                  </a:lnTo>
                  <a:lnTo>
                    <a:pt x="888" y="39"/>
                  </a:lnTo>
                  <a:lnTo>
                    <a:pt x="884" y="41"/>
                  </a:lnTo>
                  <a:lnTo>
                    <a:pt x="886" y="39"/>
                  </a:lnTo>
                  <a:lnTo>
                    <a:pt x="882" y="39"/>
                  </a:lnTo>
                  <a:lnTo>
                    <a:pt x="880" y="39"/>
                  </a:lnTo>
                  <a:lnTo>
                    <a:pt x="878" y="40"/>
                  </a:lnTo>
                  <a:lnTo>
                    <a:pt x="880" y="38"/>
                  </a:lnTo>
                  <a:lnTo>
                    <a:pt x="881" y="35"/>
                  </a:lnTo>
                  <a:lnTo>
                    <a:pt x="879" y="35"/>
                  </a:lnTo>
                  <a:lnTo>
                    <a:pt x="881" y="33"/>
                  </a:lnTo>
                  <a:lnTo>
                    <a:pt x="883" y="32"/>
                  </a:lnTo>
                  <a:lnTo>
                    <a:pt x="886" y="30"/>
                  </a:lnTo>
                  <a:lnTo>
                    <a:pt x="886" y="30"/>
                  </a:lnTo>
                  <a:lnTo>
                    <a:pt x="883" y="30"/>
                  </a:lnTo>
                  <a:lnTo>
                    <a:pt x="881" y="30"/>
                  </a:lnTo>
                  <a:lnTo>
                    <a:pt x="878" y="30"/>
                  </a:lnTo>
                  <a:lnTo>
                    <a:pt x="876" y="27"/>
                  </a:lnTo>
                  <a:lnTo>
                    <a:pt x="874" y="30"/>
                  </a:lnTo>
                  <a:lnTo>
                    <a:pt x="874" y="30"/>
                  </a:lnTo>
                  <a:lnTo>
                    <a:pt x="871" y="32"/>
                  </a:lnTo>
                  <a:lnTo>
                    <a:pt x="869" y="35"/>
                  </a:lnTo>
                  <a:lnTo>
                    <a:pt x="867" y="38"/>
                  </a:lnTo>
                  <a:lnTo>
                    <a:pt x="869" y="35"/>
                  </a:lnTo>
                  <a:lnTo>
                    <a:pt x="869" y="32"/>
                  </a:lnTo>
                  <a:lnTo>
                    <a:pt x="869" y="30"/>
                  </a:lnTo>
                  <a:lnTo>
                    <a:pt x="870" y="27"/>
                  </a:lnTo>
                  <a:lnTo>
                    <a:pt x="872" y="25"/>
                  </a:lnTo>
                  <a:lnTo>
                    <a:pt x="872" y="23"/>
                  </a:lnTo>
                  <a:lnTo>
                    <a:pt x="875" y="21"/>
                  </a:lnTo>
                  <a:lnTo>
                    <a:pt x="876" y="18"/>
                  </a:lnTo>
                  <a:lnTo>
                    <a:pt x="879" y="15"/>
                  </a:lnTo>
                  <a:lnTo>
                    <a:pt x="881" y="13"/>
                  </a:lnTo>
                  <a:lnTo>
                    <a:pt x="882" y="10"/>
                  </a:lnTo>
                  <a:lnTo>
                    <a:pt x="881" y="7"/>
                  </a:lnTo>
                  <a:lnTo>
                    <a:pt x="879" y="7"/>
                  </a:lnTo>
                  <a:lnTo>
                    <a:pt x="878" y="5"/>
                  </a:lnTo>
                  <a:lnTo>
                    <a:pt x="881" y="6"/>
                  </a:lnTo>
                  <a:lnTo>
                    <a:pt x="883" y="6"/>
                  </a:lnTo>
                  <a:lnTo>
                    <a:pt x="887" y="4"/>
                  </a:lnTo>
                  <a:lnTo>
                    <a:pt x="887" y="1"/>
                  </a:lnTo>
                  <a:lnTo>
                    <a:pt x="883" y="3"/>
                  </a:lnTo>
                  <a:lnTo>
                    <a:pt x="881" y="0"/>
                  </a:lnTo>
                  <a:lnTo>
                    <a:pt x="878" y="1"/>
                  </a:lnTo>
                  <a:lnTo>
                    <a:pt x="875" y="3"/>
                  </a:lnTo>
                  <a:lnTo>
                    <a:pt x="873" y="4"/>
                  </a:lnTo>
                  <a:lnTo>
                    <a:pt x="870" y="5"/>
                  </a:lnTo>
                  <a:lnTo>
                    <a:pt x="869" y="8"/>
                  </a:lnTo>
                  <a:lnTo>
                    <a:pt x="866" y="10"/>
                  </a:lnTo>
                  <a:lnTo>
                    <a:pt x="865" y="14"/>
                  </a:lnTo>
                  <a:lnTo>
                    <a:pt x="863" y="16"/>
                  </a:lnTo>
                  <a:lnTo>
                    <a:pt x="861" y="18"/>
                  </a:lnTo>
                  <a:lnTo>
                    <a:pt x="858" y="22"/>
                  </a:lnTo>
                  <a:lnTo>
                    <a:pt x="857" y="24"/>
                  </a:lnTo>
                  <a:lnTo>
                    <a:pt x="856" y="27"/>
                  </a:lnTo>
                  <a:lnTo>
                    <a:pt x="855" y="30"/>
                  </a:lnTo>
                  <a:lnTo>
                    <a:pt x="855" y="31"/>
                  </a:lnTo>
                  <a:lnTo>
                    <a:pt x="853" y="33"/>
                  </a:lnTo>
                  <a:lnTo>
                    <a:pt x="853" y="37"/>
                  </a:lnTo>
                  <a:lnTo>
                    <a:pt x="855" y="39"/>
                  </a:lnTo>
                  <a:lnTo>
                    <a:pt x="852" y="38"/>
                  </a:lnTo>
                  <a:lnTo>
                    <a:pt x="849" y="40"/>
                  </a:lnTo>
                  <a:lnTo>
                    <a:pt x="848" y="42"/>
                  </a:lnTo>
                  <a:lnTo>
                    <a:pt x="850" y="44"/>
                  </a:lnTo>
                  <a:lnTo>
                    <a:pt x="853" y="44"/>
                  </a:lnTo>
                  <a:lnTo>
                    <a:pt x="850" y="47"/>
                  </a:lnTo>
                  <a:lnTo>
                    <a:pt x="853" y="48"/>
                  </a:lnTo>
                  <a:lnTo>
                    <a:pt x="850" y="48"/>
                  </a:lnTo>
                  <a:lnTo>
                    <a:pt x="848" y="46"/>
                  </a:lnTo>
                  <a:lnTo>
                    <a:pt x="845" y="47"/>
                  </a:lnTo>
                  <a:lnTo>
                    <a:pt x="844" y="49"/>
                  </a:lnTo>
                  <a:lnTo>
                    <a:pt x="842" y="52"/>
                  </a:lnTo>
                  <a:lnTo>
                    <a:pt x="841" y="55"/>
                  </a:lnTo>
                  <a:lnTo>
                    <a:pt x="839" y="55"/>
                  </a:lnTo>
                  <a:lnTo>
                    <a:pt x="839" y="52"/>
                  </a:lnTo>
                  <a:lnTo>
                    <a:pt x="837" y="54"/>
                  </a:lnTo>
                  <a:lnTo>
                    <a:pt x="835" y="57"/>
                  </a:lnTo>
                  <a:lnTo>
                    <a:pt x="837" y="56"/>
                  </a:lnTo>
                  <a:lnTo>
                    <a:pt x="840" y="56"/>
                  </a:lnTo>
                  <a:lnTo>
                    <a:pt x="842" y="56"/>
                  </a:lnTo>
                  <a:lnTo>
                    <a:pt x="842" y="56"/>
                  </a:lnTo>
                  <a:lnTo>
                    <a:pt x="846" y="56"/>
                  </a:lnTo>
                  <a:lnTo>
                    <a:pt x="846" y="57"/>
                  </a:lnTo>
                  <a:lnTo>
                    <a:pt x="844" y="58"/>
                  </a:lnTo>
                  <a:lnTo>
                    <a:pt x="840" y="60"/>
                  </a:lnTo>
                  <a:lnTo>
                    <a:pt x="838" y="63"/>
                  </a:lnTo>
                  <a:lnTo>
                    <a:pt x="835" y="65"/>
                  </a:lnTo>
                  <a:lnTo>
                    <a:pt x="832" y="67"/>
                  </a:lnTo>
                  <a:lnTo>
                    <a:pt x="833" y="69"/>
                  </a:lnTo>
                  <a:lnTo>
                    <a:pt x="835" y="73"/>
                  </a:lnTo>
                  <a:lnTo>
                    <a:pt x="837" y="73"/>
                  </a:lnTo>
                  <a:lnTo>
                    <a:pt x="840" y="72"/>
                  </a:lnTo>
                  <a:lnTo>
                    <a:pt x="842" y="72"/>
                  </a:lnTo>
                  <a:lnTo>
                    <a:pt x="846" y="72"/>
                  </a:lnTo>
                  <a:lnTo>
                    <a:pt x="847" y="71"/>
                  </a:lnTo>
                  <a:lnTo>
                    <a:pt x="849" y="71"/>
                  </a:lnTo>
                  <a:lnTo>
                    <a:pt x="853" y="71"/>
                  </a:lnTo>
                  <a:lnTo>
                    <a:pt x="855" y="71"/>
                  </a:lnTo>
                  <a:lnTo>
                    <a:pt x="858" y="72"/>
                  </a:lnTo>
                  <a:lnTo>
                    <a:pt x="861" y="72"/>
                  </a:lnTo>
                  <a:lnTo>
                    <a:pt x="862" y="72"/>
                  </a:lnTo>
                  <a:lnTo>
                    <a:pt x="864" y="73"/>
                  </a:lnTo>
                  <a:lnTo>
                    <a:pt x="867" y="73"/>
                  </a:lnTo>
                  <a:lnTo>
                    <a:pt x="870" y="73"/>
                  </a:lnTo>
                  <a:lnTo>
                    <a:pt x="870" y="72"/>
                  </a:lnTo>
                  <a:lnTo>
                    <a:pt x="873" y="72"/>
                  </a:lnTo>
                  <a:lnTo>
                    <a:pt x="875" y="72"/>
                  </a:lnTo>
                  <a:lnTo>
                    <a:pt x="878" y="68"/>
                  </a:lnTo>
                  <a:lnTo>
                    <a:pt x="880" y="69"/>
                  </a:lnTo>
                  <a:lnTo>
                    <a:pt x="882" y="66"/>
                  </a:lnTo>
                  <a:lnTo>
                    <a:pt x="881" y="69"/>
                  </a:lnTo>
                  <a:lnTo>
                    <a:pt x="881" y="72"/>
                  </a:lnTo>
                  <a:lnTo>
                    <a:pt x="879" y="74"/>
                  </a:lnTo>
                  <a:lnTo>
                    <a:pt x="882" y="74"/>
                  </a:lnTo>
                  <a:lnTo>
                    <a:pt x="884" y="75"/>
                  </a:lnTo>
                  <a:lnTo>
                    <a:pt x="887" y="74"/>
                  </a:lnTo>
                  <a:lnTo>
                    <a:pt x="888" y="71"/>
                  </a:lnTo>
                  <a:lnTo>
                    <a:pt x="891" y="72"/>
                  </a:lnTo>
                  <a:lnTo>
                    <a:pt x="893" y="69"/>
                  </a:lnTo>
                  <a:lnTo>
                    <a:pt x="892" y="72"/>
                  </a:lnTo>
                  <a:lnTo>
                    <a:pt x="896" y="72"/>
                  </a:lnTo>
                  <a:lnTo>
                    <a:pt x="892" y="74"/>
                  </a:lnTo>
                  <a:lnTo>
                    <a:pt x="890" y="75"/>
                  </a:lnTo>
                  <a:lnTo>
                    <a:pt x="889" y="77"/>
                  </a:lnTo>
                  <a:lnTo>
                    <a:pt x="886" y="80"/>
                  </a:lnTo>
                  <a:lnTo>
                    <a:pt x="883" y="81"/>
                  </a:lnTo>
                  <a:lnTo>
                    <a:pt x="881" y="81"/>
                  </a:lnTo>
                  <a:lnTo>
                    <a:pt x="879" y="84"/>
                  </a:lnTo>
                  <a:lnTo>
                    <a:pt x="882" y="84"/>
                  </a:lnTo>
                  <a:lnTo>
                    <a:pt x="884" y="84"/>
                  </a:lnTo>
                  <a:lnTo>
                    <a:pt x="888" y="84"/>
                  </a:lnTo>
                  <a:lnTo>
                    <a:pt x="889" y="84"/>
                  </a:lnTo>
                  <a:lnTo>
                    <a:pt x="891" y="81"/>
                  </a:lnTo>
                  <a:lnTo>
                    <a:pt x="892" y="78"/>
                  </a:lnTo>
                  <a:lnTo>
                    <a:pt x="895" y="76"/>
                  </a:lnTo>
                  <a:lnTo>
                    <a:pt x="898" y="75"/>
                  </a:lnTo>
                  <a:lnTo>
                    <a:pt x="900" y="73"/>
                  </a:lnTo>
                  <a:lnTo>
                    <a:pt x="899" y="75"/>
                  </a:lnTo>
                  <a:lnTo>
                    <a:pt x="900" y="73"/>
                  </a:lnTo>
                  <a:lnTo>
                    <a:pt x="903" y="71"/>
                  </a:lnTo>
                  <a:lnTo>
                    <a:pt x="904" y="67"/>
                  </a:lnTo>
                  <a:lnTo>
                    <a:pt x="907" y="69"/>
                  </a:lnTo>
                  <a:lnTo>
                    <a:pt x="908" y="72"/>
                  </a:lnTo>
                  <a:lnTo>
                    <a:pt x="907" y="75"/>
                  </a:lnTo>
                  <a:lnTo>
                    <a:pt x="906" y="77"/>
                  </a:lnTo>
                  <a:lnTo>
                    <a:pt x="905" y="80"/>
                  </a:lnTo>
                  <a:lnTo>
                    <a:pt x="904" y="83"/>
                  </a:lnTo>
                  <a:lnTo>
                    <a:pt x="904" y="85"/>
                  </a:lnTo>
                  <a:lnTo>
                    <a:pt x="904" y="85"/>
                  </a:lnTo>
                  <a:close/>
                  <a:moveTo>
                    <a:pt x="824" y="97"/>
                  </a:moveTo>
                  <a:lnTo>
                    <a:pt x="827" y="98"/>
                  </a:lnTo>
                  <a:lnTo>
                    <a:pt x="827" y="101"/>
                  </a:lnTo>
                  <a:lnTo>
                    <a:pt x="824" y="101"/>
                  </a:lnTo>
                  <a:lnTo>
                    <a:pt x="822" y="103"/>
                  </a:lnTo>
                  <a:lnTo>
                    <a:pt x="819" y="106"/>
                  </a:lnTo>
                  <a:lnTo>
                    <a:pt x="813" y="107"/>
                  </a:lnTo>
                  <a:lnTo>
                    <a:pt x="811" y="106"/>
                  </a:lnTo>
                  <a:lnTo>
                    <a:pt x="808" y="107"/>
                  </a:lnTo>
                  <a:lnTo>
                    <a:pt x="805" y="107"/>
                  </a:lnTo>
                  <a:lnTo>
                    <a:pt x="804" y="104"/>
                  </a:lnTo>
                  <a:lnTo>
                    <a:pt x="804" y="102"/>
                  </a:lnTo>
                  <a:lnTo>
                    <a:pt x="803" y="99"/>
                  </a:lnTo>
                  <a:lnTo>
                    <a:pt x="805" y="97"/>
                  </a:lnTo>
                  <a:lnTo>
                    <a:pt x="807" y="94"/>
                  </a:lnTo>
                  <a:lnTo>
                    <a:pt x="810" y="92"/>
                  </a:lnTo>
                  <a:lnTo>
                    <a:pt x="810" y="89"/>
                  </a:lnTo>
                  <a:lnTo>
                    <a:pt x="812" y="86"/>
                  </a:lnTo>
                  <a:lnTo>
                    <a:pt x="814" y="84"/>
                  </a:lnTo>
                  <a:lnTo>
                    <a:pt x="818" y="84"/>
                  </a:lnTo>
                  <a:lnTo>
                    <a:pt x="820" y="85"/>
                  </a:lnTo>
                  <a:lnTo>
                    <a:pt x="819" y="87"/>
                  </a:lnTo>
                  <a:lnTo>
                    <a:pt x="819" y="91"/>
                  </a:lnTo>
                  <a:lnTo>
                    <a:pt x="818" y="93"/>
                  </a:lnTo>
                  <a:lnTo>
                    <a:pt x="815" y="97"/>
                  </a:lnTo>
                  <a:lnTo>
                    <a:pt x="819" y="94"/>
                  </a:lnTo>
                  <a:lnTo>
                    <a:pt x="815" y="98"/>
                  </a:lnTo>
                  <a:lnTo>
                    <a:pt x="813" y="99"/>
                  </a:lnTo>
                  <a:lnTo>
                    <a:pt x="811" y="101"/>
                  </a:lnTo>
                  <a:lnTo>
                    <a:pt x="813" y="101"/>
                  </a:lnTo>
                  <a:lnTo>
                    <a:pt x="811" y="102"/>
                  </a:lnTo>
                  <a:lnTo>
                    <a:pt x="808" y="104"/>
                  </a:lnTo>
                  <a:lnTo>
                    <a:pt x="811" y="103"/>
                  </a:lnTo>
                  <a:lnTo>
                    <a:pt x="814" y="104"/>
                  </a:lnTo>
                  <a:lnTo>
                    <a:pt x="816" y="101"/>
                  </a:lnTo>
                  <a:lnTo>
                    <a:pt x="819" y="100"/>
                  </a:lnTo>
                  <a:lnTo>
                    <a:pt x="816" y="101"/>
                  </a:lnTo>
                  <a:lnTo>
                    <a:pt x="813" y="101"/>
                  </a:lnTo>
                  <a:lnTo>
                    <a:pt x="813" y="100"/>
                  </a:lnTo>
                  <a:lnTo>
                    <a:pt x="816" y="99"/>
                  </a:lnTo>
                  <a:lnTo>
                    <a:pt x="819" y="95"/>
                  </a:lnTo>
                  <a:lnTo>
                    <a:pt x="816" y="97"/>
                  </a:lnTo>
                  <a:lnTo>
                    <a:pt x="819" y="94"/>
                  </a:lnTo>
                  <a:lnTo>
                    <a:pt x="821" y="97"/>
                  </a:lnTo>
                  <a:lnTo>
                    <a:pt x="824" y="97"/>
                  </a:lnTo>
                  <a:lnTo>
                    <a:pt x="824" y="97"/>
                  </a:lnTo>
                  <a:close/>
                  <a:moveTo>
                    <a:pt x="2" y="295"/>
                  </a:moveTo>
                  <a:lnTo>
                    <a:pt x="2" y="294"/>
                  </a:lnTo>
                  <a:lnTo>
                    <a:pt x="0" y="294"/>
                  </a:lnTo>
                  <a:lnTo>
                    <a:pt x="2" y="295"/>
                  </a:lnTo>
                  <a:lnTo>
                    <a:pt x="2" y="295"/>
                  </a:lnTo>
                  <a:close/>
                  <a:moveTo>
                    <a:pt x="164" y="428"/>
                  </a:moveTo>
                  <a:lnTo>
                    <a:pt x="165" y="431"/>
                  </a:lnTo>
                  <a:lnTo>
                    <a:pt x="164" y="428"/>
                  </a:lnTo>
                  <a:lnTo>
                    <a:pt x="164" y="428"/>
                  </a:lnTo>
                  <a:lnTo>
                    <a:pt x="164" y="4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9" name="Freeform 229">
              <a:extLst>
                <a:ext uri="{FF2B5EF4-FFF2-40B4-BE49-F238E27FC236}">
                  <a16:creationId xmlns:a16="http://schemas.microsoft.com/office/drawing/2014/main" id="{E17E108B-D652-4A2B-B9F3-6B07301B0D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59113" y="3241675"/>
              <a:ext cx="898525" cy="166688"/>
            </a:xfrm>
            <a:custGeom>
              <a:avLst/>
              <a:gdLst>
                <a:gd name="T0" fmla="*/ 44 w 566"/>
                <a:gd name="T1" fmla="*/ 17 h 105"/>
                <a:gd name="T2" fmla="*/ 47 w 566"/>
                <a:gd name="T3" fmla="*/ 23 h 105"/>
                <a:gd name="T4" fmla="*/ 53 w 566"/>
                <a:gd name="T5" fmla="*/ 27 h 105"/>
                <a:gd name="T6" fmla="*/ 57 w 566"/>
                <a:gd name="T7" fmla="*/ 29 h 105"/>
                <a:gd name="T8" fmla="*/ 62 w 566"/>
                <a:gd name="T9" fmla="*/ 34 h 105"/>
                <a:gd name="T10" fmla="*/ 65 w 566"/>
                <a:gd name="T11" fmla="*/ 38 h 105"/>
                <a:gd name="T12" fmla="*/ 68 w 566"/>
                <a:gd name="T13" fmla="*/ 44 h 105"/>
                <a:gd name="T14" fmla="*/ 63 w 566"/>
                <a:gd name="T15" fmla="*/ 44 h 105"/>
                <a:gd name="T16" fmla="*/ 57 w 566"/>
                <a:gd name="T17" fmla="*/ 43 h 105"/>
                <a:gd name="T18" fmla="*/ 52 w 566"/>
                <a:gd name="T19" fmla="*/ 41 h 105"/>
                <a:gd name="T20" fmla="*/ 46 w 566"/>
                <a:gd name="T21" fmla="*/ 38 h 105"/>
                <a:gd name="T22" fmla="*/ 46 w 566"/>
                <a:gd name="T23" fmla="*/ 34 h 105"/>
                <a:gd name="T24" fmla="*/ 46 w 566"/>
                <a:gd name="T25" fmla="*/ 34 h 105"/>
                <a:gd name="T26" fmla="*/ 40 w 566"/>
                <a:gd name="T27" fmla="*/ 35 h 105"/>
                <a:gd name="T28" fmla="*/ 35 w 566"/>
                <a:gd name="T29" fmla="*/ 33 h 105"/>
                <a:gd name="T30" fmla="*/ 35 w 566"/>
                <a:gd name="T31" fmla="*/ 27 h 105"/>
                <a:gd name="T32" fmla="*/ 30 w 566"/>
                <a:gd name="T33" fmla="*/ 26 h 105"/>
                <a:gd name="T34" fmla="*/ 25 w 566"/>
                <a:gd name="T35" fmla="*/ 25 h 105"/>
                <a:gd name="T36" fmla="*/ 28 w 566"/>
                <a:gd name="T37" fmla="*/ 21 h 105"/>
                <a:gd name="T38" fmla="*/ 29 w 566"/>
                <a:gd name="T39" fmla="*/ 21 h 105"/>
                <a:gd name="T40" fmla="*/ 23 w 566"/>
                <a:gd name="T41" fmla="*/ 20 h 105"/>
                <a:gd name="T42" fmla="*/ 19 w 566"/>
                <a:gd name="T43" fmla="*/ 18 h 105"/>
                <a:gd name="T44" fmla="*/ 13 w 566"/>
                <a:gd name="T45" fmla="*/ 15 h 105"/>
                <a:gd name="T46" fmla="*/ 10 w 566"/>
                <a:gd name="T47" fmla="*/ 13 h 105"/>
                <a:gd name="T48" fmla="*/ 9 w 566"/>
                <a:gd name="T49" fmla="*/ 11 h 105"/>
                <a:gd name="T50" fmla="*/ 6 w 566"/>
                <a:gd name="T51" fmla="*/ 7 h 105"/>
                <a:gd name="T52" fmla="*/ 12 w 566"/>
                <a:gd name="T53" fmla="*/ 9 h 105"/>
                <a:gd name="T54" fmla="*/ 8 w 566"/>
                <a:gd name="T55" fmla="*/ 4 h 105"/>
                <a:gd name="T56" fmla="*/ 3 w 566"/>
                <a:gd name="T57" fmla="*/ 7 h 105"/>
                <a:gd name="T58" fmla="*/ 0 w 566"/>
                <a:gd name="T59" fmla="*/ 1 h 105"/>
                <a:gd name="T60" fmla="*/ 5 w 566"/>
                <a:gd name="T61" fmla="*/ 0 h 105"/>
                <a:gd name="T62" fmla="*/ 11 w 566"/>
                <a:gd name="T63" fmla="*/ 1 h 105"/>
                <a:gd name="T64" fmla="*/ 15 w 566"/>
                <a:gd name="T65" fmla="*/ 4 h 105"/>
                <a:gd name="T66" fmla="*/ 21 w 566"/>
                <a:gd name="T67" fmla="*/ 6 h 105"/>
                <a:gd name="T68" fmla="*/ 27 w 566"/>
                <a:gd name="T69" fmla="*/ 7 h 105"/>
                <a:gd name="T70" fmla="*/ 32 w 566"/>
                <a:gd name="T71" fmla="*/ 9 h 105"/>
                <a:gd name="T72" fmla="*/ 36 w 566"/>
                <a:gd name="T73" fmla="*/ 9 h 105"/>
                <a:gd name="T74" fmla="*/ 40 w 566"/>
                <a:gd name="T75" fmla="*/ 12 h 105"/>
                <a:gd name="T76" fmla="*/ 43 w 566"/>
                <a:gd name="T77" fmla="*/ 16 h 105"/>
                <a:gd name="T78" fmla="*/ 561 w 566"/>
                <a:gd name="T79" fmla="*/ 103 h 105"/>
                <a:gd name="T80" fmla="*/ 564 w 566"/>
                <a:gd name="T81" fmla="*/ 103 h 105"/>
                <a:gd name="T82" fmla="*/ 566 w 566"/>
                <a:gd name="T83" fmla="*/ 97 h 105"/>
                <a:gd name="T84" fmla="*/ 561 w 566"/>
                <a:gd name="T85" fmla="*/ 10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66" h="105">
                  <a:moveTo>
                    <a:pt x="43" y="16"/>
                  </a:moveTo>
                  <a:lnTo>
                    <a:pt x="44" y="17"/>
                  </a:lnTo>
                  <a:lnTo>
                    <a:pt x="46" y="19"/>
                  </a:lnTo>
                  <a:lnTo>
                    <a:pt x="47" y="23"/>
                  </a:lnTo>
                  <a:lnTo>
                    <a:pt x="49" y="25"/>
                  </a:lnTo>
                  <a:lnTo>
                    <a:pt x="53" y="27"/>
                  </a:lnTo>
                  <a:lnTo>
                    <a:pt x="55" y="27"/>
                  </a:lnTo>
                  <a:lnTo>
                    <a:pt x="57" y="29"/>
                  </a:lnTo>
                  <a:lnTo>
                    <a:pt x="61" y="30"/>
                  </a:lnTo>
                  <a:lnTo>
                    <a:pt x="62" y="34"/>
                  </a:lnTo>
                  <a:lnTo>
                    <a:pt x="64" y="36"/>
                  </a:lnTo>
                  <a:lnTo>
                    <a:pt x="65" y="38"/>
                  </a:lnTo>
                  <a:lnTo>
                    <a:pt x="69" y="41"/>
                  </a:lnTo>
                  <a:lnTo>
                    <a:pt x="68" y="44"/>
                  </a:lnTo>
                  <a:lnTo>
                    <a:pt x="65" y="45"/>
                  </a:lnTo>
                  <a:lnTo>
                    <a:pt x="63" y="44"/>
                  </a:lnTo>
                  <a:lnTo>
                    <a:pt x="60" y="44"/>
                  </a:lnTo>
                  <a:lnTo>
                    <a:pt x="57" y="43"/>
                  </a:lnTo>
                  <a:lnTo>
                    <a:pt x="54" y="42"/>
                  </a:lnTo>
                  <a:lnTo>
                    <a:pt x="52" y="41"/>
                  </a:lnTo>
                  <a:lnTo>
                    <a:pt x="49" y="41"/>
                  </a:lnTo>
                  <a:lnTo>
                    <a:pt x="46" y="38"/>
                  </a:lnTo>
                  <a:lnTo>
                    <a:pt x="44" y="36"/>
                  </a:lnTo>
                  <a:lnTo>
                    <a:pt x="46" y="34"/>
                  </a:lnTo>
                  <a:lnTo>
                    <a:pt x="48" y="32"/>
                  </a:lnTo>
                  <a:lnTo>
                    <a:pt x="46" y="34"/>
                  </a:lnTo>
                  <a:lnTo>
                    <a:pt x="43" y="34"/>
                  </a:lnTo>
                  <a:lnTo>
                    <a:pt x="40" y="35"/>
                  </a:lnTo>
                  <a:lnTo>
                    <a:pt x="37" y="34"/>
                  </a:lnTo>
                  <a:lnTo>
                    <a:pt x="35" y="33"/>
                  </a:lnTo>
                  <a:lnTo>
                    <a:pt x="36" y="29"/>
                  </a:lnTo>
                  <a:lnTo>
                    <a:pt x="35" y="27"/>
                  </a:lnTo>
                  <a:lnTo>
                    <a:pt x="32" y="27"/>
                  </a:lnTo>
                  <a:lnTo>
                    <a:pt x="30" y="26"/>
                  </a:lnTo>
                  <a:lnTo>
                    <a:pt x="27" y="26"/>
                  </a:lnTo>
                  <a:lnTo>
                    <a:pt x="25" y="25"/>
                  </a:lnTo>
                  <a:lnTo>
                    <a:pt x="26" y="23"/>
                  </a:lnTo>
                  <a:lnTo>
                    <a:pt x="28" y="21"/>
                  </a:lnTo>
                  <a:lnTo>
                    <a:pt x="30" y="21"/>
                  </a:lnTo>
                  <a:lnTo>
                    <a:pt x="29" y="21"/>
                  </a:lnTo>
                  <a:lnTo>
                    <a:pt x="27" y="19"/>
                  </a:lnTo>
                  <a:lnTo>
                    <a:pt x="23" y="20"/>
                  </a:lnTo>
                  <a:lnTo>
                    <a:pt x="21" y="17"/>
                  </a:lnTo>
                  <a:lnTo>
                    <a:pt x="19" y="18"/>
                  </a:lnTo>
                  <a:lnTo>
                    <a:pt x="15" y="16"/>
                  </a:lnTo>
                  <a:lnTo>
                    <a:pt x="13" y="15"/>
                  </a:lnTo>
                  <a:lnTo>
                    <a:pt x="12" y="12"/>
                  </a:lnTo>
                  <a:lnTo>
                    <a:pt x="10" y="13"/>
                  </a:lnTo>
                  <a:lnTo>
                    <a:pt x="8" y="13"/>
                  </a:lnTo>
                  <a:lnTo>
                    <a:pt x="9" y="11"/>
                  </a:lnTo>
                  <a:lnTo>
                    <a:pt x="5" y="10"/>
                  </a:lnTo>
                  <a:lnTo>
                    <a:pt x="6" y="7"/>
                  </a:lnTo>
                  <a:lnTo>
                    <a:pt x="10" y="7"/>
                  </a:lnTo>
                  <a:lnTo>
                    <a:pt x="12" y="9"/>
                  </a:lnTo>
                  <a:lnTo>
                    <a:pt x="11" y="7"/>
                  </a:lnTo>
                  <a:lnTo>
                    <a:pt x="8" y="4"/>
                  </a:lnTo>
                  <a:lnTo>
                    <a:pt x="5" y="7"/>
                  </a:lnTo>
                  <a:lnTo>
                    <a:pt x="3" y="7"/>
                  </a:lnTo>
                  <a:lnTo>
                    <a:pt x="1" y="4"/>
                  </a:lnTo>
                  <a:lnTo>
                    <a:pt x="0" y="1"/>
                  </a:lnTo>
                  <a:lnTo>
                    <a:pt x="3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11" y="1"/>
                  </a:lnTo>
                  <a:lnTo>
                    <a:pt x="13" y="3"/>
                  </a:lnTo>
                  <a:lnTo>
                    <a:pt x="15" y="4"/>
                  </a:lnTo>
                  <a:lnTo>
                    <a:pt x="19" y="6"/>
                  </a:lnTo>
                  <a:lnTo>
                    <a:pt x="21" y="6"/>
                  </a:lnTo>
                  <a:lnTo>
                    <a:pt x="25" y="7"/>
                  </a:lnTo>
                  <a:lnTo>
                    <a:pt x="27" y="7"/>
                  </a:lnTo>
                  <a:lnTo>
                    <a:pt x="29" y="8"/>
                  </a:lnTo>
                  <a:lnTo>
                    <a:pt x="32" y="9"/>
                  </a:lnTo>
                  <a:lnTo>
                    <a:pt x="34" y="9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40" y="12"/>
                  </a:lnTo>
                  <a:lnTo>
                    <a:pt x="43" y="15"/>
                  </a:lnTo>
                  <a:lnTo>
                    <a:pt x="43" y="16"/>
                  </a:lnTo>
                  <a:lnTo>
                    <a:pt x="43" y="16"/>
                  </a:lnTo>
                  <a:close/>
                  <a:moveTo>
                    <a:pt x="561" y="103"/>
                  </a:moveTo>
                  <a:lnTo>
                    <a:pt x="563" y="105"/>
                  </a:lnTo>
                  <a:lnTo>
                    <a:pt x="564" y="103"/>
                  </a:lnTo>
                  <a:lnTo>
                    <a:pt x="565" y="101"/>
                  </a:lnTo>
                  <a:lnTo>
                    <a:pt x="566" y="97"/>
                  </a:lnTo>
                  <a:lnTo>
                    <a:pt x="563" y="100"/>
                  </a:lnTo>
                  <a:lnTo>
                    <a:pt x="561" y="103"/>
                  </a:lnTo>
                  <a:lnTo>
                    <a:pt x="561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0" name="Freeform 230">
              <a:extLst>
                <a:ext uri="{FF2B5EF4-FFF2-40B4-BE49-F238E27FC236}">
                  <a16:creationId xmlns:a16="http://schemas.microsoft.com/office/drawing/2014/main" id="{A89A2919-E1E5-4704-AE2C-123DDD17D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6538" y="2740025"/>
              <a:ext cx="239712" cy="109538"/>
            </a:xfrm>
            <a:custGeom>
              <a:avLst/>
              <a:gdLst>
                <a:gd name="T0" fmla="*/ 142 w 151"/>
                <a:gd name="T1" fmla="*/ 41 h 69"/>
                <a:gd name="T2" fmla="*/ 144 w 151"/>
                <a:gd name="T3" fmla="*/ 34 h 69"/>
                <a:gd name="T4" fmla="*/ 151 w 151"/>
                <a:gd name="T5" fmla="*/ 31 h 69"/>
                <a:gd name="T6" fmla="*/ 148 w 151"/>
                <a:gd name="T7" fmla="*/ 29 h 69"/>
                <a:gd name="T8" fmla="*/ 149 w 151"/>
                <a:gd name="T9" fmla="*/ 23 h 69"/>
                <a:gd name="T10" fmla="*/ 136 w 151"/>
                <a:gd name="T11" fmla="*/ 24 h 69"/>
                <a:gd name="T12" fmla="*/ 133 w 151"/>
                <a:gd name="T13" fmla="*/ 16 h 69"/>
                <a:gd name="T14" fmla="*/ 131 w 151"/>
                <a:gd name="T15" fmla="*/ 8 h 69"/>
                <a:gd name="T16" fmla="*/ 126 w 151"/>
                <a:gd name="T17" fmla="*/ 6 h 69"/>
                <a:gd name="T18" fmla="*/ 117 w 151"/>
                <a:gd name="T19" fmla="*/ 0 h 69"/>
                <a:gd name="T20" fmla="*/ 110 w 151"/>
                <a:gd name="T21" fmla="*/ 6 h 69"/>
                <a:gd name="T22" fmla="*/ 102 w 151"/>
                <a:gd name="T23" fmla="*/ 7 h 69"/>
                <a:gd name="T24" fmla="*/ 91 w 151"/>
                <a:gd name="T25" fmla="*/ 9 h 69"/>
                <a:gd name="T26" fmla="*/ 88 w 151"/>
                <a:gd name="T27" fmla="*/ 14 h 69"/>
                <a:gd name="T28" fmla="*/ 84 w 151"/>
                <a:gd name="T29" fmla="*/ 14 h 69"/>
                <a:gd name="T30" fmla="*/ 74 w 151"/>
                <a:gd name="T31" fmla="*/ 10 h 69"/>
                <a:gd name="T32" fmla="*/ 69 w 151"/>
                <a:gd name="T33" fmla="*/ 18 h 69"/>
                <a:gd name="T34" fmla="*/ 60 w 151"/>
                <a:gd name="T35" fmla="*/ 9 h 69"/>
                <a:gd name="T36" fmla="*/ 58 w 151"/>
                <a:gd name="T37" fmla="*/ 19 h 69"/>
                <a:gd name="T38" fmla="*/ 54 w 151"/>
                <a:gd name="T39" fmla="*/ 21 h 69"/>
                <a:gd name="T40" fmla="*/ 47 w 151"/>
                <a:gd name="T41" fmla="*/ 31 h 69"/>
                <a:gd name="T42" fmla="*/ 39 w 151"/>
                <a:gd name="T43" fmla="*/ 20 h 69"/>
                <a:gd name="T44" fmla="*/ 43 w 151"/>
                <a:gd name="T45" fmla="*/ 12 h 69"/>
                <a:gd name="T46" fmla="*/ 38 w 151"/>
                <a:gd name="T47" fmla="*/ 8 h 69"/>
                <a:gd name="T48" fmla="*/ 27 w 151"/>
                <a:gd name="T49" fmla="*/ 1 h 69"/>
                <a:gd name="T50" fmla="*/ 23 w 151"/>
                <a:gd name="T51" fmla="*/ 3 h 69"/>
                <a:gd name="T52" fmla="*/ 25 w 151"/>
                <a:gd name="T53" fmla="*/ 9 h 69"/>
                <a:gd name="T54" fmla="*/ 26 w 151"/>
                <a:gd name="T55" fmla="*/ 12 h 69"/>
                <a:gd name="T56" fmla="*/ 13 w 151"/>
                <a:gd name="T57" fmla="*/ 8 h 69"/>
                <a:gd name="T58" fmla="*/ 13 w 151"/>
                <a:gd name="T59" fmla="*/ 11 h 69"/>
                <a:gd name="T60" fmla="*/ 14 w 151"/>
                <a:gd name="T61" fmla="*/ 15 h 69"/>
                <a:gd name="T62" fmla="*/ 16 w 151"/>
                <a:gd name="T63" fmla="*/ 18 h 69"/>
                <a:gd name="T64" fmla="*/ 10 w 151"/>
                <a:gd name="T65" fmla="*/ 18 h 69"/>
                <a:gd name="T66" fmla="*/ 5 w 151"/>
                <a:gd name="T67" fmla="*/ 20 h 69"/>
                <a:gd name="T68" fmla="*/ 8 w 151"/>
                <a:gd name="T69" fmla="*/ 25 h 69"/>
                <a:gd name="T70" fmla="*/ 22 w 151"/>
                <a:gd name="T71" fmla="*/ 21 h 69"/>
                <a:gd name="T72" fmla="*/ 30 w 151"/>
                <a:gd name="T73" fmla="*/ 23 h 69"/>
                <a:gd name="T74" fmla="*/ 39 w 151"/>
                <a:gd name="T75" fmla="*/ 25 h 69"/>
                <a:gd name="T76" fmla="*/ 30 w 151"/>
                <a:gd name="T77" fmla="*/ 31 h 69"/>
                <a:gd name="T78" fmla="*/ 34 w 151"/>
                <a:gd name="T79" fmla="*/ 33 h 69"/>
                <a:gd name="T80" fmla="*/ 21 w 151"/>
                <a:gd name="T81" fmla="*/ 34 h 69"/>
                <a:gd name="T82" fmla="*/ 7 w 151"/>
                <a:gd name="T83" fmla="*/ 38 h 69"/>
                <a:gd name="T84" fmla="*/ 21 w 151"/>
                <a:gd name="T85" fmla="*/ 38 h 69"/>
                <a:gd name="T86" fmla="*/ 32 w 151"/>
                <a:gd name="T87" fmla="*/ 41 h 69"/>
                <a:gd name="T88" fmla="*/ 35 w 151"/>
                <a:gd name="T89" fmla="*/ 44 h 69"/>
                <a:gd name="T90" fmla="*/ 40 w 151"/>
                <a:gd name="T91" fmla="*/ 43 h 69"/>
                <a:gd name="T92" fmla="*/ 35 w 151"/>
                <a:gd name="T93" fmla="*/ 50 h 69"/>
                <a:gd name="T94" fmla="*/ 40 w 151"/>
                <a:gd name="T95" fmla="*/ 48 h 69"/>
                <a:gd name="T96" fmla="*/ 35 w 151"/>
                <a:gd name="T97" fmla="*/ 54 h 69"/>
                <a:gd name="T98" fmla="*/ 24 w 151"/>
                <a:gd name="T99" fmla="*/ 59 h 69"/>
                <a:gd name="T100" fmla="*/ 38 w 151"/>
                <a:gd name="T101" fmla="*/ 59 h 69"/>
                <a:gd name="T102" fmla="*/ 47 w 151"/>
                <a:gd name="T103" fmla="*/ 59 h 69"/>
                <a:gd name="T104" fmla="*/ 56 w 151"/>
                <a:gd name="T105" fmla="*/ 60 h 69"/>
                <a:gd name="T106" fmla="*/ 61 w 151"/>
                <a:gd name="T107" fmla="*/ 66 h 69"/>
                <a:gd name="T108" fmla="*/ 72 w 151"/>
                <a:gd name="T109" fmla="*/ 68 h 69"/>
                <a:gd name="T110" fmla="*/ 85 w 151"/>
                <a:gd name="T111" fmla="*/ 67 h 69"/>
                <a:gd name="T112" fmla="*/ 91 w 151"/>
                <a:gd name="T113" fmla="*/ 62 h 69"/>
                <a:gd name="T114" fmla="*/ 103 w 151"/>
                <a:gd name="T115" fmla="*/ 61 h 69"/>
                <a:gd name="T116" fmla="*/ 112 w 151"/>
                <a:gd name="T117" fmla="*/ 57 h 69"/>
                <a:gd name="T118" fmla="*/ 123 w 151"/>
                <a:gd name="T119" fmla="*/ 51 h 69"/>
                <a:gd name="T120" fmla="*/ 132 w 151"/>
                <a:gd name="T121" fmla="*/ 4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1" h="69">
                  <a:moveTo>
                    <a:pt x="137" y="46"/>
                  </a:moveTo>
                  <a:lnTo>
                    <a:pt x="137" y="46"/>
                  </a:lnTo>
                  <a:lnTo>
                    <a:pt x="136" y="43"/>
                  </a:lnTo>
                  <a:lnTo>
                    <a:pt x="140" y="41"/>
                  </a:lnTo>
                  <a:lnTo>
                    <a:pt x="142" y="41"/>
                  </a:lnTo>
                  <a:lnTo>
                    <a:pt x="145" y="38"/>
                  </a:lnTo>
                  <a:lnTo>
                    <a:pt x="146" y="38"/>
                  </a:lnTo>
                  <a:lnTo>
                    <a:pt x="144" y="36"/>
                  </a:lnTo>
                  <a:lnTo>
                    <a:pt x="148" y="35"/>
                  </a:lnTo>
                  <a:lnTo>
                    <a:pt x="144" y="34"/>
                  </a:lnTo>
                  <a:lnTo>
                    <a:pt x="142" y="34"/>
                  </a:lnTo>
                  <a:lnTo>
                    <a:pt x="145" y="33"/>
                  </a:lnTo>
                  <a:lnTo>
                    <a:pt x="148" y="34"/>
                  </a:lnTo>
                  <a:lnTo>
                    <a:pt x="150" y="33"/>
                  </a:lnTo>
                  <a:lnTo>
                    <a:pt x="151" y="31"/>
                  </a:lnTo>
                  <a:lnTo>
                    <a:pt x="148" y="29"/>
                  </a:lnTo>
                  <a:lnTo>
                    <a:pt x="145" y="29"/>
                  </a:lnTo>
                  <a:lnTo>
                    <a:pt x="144" y="31"/>
                  </a:lnTo>
                  <a:lnTo>
                    <a:pt x="144" y="29"/>
                  </a:lnTo>
                  <a:lnTo>
                    <a:pt x="148" y="29"/>
                  </a:lnTo>
                  <a:lnTo>
                    <a:pt x="150" y="28"/>
                  </a:lnTo>
                  <a:lnTo>
                    <a:pt x="149" y="27"/>
                  </a:lnTo>
                  <a:lnTo>
                    <a:pt x="145" y="27"/>
                  </a:lnTo>
                  <a:lnTo>
                    <a:pt x="149" y="26"/>
                  </a:lnTo>
                  <a:lnTo>
                    <a:pt x="149" y="23"/>
                  </a:lnTo>
                  <a:lnTo>
                    <a:pt x="146" y="23"/>
                  </a:lnTo>
                  <a:lnTo>
                    <a:pt x="144" y="20"/>
                  </a:lnTo>
                  <a:lnTo>
                    <a:pt x="141" y="20"/>
                  </a:lnTo>
                  <a:lnTo>
                    <a:pt x="138" y="20"/>
                  </a:lnTo>
                  <a:lnTo>
                    <a:pt x="136" y="24"/>
                  </a:lnTo>
                  <a:lnTo>
                    <a:pt x="138" y="20"/>
                  </a:lnTo>
                  <a:lnTo>
                    <a:pt x="140" y="19"/>
                  </a:lnTo>
                  <a:lnTo>
                    <a:pt x="137" y="17"/>
                  </a:lnTo>
                  <a:lnTo>
                    <a:pt x="133" y="18"/>
                  </a:lnTo>
                  <a:lnTo>
                    <a:pt x="133" y="16"/>
                  </a:lnTo>
                  <a:lnTo>
                    <a:pt x="135" y="14"/>
                  </a:lnTo>
                  <a:lnTo>
                    <a:pt x="133" y="10"/>
                  </a:lnTo>
                  <a:lnTo>
                    <a:pt x="131" y="11"/>
                  </a:lnTo>
                  <a:lnTo>
                    <a:pt x="131" y="8"/>
                  </a:lnTo>
                  <a:lnTo>
                    <a:pt x="131" y="8"/>
                  </a:lnTo>
                  <a:lnTo>
                    <a:pt x="131" y="6"/>
                  </a:lnTo>
                  <a:lnTo>
                    <a:pt x="134" y="3"/>
                  </a:lnTo>
                  <a:lnTo>
                    <a:pt x="131" y="3"/>
                  </a:lnTo>
                  <a:lnTo>
                    <a:pt x="128" y="6"/>
                  </a:lnTo>
                  <a:lnTo>
                    <a:pt x="126" y="6"/>
                  </a:lnTo>
                  <a:lnTo>
                    <a:pt x="125" y="9"/>
                  </a:lnTo>
                  <a:lnTo>
                    <a:pt x="123" y="7"/>
                  </a:lnTo>
                  <a:lnTo>
                    <a:pt x="119" y="6"/>
                  </a:lnTo>
                  <a:lnTo>
                    <a:pt x="119" y="2"/>
                  </a:lnTo>
                  <a:lnTo>
                    <a:pt x="117" y="0"/>
                  </a:lnTo>
                  <a:lnTo>
                    <a:pt x="114" y="0"/>
                  </a:lnTo>
                  <a:lnTo>
                    <a:pt x="111" y="0"/>
                  </a:lnTo>
                  <a:lnTo>
                    <a:pt x="109" y="1"/>
                  </a:lnTo>
                  <a:lnTo>
                    <a:pt x="109" y="3"/>
                  </a:lnTo>
                  <a:lnTo>
                    <a:pt x="110" y="6"/>
                  </a:lnTo>
                  <a:lnTo>
                    <a:pt x="110" y="7"/>
                  </a:lnTo>
                  <a:lnTo>
                    <a:pt x="109" y="10"/>
                  </a:lnTo>
                  <a:lnTo>
                    <a:pt x="106" y="9"/>
                  </a:lnTo>
                  <a:lnTo>
                    <a:pt x="103" y="7"/>
                  </a:lnTo>
                  <a:lnTo>
                    <a:pt x="102" y="7"/>
                  </a:lnTo>
                  <a:lnTo>
                    <a:pt x="100" y="8"/>
                  </a:lnTo>
                  <a:lnTo>
                    <a:pt x="98" y="11"/>
                  </a:lnTo>
                  <a:lnTo>
                    <a:pt x="95" y="14"/>
                  </a:lnTo>
                  <a:lnTo>
                    <a:pt x="93" y="11"/>
                  </a:lnTo>
                  <a:lnTo>
                    <a:pt x="91" y="9"/>
                  </a:lnTo>
                  <a:lnTo>
                    <a:pt x="90" y="8"/>
                  </a:lnTo>
                  <a:lnTo>
                    <a:pt x="88" y="8"/>
                  </a:lnTo>
                  <a:lnTo>
                    <a:pt x="85" y="8"/>
                  </a:lnTo>
                  <a:lnTo>
                    <a:pt x="85" y="11"/>
                  </a:lnTo>
                  <a:lnTo>
                    <a:pt x="88" y="14"/>
                  </a:lnTo>
                  <a:lnTo>
                    <a:pt x="89" y="16"/>
                  </a:lnTo>
                  <a:lnTo>
                    <a:pt x="89" y="20"/>
                  </a:lnTo>
                  <a:lnTo>
                    <a:pt x="88" y="18"/>
                  </a:lnTo>
                  <a:lnTo>
                    <a:pt x="86" y="16"/>
                  </a:lnTo>
                  <a:lnTo>
                    <a:pt x="84" y="14"/>
                  </a:lnTo>
                  <a:lnTo>
                    <a:pt x="82" y="11"/>
                  </a:lnTo>
                  <a:lnTo>
                    <a:pt x="80" y="8"/>
                  </a:lnTo>
                  <a:lnTo>
                    <a:pt x="76" y="8"/>
                  </a:lnTo>
                  <a:lnTo>
                    <a:pt x="74" y="8"/>
                  </a:lnTo>
                  <a:lnTo>
                    <a:pt x="74" y="10"/>
                  </a:lnTo>
                  <a:lnTo>
                    <a:pt x="72" y="10"/>
                  </a:lnTo>
                  <a:lnTo>
                    <a:pt x="68" y="12"/>
                  </a:lnTo>
                  <a:lnTo>
                    <a:pt x="69" y="16"/>
                  </a:lnTo>
                  <a:lnTo>
                    <a:pt x="69" y="18"/>
                  </a:lnTo>
                  <a:lnTo>
                    <a:pt x="69" y="18"/>
                  </a:lnTo>
                  <a:lnTo>
                    <a:pt x="68" y="18"/>
                  </a:lnTo>
                  <a:lnTo>
                    <a:pt x="66" y="16"/>
                  </a:lnTo>
                  <a:lnTo>
                    <a:pt x="64" y="14"/>
                  </a:lnTo>
                  <a:lnTo>
                    <a:pt x="61" y="11"/>
                  </a:lnTo>
                  <a:lnTo>
                    <a:pt x="60" y="9"/>
                  </a:lnTo>
                  <a:lnTo>
                    <a:pt x="59" y="9"/>
                  </a:lnTo>
                  <a:lnTo>
                    <a:pt x="56" y="11"/>
                  </a:lnTo>
                  <a:lnTo>
                    <a:pt x="57" y="15"/>
                  </a:lnTo>
                  <a:lnTo>
                    <a:pt x="58" y="17"/>
                  </a:lnTo>
                  <a:lnTo>
                    <a:pt x="58" y="19"/>
                  </a:lnTo>
                  <a:lnTo>
                    <a:pt x="57" y="20"/>
                  </a:lnTo>
                  <a:lnTo>
                    <a:pt x="56" y="23"/>
                  </a:lnTo>
                  <a:lnTo>
                    <a:pt x="56" y="24"/>
                  </a:lnTo>
                  <a:lnTo>
                    <a:pt x="55" y="23"/>
                  </a:lnTo>
                  <a:lnTo>
                    <a:pt x="54" y="21"/>
                  </a:lnTo>
                  <a:lnTo>
                    <a:pt x="51" y="20"/>
                  </a:lnTo>
                  <a:lnTo>
                    <a:pt x="48" y="23"/>
                  </a:lnTo>
                  <a:lnTo>
                    <a:pt x="47" y="25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46" y="28"/>
                  </a:lnTo>
                  <a:lnTo>
                    <a:pt x="46" y="25"/>
                  </a:lnTo>
                  <a:lnTo>
                    <a:pt x="43" y="23"/>
                  </a:lnTo>
                  <a:lnTo>
                    <a:pt x="42" y="20"/>
                  </a:lnTo>
                  <a:lnTo>
                    <a:pt x="39" y="20"/>
                  </a:lnTo>
                  <a:lnTo>
                    <a:pt x="38" y="17"/>
                  </a:lnTo>
                  <a:lnTo>
                    <a:pt x="40" y="19"/>
                  </a:lnTo>
                  <a:lnTo>
                    <a:pt x="43" y="18"/>
                  </a:lnTo>
                  <a:lnTo>
                    <a:pt x="44" y="16"/>
                  </a:lnTo>
                  <a:lnTo>
                    <a:pt x="43" y="12"/>
                  </a:lnTo>
                  <a:lnTo>
                    <a:pt x="41" y="12"/>
                  </a:lnTo>
                  <a:lnTo>
                    <a:pt x="43" y="11"/>
                  </a:lnTo>
                  <a:lnTo>
                    <a:pt x="41" y="10"/>
                  </a:lnTo>
                  <a:lnTo>
                    <a:pt x="39" y="10"/>
                  </a:lnTo>
                  <a:lnTo>
                    <a:pt x="38" y="8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1" y="6"/>
                  </a:lnTo>
                  <a:lnTo>
                    <a:pt x="30" y="3"/>
                  </a:lnTo>
                  <a:lnTo>
                    <a:pt x="27" y="1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18" y="2"/>
                  </a:lnTo>
                  <a:lnTo>
                    <a:pt x="20" y="4"/>
                  </a:lnTo>
                  <a:lnTo>
                    <a:pt x="23" y="3"/>
                  </a:lnTo>
                  <a:lnTo>
                    <a:pt x="25" y="6"/>
                  </a:lnTo>
                  <a:lnTo>
                    <a:pt x="29" y="6"/>
                  </a:lnTo>
                  <a:lnTo>
                    <a:pt x="25" y="7"/>
                  </a:lnTo>
                  <a:lnTo>
                    <a:pt x="23" y="8"/>
                  </a:lnTo>
                  <a:lnTo>
                    <a:pt x="25" y="9"/>
                  </a:lnTo>
                  <a:lnTo>
                    <a:pt x="27" y="10"/>
                  </a:lnTo>
                  <a:lnTo>
                    <a:pt x="26" y="14"/>
                  </a:lnTo>
                  <a:lnTo>
                    <a:pt x="25" y="16"/>
                  </a:lnTo>
                  <a:lnTo>
                    <a:pt x="26" y="15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1" y="11"/>
                  </a:lnTo>
                  <a:lnTo>
                    <a:pt x="18" y="9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3" y="9"/>
                  </a:lnTo>
                  <a:lnTo>
                    <a:pt x="15" y="10"/>
                  </a:lnTo>
                  <a:lnTo>
                    <a:pt x="13" y="10"/>
                  </a:lnTo>
                  <a:lnTo>
                    <a:pt x="15" y="12"/>
                  </a:lnTo>
                  <a:lnTo>
                    <a:pt x="13" y="11"/>
                  </a:lnTo>
                  <a:lnTo>
                    <a:pt x="9" y="10"/>
                  </a:lnTo>
                  <a:lnTo>
                    <a:pt x="12" y="14"/>
                  </a:lnTo>
                  <a:lnTo>
                    <a:pt x="14" y="15"/>
                  </a:lnTo>
                  <a:lnTo>
                    <a:pt x="17" y="16"/>
                  </a:lnTo>
                  <a:lnTo>
                    <a:pt x="14" y="15"/>
                  </a:lnTo>
                  <a:lnTo>
                    <a:pt x="12" y="14"/>
                  </a:lnTo>
                  <a:lnTo>
                    <a:pt x="8" y="15"/>
                  </a:lnTo>
                  <a:lnTo>
                    <a:pt x="10" y="17"/>
                  </a:lnTo>
                  <a:lnTo>
                    <a:pt x="13" y="17"/>
                  </a:lnTo>
                  <a:lnTo>
                    <a:pt x="16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6" y="19"/>
                  </a:lnTo>
                  <a:lnTo>
                    <a:pt x="13" y="20"/>
                  </a:lnTo>
                  <a:lnTo>
                    <a:pt x="10" y="18"/>
                  </a:lnTo>
                  <a:lnTo>
                    <a:pt x="8" y="17"/>
                  </a:lnTo>
                  <a:lnTo>
                    <a:pt x="5" y="17"/>
                  </a:lnTo>
                  <a:lnTo>
                    <a:pt x="7" y="19"/>
                  </a:lnTo>
                  <a:lnTo>
                    <a:pt x="7" y="21"/>
                  </a:lnTo>
                  <a:lnTo>
                    <a:pt x="5" y="20"/>
                  </a:lnTo>
                  <a:lnTo>
                    <a:pt x="1" y="20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6" y="24"/>
                  </a:lnTo>
                  <a:lnTo>
                    <a:pt x="8" y="25"/>
                  </a:lnTo>
                  <a:lnTo>
                    <a:pt x="10" y="25"/>
                  </a:lnTo>
                  <a:lnTo>
                    <a:pt x="13" y="24"/>
                  </a:lnTo>
                  <a:lnTo>
                    <a:pt x="16" y="24"/>
                  </a:lnTo>
                  <a:lnTo>
                    <a:pt x="18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4" y="23"/>
                  </a:lnTo>
                  <a:lnTo>
                    <a:pt x="24" y="20"/>
                  </a:lnTo>
                  <a:lnTo>
                    <a:pt x="26" y="20"/>
                  </a:lnTo>
                  <a:lnTo>
                    <a:pt x="30" y="23"/>
                  </a:lnTo>
                  <a:lnTo>
                    <a:pt x="32" y="21"/>
                  </a:lnTo>
                  <a:lnTo>
                    <a:pt x="30" y="25"/>
                  </a:lnTo>
                  <a:lnTo>
                    <a:pt x="33" y="23"/>
                  </a:lnTo>
                  <a:lnTo>
                    <a:pt x="35" y="25"/>
                  </a:lnTo>
                  <a:lnTo>
                    <a:pt x="39" y="25"/>
                  </a:lnTo>
                  <a:lnTo>
                    <a:pt x="38" y="25"/>
                  </a:lnTo>
                  <a:lnTo>
                    <a:pt x="34" y="25"/>
                  </a:lnTo>
                  <a:lnTo>
                    <a:pt x="32" y="27"/>
                  </a:lnTo>
                  <a:lnTo>
                    <a:pt x="30" y="28"/>
                  </a:lnTo>
                  <a:lnTo>
                    <a:pt x="30" y="31"/>
                  </a:lnTo>
                  <a:lnTo>
                    <a:pt x="32" y="32"/>
                  </a:lnTo>
                  <a:lnTo>
                    <a:pt x="34" y="32"/>
                  </a:lnTo>
                  <a:lnTo>
                    <a:pt x="38" y="32"/>
                  </a:lnTo>
                  <a:lnTo>
                    <a:pt x="34" y="34"/>
                  </a:lnTo>
                  <a:lnTo>
                    <a:pt x="34" y="33"/>
                  </a:lnTo>
                  <a:lnTo>
                    <a:pt x="31" y="33"/>
                  </a:lnTo>
                  <a:lnTo>
                    <a:pt x="29" y="33"/>
                  </a:lnTo>
                  <a:lnTo>
                    <a:pt x="26" y="34"/>
                  </a:lnTo>
                  <a:lnTo>
                    <a:pt x="23" y="34"/>
                  </a:lnTo>
                  <a:lnTo>
                    <a:pt x="21" y="34"/>
                  </a:lnTo>
                  <a:lnTo>
                    <a:pt x="17" y="34"/>
                  </a:lnTo>
                  <a:lnTo>
                    <a:pt x="15" y="35"/>
                  </a:lnTo>
                  <a:lnTo>
                    <a:pt x="13" y="36"/>
                  </a:lnTo>
                  <a:lnTo>
                    <a:pt x="9" y="36"/>
                  </a:lnTo>
                  <a:lnTo>
                    <a:pt x="7" y="38"/>
                  </a:lnTo>
                  <a:lnTo>
                    <a:pt x="9" y="41"/>
                  </a:lnTo>
                  <a:lnTo>
                    <a:pt x="13" y="38"/>
                  </a:lnTo>
                  <a:lnTo>
                    <a:pt x="15" y="38"/>
                  </a:lnTo>
                  <a:lnTo>
                    <a:pt x="17" y="38"/>
                  </a:lnTo>
                  <a:lnTo>
                    <a:pt x="21" y="38"/>
                  </a:lnTo>
                  <a:lnTo>
                    <a:pt x="23" y="38"/>
                  </a:lnTo>
                  <a:lnTo>
                    <a:pt x="26" y="40"/>
                  </a:lnTo>
                  <a:lnTo>
                    <a:pt x="29" y="38"/>
                  </a:lnTo>
                  <a:lnTo>
                    <a:pt x="30" y="42"/>
                  </a:lnTo>
                  <a:lnTo>
                    <a:pt x="32" y="41"/>
                  </a:lnTo>
                  <a:lnTo>
                    <a:pt x="30" y="41"/>
                  </a:lnTo>
                  <a:lnTo>
                    <a:pt x="30" y="44"/>
                  </a:lnTo>
                  <a:lnTo>
                    <a:pt x="32" y="46"/>
                  </a:lnTo>
                  <a:lnTo>
                    <a:pt x="33" y="46"/>
                  </a:lnTo>
                  <a:lnTo>
                    <a:pt x="35" y="44"/>
                  </a:lnTo>
                  <a:lnTo>
                    <a:pt x="38" y="43"/>
                  </a:lnTo>
                  <a:lnTo>
                    <a:pt x="40" y="42"/>
                  </a:lnTo>
                  <a:lnTo>
                    <a:pt x="41" y="42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5" y="45"/>
                  </a:lnTo>
                  <a:lnTo>
                    <a:pt x="34" y="46"/>
                  </a:lnTo>
                  <a:lnTo>
                    <a:pt x="35" y="50"/>
                  </a:lnTo>
                  <a:lnTo>
                    <a:pt x="38" y="48"/>
                  </a:lnTo>
                  <a:lnTo>
                    <a:pt x="40" y="48"/>
                  </a:lnTo>
                  <a:lnTo>
                    <a:pt x="43" y="48"/>
                  </a:lnTo>
                  <a:lnTo>
                    <a:pt x="42" y="49"/>
                  </a:lnTo>
                  <a:lnTo>
                    <a:pt x="40" y="48"/>
                  </a:lnTo>
                  <a:lnTo>
                    <a:pt x="37" y="50"/>
                  </a:lnTo>
                  <a:lnTo>
                    <a:pt x="38" y="52"/>
                  </a:lnTo>
                  <a:lnTo>
                    <a:pt x="37" y="53"/>
                  </a:lnTo>
                  <a:lnTo>
                    <a:pt x="34" y="53"/>
                  </a:lnTo>
                  <a:lnTo>
                    <a:pt x="35" y="54"/>
                  </a:lnTo>
                  <a:lnTo>
                    <a:pt x="33" y="55"/>
                  </a:lnTo>
                  <a:lnTo>
                    <a:pt x="30" y="55"/>
                  </a:lnTo>
                  <a:lnTo>
                    <a:pt x="27" y="57"/>
                  </a:lnTo>
                  <a:lnTo>
                    <a:pt x="25" y="55"/>
                  </a:lnTo>
                  <a:lnTo>
                    <a:pt x="24" y="59"/>
                  </a:lnTo>
                  <a:lnTo>
                    <a:pt x="27" y="60"/>
                  </a:lnTo>
                  <a:lnTo>
                    <a:pt x="30" y="59"/>
                  </a:lnTo>
                  <a:lnTo>
                    <a:pt x="32" y="60"/>
                  </a:lnTo>
                  <a:lnTo>
                    <a:pt x="35" y="60"/>
                  </a:lnTo>
                  <a:lnTo>
                    <a:pt x="38" y="59"/>
                  </a:lnTo>
                  <a:lnTo>
                    <a:pt x="40" y="60"/>
                  </a:lnTo>
                  <a:lnTo>
                    <a:pt x="43" y="60"/>
                  </a:lnTo>
                  <a:lnTo>
                    <a:pt x="44" y="58"/>
                  </a:lnTo>
                  <a:lnTo>
                    <a:pt x="48" y="58"/>
                  </a:lnTo>
                  <a:lnTo>
                    <a:pt x="47" y="59"/>
                  </a:lnTo>
                  <a:lnTo>
                    <a:pt x="49" y="60"/>
                  </a:lnTo>
                  <a:lnTo>
                    <a:pt x="52" y="59"/>
                  </a:lnTo>
                  <a:lnTo>
                    <a:pt x="51" y="61"/>
                  </a:lnTo>
                  <a:lnTo>
                    <a:pt x="54" y="62"/>
                  </a:lnTo>
                  <a:lnTo>
                    <a:pt x="56" y="60"/>
                  </a:lnTo>
                  <a:lnTo>
                    <a:pt x="57" y="62"/>
                  </a:lnTo>
                  <a:lnTo>
                    <a:pt x="56" y="63"/>
                  </a:lnTo>
                  <a:lnTo>
                    <a:pt x="58" y="66"/>
                  </a:lnTo>
                  <a:lnTo>
                    <a:pt x="60" y="66"/>
                  </a:lnTo>
                  <a:lnTo>
                    <a:pt x="61" y="66"/>
                  </a:lnTo>
                  <a:lnTo>
                    <a:pt x="61" y="67"/>
                  </a:lnTo>
                  <a:lnTo>
                    <a:pt x="65" y="67"/>
                  </a:lnTo>
                  <a:lnTo>
                    <a:pt x="67" y="67"/>
                  </a:lnTo>
                  <a:lnTo>
                    <a:pt x="69" y="68"/>
                  </a:lnTo>
                  <a:lnTo>
                    <a:pt x="72" y="68"/>
                  </a:lnTo>
                  <a:lnTo>
                    <a:pt x="74" y="69"/>
                  </a:lnTo>
                  <a:lnTo>
                    <a:pt x="77" y="69"/>
                  </a:lnTo>
                  <a:lnTo>
                    <a:pt x="80" y="69"/>
                  </a:lnTo>
                  <a:lnTo>
                    <a:pt x="82" y="69"/>
                  </a:lnTo>
                  <a:lnTo>
                    <a:pt x="85" y="67"/>
                  </a:lnTo>
                  <a:lnTo>
                    <a:pt x="85" y="67"/>
                  </a:lnTo>
                  <a:lnTo>
                    <a:pt x="89" y="67"/>
                  </a:lnTo>
                  <a:lnTo>
                    <a:pt x="91" y="64"/>
                  </a:lnTo>
                  <a:lnTo>
                    <a:pt x="90" y="64"/>
                  </a:lnTo>
                  <a:lnTo>
                    <a:pt x="91" y="62"/>
                  </a:lnTo>
                  <a:lnTo>
                    <a:pt x="93" y="62"/>
                  </a:lnTo>
                  <a:lnTo>
                    <a:pt x="97" y="61"/>
                  </a:lnTo>
                  <a:lnTo>
                    <a:pt x="99" y="61"/>
                  </a:lnTo>
                  <a:lnTo>
                    <a:pt x="100" y="61"/>
                  </a:lnTo>
                  <a:lnTo>
                    <a:pt x="103" y="61"/>
                  </a:lnTo>
                  <a:lnTo>
                    <a:pt x="103" y="58"/>
                  </a:lnTo>
                  <a:lnTo>
                    <a:pt x="105" y="61"/>
                  </a:lnTo>
                  <a:lnTo>
                    <a:pt x="107" y="59"/>
                  </a:lnTo>
                  <a:lnTo>
                    <a:pt x="109" y="59"/>
                  </a:lnTo>
                  <a:lnTo>
                    <a:pt x="112" y="57"/>
                  </a:lnTo>
                  <a:lnTo>
                    <a:pt x="112" y="57"/>
                  </a:lnTo>
                  <a:lnTo>
                    <a:pt x="115" y="55"/>
                  </a:lnTo>
                  <a:lnTo>
                    <a:pt x="117" y="53"/>
                  </a:lnTo>
                  <a:lnTo>
                    <a:pt x="120" y="52"/>
                  </a:lnTo>
                  <a:lnTo>
                    <a:pt x="123" y="51"/>
                  </a:lnTo>
                  <a:lnTo>
                    <a:pt x="125" y="49"/>
                  </a:lnTo>
                  <a:lnTo>
                    <a:pt x="125" y="49"/>
                  </a:lnTo>
                  <a:lnTo>
                    <a:pt x="126" y="50"/>
                  </a:lnTo>
                  <a:lnTo>
                    <a:pt x="129" y="50"/>
                  </a:lnTo>
                  <a:lnTo>
                    <a:pt x="132" y="49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7" y="46"/>
                  </a:lnTo>
                  <a:lnTo>
                    <a:pt x="137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1" name="Freeform 231">
              <a:extLst>
                <a:ext uri="{FF2B5EF4-FFF2-40B4-BE49-F238E27FC236}">
                  <a16:creationId xmlns:a16="http://schemas.microsoft.com/office/drawing/2014/main" id="{E48F5449-4FEB-4FC2-9677-95DFBC1BA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9138" y="2473325"/>
              <a:ext cx="398462" cy="195263"/>
            </a:xfrm>
            <a:custGeom>
              <a:avLst/>
              <a:gdLst>
                <a:gd name="T0" fmla="*/ 238 w 251"/>
                <a:gd name="T1" fmla="*/ 93 h 123"/>
                <a:gd name="T2" fmla="*/ 226 w 251"/>
                <a:gd name="T3" fmla="*/ 97 h 123"/>
                <a:gd name="T4" fmla="*/ 220 w 251"/>
                <a:gd name="T5" fmla="*/ 103 h 123"/>
                <a:gd name="T6" fmla="*/ 235 w 251"/>
                <a:gd name="T7" fmla="*/ 99 h 123"/>
                <a:gd name="T8" fmla="*/ 233 w 251"/>
                <a:gd name="T9" fmla="*/ 111 h 123"/>
                <a:gd name="T10" fmla="*/ 211 w 251"/>
                <a:gd name="T11" fmla="*/ 114 h 123"/>
                <a:gd name="T12" fmla="*/ 191 w 251"/>
                <a:gd name="T13" fmla="*/ 110 h 123"/>
                <a:gd name="T14" fmla="*/ 177 w 251"/>
                <a:gd name="T15" fmla="*/ 107 h 123"/>
                <a:gd name="T16" fmla="*/ 167 w 251"/>
                <a:gd name="T17" fmla="*/ 106 h 123"/>
                <a:gd name="T18" fmla="*/ 148 w 251"/>
                <a:gd name="T19" fmla="*/ 111 h 123"/>
                <a:gd name="T20" fmla="*/ 128 w 251"/>
                <a:gd name="T21" fmla="*/ 118 h 123"/>
                <a:gd name="T22" fmla="*/ 109 w 251"/>
                <a:gd name="T23" fmla="*/ 120 h 123"/>
                <a:gd name="T24" fmla="*/ 90 w 251"/>
                <a:gd name="T25" fmla="*/ 122 h 123"/>
                <a:gd name="T26" fmla="*/ 76 w 251"/>
                <a:gd name="T27" fmla="*/ 110 h 123"/>
                <a:gd name="T28" fmla="*/ 63 w 251"/>
                <a:gd name="T29" fmla="*/ 103 h 123"/>
                <a:gd name="T30" fmla="*/ 43 w 251"/>
                <a:gd name="T31" fmla="*/ 102 h 123"/>
                <a:gd name="T32" fmla="*/ 25 w 251"/>
                <a:gd name="T33" fmla="*/ 91 h 123"/>
                <a:gd name="T34" fmla="*/ 38 w 251"/>
                <a:gd name="T35" fmla="*/ 81 h 123"/>
                <a:gd name="T36" fmla="*/ 58 w 251"/>
                <a:gd name="T37" fmla="*/ 78 h 123"/>
                <a:gd name="T38" fmla="*/ 77 w 251"/>
                <a:gd name="T39" fmla="*/ 78 h 123"/>
                <a:gd name="T40" fmla="*/ 97 w 251"/>
                <a:gd name="T41" fmla="*/ 78 h 123"/>
                <a:gd name="T42" fmla="*/ 96 w 251"/>
                <a:gd name="T43" fmla="*/ 73 h 123"/>
                <a:gd name="T44" fmla="*/ 76 w 251"/>
                <a:gd name="T45" fmla="*/ 69 h 123"/>
                <a:gd name="T46" fmla="*/ 56 w 251"/>
                <a:gd name="T47" fmla="*/ 71 h 123"/>
                <a:gd name="T48" fmla="*/ 34 w 251"/>
                <a:gd name="T49" fmla="*/ 71 h 123"/>
                <a:gd name="T50" fmla="*/ 16 w 251"/>
                <a:gd name="T51" fmla="*/ 66 h 123"/>
                <a:gd name="T52" fmla="*/ 23 w 251"/>
                <a:gd name="T53" fmla="*/ 56 h 123"/>
                <a:gd name="T54" fmla="*/ 45 w 251"/>
                <a:gd name="T55" fmla="*/ 51 h 123"/>
                <a:gd name="T56" fmla="*/ 53 w 251"/>
                <a:gd name="T57" fmla="*/ 49 h 123"/>
                <a:gd name="T58" fmla="*/ 33 w 251"/>
                <a:gd name="T59" fmla="*/ 49 h 123"/>
                <a:gd name="T60" fmla="*/ 14 w 251"/>
                <a:gd name="T61" fmla="*/ 51 h 123"/>
                <a:gd name="T62" fmla="*/ 12 w 251"/>
                <a:gd name="T63" fmla="*/ 46 h 123"/>
                <a:gd name="T64" fmla="*/ 4 w 251"/>
                <a:gd name="T65" fmla="*/ 35 h 123"/>
                <a:gd name="T66" fmla="*/ 7 w 251"/>
                <a:gd name="T67" fmla="*/ 24 h 123"/>
                <a:gd name="T68" fmla="*/ 26 w 251"/>
                <a:gd name="T69" fmla="*/ 12 h 123"/>
                <a:gd name="T70" fmla="*/ 46 w 251"/>
                <a:gd name="T71" fmla="*/ 5 h 123"/>
                <a:gd name="T72" fmla="*/ 64 w 251"/>
                <a:gd name="T73" fmla="*/ 0 h 123"/>
                <a:gd name="T74" fmla="*/ 68 w 251"/>
                <a:gd name="T75" fmla="*/ 15 h 123"/>
                <a:gd name="T76" fmla="*/ 71 w 251"/>
                <a:gd name="T77" fmla="*/ 18 h 123"/>
                <a:gd name="T78" fmla="*/ 83 w 251"/>
                <a:gd name="T79" fmla="*/ 9 h 123"/>
                <a:gd name="T80" fmla="*/ 104 w 251"/>
                <a:gd name="T81" fmla="*/ 15 h 123"/>
                <a:gd name="T82" fmla="*/ 100 w 251"/>
                <a:gd name="T83" fmla="*/ 28 h 123"/>
                <a:gd name="T84" fmla="*/ 111 w 251"/>
                <a:gd name="T85" fmla="*/ 23 h 123"/>
                <a:gd name="T86" fmla="*/ 125 w 251"/>
                <a:gd name="T87" fmla="*/ 23 h 123"/>
                <a:gd name="T88" fmla="*/ 125 w 251"/>
                <a:gd name="T89" fmla="*/ 17 h 123"/>
                <a:gd name="T90" fmla="*/ 116 w 251"/>
                <a:gd name="T91" fmla="*/ 12 h 123"/>
                <a:gd name="T92" fmla="*/ 131 w 251"/>
                <a:gd name="T93" fmla="*/ 14 h 123"/>
                <a:gd name="T94" fmla="*/ 144 w 251"/>
                <a:gd name="T95" fmla="*/ 22 h 123"/>
                <a:gd name="T96" fmla="*/ 149 w 251"/>
                <a:gd name="T97" fmla="*/ 40 h 123"/>
                <a:gd name="T98" fmla="*/ 162 w 251"/>
                <a:gd name="T99" fmla="*/ 40 h 123"/>
                <a:gd name="T100" fmla="*/ 154 w 251"/>
                <a:gd name="T101" fmla="*/ 23 h 123"/>
                <a:gd name="T102" fmla="*/ 149 w 251"/>
                <a:gd name="T103" fmla="*/ 6 h 123"/>
                <a:gd name="T104" fmla="*/ 160 w 251"/>
                <a:gd name="T105" fmla="*/ 3 h 123"/>
                <a:gd name="T106" fmla="*/ 177 w 251"/>
                <a:gd name="T107" fmla="*/ 7 h 123"/>
                <a:gd name="T108" fmla="*/ 191 w 251"/>
                <a:gd name="T109" fmla="*/ 23 h 123"/>
                <a:gd name="T110" fmla="*/ 199 w 251"/>
                <a:gd name="T111" fmla="*/ 41 h 123"/>
                <a:gd name="T112" fmla="*/ 199 w 251"/>
                <a:gd name="T113" fmla="*/ 58 h 123"/>
                <a:gd name="T114" fmla="*/ 217 w 251"/>
                <a:gd name="T115" fmla="*/ 71 h 123"/>
                <a:gd name="T116" fmla="*/ 227 w 251"/>
                <a:gd name="T117" fmla="*/ 74 h 123"/>
                <a:gd name="T118" fmla="*/ 243 w 251"/>
                <a:gd name="T119" fmla="*/ 82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1" h="123">
                  <a:moveTo>
                    <a:pt x="250" y="85"/>
                  </a:moveTo>
                  <a:lnTo>
                    <a:pt x="250" y="89"/>
                  </a:lnTo>
                  <a:lnTo>
                    <a:pt x="251" y="91"/>
                  </a:lnTo>
                  <a:lnTo>
                    <a:pt x="250" y="93"/>
                  </a:lnTo>
                  <a:lnTo>
                    <a:pt x="244" y="93"/>
                  </a:lnTo>
                  <a:lnTo>
                    <a:pt x="242" y="91"/>
                  </a:lnTo>
                  <a:lnTo>
                    <a:pt x="238" y="93"/>
                  </a:lnTo>
                  <a:lnTo>
                    <a:pt x="236" y="92"/>
                  </a:lnTo>
                  <a:lnTo>
                    <a:pt x="234" y="90"/>
                  </a:lnTo>
                  <a:lnTo>
                    <a:pt x="232" y="90"/>
                  </a:lnTo>
                  <a:lnTo>
                    <a:pt x="228" y="91"/>
                  </a:lnTo>
                  <a:lnTo>
                    <a:pt x="226" y="91"/>
                  </a:lnTo>
                  <a:lnTo>
                    <a:pt x="228" y="94"/>
                  </a:lnTo>
                  <a:lnTo>
                    <a:pt x="226" y="97"/>
                  </a:lnTo>
                  <a:lnTo>
                    <a:pt x="224" y="97"/>
                  </a:lnTo>
                  <a:lnTo>
                    <a:pt x="220" y="95"/>
                  </a:lnTo>
                  <a:lnTo>
                    <a:pt x="218" y="94"/>
                  </a:lnTo>
                  <a:lnTo>
                    <a:pt x="216" y="95"/>
                  </a:lnTo>
                  <a:lnTo>
                    <a:pt x="220" y="98"/>
                  </a:lnTo>
                  <a:lnTo>
                    <a:pt x="221" y="100"/>
                  </a:lnTo>
                  <a:lnTo>
                    <a:pt x="220" y="103"/>
                  </a:lnTo>
                  <a:lnTo>
                    <a:pt x="220" y="106"/>
                  </a:lnTo>
                  <a:lnTo>
                    <a:pt x="221" y="103"/>
                  </a:lnTo>
                  <a:lnTo>
                    <a:pt x="225" y="101"/>
                  </a:lnTo>
                  <a:lnTo>
                    <a:pt x="227" y="100"/>
                  </a:lnTo>
                  <a:lnTo>
                    <a:pt x="229" y="99"/>
                  </a:lnTo>
                  <a:lnTo>
                    <a:pt x="233" y="98"/>
                  </a:lnTo>
                  <a:lnTo>
                    <a:pt x="235" y="99"/>
                  </a:lnTo>
                  <a:lnTo>
                    <a:pt x="234" y="102"/>
                  </a:lnTo>
                  <a:lnTo>
                    <a:pt x="233" y="105"/>
                  </a:lnTo>
                  <a:lnTo>
                    <a:pt x="235" y="103"/>
                  </a:lnTo>
                  <a:lnTo>
                    <a:pt x="238" y="106"/>
                  </a:lnTo>
                  <a:lnTo>
                    <a:pt x="237" y="108"/>
                  </a:lnTo>
                  <a:lnTo>
                    <a:pt x="235" y="110"/>
                  </a:lnTo>
                  <a:lnTo>
                    <a:pt x="233" y="111"/>
                  </a:lnTo>
                  <a:lnTo>
                    <a:pt x="229" y="111"/>
                  </a:lnTo>
                  <a:lnTo>
                    <a:pt x="227" y="114"/>
                  </a:lnTo>
                  <a:lnTo>
                    <a:pt x="221" y="115"/>
                  </a:lnTo>
                  <a:lnTo>
                    <a:pt x="219" y="114"/>
                  </a:lnTo>
                  <a:lnTo>
                    <a:pt x="216" y="115"/>
                  </a:lnTo>
                  <a:lnTo>
                    <a:pt x="213" y="114"/>
                  </a:lnTo>
                  <a:lnTo>
                    <a:pt x="211" y="114"/>
                  </a:lnTo>
                  <a:lnTo>
                    <a:pt x="208" y="114"/>
                  </a:lnTo>
                  <a:lnTo>
                    <a:pt x="205" y="112"/>
                  </a:lnTo>
                  <a:lnTo>
                    <a:pt x="202" y="111"/>
                  </a:lnTo>
                  <a:lnTo>
                    <a:pt x="200" y="114"/>
                  </a:lnTo>
                  <a:lnTo>
                    <a:pt x="196" y="114"/>
                  </a:lnTo>
                  <a:lnTo>
                    <a:pt x="194" y="112"/>
                  </a:lnTo>
                  <a:lnTo>
                    <a:pt x="191" y="110"/>
                  </a:lnTo>
                  <a:lnTo>
                    <a:pt x="194" y="108"/>
                  </a:lnTo>
                  <a:lnTo>
                    <a:pt x="191" y="108"/>
                  </a:lnTo>
                  <a:lnTo>
                    <a:pt x="188" y="108"/>
                  </a:lnTo>
                  <a:lnTo>
                    <a:pt x="186" y="106"/>
                  </a:lnTo>
                  <a:lnTo>
                    <a:pt x="183" y="106"/>
                  </a:lnTo>
                  <a:lnTo>
                    <a:pt x="181" y="106"/>
                  </a:lnTo>
                  <a:lnTo>
                    <a:pt x="177" y="107"/>
                  </a:lnTo>
                  <a:lnTo>
                    <a:pt x="175" y="105"/>
                  </a:lnTo>
                  <a:lnTo>
                    <a:pt x="176" y="102"/>
                  </a:lnTo>
                  <a:lnTo>
                    <a:pt x="174" y="99"/>
                  </a:lnTo>
                  <a:lnTo>
                    <a:pt x="171" y="98"/>
                  </a:lnTo>
                  <a:lnTo>
                    <a:pt x="169" y="101"/>
                  </a:lnTo>
                  <a:lnTo>
                    <a:pt x="167" y="102"/>
                  </a:lnTo>
                  <a:lnTo>
                    <a:pt x="167" y="106"/>
                  </a:lnTo>
                  <a:lnTo>
                    <a:pt x="164" y="107"/>
                  </a:lnTo>
                  <a:lnTo>
                    <a:pt x="161" y="109"/>
                  </a:lnTo>
                  <a:lnTo>
                    <a:pt x="159" y="110"/>
                  </a:lnTo>
                  <a:lnTo>
                    <a:pt x="156" y="110"/>
                  </a:lnTo>
                  <a:lnTo>
                    <a:pt x="153" y="111"/>
                  </a:lnTo>
                  <a:lnTo>
                    <a:pt x="150" y="111"/>
                  </a:lnTo>
                  <a:lnTo>
                    <a:pt x="148" y="111"/>
                  </a:lnTo>
                  <a:lnTo>
                    <a:pt x="144" y="114"/>
                  </a:lnTo>
                  <a:lnTo>
                    <a:pt x="142" y="115"/>
                  </a:lnTo>
                  <a:lnTo>
                    <a:pt x="139" y="116"/>
                  </a:lnTo>
                  <a:lnTo>
                    <a:pt x="136" y="117"/>
                  </a:lnTo>
                  <a:lnTo>
                    <a:pt x="134" y="117"/>
                  </a:lnTo>
                  <a:lnTo>
                    <a:pt x="131" y="118"/>
                  </a:lnTo>
                  <a:lnTo>
                    <a:pt x="128" y="118"/>
                  </a:lnTo>
                  <a:lnTo>
                    <a:pt x="125" y="119"/>
                  </a:lnTo>
                  <a:lnTo>
                    <a:pt x="123" y="118"/>
                  </a:lnTo>
                  <a:lnTo>
                    <a:pt x="119" y="119"/>
                  </a:lnTo>
                  <a:lnTo>
                    <a:pt x="117" y="119"/>
                  </a:lnTo>
                  <a:lnTo>
                    <a:pt x="115" y="120"/>
                  </a:lnTo>
                  <a:lnTo>
                    <a:pt x="111" y="119"/>
                  </a:lnTo>
                  <a:lnTo>
                    <a:pt x="109" y="120"/>
                  </a:lnTo>
                  <a:lnTo>
                    <a:pt x="106" y="120"/>
                  </a:lnTo>
                  <a:lnTo>
                    <a:pt x="109" y="122"/>
                  </a:lnTo>
                  <a:lnTo>
                    <a:pt x="106" y="122"/>
                  </a:lnTo>
                  <a:lnTo>
                    <a:pt x="104" y="120"/>
                  </a:lnTo>
                  <a:lnTo>
                    <a:pt x="94" y="122"/>
                  </a:lnTo>
                  <a:lnTo>
                    <a:pt x="92" y="122"/>
                  </a:lnTo>
                  <a:lnTo>
                    <a:pt x="90" y="122"/>
                  </a:lnTo>
                  <a:lnTo>
                    <a:pt x="87" y="123"/>
                  </a:lnTo>
                  <a:lnTo>
                    <a:pt x="84" y="123"/>
                  </a:lnTo>
                  <a:lnTo>
                    <a:pt x="81" y="120"/>
                  </a:lnTo>
                  <a:lnTo>
                    <a:pt x="79" y="119"/>
                  </a:lnTo>
                  <a:lnTo>
                    <a:pt x="76" y="116"/>
                  </a:lnTo>
                  <a:lnTo>
                    <a:pt x="76" y="114"/>
                  </a:lnTo>
                  <a:lnTo>
                    <a:pt x="76" y="110"/>
                  </a:lnTo>
                  <a:lnTo>
                    <a:pt x="75" y="108"/>
                  </a:lnTo>
                  <a:lnTo>
                    <a:pt x="76" y="106"/>
                  </a:lnTo>
                  <a:lnTo>
                    <a:pt x="74" y="105"/>
                  </a:lnTo>
                  <a:lnTo>
                    <a:pt x="71" y="103"/>
                  </a:lnTo>
                  <a:lnTo>
                    <a:pt x="68" y="103"/>
                  </a:lnTo>
                  <a:lnTo>
                    <a:pt x="65" y="103"/>
                  </a:lnTo>
                  <a:lnTo>
                    <a:pt x="63" y="103"/>
                  </a:lnTo>
                  <a:lnTo>
                    <a:pt x="59" y="103"/>
                  </a:lnTo>
                  <a:lnTo>
                    <a:pt x="57" y="103"/>
                  </a:lnTo>
                  <a:lnTo>
                    <a:pt x="55" y="105"/>
                  </a:lnTo>
                  <a:lnTo>
                    <a:pt x="51" y="103"/>
                  </a:lnTo>
                  <a:lnTo>
                    <a:pt x="49" y="103"/>
                  </a:lnTo>
                  <a:lnTo>
                    <a:pt x="46" y="103"/>
                  </a:lnTo>
                  <a:lnTo>
                    <a:pt x="43" y="102"/>
                  </a:lnTo>
                  <a:lnTo>
                    <a:pt x="41" y="101"/>
                  </a:lnTo>
                  <a:lnTo>
                    <a:pt x="38" y="100"/>
                  </a:lnTo>
                  <a:lnTo>
                    <a:pt x="36" y="100"/>
                  </a:lnTo>
                  <a:lnTo>
                    <a:pt x="33" y="97"/>
                  </a:lnTo>
                  <a:lnTo>
                    <a:pt x="31" y="94"/>
                  </a:lnTo>
                  <a:lnTo>
                    <a:pt x="29" y="93"/>
                  </a:lnTo>
                  <a:lnTo>
                    <a:pt x="25" y="91"/>
                  </a:lnTo>
                  <a:lnTo>
                    <a:pt x="25" y="89"/>
                  </a:lnTo>
                  <a:lnTo>
                    <a:pt x="23" y="85"/>
                  </a:lnTo>
                  <a:lnTo>
                    <a:pt x="24" y="84"/>
                  </a:lnTo>
                  <a:lnTo>
                    <a:pt x="28" y="83"/>
                  </a:lnTo>
                  <a:lnTo>
                    <a:pt x="30" y="83"/>
                  </a:lnTo>
                  <a:lnTo>
                    <a:pt x="33" y="82"/>
                  </a:lnTo>
                  <a:lnTo>
                    <a:pt x="38" y="81"/>
                  </a:lnTo>
                  <a:lnTo>
                    <a:pt x="41" y="81"/>
                  </a:lnTo>
                  <a:lnTo>
                    <a:pt x="43" y="80"/>
                  </a:lnTo>
                  <a:lnTo>
                    <a:pt x="47" y="80"/>
                  </a:lnTo>
                  <a:lnTo>
                    <a:pt x="49" y="80"/>
                  </a:lnTo>
                  <a:lnTo>
                    <a:pt x="53" y="78"/>
                  </a:lnTo>
                  <a:lnTo>
                    <a:pt x="55" y="78"/>
                  </a:lnTo>
                  <a:lnTo>
                    <a:pt x="58" y="78"/>
                  </a:lnTo>
                  <a:lnTo>
                    <a:pt x="60" y="78"/>
                  </a:lnTo>
                  <a:lnTo>
                    <a:pt x="64" y="78"/>
                  </a:lnTo>
                  <a:lnTo>
                    <a:pt x="66" y="77"/>
                  </a:lnTo>
                  <a:lnTo>
                    <a:pt x="68" y="78"/>
                  </a:lnTo>
                  <a:lnTo>
                    <a:pt x="72" y="78"/>
                  </a:lnTo>
                  <a:lnTo>
                    <a:pt x="74" y="78"/>
                  </a:lnTo>
                  <a:lnTo>
                    <a:pt x="77" y="78"/>
                  </a:lnTo>
                  <a:lnTo>
                    <a:pt x="80" y="78"/>
                  </a:lnTo>
                  <a:lnTo>
                    <a:pt x="83" y="80"/>
                  </a:lnTo>
                  <a:lnTo>
                    <a:pt x="85" y="80"/>
                  </a:lnTo>
                  <a:lnTo>
                    <a:pt x="89" y="81"/>
                  </a:lnTo>
                  <a:lnTo>
                    <a:pt x="91" y="80"/>
                  </a:lnTo>
                  <a:lnTo>
                    <a:pt x="94" y="78"/>
                  </a:lnTo>
                  <a:lnTo>
                    <a:pt x="97" y="78"/>
                  </a:lnTo>
                  <a:lnTo>
                    <a:pt x="99" y="78"/>
                  </a:lnTo>
                  <a:lnTo>
                    <a:pt x="102" y="78"/>
                  </a:lnTo>
                  <a:lnTo>
                    <a:pt x="105" y="77"/>
                  </a:lnTo>
                  <a:lnTo>
                    <a:pt x="102" y="77"/>
                  </a:lnTo>
                  <a:lnTo>
                    <a:pt x="99" y="76"/>
                  </a:lnTo>
                  <a:lnTo>
                    <a:pt x="98" y="76"/>
                  </a:lnTo>
                  <a:lnTo>
                    <a:pt x="96" y="73"/>
                  </a:lnTo>
                  <a:lnTo>
                    <a:pt x="92" y="73"/>
                  </a:lnTo>
                  <a:lnTo>
                    <a:pt x="90" y="73"/>
                  </a:lnTo>
                  <a:lnTo>
                    <a:pt x="87" y="72"/>
                  </a:lnTo>
                  <a:lnTo>
                    <a:pt x="84" y="72"/>
                  </a:lnTo>
                  <a:lnTo>
                    <a:pt x="82" y="71"/>
                  </a:lnTo>
                  <a:lnTo>
                    <a:pt x="79" y="69"/>
                  </a:lnTo>
                  <a:lnTo>
                    <a:pt x="76" y="69"/>
                  </a:lnTo>
                  <a:lnTo>
                    <a:pt x="73" y="68"/>
                  </a:lnTo>
                  <a:lnTo>
                    <a:pt x="71" y="68"/>
                  </a:lnTo>
                  <a:lnTo>
                    <a:pt x="67" y="69"/>
                  </a:lnTo>
                  <a:lnTo>
                    <a:pt x="65" y="69"/>
                  </a:lnTo>
                  <a:lnTo>
                    <a:pt x="62" y="71"/>
                  </a:lnTo>
                  <a:lnTo>
                    <a:pt x="59" y="71"/>
                  </a:lnTo>
                  <a:lnTo>
                    <a:pt x="56" y="71"/>
                  </a:lnTo>
                  <a:lnTo>
                    <a:pt x="51" y="71"/>
                  </a:lnTo>
                  <a:lnTo>
                    <a:pt x="48" y="71"/>
                  </a:lnTo>
                  <a:lnTo>
                    <a:pt x="46" y="71"/>
                  </a:lnTo>
                  <a:lnTo>
                    <a:pt x="42" y="72"/>
                  </a:lnTo>
                  <a:lnTo>
                    <a:pt x="40" y="71"/>
                  </a:lnTo>
                  <a:lnTo>
                    <a:pt x="37" y="71"/>
                  </a:lnTo>
                  <a:lnTo>
                    <a:pt x="34" y="71"/>
                  </a:lnTo>
                  <a:lnTo>
                    <a:pt x="32" y="71"/>
                  </a:lnTo>
                  <a:lnTo>
                    <a:pt x="29" y="71"/>
                  </a:lnTo>
                  <a:lnTo>
                    <a:pt x="26" y="71"/>
                  </a:lnTo>
                  <a:lnTo>
                    <a:pt x="23" y="71"/>
                  </a:lnTo>
                  <a:lnTo>
                    <a:pt x="21" y="71"/>
                  </a:lnTo>
                  <a:lnTo>
                    <a:pt x="19" y="67"/>
                  </a:lnTo>
                  <a:lnTo>
                    <a:pt x="16" y="66"/>
                  </a:lnTo>
                  <a:lnTo>
                    <a:pt x="13" y="65"/>
                  </a:lnTo>
                  <a:lnTo>
                    <a:pt x="11" y="61"/>
                  </a:lnTo>
                  <a:lnTo>
                    <a:pt x="13" y="59"/>
                  </a:lnTo>
                  <a:lnTo>
                    <a:pt x="15" y="58"/>
                  </a:lnTo>
                  <a:lnTo>
                    <a:pt x="17" y="57"/>
                  </a:lnTo>
                  <a:lnTo>
                    <a:pt x="21" y="57"/>
                  </a:lnTo>
                  <a:lnTo>
                    <a:pt x="23" y="56"/>
                  </a:lnTo>
                  <a:lnTo>
                    <a:pt x="26" y="56"/>
                  </a:lnTo>
                  <a:lnTo>
                    <a:pt x="32" y="55"/>
                  </a:lnTo>
                  <a:lnTo>
                    <a:pt x="33" y="54"/>
                  </a:lnTo>
                  <a:lnTo>
                    <a:pt x="36" y="52"/>
                  </a:lnTo>
                  <a:lnTo>
                    <a:pt x="39" y="52"/>
                  </a:lnTo>
                  <a:lnTo>
                    <a:pt x="41" y="52"/>
                  </a:lnTo>
                  <a:lnTo>
                    <a:pt x="45" y="51"/>
                  </a:lnTo>
                  <a:lnTo>
                    <a:pt x="41" y="50"/>
                  </a:lnTo>
                  <a:lnTo>
                    <a:pt x="45" y="49"/>
                  </a:lnTo>
                  <a:lnTo>
                    <a:pt x="47" y="49"/>
                  </a:lnTo>
                  <a:lnTo>
                    <a:pt x="50" y="49"/>
                  </a:lnTo>
                  <a:lnTo>
                    <a:pt x="53" y="49"/>
                  </a:lnTo>
                  <a:lnTo>
                    <a:pt x="56" y="48"/>
                  </a:lnTo>
                  <a:lnTo>
                    <a:pt x="53" y="49"/>
                  </a:lnTo>
                  <a:lnTo>
                    <a:pt x="50" y="48"/>
                  </a:lnTo>
                  <a:lnTo>
                    <a:pt x="47" y="47"/>
                  </a:lnTo>
                  <a:lnTo>
                    <a:pt x="45" y="48"/>
                  </a:lnTo>
                  <a:lnTo>
                    <a:pt x="42" y="48"/>
                  </a:lnTo>
                  <a:lnTo>
                    <a:pt x="39" y="49"/>
                  </a:lnTo>
                  <a:lnTo>
                    <a:pt x="37" y="49"/>
                  </a:lnTo>
                  <a:lnTo>
                    <a:pt x="33" y="49"/>
                  </a:lnTo>
                  <a:lnTo>
                    <a:pt x="31" y="50"/>
                  </a:lnTo>
                  <a:lnTo>
                    <a:pt x="28" y="50"/>
                  </a:lnTo>
                  <a:lnTo>
                    <a:pt x="25" y="51"/>
                  </a:lnTo>
                  <a:lnTo>
                    <a:pt x="23" y="50"/>
                  </a:lnTo>
                  <a:lnTo>
                    <a:pt x="20" y="51"/>
                  </a:lnTo>
                  <a:lnTo>
                    <a:pt x="17" y="51"/>
                  </a:lnTo>
                  <a:lnTo>
                    <a:pt x="14" y="51"/>
                  </a:lnTo>
                  <a:lnTo>
                    <a:pt x="12" y="49"/>
                  </a:lnTo>
                  <a:lnTo>
                    <a:pt x="14" y="48"/>
                  </a:lnTo>
                  <a:lnTo>
                    <a:pt x="17" y="48"/>
                  </a:lnTo>
                  <a:lnTo>
                    <a:pt x="20" y="47"/>
                  </a:lnTo>
                  <a:lnTo>
                    <a:pt x="17" y="45"/>
                  </a:lnTo>
                  <a:lnTo>
                    <a:pt x="14" y="45"/>
                  </a:lnTo>
                  <a:lnTo>
                    <a:pt x="12" y="46"/>
                  </a:lnTo>
                  <a:lnTo>
                    <a:pt x="10" y="45"/>
                  </a:lnTo>
                  <a:lnTo>
                    <a:pt x="6" y="45"/>
                  </a:lnTo>
                  <a:lnTo>
                    <a:pt x="4" y="47"/>
                  </a:lnTo>
                  <a:lnTo>
                    <a:pt x="0" y="43"/>
                  </a:lnTo>
                  <a:lnTo>
                    <a:pt x="0" y="41"/>
                  </a:lnTo>
                  <a:lnTo>
                    <a:pt x="0" y="39"/>
                  </a:lnTo>
                  <a:lnTo>
                    <a:pt x="4" y="35"/>
                  </a:lnTo>
                  <a:lnTo>
                    <a:pt x="6" y="33"/>
                  </a:lnTo>
                  <a:lnTo>
                    <a:pt x="8" y="31"/>
                  </a:lnTo>
                  <a:lnTo>
                    <a:pt x="12" y="31"/>
                  </a:lnTo>
                  <a:lnTo>
                    <a:pt x="14" y="30"/>
                  </a:lnTo>
                  <a:lnTo>
                    <a:pt x="13" y="26"/>
                  </a:lnTo>
                  <a:lnTo>
                    <a:pt x="11" y="26"/>
                  </a:lnTo>
                  <a:lnTo>
                    <a:pt x="7" y="24"/>
                  </a:lnTo>
                  <a:lnTo>
                    <a:pt x="11" y="22"/>
                  </a:lnTo>
                  <a:lnTo>
                    <a:pt x="13" y="20"/>
                  </a:lnTo>
                  <a:lnTo>
                    <a:pt x="16" y="18"/>
                  </a:lnTo>
                  <a:lnTo>
                    <a:pt x="19" y="16"/>
                  </a:lnTo>
                  <a:lnTo>
                    <a:pt x="21" y="15"/>
                  </a:lnTo>
                  <a:lnTo>
                    <a:pt x="24" y="13"/>
                  </a:lnTo>
                  <a:lnTo>
                    <a:pt x="26" y="12"/>
                  </a:lnTo>
                  <a:lnTo>
                    <a:pt x="30" y="11"/>
                  </a:lnTo>
                  <a:lnTo>
                    <a:pt x="32" y="9"/>
                  </a:lnTo>
                  <a:lnTo>
                    <a:pt x="36" y="8"/>
                  </a:lnTo>
                  <a:lnTo>
                    <a:pt x="38" y="8"/>
                  </a:lnTo>
                  <a:lnTo>
                    <a:pt x="40" y="6"/>
                  </a:lnTo>
                  <a:lnTo>
                    <a:pt x="43" y="6"/>
                  </a:lnTo>
                  <a:lnTo>
                    <a:pt x="46" y="5"/>
                  </a:lnTo>
                  <a:lnTo>
                    <a:pt x="49" y="5"/>
                  </a:lnTo>
                  <a:lnTo>
                    <a:pt x="51" y="4"/>
                  </a:lnTo>
                  <a:lnTo>
                    <a:pt x="55" y="3"/>
                  </a:lnTo>
                  <a:lnTo>
                    <a:pt x="57" y="1"/>
                  </a:lnTo>
                  <a:lnTo>
                    <a:pt x="59" y="0"/>
                  </a:lnTo>
                  <a:lnTo>
                    <a:pt x="62" y="0"/>
                  </a:lnTo>
                  <a:lnTo>
                    <a:pt x="64" y="0"/>
                  </a:lnTo>
                  <a:lnTo>
                    <a:pt x="67" y="1"/>
                  </a:lnTo>
                  <a:lnTo>
                    <a:pt x="70" y="4"/>
                  </a:lnTo>
                  <a:lnTo>
                    <a:pt x="71" y="6"/>
                  </a:lnTo>
                  <a:lnTo>
                    <a:pt x="71" y="9"/>
                  </a:lnTo>
                  <a:lnTo>
                    <a:pt x="70" y="12"/>
                  </a:lnTo>
                  <a:lnTo>
                    <a:pt x="71" y="15"/>
                  </a:lnTo>
                  <a:lnTo>
                    <a:pt x="68" y="15"/>
                  </a:lnTo>
                  <a:lnTo>
                    <a:pt x="66" y="16"/>
                  </a:lnTo>
                  <a:lnTo>
                    <a:pt x="65" y="18"/>
                  </a:lnTo>
                  <a:lnTo>
                    <a:pt x="63" y="20"/>
                  </a:lnTo>
                  <a:lnTo>
                    <a:pt x="63" y="21"/>
                  </a:lnTo>
                  <a:lnTo>
                    <a:pt x="65" y="22"/>
                  </a:lnTo>
                  <a:lnTo>
                    <a:pt x="67" y="21"/>
                  </a:lnTo>
                  <a:lnTo>
                    <a:pt x="71" y="18"/>
                  </a:lnTo>
                  <a:lnTo>
                    <a:pt x="73" y="20"/>
                  </a:lnTo>
                  <a:lnTo>
                    <a:pt x="76" y="20"/>
                  </a:lnTo>
                  <a:lnTo>
                    <a:pt x="79" y="17"/>
                  </a:lnTo>
                  <a:lnTo>
                    <a:pt x="76" y="16"/>
                  </a:lnTo>
                  <a:lnTo>
                    <a:pt x="77" y="14"/>
                  </a:lnTo>
                  <a:lnTo>
                    <a:pt x="81" y="11"/>
                  </a:lnTo>
                  <a:lnTo>
                    <a:pt x="83" y="9"/>
                  </a:lnTo>
                  <a:lnTo>
                    <a:pt x="87" y="9"/>
                  </a:lnTo>
                  <a:lnTo>
                    <a:pt x="89" y="11"/>
                  </a:lnTo>
                  <a:lnTo>
                    <a:pt x="91" y="12"/>
                  </a:lnTo>
                  <a:lnTo>
                    <a:pt x="94" y="13"/>
                  </a:lnTo>
                  <a:lnTo>
                    <a:pt x="97" y="13"/>
                  </a:lnTo>
                  <a:lnTo>
                    <a:pt x="100" y="14"/>
                  </a:lnTo>
                  <a:lnTo>
                    <a:pt x="104" y="15"/>
                  </a:lnTo>
                  <a:lnTo>
                    <a:pt x="106" y="16"/>
                  </a:lnTo>
                  <a:lnTo>
                    <a:pt x="108" y="17"/>
                  </a:lnTo>
                  <a:lnTo>
                    <a:pt x="108" y="18"/>
                  </a:lnTo>
                  <a:lnTo>
                    <a:pt x="108" y="21"/>
                  </a:lnTo>
                  <a:lnTo>
                    <a:pt x="106" y="23"/>
                  </a:lnTo>
                  <a:lnTo>
                    <a:pt x="102" y="25"/>
                  </a:lnTo>
                  <a:lnTo>
                    <a:pt x="100" y="28"/>
                  </a:lnTo>
                  <a:lnTo>
                    <a:pt x="102" y="28"/>
                  </a:lnTo>
                  <a:lnTo>
                    <a:pt x="101" y="30"/>
                  </a:lnTo>
                  <a:lnTo>
                    <a:pt x="104" y="28"/>
                  </a:lnTo>
                  <a:lnTo>
                    <a:pt x="105" y="25"/>
                  </a:lnTo>
                  <a:lnTo>
                    <a:pt x="108" y="26"/>
                  </a:lnTo>
                  <a:lnTo>
                    <a:pt x="110" y="26"/>
                  </a:lnTo>
                  <a:lnTo>
                    <a:pt x="111" y="23"/>
                  </a:lnTo>
                  <a:lnTo>
                    <a:pt x="115" y="22"/>
                  </a:lnTo>
                  <a:lnTo>
                    <a:pt x="117" y="23"/>
                  </a:lnTo>
                  <a:lnTo>
                    <a:pt x="121" y="24"/>
                  </a:lnTo>
                  <a:lnTo>
                    <a:pt x="121" y="22"/>
                  </a:lnTo>
                  <a:lnTo>
                    <a:pt x="125" y="24"/>
                  </a:lnTo>
                  <a:lnTo>
                    <a:pt x="128" y="24"/>
                  </a:lnTo>
                  <a:lnTo>
                    <a:pt x="125" y="23"/>
                  </a:lnTo>
                  <a:lnTo>
                    <a:pt x="123" y="21"/>
                  </a:lnTo>
                  <a:lnTo>
                    <a:pt x="125" y="22"/>
                  </a:lnTo>
                  <a:lnTo>
                    <a:pt x="128" y="23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3" y="17"/>
                  </a:lnTo>
                  <a:lnTo>
                    <a:pt x="125" y="17"/>
                  </a:lnTo>
                  <a:lnTo>
                    <a:pt x="125" y="17"/>
                  </a:lnTo>
                  <a:lnTo>
                    <a:pt x="128" y="17"/>
                  </a:lnTo>
                  <a:lnTo>
                    <a:pt x="125" y="16"/>
                  </a:lnTo>
                  <a:lnTo>
                    <a:pt x="124" y="16"/>
                  </a:lnTo>
                  <a:lnTo>
                    <a:pt x="121" y="14"/>
                  </a:lnTo>
                  <a:lnTo>
                    <a:pt x="118" y="14"/>
                  </a:lnTo>
                  <a:lnTo>
                    <a:pt x="116" y="12"/>
                  </a:lnTo>
                  <a:lnTo>
                    <a:pt x="117" y="9"/>
                  </a:lnTo>
                  <a:lnTo>
                    <a:pt x="119" y="9"/>
                  </a:lnTo>
                  <a:lnTo>
                    <a:pt x="123" y="9"/>
                  </a:lnTo>
                  <a:lnTo>
                    <a:pt x="125" y="11"/>
                  </a:lnTo>
                  <a:lnTo>
                    <a:pt x="127" y="11"/>
                  </a:lnTo>
                  <a:lnTo>
                    <a:pt x="130" y="12"/>
                  </a:lnTo>
                  <a:lnTo>
                    <a:pt x="131" y="14"/>
                  </a:lnTo>
                  <a:lnTo>
                    <a:pt x="134" y="16"/>
                  </a:lnTo>
                  <a:lnTo>
                    <a:pt x="136" y="16"/>
                  </a:lnTo>
                  <a:lnTo>
                    <a:pt x="136" y="17"/>
                  </a:lnTo>
                  <a:lnTo>
                    <a:pt x="140" y="18"/>
                  </a:lnTo>
                  <a:lnTo>
                    <a:pt x="139" y="21"/>
                  </a:lnTo>
                  <a:lnTo>
                    <a:pt x="142" y="21"/>
                  </a:lnTo>
                  <a:lnTo>
                    <a:pt x="144" y="22"/>
                  </a:lnTo>
                  <a:lnTo>
                    <a:pt x="144" y="25"/>
                  </a:lnTo>
                  <a:lnTo>
                    <a:pt x="144" y="28"/>
                  </a:lnTo>
                  <a:lnTo>
                    <a:pt x="145" y="31"/>
                  </a:lnTo>
                  <a:lnTo>
                    <a:pt x="147" y="33"/>
                  </a:lnTo>
                  <a:lnTo>
                    <a:pt x="147" y="35"/>
                  </a:lnTo>
                  <a:lnTo>
                    <a:pt x="150" y="38"/>
                  </a:lnTo>
                  <a:lnTo>
                    <a:pt x="149" y="40"/>
                  </a:lnTo>
                  <a:lnTo>
                    <a:pt x="150" y="43"/>
                  </a:lnTo>
                  <a:lnTo>
                    <a:pt x="152" y="43"/>
                  </a:lnTo>
                  <a:lnTo>
                    <a:pt x="156" y="46"/>
                  </a:lnTo>
                  <a:lnTo>
                    <a:pt x="154" y="43"/>
                  </a:lnTo>
                  <a:lnTo>
                    <a:pt x="158" y="42"/>
                  </a:lnTo>
                  <a:lnTo>
                    <a:pt x="160" y="41"/>
                  </a:lnTo>
                  <a:lnTo>
                    <a:pt x="162" y="40"/>
                  </a:lnTo>
                  <a:lnTo>
                    <a:pt x="161" y="38"/>
                  </a:lnTo>
                  <a:lnTo>
                    <a:pt x="159" y="35"/>
                  </a:lnTo>
                  <a:lnTo>
                    <a:pt x="158" y="33"/>
                  </a:lnTo>
                  <a:lnTo>
                    <a:pt x="156" y="31"/>
                  </a:lnTo>
                  <a:lnTo>
                    <a:pt x="157" y="28"/>
                  </a:lnTo>
                  <a:lnTo>
                    <a:pt x="154" y="25"/>
                  </a:lnTo>
                  <a:lnTo>
                    <a:pt x="154" y="23"/>
                  </a:lnTo>
                  <a:lnTo>
                    <a:pt x="152" y="20"/>
                  </a:lnTo>
                  <a:lnTo>
                    <a:pt x="152" y="17"/>
                  </a:lnTo>
                  <a:lnTo>
                    <a:pt x="151" y="16"/>
                  </a:lnTo>
                  <a:lnTo>
                    <a:pt x="151" y="14"/>
                  </a:lnTo>
                  <a:lnTo>
                    <a:pt x="150" y="11"/>
                  </a:lnTo>
                  <a:lnTo>
                    <a:pt x="151" y="8"/>
                  </a:lnTo>
                  <a:lnTo>
                    <a:pt x="149" y="6"/>
                  </a:lnTo>
                  <a:lnTo>
                    <a:pt x="151" y="5"/>
                  </a:lnTo>
                  <a:lnTo>
                    <a:pt x="154" y="5"/>
                  </a:lnTo>
                  <a:lnTo>
                    <a:pt x="151" y="4"/>
                  </a:lnTo>
                  <a:lnTo>
                    <a:pt x="152" y="0"/>
                  </a:lnTo>
                  <a:lnTo>
                    <a:pt x="156" y="1"/>
                  </a:lnTo>
                  <a:lnTo>
                    <a:pt x="158" y="1"/>
                  </a:lnTo>
                  <a:lnTo>
                    <a:pt x="160" y="3"/>
                  </a:lnTo>
                  <a:lnTo>
                    <a:pt x="164" y="5"/>
                  </a:lnTo>
                  <a:lnTo>
                    <a:pt x="166" y="5"/>
                  </a:lnTo>
                  <a:lnTo>
                    <a:pt x="166" y="1"/>
                  </a:lnTo>
                  <a:lnTo>
                    <a:pt x="168" y="1"/>
                  </a:lnTo>
                  <a:lnTo>
                    <a:pt x="171" y="4"/>
                  </a:lnTo>
                  <a:lnTo>
                    <a:pt x="174" y="5"/>
                  </a:lnTo>
                  <a:lnTo>
                    <a:pt x="177" y="7"/>
                  </a:lnTo>
                  <a:lnTo>
                    <a:pt x="179" y="8"/>
                  </a:lnTo>
                  <a:lnTo>
                    <a:pt x="183" y="9"/>
                  </a:lnTo>
                  <a:lnTo>
                    <a:pt x="185" y="12"/>
                  </a:lnTo>
                  <a:lnTo>
                    <a:pt x="187" y="14"/>
                  </a:lnTo>
                  <a:lnTo>
                    <a:pt x="187" y="17"/>
                  </a:lnTo>
                  <a:lnTo>
                    <a:pt x="190" y="20"/>
                  </a:lnTo>
                  <a:lnTo>
                    <a:pt x="191" y="23"/>
                  </a:lnTo>
                  <a:lnTo>
                    <a:pt x="191" y="25"/>
                  </a:lnTo>
                  <a:lnTo>
                    <a:pt x="192" y="28"/>
                  </a:lnTo>
                  <a:lnTo>
                    <a:pt x="194" y="31"/>
                  </a:lnTo>
                  <a:lnTo>
                    <a:pt x="194" y="33"/>
                  </a:lnTo>
                  <a:lnTo>
                    <a:pt x="195" y="37"/>
                  </a:lnTo>
                  <a:lnTo>
                    <a:pt x="196" y="39"/>
                  </a:lnTo>
                  <a:lnTo>
                    <a:pt x="199" y="41"/>
                  </a:lnTo>
                  <a:lnTo>
                    <a:pt x="201" y="45"/>
                  </a:lnTo>
                  <a:lnTo>
                    <a:pt x="202" y="47"/>
                  </a:lnTo>
                  <a:lnTo>
                    <a:pt x="203" y="49"/>
                  </a:lnTo>
                  <a:lnTo>
                    <a:pt x="203" y="52"/>
                  </a:lnTo>
                  <a:lnTo>
                    <a:pt x="201" y="54"/>
                  </a:lnTo>
                  <a:lnTo>
                    <a:pt x="201" y="56"/>
                  </a:lnTo>
                  <a:lnTo>
                    <a:pt x="199" y="58"/>
                  </a:lnTo>
                  <a:lnTo>
                    <a:pt x="202" y="61"/>
                  </a:lnTo>
                  <a:lnTo>
                    <a:pt x="204" y="61"/>
                  </a:lnTo>
                  <a:lnTo>
                    <a:pt x="207" y="65"/>
                  </a:lnTo>
                  <a:lnTo>
                    <a:pt x="209" y="67"/>
                  </a:lnTo>
                  <a:lnTo>
                    <a:pt x="211" y="68"/>
                  </a:lnTo>
                  <a:lnTo>
                    <a:pt x="215" y="71"/>
                  </a:lnTo>
                  <a:lnTo>
                    <a:pt x="217" y="71"/>
                  </a:lnTo>
                  <a:lnTo>
                    <a:pt x="220" y="73"/>
                  </a:lnTo>
                  <a:lnTo>
                    <a:pt x="222" y="73"/>
                  </a:lnTo>
                  <a:lnTo>
                    <a:pt x="220" y="72"/>
                  </a:lnTo>
                  <a:lnTo>
                    <a:pt x="219" y="69"/>
                  </a:lnTo>
                  <a:lnTo>
                    <a:pt x="222" y="71"/>
                  </a:lnTo>
                  <a:lnTo>
                    <a:pt x="224" y="74"/>
                  </a:lnTo>
                  <a:lnTo>
                    <a:pt x="227" y="74"/>
                  </a:lnTo>
                  <a:lnTo>
                    <a:pt x="229" y="75"/>
                  </a:lnTo>
                  <a:lnTo>
                    <a:pt x="233" y="77"/>
                  </a:lnTo>
                  <a:lnTo>
                    <a:pt x="235" y="78"/>
                  </a:lnTo>
                  <a:lnTo>
                    <a:pt x="237" y="78"/>
                  </a:lnTo>
                  <a:lnTo>
                    <a:pt x="241" y="80"/>
                  </a:lnTo>
                  <a:lnTo>
                    <a:pt x="241" y="82"/>
                  </a:lnTo>
                  <a:lnTo>
                    <a:pt x="243" y="82"/>
                  </a:lnTo>
                  <a:lnTo>
                    <a:pt x="246" y="82"/>
                  </a:lnTo>
                  <a:lnTo>
                    <a:pt x="249" y="83"/>
                  </a:lnTo>
                  <a:lnTo>
                    <a:pt x="250" y="85"/>
                  </a:lnTo>
                  <a:lnTo>
                    <a:pt x="250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2" name="Freeform 232">
              <a:extLst>
                <a:ext uri="{FF2B5EF4-FFF2-40B4-BE49-F238E27FC236}">
                  <a16:creationId xmlns:a16="http://schemas.microsoft.com/office/drawing/2014/main" id="{39CDCEFA-A1B8-4F4F-91CF-3ED5622C8A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3325" y="2311400"/>
              <a:ext cx="450850" cy="188913"/>
            </a:xfrm>
            <a:custGeom>
              <a:avLst/>
              <a:gdLst>
                <a:gd name="T0" fmla="*/ 235 w 284"/>
                <a:gd name="T1" fmla="*/ 46 h 119"/>
                <a:gd name="T2" fmla="*/ 229 w 284"/>
                <a:gd name="T3" fmla="*/ 57 h 119"/>
                <a:gd name="T4" fmla="*/ 238 w 284"/>
                <a:gd name="T5" fmla="*/ 59 h 119"/>
                <a:gd name="T6" fmla="*/ 227 w 284"/>
                <a:gd name="T7" fmla="*/ 62 h 119"/>
                <a:gd name="T8" fmla="*/ 220 w 284"/>
                <a:gd name="T9" fmla="*/ 71 h 119"/>
                <a:gd name="T10" fmla="*/ 203 w 284"/>
                <a:gd name="T11" fmla="*/ 73 h 119"/>
                <a:gd name="T12" fmla="*/ 188 w 284"/>
                <a:gd name="T13" fmla="*/ 66 h 119"/>
                <a:gd name="T14" fmla="*/ 183 w 284"/>
                <a:gd name="T15" fmla="*/ 70 h 119"/>
                <a:gd name="T16" fmla="*/ 166 w 284"/>
                <a:gd name="T17" fmla="*/ 72 h 119"/>
                <a:gd name="T18" fmla="*/ 155 w 284"/>
                <a:gd name="T19" fmla="*/ 68 h 119"/>
                <a:gd name="T20" fmla="*/ 143 w 284"/>
                <a:gd name="T21" fmla="*/ 73 h 119"/>
                <a:gd name="T22" fmla="*/ 130 w 284"/>
                <a:gd name="T23" fmla="*/ 71 h 119"/>
                <a:gd name="T24" fmla="*/ 113 w 284"/>
                <a:gd name="T25" fmla="*/ 70 h 119"/>
                <a:gd name="T26" fmla="*/ 108 w 284"/>
                <a:gd name="T27" fmla="*/ 64 h 119"/>
                <a:gd name="T28" fmla="*/ 94 w 284"/>
                <a:gd name="T29" fmla="*/ 70 h 119"/>
                <a:gd name="T30" fmla="*/ 83 w 284"/>
                <a:gd name="T31" fmla="*/ 64 h 119"/>
                <a:gd name="T32" fmla="*/ 74 w 284"/>
                <a:gd name="T33" fmla="*/ 68 h 119"/>
                <a:gd name="T34" fmla="*/ 66 w 284"/>
                <a:gd name="T35" fmla="*/ 54 h 119"/>
                <a:gd name="T36" fmla="*/ 67 w 284"/>
                <a:gd name="T37" fmla="*/ 42 h 119"/>
                <a:gd name="T38" fmla="*/ 58 w 284"/>
                <a:gd name="T39" fmla="*/ 28 h 119"/>
                <a:gd name="T40" fmla="*/ 42 w 284"/>
                <a:gd name="T41" fmla="*/ 23 h 119"/>
                <a:gd name="T42" fmla="*/ 24 w 284"/>
                <a:gd name="T43" fmla="*/ 24 h 119"/>
                <a:gd name="T44" fmla="*/ 16 w 284"/>
                <a:gd name="T45" fmla="*/ 20 h 119"/>
                <a:gd name="T46" fmla="*/ 11 w 284"/>
                <a:gd name="T47" fmla="*/ 14 h 119"/>
                <a:gd name="T48" fmla="*/ 4 w 284"/>
                <a:gd name="T49" fmla="*/ 9 h 119"/>
                <a:gd name="T50" fmla="*/ 8 w 284"/>
                <a:gd name="T51" fmla="*/ 0 h 119"/>
                <a:gd name="T52" fmla="*/ 25 w 284"/>
                <a:gd name="T53" fmla="*/ 3 h 119"/>
                <a:gd name="T54" fmla="*/ 42 w 284"/>
                <a:gd name="T55" fmla="*/ 5 h 119"/>
                <a:gd name="T56" fmla="*/ 44 w 284"/>
                <a:gd name="T57" fmla="*/ 19 h 119"/>
                <a:gd name="T58" fmla="*/ 61 w 284"/>
                <a:gd name="T59" fmla="*/ 14 h 119"/>
                <a:gd name="T60" fmla="*/ 82 w 284"/>
                <a:gd name="T61" fmla="*/ 13 h 119"/>
                <a:gd name="T62" fmla="*/ 77 w 284"/>
                <a:gd name="T63" fmla="*/ 16 h 119"/>
                <a:gd name="T64" fmla="*/ 89 w 284"/>
                <a:gd name="T65" fmla="*/ 20 h 119"/>
                <a:gd name="T66" fmla="*/ 104 w 284"/>
                <a:gd name="T67" fmla="*/ 23 h 119"/>
                <a:gd name="T68" fmla="*/ 91 w 284"/>
                <a:gd name="T69" fmla="*/ 25 h 119"/>
                <a:gd name="T70" fmla="*/ 77 w 284"/>
                <a:gd name="T71" fmla="*/ 24 h 119"/>
                <a:gd name="T72" fmla="*/ 87 w 284"/>
                <a:gd name="T73" fmla="*/ 28 h 119"/>
                <a:gd name="T74" fmla="*/ 82 w 284"/>
                <a:gd name="T75" fmla="*/ 30 h 119"/>
                <a:gd name="T76" fmla="*/ 94 w 284"/>
                <a:gd name="T77" fmla="*/ 30 h 119"/>
                <a:gd name="T78" fmla="*/ 105 w 284"/>
                <a:gd name="T79" fmla="*/ 38 h 119"/>
                <a:gd name="T80" fmla="*/ 105 w 284"/>
                <a:gd name="T81" fmla="*/ 43 h 119"/>
                <a:gd name="T82" fmla="*/ 116 w 284"/>
                <a:gd name="T83" fmla="*/ 42 h 119"/>
                <a:gd name="T84" fmla="*/ 130 w 284"/>
                <a:gd name="T85" fmla="*/ 41 h 119"/>
                <a:gd name="T86" fmla="*/ 146 w 284"/>
                <a:gd name="T87" fmla="*/ 47 h 119"/>
                <a:gd name="T88" fmla="*/ 152 w 284"/>
                <a:gd name="T89" fmla="*/ 43 h 119"/>
                <a:gd name="T90" fmla="*/ 168 w 284"/>
                <a:gd name="T91" fmla="*/ 39 h 119"/>
                <a:gd name="T92" fmla="*/ 185 w 284"/>
                <a:gd name="T93" fmla="*/ 38 h 119"/>
                <a:gd name="T94" fmla="*/ 204 w 284"/>
                <a:gd name="T95" fmla="*/ 36 h 119"/>
                <a:gd name="T96" fmla="*/ 220 w 284"/>
                <a:gd name="T97" fmla="*/ 41 h 119"/>
                <a:gd name="T98" fmla="*/ 231 w 284"/>
                <a:gd name="T99" fmla="*/ 93 h 119"/>
                <a:gd name="T100" fmla="*/ 248 w 284"/>
                <a:gd name="T101" fmla="*/ 94 h 119"/>
                <a:gd name="T102" fmla="*/ 265 w 284"/>
                <a:gd name="T103" fmla="*/ 97 h 119"/>
                <a:gd name="T104" fmla="*/ 279 w 284"/>
                <a:gd name="T105" fmla="*/ 109 h 119"/>
                <a:gd name="T106" fmla="*/ 275 w 284"/>
                <a:gd name="T107" fmla="*/ 116 h 119"/>
                <a:gd name="T108" fmla="*/ 254 w 284"/>
                <a:gd name="T109" fmla="*/ 115 h 119"/>
                <a:gd name="T110" fmla="*/ 237 w 284"/>
                <a:gd name="T111" fmla="*/ 118 h 119"/>
                <a:gd name="T112" fmla="*/ 228 w 284"/>
                <a:gd name="T113" fmla="*/ 106 h 119"/>
                <a:gd name="T114" fmla="*/ 220 w 284"/>
                <a:gd name="T115" fmla="*/ 94 h 119"/>
                <a:gd name="T116" fmla="*/ 231 w 284"/>
                <a:gd name="T117" fmla="*/ 9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4" h="119">
                  <a:moveTo>
                    <a:pt x="231" y="43"/>
                  </a:moveTo>
                  <a:lnTo>
                    <a:pt x="231" y="43"/>
                  </a:lnTo>
                  <a:lnTo>
                    <a:pt x="228" y="46"/>
                  </a:lnTo>
                  <a:lnTo>
                    <a:pt x="231" y="46"/>
                  </a:lnTo>
                  <a:lnTo>
                    <a:pt x="232" y="46"/>
                  </a:lnTo>
                  <a:lnTo>
                    <a:pt x="235" y="46"/>
                  </a:lnTo>
                  <a:lnTo>
                    <a:pt x="238" y="48"/>
                  </a:lnTo>
                  <a:lnTo>
                    <a:pt x="237" y="50"/>
                  </a:lnTo>
                  <a:lnTo>
                    <a:pt x="237" y="53"/>
                  </a:lnTo>
                  <a:lnTo>
                    <a:pt x="233" y="54"/>
                  </a:lnTo>
                  <a:lnTo>
                    <a:pt x="231" y="56"/>
                  </a:lnTo>
                  <a:lnTo>
                    <a:pt x="229" y="57"/>
                  </a:lnTo>
                  <a:lnTo>
                    <a:pt x="226" y="58"/>
                  </a:lnTo>
                  <a:lnTo>
                    <a:pt x="229" y="59"/>
                  </a:lnTo>
                  <a:lnTo>
                    <a:pt x="231" y="58"/>
                  </a:lnTo>
                  <a:lnTo>
                    <a:pt x="232" y="58"/>
                  </a:lnTo>
                  <a:lnTo>
                    <a:pt x="235" y="57"/>
                  </a:lnTo>
                  <a:lnTo>
                    <a:pt x="238" y="59"/>
                  </a:lnTo>
                  <a:lnTo>
                    <a:pt x="239" y="62"/>
                  </a:lnTo>
                  <a:lnTo>
                    <a:pt x="237" y="63"/>
                  </a:lnTo>
                  <a:lnTo>
                    <a:pt x="233" y="63"/>
                  </a:lnTo>
                  <a:lnTo>
                    <a:pt x="231" y="63"/>
                  </a:lnTo>
                  <a:lnTo>
                    <a:pt x="229" y="63"/>
                  </a:lnTo>
                  <a:lnTo>
                    <a:pt x="227" y="62"/>
                  </a:lnTo>
                  <a:lnTo>
                    <a:pt x="229" y="64"/>
                  </a:lnTo>
                  <a:lnTo>
                    <a:pt x="228" y="67"/>
                  </a:lnTo>
                  <a:lnTo>
                    <a:pt x="228" y="70"/>
                  </a:lnTo>
                  <a:lnTo>
                    <a:pt x="226" y="70"/>
                  </a:lnTo>
                  <a:lnTo>
                    <a:pt x="222" y="71"/>
                  </a:lnTo>
                  <a:lnTo>
                    <a:pt x="220" y="71"/>
                  </a:lnTo>
                  <a:lnTo>
                    <a:pt x="217" y="70"/>
                  </a:lnTo>
                  <a:lnTo>
                    <a:pt x="214" y="71"/>
                  </a:lnTo>
                  <a:lnTo>
                    <a:pt x="211" y="72"/>
                  </a:lnTo>
                  <a:lnTo>
                    <a:pt x="209" y="73"/>
                  </a:lnTo>
                  <a:lnTo>
                    <a:pt x="205" y="73"/>
                  </a:lnTo>
                  <a:lnTo>
                    <a:pt x="203" y="73"/>
                  </a:lnTo>
                  <a:lnTo>
                    <a:pt x="200" y="72"/>
                  </a:lnTo>
                  <a:lnTo>
                    <a:pt x="197" y="71"/>
                  </a:lnTo>
                  <a:lnTo>
                    <a:pt x="194" y="72"/>
                  </a:lnTo>
                  <a:lnTo>
                    <a:pt x="192" y="71"/>
                  </a:lnTo>
                  <a:lnTo>
                    <a:pt x="189" y="68"/>
                  </a:lnTo>
                  <a:lnTo>
                    <a:pt x="188" y="66"/>
                  </a:lnTo>
                  <a:lnTo>
                    <a:pt x="188" y="63"/>
                  </a:lnTo>
                  <a:lnTo>
                    <a:pt x="186" y="63"/>
                  </a:lnTo>
                  <a:lnTo>
                    <a:pt x="183" y="63"/>
                  </a:lnTo>
                  <a:lnTo>
                    <a:pt x="186" y="65"/>
                  </a:lnTo>
                  <a:lnTo>
                    <a:pt x="184" y="67"/>
                  </a:lnTo>
                  <a:lnTo>
                    <a:pt x="183" y="70"/>
                  </a:lnTo>
                  <a:lnTo>
                    <a:pt x="180" y="71"/>
                  </a:lnTo>
                  <a:lnTo>
                    <a:pt x="177" y="71"/>
                  </a:lnTo>
                  <a:lnTo>
                    <a:pt x="175" y="72"/>
                  </a:lnTo>
                  <a:lnTo>
                    <a:pt x="171" y="72"/>
                  </a:lnTo>
                  <a:lnTo>
                    <a:pt x="169" y="72"/>
                  </a:lnTo>
                  <a:lnTo>
                    <a:pt x="166" y="72"/>
                  </a:lnTo>
                  <a:lnTo>
                    <a:pt x="163" y="70"/>
                  </a:lnTo>
                  <a:lnTo>
                    <a:pt x="162" y="67"/>
                  </a:lnTo>
                  <a:lnTo>
                    <a:pt x="162" y="70"/>
                  </a:lnTo>
                  <a:lnTo>
                    <a:pt x="160" y="72"/>
                  </a:lnTo>
                  <a:lnTo>
                    <a:pt x="158" y="72"/>
                  </a:lnTo>
                  <a:lnTo>
                    <a:pt x="155" y="68"/>
                  </a:lnTo>
                  <a:lnTo>
                    <a:pt x="155" y="72"/>
                  </a:lnTo>
                  <a:lnTo>
                    <a:pt x="153" y="72"/>
                  </a:lnTo>
                  <a:lnTo>
                    <a:pt x="150" y="73"/>
                  </a:lnTo>
                  <a:lnTo>
                    <a:pt x="147" y="73"/>
                  </a:lnTo>
                  <a:lnTo>
                    <a:pt x="146" y="70"/>
                  </a:lnTo>
                  <a:lnTo>
                    <a:pt x="143" y="73"/>
                  </a:lnTo>
                  <a:lnTo>
                    <a:pt x="141" y="72"/>
                  </a:lnTo>
                  <a:lnTo>
                    <a:pt x="138" y="70"/>
                  </a:lnTo>
                  <a:lnTo>
                    <a:pt x="138" y="73"/>
                  </a:lnTo>
                  <a:lnTo>
                    <a:pt x="136" y="73"/>
                  </a:lnTo>
                  <a:lnTo>
                    <a:pt x="134" y="73"/>
                  </a:lnTo>
                  <a:lnTo>
                    <a:pt x="130" y="71"/>
                  </a:lnTo>
                  <a:lnTo>
                    <a:pt x="128" y="73"/>
                  </a:lnTo>
                  <a:lnTo>
                    <a:pt x="125" y="72"/>
                  </a:lnTo>
                  <a:lnTo>
                    <a:pt x="122" y="73"/>
                  </a:lnTo>
                  <a:lnTo>
                    <a:pt x="119" y="72"/>
                  </a:lnTo>
                  <a:lnTo>
                    <a:pt x="117" y="72"/>
                  </a:lnTo>
                  <a:lnTo>
                    <a:pt x="113" y="70"/>
                  </a:lnTo>
                  <a:lnTo>
                    <a:pt x="116" y="67"/>
                  </a:lnTo>
                  <a:lnTo>
                    <a:pt x="115" y="64"/>
                  </a:lnTo>
                  <a:lnTo>
                    <a:pt x="113" y="62"/>
                  </a:lnTo>
                  <a:lnTo>
                    <a:pt x="111" y="64"/>
                  </a:lnTo>
                  <a:lnTo>
                    <a:pt x="110" y="67"/>
                  </a:lnTo>
                  <a:lnTo>
                    <a:pt x="108" y="64"/>
                  </a:lnTo>
                  <a:lnTo>
                    <a:pt x="107" y="67"/>
                  </a:lnTo>
                  <a:lnTo>
                    <a:pt x="105" y="70"/>
                  </a:lnTo>
                  <a:lnTo>
                    <a:pt x="102" y="70"/>
                  </a:lnTo>
                  <a:lnTo>
                    <a:pt x="100" y="71"/>
                  </a:lnTo>
                  <a:lnTo>
                    <a:pt x="98" y="71"/>
                  </a:lnTo>
                  <a:lnTo>
                    <a:pt x="94" y="70"/>
                  </a:lnTo>
                  <a:lnTo>
                    <a:pt x="93" y="71"/>
                  </a:lnTo>
                  <a:lnTo>
                    <a:pt x="90" y="70"/>
                  </a:lnTo>
                  <a:lnTo>
                    <a:pt x="87" y="70"/>
                  </a:lnTo>
                  <a:lnTo>
                    <a:pt x="85" y="68"/>
                  </a:lnTo>
                  <a:lnTo>
                    <a:pt x="82" y="67"/>
                  </a:lnTo>
                  <a:lnTo>
                    <a:pt x="83" y="64"/>
                  </a:lnTo>
                  <a:lnTo>
                    <a:pt x="83" y="62"/>
                  </a:lnTo>
                  <a:lnTo>
                    <a:pt x="81" y="64"/>
                  </a:lnTo>
                  <a:lnTo>
                    <a:pt x="77" y="66"/>
                  </a:lnTo>
                  <a:lnTo>
                    <a:pt x="79" y="68"/>
                  </a:lnTo>
                  <a:lnTo>
                    <a:pt x="76" y="66"/>
                  </a:lnTo>
                  <a:lnTo>
                    <a:pt x="74" y="68"/>
                  </a:lnTo>
                  <a:lnTo>
                    <a:pt x="70" y="66"/>
                  </a:lnTo>
                  <a:lnTo>
                    <a:pt x="68" y="65"/>
                  </a:lnTo>
                  <a:lnTo>
                    <a:pt x="67" y="63"/>
                  </a:lnTo>
                  <a:lnTo>
                    <a:pt x="66" y="59"/>
                  </a:lnTo>
                  <a:lnTo>
                    <a:pt x="64" y="57"/>
                  </a:lnTo>
                  <a:lnTo>
                    <a:pt x="66" y="54"/>
                  </a:lnTo>
                  <a:lnTo>
                    <a:pt x="62" y="54"/>
                  </a:lnTo>
                  <a:lnTo>
                    <a:pt x="60" y="51"/>
                  </a:lnTo>
                  <a:lnTo>
                    <a:pt x="61" y="48"/>
                  </a:lnTo>
                  <a:lnTo>
                    <a:pt x="61" y="46"/>
                  </a:lnTo>
                  <a:lnTo>
                    <a:pt x="64" y="43"/>
                  </a:lnTo>
                  <a:lnTo>
                    <a:pt x="67" y="42"/>
                  </a:lnTo>
                  <a:lnTo>
                    <a:pt x="66" y="39"/>
                  </a:lnTo>
                  <a:lnTo>
                    <a:pt x="65" y="37"/>
                  </a:lnTo>
                  <a:lnTo>
                    <a:pt x="64" y="33"/>
                  </a:lnTo>
                  <a:lnTo>
                    <a:pt x="60" y="32"/>
                  </a:lnTo>
                  <a:lnTo>
                    <a:pt x="58" y="30"/>
                  </a:lnTo>
                  <a:lnTo>
                    <a:pt x="58" y="28"/>
                  </a:lnTo>
                  <a:lnTo>
                    <a:pt x="56" y="24"/>
                  </a:lnTo>
                  <a:lnTo>
                    <a:pt x="53" y="23"/>
                  </a:lnTo>
                  <a:lnTo>
                    <a:pt x="50" y="20"/>
                  </a:lnTo>
                  <a:lnTo>
                    <a:pt x="47" y="21"/>
                  </a:lnTo>
                  <a:lnTo>
                    <a:pt x="44" y="23"/>
                  </a:lnTo>
                  <a:lnTo>
                    <a:pt x="42" y="23"/>
                  </a:lnTo>
                  <a:lnTo>
                    <a:pt x="39" y="23"/>
                  </a:lnTo>
                  <a:lnTo>
                    <a:pt x="35" y="23"/>
                  </a:lnTo>
                  <a:lnTo>
                    <a:pt x="33" y="23"/>
                  </a:lnTo>
                  <a:lnTo>
                    <a:pt x="30" y="22"/>
                  </a:lnTo>
                  <a:lnTo>
                    <a:pt x="27" y="23"/>
                  </a:lnTo>
                  <a:lnTo>
                    <a:pt x="24" y="24"/>
                  </a:lnTo>
                  <a:lnTo>
                    <a:pt x="22" y="22"/>
                  </a:lnTo>
                  <a:lnTo>
                    <a:pt x="24" y="22"/>
                  </a:lnTo>
                  <a:lnTo>
                    <a:pt x="27" y="21"/>
                  </a:lnTo>
                  <a:lnTo>
                    <a:pt x="21" y="20"/>
                  </a:lnTo>
                  <a:lnTo>
                    <a:pt x="18" y="20"/>
                  </a:lnTo>
                  <a:lnTo>
                    <a:pt x="16" y="20"/>
                  </a:lnTo>
                  <a:lnTo>
                    <a:pt x="13" y="19"/>
                  </a:lnTo>
                  <a:lnTo>
                    <a:pt x="11" y="16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4" y="15"/>
                  </a:lnTo>
                  <a:lnTo>
                    <a:pt x="11" y="14"/>
                  </a:lnTo>
                  <a:lnTo>
                    <a:pt x="8" y="13"/>
                  </a:lnTo>
                  <a:lnTo>
                    <a:pt x="6" y="12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4" y="9"/>
                  </a:lnTo>
                  <a:lnTo>
                    <a:pt x="6" y="7"/>
                  </a:lnTo>
                  <a:lnTo>
                    <a:pt x="4" y="6"/>
                  </a:lnTo>
                  <a:lnTo>
                    <a:pt x="0" y="4"/>
                  </a:lnTo>
                  <a:lnTo>
                    <a:pt x="4" y="3"/>
                  </a:lnTo>
                  <a:lnTo>
                    <a:pt x="6" y="3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21" y="0"/>
                  </a:lnTo>
                  <a:lnTo>
                    <a:pt x="23" y="2"/>
                  </a:lnTo>
                  <a:lnTo>
                    <a:pt x="25" y="3"/>
                  </a:lnTo>
                  <a:lnTo>
                    <a:pt x="28" y="3"/>
                  </a:lnTo>
                  <a:lnTo>
                    <a:pt x="31" y="3"/>
                  </a:lnTo>
                  <a:lnTo>
                    <a:pt x="34" y="5"/>
                  </a:lnTo>
                  <a:lnTo>
                    <a:pt x="36" y="5"/>
                  </a:lnTo>
                  <a:lnTo>
                    <a:pt x="40" y="4"/>
                  </a:lnTo>
                  <a:lnTo>
                    <a:pt x="42" y="5"/>
                  </a:lnTo>
                  <a:lnTo>
                    <a:pt x="45" y="6"/>
                  </a:lnTo>
                  <a:lnTo>
                    <a:pt x="48" y="8"/>
                  </a:lnTo>
                  <a:lnTo>
                    <a:pt x="51" y="11"/>
                  </a:lnTo>
                  <a:lnTo>
                    <a:pt x="50" y="13"/>
                  </a:lnTo>
                  <a:lnTo>
                    <a:pt x="47" y="16"/>
                  </a:lnTo>
                  <a:lnTo>
                    <a:pt x="44" y="19"/>
                  </a:lnTo>
                  <a:lnTo>
                    <a:pt x="48" y="17"/>
                  </a:lnTo>
                  <a:lnTo>
                    <a:pt x="50" y="15"/>
                  </a:lnTo>
                  <a:lnTo>
                    <a:pt x="53" y="13"/>
                  </a:lnTo>
                  <a:lnTo>
                    <a:pt x="56" y="13"/>
                  </a:lnTo>
                  <a:lnTo>
                    <a:pt x="59" y="13"/>
                  </a:lnTo>
                  <a:lnTo>
                    <a:pt x="61" y="14"/>
                  </a:lnTo>
                  <a:lnTo>
                    <a:pt x="65" y="13"/>
                  </a:lnTo>
                  <a:lnTo>
                    <a:pt x="67" y="12"/>
                  </a:lnTo>
                  <a:lnTo>
                    <a:pt x="73" y="12"/>
                  </a:lnTo>
                  <a:lnTo>
                    <a:pt x="76" y="12"/>
                  </a:lnTo>
                  <a:lnTo>
                    <a:pt x="78" y="12"/>
                  </a:lnTo>
                  <a:lnTo>
                    <a:pt x="82" y="13"/>
                  </a:lnTo>
                  <a:lnTo>
                    <a:pt x="84" y="14"/>
                  </a:lnTo>
                  <a:lnTo>
                    <a:pt x="86" y="15"/>
                  </a:lnTo>
                  <a:lnTo>
                    <a:pt x="85" y="17"/>
                  </a:lnTo>
                  <a:lnTo>
                    <a:pt x="83" y="17"/>
                  </a:lnTo>
                  <a:lnTo>
                    <a:pt x="79" y="17"/>
                  </a:lnTo>
                  <a:lnTo>
                    <a:pt x="77" y="16"/>
                  </a:lnTo>
                  <a:lnTo>
                    <a:pt x="74" y="17"/>
                  </a:lnTo>
                  <a:lnTo>
                    <a:pt x="77" y="17"/>
                  </a:lnTo>
                  <a:lnTo>
                    <a:pt x="81" y="17"/>
                  </a:lnTo>
                  <a:lnTo>
                    <a:pt x="83" y="19"/>
                  </a:lnTo>
                  <a:lnTo>
                    <a:pt x="85" y="20"/>
                  </a:lnTo>
                  <a:lnTo>
                    <a:pt x="89" y="20"/>
                  </a:lnTo>
                  <a:lnTo>
                    <a:pt x="92" y="20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9" y="22"/>
                  </a:lnTo>
                  <a:lnTo>
                    <a:pt x="102" y="22"/>
                  </a:lnTo>
                  <a:lnTo>
                    <a:pt x="104" y="23"/>
                  </a:lnTo>
                  <a:lnTo>
                    <a:pt x="103" y="25"/>
                  </a:lnTo>
                  <a:lnTo>
                    <a:pt x="100" y="25"/>
                  </a:lnTo>
                  <a:lnTo>
                    <a:pt x="98" y="26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1" y="25"/>
                  </a:lnTo>
                  <a:lnTo>
                    <a:pt x="89" y="26"/>
                  </a:lnTo>
                  <a:lnTo>
                    <a:pt x="91" y="26"/>
                  </a:lnTo>
                  <a:lnTo>
                    <a:pt x="89" y="26"/>
                  </a:lnTo>
                  <a:lnTo>
                    <a:pt x="85" y="25"/>
                  </a:lnTo>
                  <a:lnTo>
                    <a:pt x="83" y="25"/>
                  </a:lnTo>
                  <a:lnTo>
                    <a:pt x="77" y="24"/>
                  </a:lnTo>
                  <a:lnTo>
                    <a:pt x="74" y="24"/>
                  </a:lnTo>
                  <a:lnTo>
                    <a:pt x="76" y="26"/>
                  </a:lnTo>
                  <a:lnTo>
                    <a:pt x="78" y="26"/>
                  </a:lnTo>
                  <a:lnTo>
                    <a:pt x="82" y="26"/>
                  </a:lnTo>
                  <a:lnTo>
                    <a:pt x="84" y="29"/>
                  </a:lnTo>
                  <a:lnTo>
                    <a:pt x="87" y="28"/>
                  </a:lnTo>
                  <a:lnTo>
                    <a:pt x="90" y="30"/>
                  </a:lnTo>
                  <a:lnTo>
                    <a:pt x="86" y="30"/>
                  </a:lnTo>
                  <a:lnTo>
                    <a:pt x="84" y="30"/>
                  </a:lnTo>
                  <a:lnTo>
                    <a:pt x="82" y="30"/>
                  </a:lnTo>
                  <a:lnTo>
                    <a:pt x="78" y="30"/>
                  </a:lnTo>
                  <a:lnTo>
                    <a:pt x="82" y="30"/>
                  </a:lnTo>
                  <a:lnTo>
                    <a:pt x="81" y="33"/>
                  </a:lnTo>
                  <a:lnTo>
                    <a:pt x="83" y="31"/>
                  </a:lnTo>
                  <a:lnTo>
                    <a:pt x="86" y="31"/>
                  </a:lnTo>
                  <a:lnTo>
                    <a:pt x="89" y="32"/>
                  </a:lnTo>
                  <a:lnTo>
                    <a:pt x="92" y="32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8" y="33"/>
                  </a:lnTo>
                  <a:lnTo>
                    <a:pt x="98" y="36"/>
                  </a:lnTo>
                  <a:lnTo>
                    <a:pt x="100" y="34"/>
                  </a:lnTo>
                  <a:lnTo>
                    <a:pt x="102" y="36"/>
                  </a:lnTo>
                  <a:lnTo>
                    <a:pt x="105" y="38"/>
                  </a:lnTo>
                  <a:lnTo>
                    <a:pt x="103" y="41"/>
                  </a:lnTo>
                  <a:lnTo>
                    <a:pt x="100" y="41"/>
                  </a:lnTo>
                  <a:lnTo>
                    <a:pt x="98" y="42"/>
                  </a:lnTo>
                  <a:lnTo>
                    <a:pt x="100" y="43"/>
                  </a:lnTo>
                  <a:lnTo>
                    <a:pt x="103" y="42"/>
                  </a:lnTo>
                  <a:lnTo>
                    <a:pt x="105" y="43"/>
                  </a:lnTo>
                  <a:lnTo>
                    <a:pt x="108" y="46"/>
                  </a:lnTo>
                  <a:lnTo>
                    <a:pt x="111" y="46"/>
                  </a:lnTo>
                  <a:lnTo>
                    <a:pt x="111" y="43"/>
                  </a:lnTo>
                  <a:lnTo>
                    <a:pt x="111" y="41"/>
                  </a:lnTo>
                  <a:lnTo>
                    <a:pt x="113" y="40"/>
                  </a:lnTo>
                  <a:lnTo>
                    <a:pt x="116" y="42"/>
                  </a:lnTo>
                  <a:lnTo>
                    <a:pt x="118" y="46"/>
                  </a:lnTo>
                  <a:lnTo>
                    <a:pt x="121" y="43"/>
                  </a:lnTo>
                  <a:lnTo>
                    <a:pt x="124" y="42"/>
                  </a:lnTo>
                  <a:lnTo>
                    <a:pt x="126" y="42"/>
                  </a:lnTo>
                  <a:lnTo>
                    <a:pt x="129" y="45"/>
                  </a:lnTo>
                  <a:lnTo>
                    <a:pt x="130" y="41"/>
                  </a:lnTo>
                  <a:lnTo>
                    <a:pt x="133" y="42"/>
                  </a:lnTo>
                  <a:lnTo>
                    <a:pt x="136" y="45"/>
                  </a:lnTo>
                  <a:lnTo>
                    <a:pt x="138" y="46"/>
                  </a:lnTo>
                  <a:lnTo>
                    <a:pt x="142" y="46"/>
                  </a:lnTo>
                  <a:lnTo>
                    <a:pt x="143" y="48"/>
                  </a:lnTo>
                  <a:lnTo>
                    <a:pt x="146" y="47"/>
                  </a:lnTo>
                  <a:lnTo>
                    <a:pt x="149" y="47"/>
                  </a:lnTo>
                  <a:lnTo>
                    <a:pt x="151" y="47"/>
                  </a:lnTo>
                  <a:lnTo>
                    <a:pt x="154" y="47"/>
                  </a:lnTo>
                  <a:lnTo>
                    <a:pt x="151" y="46"/>
                  </a:lnTo>
                  <a:lnTo>
                    <a:pt x="149" y="43"/>
                  </a:lnTo>
                  <a:lnTo>
                    <a:pt x="152" y="43"/>
                  </a:lnTo>
                  <a:lnTo>
                    <a:pt x="154" y="42"/>
                  </a:lnTo>
                  <a:lnTo>
                    <a:pt x="158" y="42"/>
                  </a:lnTo>
                  <a:lnTo>
                    <a:pt x="160" y="41"/>
                  </a:lnTo>
                  <a:lnTo>
                    <a:pt x="163" y="40"/>
                  </a:lnTo>
                  <a:lnTo>
                    <a:pt x="166" y="40"/>
                  </a:lnTo>
                  <a:lnTo>
                    <a:pt x="168" y="39"/>
                  </a:lnTo>
                  <a:lnTo>
                    <a:pt x="171" y="39"/>
                  </a:lnTo>
                  <a:lnTo>
                    <a:pt x="173" y="38"/>
                  </a:lnTo>
                  <a:lnTo>
                    <a:pt x="177" y="36"/>
                  </a:lnTo>
                  <a:lnTo>
                    <a:pt x="179" y="36"/>
                  </a:lnTo>
                  <a:lnTo>
                    <a:pt x="181" y="37"/>
                  </a:lnTo>
                  <a:lnTo>
                    <a:pt x="185" y="38"/>
                  </a:lnTo>
                  <a:lnTo>
                    <a:pt x="190" y="38"/>
                  </a:lnTo>
                  <a:lnTo>
                    <a:pt x="193" y="37"/>
                  </a:lnTo>
                  <a:lnTo>
                    <a:pt x="196" y="36"/>
                  </a:lnTo>
                  <a:lnTo>
                    <a:pt x="198" y="36"/>
                  </a:lnTo>
                  <a:lnTo>
                    <a:pt x="202" y="36"/>
                  </a:lnTo>
                  <a:lnTo>
                    <a:pt x="204" y="36"/>
                  </a:lnTo>
                  <a:lnTo>
                    <a:pt x="211" y="36"/>
                  </a:lnTo>
                  <a:lnTo>
                    <a:pt x="213" y="37"/>
                  </a:lnTo>
                  <a:lnTo>
                    <a:pt x="217" y="38"/>
                  </a:lnTo>
                  <a:lnTo>
                    <a:pt x="214" y="40"/>
                  </a:lnTo>
                  <a:lnTo>
                    <a:pt x="218" y="41"/>
                  </a:lnTo>
                  <a:lnTo>
                    <a:pt x="220" y="41"/>
                  </a:lnTo>
                  <a:lnTo>
                    <a:pt x="223" y="40"/>
                  </a:lnTo>
                  <a:lnTo>
                    <a:pt x="226" y="41"/>
                  </a:lnTo>
                  <a:lnTo>
                    <a:pt x="229" y="41"/>
                  </a:lnTo>
                  <a:lnTo>
                    <a:pt x="231" y="43"/>
                  </a:lnTo>
                  <a:lnTo>
                    <a:pt x="231" y="43"/>
                  </a:lnTo>
                  <a:close/>
                  <a:moveTo>
                    <a:pt x="231" y="93"/>
                  </a:moveTo>
                  <a:lnTo>
                    <a:pt x="231" y="93"/>
                  </a:lnTo>
                  <a:lnTo>
                    <a:pt x="235" y="94"/>
                  </a:lnTo>
                  <a:lnTo>
                    <a:pt x="237" y="94"/>
                  </a:lnTo>
                  <a:lnTo>
                    <a:pt x="240" y="96"/>
                  </a:lnTo>
                  <a:lnTo>
                    <a:pt x="246" y="96"/>
                  </a:lnTo>
                  <a:lnTo>
                    <a:pt x="248" y="94"/>
                  </a:lnTo>
                  <a:lnTo>
                    <a:pt x="252" y="94"/>
                  </a:lnTo>
                  <a:lnTo>
                    <a:pt x="254" y="94"/>
                  </a:lnTo>
                  <a:lnTo>
                    <a:pt x="257" y="94"/>
                  </a:lnTo>
                  <a:lnTo>
                    <a:pt x="260" y="96"/>
                  </a:lnTo>
                  <a:lnTo>
                    <a:pt x="263" y="97"/>
                  </a:lnTo>
                  <a:lnTo>
                    <a:pt x="265" y="97"/>
                  </a:lnTo>
                  <a:lnTo>
                    <a:pt x="269" y="99"/>
                  </a:lnTo>
                  <a:lnTo>
                    <a:pt x="271" y="100"/>
                  </a:lnTo>
                  <a:lnTo>
                    <a:pt x="273" y="103"/>
                  </a:lnTo>
                  <a:lnTo>
                    <a:pt x="275" y="103"/>
                  </a:lnTo>
                  <a:lnTo>
                    <a:pt x="278" y="106"/>
                  </a:lnTo>
                  <a:lnTo>
                    <a:pt x="279" y="109"/>
                  </a:lnTo>
                  <a:lnTo>
                    <a:pt x="281" y="110"/>
                  </a:lnTo>
                  <a:lnTo>
                    <a:pt x="282" y="113"/>
                  </a:lnTo>
                  <a:lnTo>
                    <a:pt x="284" y="116"/>
                  </a:lnTo>
                  <a:lnTo>
                    <a:pt x="281" y="117"/>
                  </a:lnTo>
                  <a:lnTo>
                    <a:pt x="279" y="117"/>
                  </a:lnTo>
                  <a:lnTo>
                    <a:pt x="275" y="116"/>
                  </a:lnTo>
                  <a:lnTo>
                    <a:pt x="273" y="116"/>
                  </a:lnTo>
                  <a:lnTo>
                    <a:pt x="270" y="116"/>
                  </a:lnTo>
                  <a:lnTo>
                    <a:pt x="267" y="116"/>
                  </a:lnTo>
                  <a:lnTo>
                    <a:pt x="265" y="115"/>
                  </a:lnTo>
                  <a:lnTo>
                    <a:pt x="256" y="115"/>
                  </a:lnTo>
                  <a:lnTo>
                    <a:pt x="254" y="115"/>
                  </a:lnTo>
                  <a:lnTo>
                    <a:pt x="250" y="116"/>
                  </a:lnTo>
                  <a:lnTo>
                    <a:pt x="248" y="116"/>
                  </a:lnTo>
                  <a:lnTo>
                    <a:pt x="245" y="117"/>
                  </a:lnTo>
                  <a:lnTo>
                    <a:pt x="243" y="118"/>
                  </a:lnTo>
                  <a:lnTo>
                    <a:pt x="239" y="119"/>
                  </a:lnTo>
                  <a:lnTo>
                    <a:pt x="237" y="118"/>
                  </a:lnTo>
                  <a:lnTo>
                    <a:pt x="233" y="116"/>
                  </a:lnTo>
                  <a:lnTo>
                    <a:pt x="231" y="116"/>
                  </a:lnTo>
                  <a:lnTo>
                    <a:pt x="230" y="114"/>
                  </a:lnTo>
                  <a:lnTo>
                    <a:pt x="229" y="111"/>
                  </a:lnTo>
                  <a:lnTo>
                    <a:pt x="229" y="108"/>
                  </a:lnTo>
                  <a:lnTo>
                    <a:pt x="228" y="106"/>
                  </a:lnTo>
                  <a:lnTo>
                    <a:pt x="224" y="105"/>
                  </a:lnTo>
                  <a:lnTo>
                    <a:pt x="222" y="105"/>
                  </a:lnTo>
                  <a:lnTo>
                    <a:pt x="219" y="103"/>
                  </a:lnTo>
                  <a:lnTo>
                    <a:pt x="219" y="100"/>
                  </a:lnTo>
                  <a:lnTo>
                    <a:pt x="220" y="98"/>
                  </a:lnTo>
                  <a:lnTo>
                    <a:pt x="220" y="94"/>
                  </a:lnTo>
                  <a:lnTo>
                    <a:pt x="220" y="92"/>
                  </a:lnTo>
                  <a:lnTo>
                    <a:pt x="222" y="92"/>
                  </a:lnTo>
                  <a:lnTo>
                    <a:pt x="226" y="92"/>
                  </a:lnTo>
                  <a:lnTo>
                    <a:pt x="228" y="93"/>
                  </a:lnTo>
                  <a:lnTo>
                    <a:pt x="231" y="93"/>
                  </a:lnTo>
                  <a:lnTo>
                    <a:pt x="231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3" name="Freeform 233">
              <a:extLst>
                <a:ext uri="{FF2B5EF4-FFF2-40B4-BE49-F238E27FC236}">
                  <a16:creationId xmlns:a16="http://schemas.microsoft.com/office/drawing/2014/main" id="{94F5788B-70E7-4B4D-9C7D-C6049B7960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4738" y="2330450"/>
              <a:ext cx="119062" cy="74613"/>
            </a:xfrm>
            <a:custGeom>
              <a:avLst/>
              <a:gdLst>
                <a:gd name="T0" fmla="*/ 36 w 75"/>
                <a:gd name="T1" fmla="*/ 31 h 47"/>
                <a:gd name="T2" fmla="*/ 39 w 75"/>
                <a:gd name="T3" fmla="*/ 30 h 47"/>
                <a:gd name="T4" fmla="*/ 47 w 75"/>
                <a:gd name="T5" fmla="*/ 28 h 47"/>
                <a:gd name="T6" fmla="*/ 49 w 75"/>
                <a:gd name="T7" fmla="*/ 27 h 47"/>
                <a:gd name="T8" fmla="*/ 38 w 75"/>
                <a:gd name="T9" fmla="*/ 28 h 47"/>
                <a:gd name="T10" fmla="*/ 30 w 75"/>
                <a:gd name="T11" fmla="*/ 29 h 47"/>
                <a:gd name="T12" fmla="*/ 21 w 75"/>
                <a:gd name="T13" fmla="*/ 30 h 47"/>
                <a:gd name="T14" fmla="*/ 10 w 75"/>
                <a:gd name="T15" fmla="*/ 31 h 47"/>
                <a:gd name="T16" fmla="*/ 2 w 75"/>
                <a:gd name="T17" fmla="*/ 31 h 47"/>
                <a:gd name="T18" fmla="*/ 5 w 75"/>
                <a:gd name="T19" fmla="*/ 26 h 47"/>
                <a:gd name="T20" fmla="*/ 9 w 75"/>
                <a:gd name="T21" fmla="*/ 25 h 47"/>
                <a:gd name="T22" fmla="*/ 11 w 75"/>
                <a:gd name="T23" fmla="*/ 21 h 47"/>
                <a:gd name="T24" fmla="*/ 20 w 75"/>
                <a:gd name="T25" fmla="*/ 26 h 47"/>
                <a:gd name="T26" fmla="*/ 23 w 75"/>
                <a:gd name="T27" fmla="*/ 25 h 47"/>
                <a:gd name="T28" fmla="*/ 20 w 75"/>
                <a:gd name="T29" fmla="*/ 18 h 47"/>
                <a:gd name="T30" fmla="*/ 12 w 75"/>
                <a:gd name="T31" fmla="*/ 17 h 47"/>
                <a:gd name="T32" fmla="*/ 14 w 75"/>
                <a:gd name="T33" fmla="*/ 12 h 47"/>
                <a:gd name="T34" fmla="*/ 10 w 75"/>
                <a:gd name="T35" fmla="*/ 9 h 47"/>
                <a:gd name="T36" fmla="*/ 18 w 75"/>
                <a:gd name="T37" fmla="*/ 7 h 47"/>
                <a:gd name="T38" fmla="*/ 22 w 75"/>
                <a:gd name="T39" fmla="*/ 12 h 47"/>
                <a:gd name="T40" fmla="*/ 30 w 75"/>
                <a:gd name="T41" fmla="*/ 17 h 47"/>
                <a:gd name="T42" fmla="*/ 38 w 75"/>
                <a:gd name="T43" fmla="*/ 21 h 47"/>
                <a:gd name="T44" fmla="*/ 44 w 75"/>
                <a:gd name="T45" fmla="*/ 19 h 47"/>
                <a:gd name="T46" fmla="*/ 38 w 75"/>
                <a:gd name="T47" fmla="*/ 18 h 47"/>
                <a:gd name="T48" fmla="*/ 38 w 75"/>
                <a:gd name="T49" fmla="*/ 14 h 47"/>
                <a:gd name="T50" fmla="*/ 40 w 75"/>
                <a:gd name="T51" fmla="*/ 14 h 47"/>
                <a:gd name="T52" fmla="*/ 32 w 75"/>
                <a:gd name="T53" fmla="*/ 11 h 47"/>
                <a:gd name="T54" fmla="*/ 38 w 75"/>
                <a:gd name="T55" fmla="*/ 10 h 47"/>
                <a:gd name="T56" fmla="*/ 28 w 75"/>
                <a:gd name="T57" fmla="*/ 7 h 47"/>
                <a:gd name="T58" fmla="*/ 32 w 75"/>
                <a:gd name="T59" fmla="*/ 1 h 47"/>
                <a:gd name="T60" fmla="*/ 44 w 75"/>
                <a:gd name="T61" fmla="*/ 2 h 47"/>
                <a:gd name="T62" fmla="*/ 51 w 75"/>
                <a:gd name="T63" fmla="*/ 7 h 47"/>
                <a:gd name="T64" fmla="*/ 55 w 75"/>
                <a:gd name="T65" fmla="*/ 2 h 47"/>
                <a:gd name="T66" fmla="*/ 57 w 75"/>
                <a:gd name="T67" fmla="*/ 0 h 47"/>
                <a:gd name="T68" fmla="*/ 61 w 75"/>
                <a:gd name="T69" fmla="*/ 3 h 47"/>
                <a:gd name="T70" fmla="*/ 69 w 75"/>
                <a:gd name="T71" fmla="*/ 4 h 47"/>
                <a:gd name="T72" fmla="*/ 72 w 75"/>
                <a:gd name="T73" fmla="*/ 12 h 47"/>
                <a:gd name="T74" fmla="*/ 71 w 75"/>
                <a:gd name="T75" fmla="*/ 21 h 47"/>
                <a:gd name="T76" fmla="*/ 71 w 75"/>
                <a:gd name="T77" fmla="*/ 27 h 47"/>
                <a:gd name="T78" fmla="*/ 73 w 75"/>
                <a:gd name="T79" fmla="*/ 33 h 47"/>
                <a:gd name="T80" fmla="*/ 71 w 75"/>
                <a:gd name="T81" fmla="*/ 31 h 47"/>
                <a:gd name="T82" fmla="*/ 66 w 75"/>
                <a:gd name="T83" fmla="*/ 36 h 47"/>
                <a:gd name="T84" fmla="*/ 69 w 75"/>
                <a:gd name="T85" fmla="*/ 41 h 47"/>
                <a:gd name="T86" fmla="*/ 64 w 75"/>
                <a:gd name="T87" fmla="*/ 41 h 47"/>
                <a:gd name="T88" fmla="*/ 63 w 75"/>
                <a:gd name="T89" fmla="*/ 46 h 47"/>
                <a:gd name="T90" fmla="*/ 55 w 75"/>
                <a:gd name="T91" fmla="*/ 46 h 47"/>
                <a:gd name="T92" fmla="*/ 46 w 75"/>
                <a:gd name="T93" fmla="*/ 44 h 47"/>
                <a:gd name="T94" fmla="*/ 38 w 75"/>
                <a:gd name="T95" fmla="*/ 47 h 47"/>
                <a:gd name="T96" fmla="*/ 32 w 75"/>
                <a:gd name="T97" fmla="*/ 41 h 47"/>
                <a:gd name="T98" fmla="*/ 38 w 75"/>
                <a:gd name="T99" fmla="*/ 39 h 47"/>
                <a:gd name="T100" fmla="*/ 32 w 75"/>
                <a:gd name="T101" fmla="*/ 38 h 47"/>
                <a:gd name="T102" fmla="*/ 30 w 75"/>
                <a:gd name="T103" fmla="*/ 34 h 47"/>
                <a:gd name="T104" fmla="*/ 38 w 75"/>
                <a:gd name="T105" fmla="*/ 3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5" h="47">
                  <a:moveTo>
                    <a:pt x="38" y="33"/>
                  </a:moveTo>
                  <a:lnTo>
                    <a:pt x="38" y="33"/>
                  </a:lnTo>
                  <a:lnTo>
                    <a:pt x="36" y="31"/>
                  </a:lnTo>
                  <a:lnTo>
                    <a:pt x="38" y="31"/>
                  </a:lnTo>
                  <a:lnTo>
                    <a:pt x="38" y="30"/>
                  </a:lnTo>
                  <a:lnTo>
                    <a:pt x="39" y="30"/>
                  </a:lnTo>
                  <a:lnTo>
                    <a:pt x="42" y="28"/>
                  </a:lnTo>
                  <a:lnTo>
                    <a:pt x="45" y="28"/>
                  </a:lnTo>
                  <a:lnTo>
                    <a:pt x="47" y="28"/>
                  </a:lnTo>
                  <a:lnTo>
                    <a:pt x="51" y="28"/>
                  </a:lnTo>
                  <a:lnTo>
                    <a:pt x="53" y="27"/>
                  </a:lnTo>
                  <a:lnTo>
                    <a:pt x="49" y="27"/>
                  </a:lnTo>
                  <a:lnTo>
                    <a:pt x="44" y="27"/>
                  </a:lnTo>
                  <a:lnTo>
                    <a:pt x="42" y="27"/>
                  </a:lnTo>
                  <a:lnTo>
                    <a:pt x="38" y="28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30" y="29"/>
                  </a:lnTo>
                  <a:lnTo>
                    <a:pt x="27" y="29"/>
                  </a:lnTo>
                  <a:lnTo>
                    <a:pt x="25" y="29"/>
                  </a:lnTo>
                  <a:lnTo>
                    <a:pt x="21" y="30"/>
                  </a:lnTo>
                  <a:lnTo>
                    <a:pt x="19" y="30"/>
                  </a:lnTo>
                  <a:lnTo>
                    <a:pt x="13" y="30"/>
                  </a:lnTo>
                  <a:lnTo>
                    <a:pt x="10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2" y="31"/>
                  </a:lnTo>
                  <a:lnTo>
                    <a:pt x="0" y="29"/>
                  </a:lnTo>
                  <a:lnTo>
                    <a:pt x="2" y="28"/>
                  </a:lnTo>
                  <a:lnTo>
                    <a:pt x="5" y="26"/>
                  </a:lnTo>
                  <a:lnTo>
                    <a:pt x="8" y="26"/>
                  </a:lnTo>
                  <a:lnTo>
                    <a:pt x="10" y="27"/>
                  </a:lnTo>
                  <a:lnTo>
                    <a:pt x="9" y="25"/>
                  </a:lnTo>
                  <a:lnTo>
                    <a:pt x="5" y="24"/>
                  </a:lnTo>
                  <a:lnTo>
                    <a:pt x="9" y="22"/>
                  </a:lnTo>
                  <a:lnTo>
                    <a:pt x="11" y="21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6"/>
                  </a:lnTo>
                  <a:lnTo>
                    <a:pt x="22" y="25"/>
                  </a:lnTo>
                  <a:lnTo>
                    <a:pt x="26" y="24"/>
                  </a:lnTo>
                  <a:lnTo>
                    <a:pt x="23" y="25"/>
                  </a:lnTo>
                  <a:lnTo>
                    <a:pt x="20" y="24"/>
                  </a:lnTo>
                  <a:lnTo>
                    <a:pt x="17" y="20"/>
                  </a:lnTo>
                  <a:lnTo>
                    <a:pt x="20" y="18"/>
                  </a:lnTo>
                  <a:lnTo>
                    <a:pt x="18" y="19"/>
                  </a:lnTo>
                  <a:lnTo>
                    <a:pt x="14" y="19"/>
                  </a:lnTo>
                  <a:lnTo>
                    <a:pt x="12" y="17"/>
                  </a:lnTo>
                  <a:lnTo>
                    <a:pt x="14" y="13"/>
                  </a:lnTo>
                  <a:lnTo>
                    <a:pt x="18" y="12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9" y="12"/>
                  </a:lnTo>
                  <a:lnTo>
                    <a:pt x="10" y="9"/>
                  </a:lnTo>
                  <a:lnTo>
                    <a:pt x="12" y="7"/>
                  </a:lnTo>
                  <a:lnTo>
                    <a:pt x="15" y="5"/>
                  </a:lnTo>
                  <a:lnTo>
                    <a:pt x="18" y="7"/>
                  </a:lnTo>
                  <a:lnTo>
                    <a:pt x="21" y="8"/>
                  </a:lnTo>
                  <a:lnTo>
                    <a:pt x="23" y="9"/>
                  </a:lnTo>
                  <a:lnTo>
                    <a:pt x="22" y="12"/>
                  </a:lnTo>
                  <a:lnTo>
                    <a:pt x="26" y="12"/>
                  </a:lnTo>
                  <a:lnTo>
                    <a:pt x="28" y="13"/>
                  </a:lnTo>
                  <a:lnTo>
                    <a:pt x="30" y="17"/>
                  </a:lnTo>
                  <a:lnTo>
                    <a:pt x="32" y="17"/>
                  </a:lnTo>
                  <a:lnTo>
                    <a:pt x="36" y="19"/>
                  </a:lnTo>
                  <a:lnTo>
                    <a:pt x="38" y="21"/>
                  </a:lnTo>
                  <a:lnTo>
                    <a:pt x="38" y="22"/>
                  </a:lnTo>
                  <a:lnTo>
                    <a:pt x="42" y="21"/>
                  </a:lnTo>
                  <a:lnTo>
                    <a:pt x="44" y="19"/>
                  </a:lnTo>
                  <a:lnTo>
                    <a:pt x="42" y="20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7" y="18"/>
                  </a:lnTo>
                  <a:lnTo>
                    <a:pt x="36" y="14"/>
                  </a:lnTo>
                  <a:lnTo>
                    <a:pt x="38" y="14"/>
                  </a:lnTo>
                  <a:lnTo>
                    <a:pt x="40" y="14"/>
                  </a:lnTo>
                  <a:lnTo>
                    <a:pt x="44" y="14"/>
                  </a:lnTo>
                  <a:lnTo>
                    <a:pt x="40" y="14"/>
                  </a:lnTo>
                  <a:lnTo>
                    <a:pt x="38" y="13"/>
                  </a:lnTo>
                  <a:lnTo>
                    <a:pt x="36" y="13"/>
                  </a:lnTo>
                  <a:lnTo>
                    <a:pt x="32" y="11"/>
                  </a:lnTo>
                  <a:lnTo>
                    <a:pt x="36" y="10"/>
                  </a:lnTo>
                  <a:lnTo>
                    <a:pt x="38" y="11"/>
                  </a:lnTo>
                  <a:lnTo>
                    <a:pt x="38" y="10"/>
                  </a:lnTo>
                  <a:lnTo>
                    <a:pt x="36" y="8"/>
                  </a:lnTo>
                  <a:lnTo>
                    <a:pt x="30" y="8"/>
                  </a:lnTo>
                  <a:lnTo>
                    <a:pt x="28" y="7"/>
                  </a:lnTo>
                  <a:lnTo>
                    <a:pt x="27" y="4"/>
                  </a:lnTo>
                  <a:lnTo>
                    <a:pt x="30" y="2"/>
                  </a:lnTo>
                  <a:lnTo>
                    <a:pt x="32" y="1"/>
                  </a:lnTo>
                  <a:lnTo>
                    <a:pt x="36" y="0"/>
                  </a:lnTo>
                  <a:lnTo>
                    <a:pt x="38" y="1"/>
                  </a:lnTo>
                  <a:lnTo>
                    <a:pt x="44" y="2"/>
                  </a:lnTo>
                  <a:lnTo>
                    <a:pt x="46" y="3"/>
                  </a:lnTo>
                  <a:lnTo>
                    <a:pt x="49" y="4"/>
                  </a:lnTo>
                  <a:lnTo>
                    <a:pt x="51" y="7"/>
                  </a:lnTo>
                  <a:lnTo>
                    <a:pt x="53" y="4"/>
                  </a:lnTo>
                  <a:lnTo>
                    <a:pt x="52" y="2"/>
                  </a:lnTo>
                  <a:lnTo>
                    <a:pt x="55" y="2"/>
                  </a:lnTo>
                  <a:lnTo>
                    <a:pt x="57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61" y="1"/>
                  </a:lnTo>
                  <a:lnTo>
                    <a:pt x="63" y="2"/>
                  </a:lnTo>
                  <a:lnTo>
                    <a:pt x="61" y="3"/>
                  </a:lnTo>
                  <a:lnTo>
                    <a:pt x="63" y="3"/>
                  </a:lnTo>
                  <a:lnTo>
                    <a:pt x="66" y="4"/>
                  </a:lnTo>
                  <a:lnTo>
                    <a:pt x="69" y="4"/>
                  </a:lnTo>
                  <a:lnTo>
                    <a:pt x="70" y="8"/>
                  </a:lnTo>
                  <a:lnTo>
                    <a:pt x="69" y="10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71" y="18"/>
                  </a:lnTo>
                  <a:lnTo>
                    <a:pt x="71" y="21"/>
                  </a:lnTo>
                  <a:lnTo>
                    <a:pt x="71" y="24"/>
                  </a:lnTo>
                  <a:lnTo>
                    <a:pt x="69" y="26"/>
                  </a:lnTo>
                  <a:lnTo>
                    <a:pt x="71" y="27"/>
                  </a:lnTo>
                  <a:lnTo>
                    <a:pt x="74" y="27"/>
                  </a:lnTo>
                  <a:lnTo>
                    <a:pt x="74" y="30"/>
                  </a:lnTo>
                  <a:lnTo>
                    <a:pt x="73" y="33"/>
                  </a:lnTo>
                  <a:lnTo>
                    <a:pt x="75" y="35"/>
                  </a:lnTo>
                  <a:lnTo>
                    <a:pt x="72" y="34"/>
                  </a:lnTo>
                  <a:lnTo>
                    <a:pt x="71" y="31"/>
                  </a:lnTo>
                  <a:lnTo>
                    <a:pt x="68" y="33"/>
                  </a:lnTo>
                  <a:lnTo>
                    <a:pt x="65" y="34"/>
                  </a:lnTo>
                  <a:lnTo>
                    <a:pt x="66" y="36"/>
                  </a:lnTo>
                  <a:lnTo>
                    <a:pt x="64" y="37"/>
                  </a:lnTo>
                  <a:lnTo>
                    <a:pt x="66" y="39"/>
                  </a:lnTo>
                  <a:lnTo>
                    <a:pt x="69" y="41"/>
                  </a:lnTo>
                  <a:lnTo>
                    <a:pt x="70" y="43"/>
                  </a:lnTo>
                  <a:lnTo>
                    <a:pt x="68" y="43"/>
                  </a:lnTo>
                  <a:lnTo>
                    <a:pt x="64" y="41"/>
                  </a:lnTo>
                  <a:lnTo>
                    <a:pt x="65" y="43"/>
                  </a:lnTo>
                  <a:lnTo>
                    <a:pt x="66" y="46"/>
                  </a:lnTo>
                  <a:lnTo>
                    <a:pt x="63" y="46"/>
                  </a:lnTo>
                  <a:lnTo>
                    <a:pt x="61" y="46"/>
                  </a:lnTo>
                  <a:lnTo>
                    <a:pt x="57" y="46"/>
                  </a:lnTo>
                  <a:lnTo>
                    <a:pt x="55" y="46"/>
                  </a:lnTo>
                  <a:lnTo>
                    <a:pt x="52" y="46"/>
                  </a:lnTo>
                  <a:lnTo>
                    <a:pt x="49" y="46"/>
                  </a:lnTo>
                  <a:lnTo>
                    <a:pt x="46" y="44"/>
                  </a:lnTo>
                  <a:lnTo>
                    <a:pt x="44" y="47"/>
                  </a:lnTo>
                  <a:lnTo>
                    <a:pt x="42" y="47"/>
                  </a:lnTo>
                  <a:lnTo>
                    <a:pt x="38" y="47"/>
                  </a:lnTo>
                  <a:lnTo>
                    <a:pt x="36" y="46"/>
                  </a:lnTo>
                  <a:lnTo>
                    <a:pt x="32" y="45"/>
                  </a:lnTo>
                  <a:lnTo>
                    <a:pt x="32" y="41"/>
                  </a:lnTo>
                  <a:lnTo>
                    <a:pt x="36" y="41"/>
                  </a:lnTo>
                  <a:lnTo>
                    <a:pt x="38" y="39"/>
                  </a:lnTo>
                  <a:lnTo>
                    <a:pt x="38" y="39"/>
                  </a:lnTo>
                  <a:lnTo>
                    <a:pt x="38" y="39"/>
                  </a:lnTo>
                  <a:lnTo>
                    <a:pt x="35" y="39"/>
                  </a:lnTo>
                  <a:lnTo>
                    <a:pt x="32" y="38"/>
                  </a:lnTo>
                  <a:lnTo>
                    <a:pt x="29" y="37"/>
                  </a:lnTo>
                  <a:lnTo>
                    <a:pt x="32" y="36"/>
                  </a:lnTo>
                  <a:lnTo>
                    <a:pt x="30" y="34"/>
                  </a:lnTo>
                  <a:lnTo>
                    <a:pt x="32" y="34"/>
                  </a:lnTo>
                  <a:lnTo>
                    <a:pt x="36" y="33"/>
                  </a:lnTo>
                  <a:lnTo>
                    <a:pt x="38" y="33"/>
                  </a:lnTo>
                  <a:lnTo>
                    <a:pt x="38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4" name="Freeform 234">
              <a:extLst>
                <a:ext uri="{FF2B5EF4-FFF2-40B4-BE49-F238E27FC236}">
                  <a16:creationId xmlns:a16="http://schemas.microsoft.com/office/drawing/2014/main" id="{42803298-6947-4EA9-9E22-215D2BA9A5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52825" y="2165350"/>
              <a:ext cx="150812" cy="163513"/>
            </a:xfrm>
            <a:custGeom>
              <a:avLst/>
              <a:gdLst>
                <a:gd name="T0" fmla="*/ 82 w 95"/>
                <a:gd name="T1" fmla="*/ 7 h 103"/>
                <a:gd name="T2" fmla="*/ 86 w 95"/>
                <a:gd name="T3" fmla="*/ 12 h 103"/>
                <a:gd name="T4" fmla="*/ 95 w 95"/>
                <a:gd name="T5" fmla="*/ 12 h 103"/>
                <a:gd name="T6" fmla="*/ 94 w 95"/>
                <a:gd name="T7" fmla="*/ 4 h 103"/>
                <a:gd name="T8" fmla="*/ 88 w 95"/>
                <a:gd name="T9" fmla="*/ 1 h 103"/>
                <a:gd name="T10" fmla="*/ 81 w 95"/>
                <a:gd name="T11" fmla="*/ 0 h 103"/>
                <a:gd name="T12" fmla="*/ 75 w 95"/>
                <a:gd name="T13" fmla="*/ 4 h 103"/>
                <a:gd name="T14" fmla="*/ 77 w 95"/>
                <a:gd name="T15" fmla="*/ 7 h 103"/>
                <a:gd name="T16" fmla="*/ 81 w 95"/>
                <a:gd name="T17" fmla="*/ 103 h 103"/>
                <a:gd name="T18" fmla="*/ 77 w 95"/>
                <a:gd name="T19" fmla="*/ 101 h 103"/>
                <a:gd name="T20" fmla="*/ 77 w 95"/>
                <a:gd name="T21" fmla="*/ 47 h 103"/>
                <a:gd name="T22" fmla="*/ 84 w 95"/>
                <a:gd name="T23" fmla="*/ 48 h 103"/>
                <a:gd name="T24" fmla="*/ 81 w 95"/>
                <a:gd name="T25" fmla="*/ 56 h 103"/>
                <a:gd name="T26" fmla="*/ 88 w 95"/>
                <a:gd name="T27" fmla="*/ 61 h 103"/>
                <a:gd name="T28" fmla="*/ 88 w 95"/>
                <a:gd name="T29" fmla="*/ 70 h 103"/>
                <a:gd name="T30" fmla="*/ 81 w 95"/>
                <a:gd name="T31" fmla="*/ 71 h 103"/>
                <a:gd name="T32" fmla="*/ 74 w 95"/>
                <a:gd name="T33" fmla="*/ 71 h 103"/>
                <a:gd name="T34" fmla="*/ 66 w 95"/>
                <a:gd name="T35" fmla="*/ 64 h 103"/>
                <a:gd name="T36" fmla="*/ 59 w 95"/>
                <a:gd name="T37" fmla="*/ 60 h 103"/>
                <a:gd name="T38" fmla="*/ 50 w 95"/>
                <a:gd name="T39" fmla="*/ 57 h 103"/>
                <a:gd name="T40" fmla="*/ 42 w 95"/>
                <a:gd name="T41" fmla="*/ 58 h 103"/>
                <a:gd name="T42" fmla="*/ 35 w 95"/>
                <a:gd name="T43" fmla="*/ 54 h 103"/>
                <a:gd name="T44" fmla="*/ 27 w 95"/>
                <a:gd name="T45" fmla="*/ 56 h 103"/>
                <a:gd name="T46" fmla="*/ 19 w 95"/>
                <a:gd name="T47" fmla="*/ 57 h 103"/>
                <a:gd name="T48" fmla="*/ 10 w 95"/>
                <a:gd name="T49" fmla="*/ 53 h 103"/>
                <a:gd name="T50" fmla="*/ 13 w 95"/>
                <a:gd name="T51" fmla="*/ 48 h 103"/>
                <a:gd name="T52" fmla="*/ 22 w 95"/>
                <a:gd name="T53" fmla="*/ 49 h 103"/>
                <a:gd name="T54" fmla="*/ 30 w 95"/>
                <a:gd name="T55" fmla="*/ 49 h 103"/>
                <a:gd name="T56" fmla="*/ 23 w 95"/>
                <a:gd name="T57" fmla="*/ 46 h 103"/>
                <a:gd name="T58" fmla="*/ 30 w 95"/>
                <a:gd name="T59" fmla="*/ 41 h 103"/>
                <a:gd name="T60" fmla="*/ 22 w 95"/>
                <a:gd name="T61" fmla="*/ 43 h 103"/>
                <a:gd name="T62" fmla="*/ 22 w 95"/>
                <a:gd name="T63" fmla="*/ 36 h 103"/>
                <a:gd name="T64" fmla="*/ 15 w 95"/>
                <a:gd name="T65" fmla="*/ 39 h 103"/>
                <a:gd name="T66" fmla="*/ 11 w 95"/>
                <a:gd name="T67" fmla="*/ 37 h 103"/>
                <a:gd name="T68" fmla="*/ 6 w 95"/>
                <a:gd name="T69" fmla="*/ 35 h 103"/>
                <a:gd name="T70" fmla="*/ 0 w 95"/>
                <a:gd name="T71" fmla="*/ 30 h 103"/>
                <a:gd name="T72" fmla="*/ 6 w 95"/>
                <a:gd name="T73" fmla="*/ 26 h 103"/>
                <a:gd name="T74" fmla="*/ 15 w 95"/>
                <a:gd name="T75" fmla="*/ 26 h 103"/>
                <a:gd name="T76" fmla="*/ 23 w 95"/>
                <a:gd name="T77" fmla="*/ 23 h 103"/>
                <a:gd name="T78" fmla="*/ 32 w 95"/>
                <a:gd name="T79" fmla="*/ 26 h 103"/>
                <a:gd name="T80" fmla="*/ 39 w 95"/>
                <a:gd name="T81" fmla="*/ 30 h 103"/>
                <a:gd name="T82" fmla="*/ 42 w 95"/>
                <a:gd name="T83" fmla="*/ 39 h 103"/>
                <a:gd name="T84" fmla="*/ 48 w 95"/>
                <a:gd name="T85" fmla="*/ 34 h 103"/>
                <a:gd name="T86" fmla="*/ 53 w 95"/>
                <a:gd name="T87" fmla="*/ 32 h 103"/>
                <a:gd name="T88" fmla="*/ 64 w 95"/>
                <a:gd name="T89" fmla="*/ 41 h 103"/>
                <a:gd name="T90" fmla="*/ 71 w 95"/>
                <a:gd name="T91" fmla="*/ 40 h 103"/>
                <a:gd name="T92" fmla="*/ 77 w 95"/>
                <a:gd name="T93" fmla="*/ 47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5" h="103">
                  <a:moveTo>
                    <a:pt x="77" y="7"/>
                  </a:moveTo>
                  <a:lnTo>
                    <a:pt x="78" y="7"/>
                  </a:lnTo>
                  <a:lnTo>
                    <a:pt x="82" y="7"/>
                  </a:lnTo>
                  <a:lnTo>
                    <a:pt x="84" y="7"/>
                  </a:lnTo>
                  <a:lnTo>
                    <a:pt x="87" y="9"/>
                  </a:lnTo>
                  <a:lnTo>
                    <a:pt x="86" y="12"/>
                  </a:lnTo>
                  <a:lnTo>
                    <a:pt x="90" y="12"/>
                  </a:lnTo>
                  <a:lnTo>
                    <a:pt x="92" y="13"/>
                  </a:lnTo>
                  <a:lnTo>
                    <a:pt x="95" y="12"/>
                  </a:lnTo>
                  <a:lnTo>
                    <a:pt x="95" y="10"/>
                  </a:lnTo>
                  <a:lnTo>
                    <a:pt x="94" y="7"/>
                  </a:lnTo>
                  <a:lnTo>
                    <a:pt x="94" y="4"/>
                  </a:lnTo>
                  <a:lnTo>
                    <a:pt x="94" y="3"/>
                  </a:lnTo>
                  <a:lnTo>
                    <a:pt x="91" y="1"/>
                  </a:lnTo>
                  <a:lnTo>
                    <a:pt x="88" y="1"/>
                  </a:lnTo>
                  <a:lnTo>
                    <a:pt x="85" y="1"/>
                  </a:lnTo>
                  <a:lnTo>
                    <a:pt x="83" y="0"/>
                  </a:lnTo>
                  <a:lnTo>
                    <a:pt x="81" y="0"/>
                  </a:lnTo>
                  <a:lnTo>
                    <a:pt x="79" y="0"/>
                  </a:lnTo>
                  <a:lnTo>
                    <a:pt x="76" y="2"/>
                  </a:lnTo>
                  <a:lnTo>
                    <a:pt x="75" y="4"/>
                  </a:lnTo>
                  <a:lnTo>
                    <a:pt x="75" y="5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7" y="7"/>
                  </a:lnTo>
                  <a:close/>
                  <a:moveTo>
                    <a:pt x="77" y="103"/>
                  </a:moveTo>
                  <a:lnTo>
                    <a:pt x="81" y="103"/>
                  </a:lnTo>
                  <a:lnTo>
                    <a:pt x="83" y="103"/>
                  </a:lnTo>
                  <a:lnTo>
                    <a:pt x="81" y="101"/>
                  </a:lnTo>
                  <a:lnTo>
                    <a:pt x="77" y="101"/>
                  </a:lnTo>
                  <a:lnTo>
                    <a:pt x="77" y="103"/>
                  </a:lnTo>
                  <a:lnTo>
                    <a:pt x="77" y="103"/>
                  </a:lnTo>
                  <a:close/>
                  <a:moveTo>
                    <a:pt x="77" y="47"/>
                  </a:moveTo>
                  <a:lnTo>
                    <a:pt x="78" y="47"/>
                  </a:lnTo>
                  <a:lnTo>
                    <a:pt x="81" y="47"/>
                  </a:lnTo>
                  <a:lnTo>
                    <a:pt x="84" y="48"/>
                  </a:lnTo>
                  <a:lnTo>
                    <a:pt x="82" y="51"/>
                  </a:lnTo>
                  <a:lnTo>
                    <a:pt x="81" y="54"/>
                  </a:lnTo>
                  <a:lnTo>
                    <a:pt x="81" y="56"/>
                  </a:lnTo>
                  <a:lnTo>
                    <a:pt x="84" y="56"/>
                  </a:lnTo>
                  <a:lnTo>
                    <a:pt x="86" y="60"/>
                  </a:lnTo>
                  <a:lnTo>
                    <a:pt x="88" y="61"/>
                  </a:lnTo>
                  <a:lnTo>
                    <a:pt x="92" y="64"/>
                  </a:lnTo>
                  <a:lnTo>
                    <a:pt x="90" y="66"/>
                  </a:lnTo>
                  <a:lnTo>
                    <a:pt x="88" y="70"/>
                  </a:lnTo>
                  <a:lnTo>
                    <a:pt x="86" y="70"/>
                  </a:lnTo>
                  <a:lnTo>
                    <a:pt x="83" y="71"/>
                  </a:lnTo>
                  <a:lnTo>
                    <a:pt x="81" y="71"/>
                  </a:lnTo>
                  <a:lnTo>
                    <a:pt x="77" y="71"/>
                  </a:lnTo>
                  <a:lnTo>
                    <a:pt x="76" y="71"/>
                  </a:lnTo>
                  <a:lnTo>
                    <a:pt x="74" y="71"/>
                  </a:lnTo>
                  <a:lnTo>
                    <a:pt x="70" y="70"/>
                  </a:lnTo>
                  <a:lnTo>
                    <a:pt x="68" y="68"/>
                  </a:lnTo>
                  <a:lnTo>
                    <a:pt x="66" y="64"/>
                  </a:lnTo>
                  <a:lnTo>
                    <a:pt x="65" y="62"/>
                  </a:lnTo>
                  <a:lnTo>
                    <a:pt x="61" y="60"/>
                  </a:lnTo>
                  <a:lnTo>
                    <a:pt x="59" y="60"/>
                  </a:lnTo>
                  <a:lnTo>
                    <a:pt x="56" y="58"/>
                  </a:lnTo>
                  <a:lnTo>
                    <a:pt x="53" y="57"/>
                  </a:lnTo>
                  <a:lnTo>
                    <a:pt x="50" y="57"/>
                  </a:lnTo>
                  <a:lnTo>
                    <a:pt x="48" y="56"/>
                  </a:lnTo>
                  <a:lnTo>
                    <a:pt x="44" y="57"/>
                  </a:lnTo>
                  <a:lnTo>
                    <a:pt x="42" y="58"/>
                  </a:lnTo>
                  <a:lnTo>
                    <a:pt x="39" y="56"/>
                  </a:lnTo>
                  <a:lnTo>
                    <a:pt x="39" y="54"/>
                  </a:lnTo>
                  <a:lnTo>
                    <a:pt x="35" y="54"/>
                  </a:lnTo>
                  <a:lnTo>
                    <a:pt x="33" y="55"/>
                  </a:lnTo>
                  <a:lnTo>
                    <a:pt x="31" y="55"/>
                  </a:lnTo>
                  <a:lnTo>
                    <a:pt x="27" y="56"/>
                  </a:lnTo>
                  <a:lnTo>
                    <a:pt x="25" y="57"/>
                  </a:lnTo>
                  <a:lnTo>
                    <a:pt x="22" y="57"/>
                  </a:lnTo>
                  <a:lnTo>
                    <a:pt x="19" y="57"/>
                  </a:lnTo>
                  <a:lnTo>
                    <a:pt x="16" y="57"/>
                  </a:lnTo>
                  <a:lnTo>
                    <a:pt x="14" y="55"/>
                  </a:lnTo>
                  <a:lnTo>
                    <a:pt x="10" y="53"/>
                  </a:lnTo>
                  <a:lnTo>
                    <a:pt x="8" y="51"/>
                  </a:lnTo>
                  <a:lnTo>
                    <a:pt x="10" y="48"/>
                  </a:lnTo>
                  <a:lnTo>
                    <a:pt x="13" y="48"/>
                  </a:lnTo>
                  <a:lnTo>
                    <a:pt x="16" y="48"/>
                  </a:lnTo>
                  <a:lnTo>
                    <a:pt x="18" y="48"/>
                  </a:lnTo>
                  <a:lnTo>
                    <a:pt x="22" y="49"/>
                  </a:lnTo>
                  <a:lnTo>
                    <a:pt x="24" y="49"/>
                  </a:lnTo>
                  <a:lnTo>
                    <a:pt x="27" y="49"/>
                  </a:lnTo>
                  <a:lnTo>
                    <a:pt x="30" y="49"/>
                  </a:lnTo>
                  <a:lnTo>
                    <a:pt x="28" y="47"/>
                  </a:lnTo>
                  <a:lnTo>
                    <a:pt x="26" y="47"/>
                  </a:lnTo>
                  <a:lnTo>
                    <a:pt x="23" y="46"/>
                  </a:lnTo>
                  <a:lnTo>
                    <a:pt x="26" y="45"/>
                  </a:lnTo>
                  <a:lnTo>
                    <a:pt x="30" y="44"/>
                  </a:lnTo>
                  <a:lnTo>
                    <a:pt x="30" y="41"/>
                  </a:lnTo>
                  <a:lnTo>
                    <a:pt x="27" y="41"/>
                  </a:lnTo>
                  <a:lnTo>
                    <a:pt x="24" y="41"/>
                  </a:lnTo>
                  <a:lnTo>
                    <a:pt x="22" y="43"/>
                  </a:lnTo>
                  <a:lnTo>
                    <a:pt x="22" y="40"/>
                  </a:lnTo>
                  <a:lnTo>
                    <a:pt x="24" y="38"/>
                  </a:lnTo>
                  <a:lnTo>
                    <a:pt x="22" y="36"/>
                  </a:lnTo>
                  <a:lnTo>
                    <a:pt x="18" y="36"/>
                  </a:lnTo>
                  <a:lnTo>
                    <a:pt x="16" y="37"/>
                  </a:lnTo>
                  <a:lnTo>
                    <a:pt x="15" y="39"/>
                  </a:lnTo>
                  <a:lnTo>
                    <a:pt x="11" y="41"/>
                  </a:lnTo>
                  <a:lnTo>
                    <a:pt x="9" y="39"/>
                  </a:lnTo>
                  <a:lnTo>
                    <a:pt x="11" y="37"/>
                  </a:lnTo>
                  <a:lnTo>
                    <a:pt x="11" y="34"/>
                  </a:lnTo>
                  <a:lnTo>
                    <a:pt x="9" y="34"/>
                  </a:lnTo>
                  <a:lnTo>
                    <a:pt x="6" y="35"/>
                  </a:lnTo>
                  <a:lnTo>
                    <a:pt x="3" y="35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1" y="28"/>
                  </a:lnTo>
                  <a:lnTo>
                    <a:pt x="3" y="26"/>
                  </a:lnTo>
                  <a:lnTo>
                    <a:pt x="6" y="26"/>
                  </a:lnTo>
                  <a:lnTo>
                    <a:pt x="9" y="26"/>
                  </a:lnTo>
                  <a:lnTo>
                    <a:pt x="11" y="26"/>
                  </a:lnTo>
                  <a:lnTo>
                    <a:pt x="15" y="26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3" y="23"/>
                  </a:lnTo>
                  <a:lnTo>
                    <a:pt x="26" y="24"/>
                  </a:lnTo>
                  <a:lnTo>
                    <a:pt x="28" y="26"/>
                  </a:lnTo>
                  <a:lnTo>
                    <a:pt x="32" y="26"/>
                  </a:lnTo>
                  <a:lnTo>
                    <a:pt x="34" y="27"/>
                  </a:lnTo>
                  <a:lnTo>
                    <a:pt x="37" y="28"/>
                  </a:lnTo>
                  <a:lnTo>
                    <a:pt x="39" y="30"/>
                  </a:lnTo>
                  <a:lnTo>
                    <a:pt x="41" y="34"/>
                  </a:lnTo>
                  <a:lnTo>
                    <a:pt x="40" y="36"/>
                  </a:lnTo>
                  <a:lnTo>
                    <a:pt x="42" y="39"/>
                  </a:lnTo>
                  <a:lnTo>
                    <a:pt x="44" y="37"/>
                  </a:lnTo>
                  <a:lnTo>
                    <a:pt x="47" y="34"/>
                  </a:lnTo>
                  <a:lnTo>
                    <a:pt x="48" y="34"/>
                  </a:lnTo>
                  <a:lnTo>
                    <a:pt x="50" y="32"/>
                  </a:lnTo>
                  <a:lnTo>
                    <a:pt x="53" y="32"/>
                  </a:lnTo>
                  <a:lnTo>
                    <a:pt x="53" y="32"/>
                  </a:lnTo>
                  <a:lnTo>
                    <a:pt x="60" y="36"/>
                  </a:lnTo>
                  <a:lnTo>
                    <a:pt x="62" y="38"/>
                  </a:lnTo>
                  <a:lnTo>
                    <a:pt x="64" y="41"/>
                  </a:lnTo>
                  <a:lnTo>
                    <a:pt x="66" y="41"/>
                  </a:lnTo>
                  <a:lnTo>
                    <a:pt x="69" y="41"/>
                  </a:lnTo>
                  <a:lnTo>
                    <a:pt x="71" y="40"/>
                  </a:lnTo>
                  <a:lnTo>
                    <a:pt x="75" y="43"/>
                  </a:lnTo>
                  <a:lnTo>
                    <a:pt x="77" y="43"/>
                  </a:lnTo>
                  <a:lnTo>
                    <a:pt x="77" y="47"/>
                  </a:lnTo>
                  <a:lnTo>
                    <a:pt x="77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5" name="Freeform 235">
              <a:extLst>
                <a:ext uri="{FF2B5EF4-FFF2-40B4-BE49-F238E27FC236}">
                  <a16:creationId xmlns:a16="http://schemas.microsoft.com/office/drawing/2014/main" id="{A3408BB4-D859-45FD-AE45-80A6E6113F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94063" y="2320925"/>
              <a:ext cx="301625" cy="174625"/>
            </a:xfrm>
            <a:custGeom>
              <a:avLst/>
              <a:gdLst>
                <a:gd name="T0" fmla="*/ 125 w 190"/>
                <a:gd name="T1" fmla="*/ 20 h 110"/>
                <a:gd name="T2" fmla="*/ 131 w 190"/>
                <a:gd name="T3" fmla="*/ 27 h 110"/>
                <a:gd name="T4" fmla="*/ 144 w 190"/>
                <a:gd name="T5" fmla="*/ 31 h 110"/>
                <a:gd name="T6" fmla="*/ 151 w 190"/>
                <a:gd name="T7" fmla="*/ 23 h 110"/>
                <a:gd name="T8" fmla="*/ 165 w 190"/>
                <a:gd name="T9" fmla="*/ 30 h 110"/>
                <a:gd name="T10" fmla="*/ 160 w 190"/>
                <a:gd name="T11" fmla="*/ 45 h 110"/>
                <a:gd name="T12" fmla="*/ 144 w 190"/>
                <a:gd name="T13" fmla="*/ 54 h 110"/>
                <a:gd name="T14" fmla="*/ 129 w 190"/>
                <a:gd name="T15" fmla="*/ 54 h 110"/>
                <a:gd name="T16" fmla="*/ 117 w 190"/>
                <a:gd name="T17" fmla="*/ 52 h 110"/>
                <a:gd name="T18" fmla="*/ 103 w 190"/>
                <a:gd name="T19" fmla="*/ 57 h 110"/>
                <a:gd name="T20" fmla="*/ 85 w 190"/>
                <a:gd name="T21" fmla="*/ 65 h 110"/>
                <a:gd name="T22" fmla="*/ 69 w 190"/>
                <a:gd name="T23" fmla="*/ 68 h 110"/>
                <a:gd name="T24" fmla="*/ 52 w 190"/>
                <a:gd name="T25" fmla="*/ 67 h 110"/>
                <a:gd name="T26" fmla="*/ 50 w 190"/>
                <a:gd name="T27" fmla="*/ 58 h 110"/>
                <a:gd name="T28" fmla="*/ 66 w 190"/>
                <a:gd name="T29" fmla="*/ 53 h 110"/>
                <a:gd name="T30" fmla="*/ 88 w 190"/>
                <a:gd name="T31" fmla="*/ 49 h 110"/>
                <a:gd name="T32" fmla="*/ 77 w 190"/>
                <a:gd name="T33" fmla="*/ 49 h 110"/>
                <a:gd name="T34" fmla="*/ 63 w 190"/>
                <a:gd name="T35" fmla="*/ 50 h 110"/>
                <a:gd name="T36" fmla="*/ 52 w 190"/>
                <a:gd name="T37" fmla="*/ 47 h 110"/>
                <a:gd name="T38" fmla="*/ 51 w 190"/>
                <a:gd name="T39" fmla="*/ 42 h 110"/>
                <a:gd name="T40" fmla="*/ 43 w 190"/>
                <a:gd name="T41" fmla="*/ 50 h 110"/>
                <a:gd name="T42" fmla="*/ 29 w 190"/>
                <a:gd name="T43" fmla="*/ 50 h 110"/>
                <a:gd name="T44" fmla="*/ 17 w 190"/>
                <a:gd name="T45" fmla="*/ 50 h 110"/>
                <a:gd name="T46" fmla="*/ 3 w 190"/>
                <a:gd name="T47" fmla="*/ 48 h 110"/>
                <a:gd name="T48" fmla="*/ 12 w 190"/>
                <a:gd name="T49" fmla="*/ 39 h 110"/>
                <a:gd name="T50" fmla="*/ 29 w 190"/>
                <a:gd name="T51" fmla="*/ 36 h 110"/>
                <a:gd name="T52" fmla="*/ 24 w 190"/>
                <a:gd name="T53" fmla="*/ 35 h 110"/>
                <a:gd name="T54" fmla="*/ 4 w 190"/>
                <a:gd name="T55" fmla="*/ 36 h 110"/>
                <a:gd name="T56" fmla="*/ 20 w 190"/>
                <a:gd name="T57" fmla="*/ 30 h 110"/>
                <a:gd name="T58" fmla="*/ 37 w 190"/>
                <a:gd name="T59" fmla="*/ 27 h 110"/>
                <a:gd name="T60" fmla="*/ 20 w 190"/>
                <a:gd name="T61" fmla="*/ 28 h 110"/>
                <a:gd name="T62" fmla="*/ 14 w 190"/>
                <a:gd name="T63" fmla="*/ 20 h 110"/>
                <a:gd name="T64" fmla="*/ 34 w 190"/>
                <a:gd name="T65" fmla="*/ 20 h 110"/>
                <a:gd name="T66" fmla="*/ 25 w 190"/>
                <a:gd name="T67" fmla="*/ 18 h 110"/>
                <a:gd name="T68" fmla="*/ 36 w 190"/>
                <a:gd name="T69" fmla="*/ 10 h 110"/>
                <a:gd name="T70" fmla="*/ 50 w 190"/>
                <a:gd name="T71" fmla="*/ 19 h 110"/>
                <a:gd name="T72" fmla="*/ 66 w 190"/>
                <a:gd name="T73" fmla="*/ 19 h 110"/>
                <a:gd name="T74" fmla="*/ 76 w 190"/>
                <a:gd name="T75" fmla="*/ 27 h 110"/>
                <a:gd name="T76" fmla="*/ 84 w 190"/>
                <a:gd name="T77" fmla="*/ 35 h 110"/>
                <a:gd name="T78" fmla="*/ 101 w 190"/>
                <a:gd name="T79" fmla="*/ 37 h 110"/>
                <a:gd name="T80" fmla="*/ 117 w 190"/>
                <a:gd name="T81" fmla="*/ 37 h 110"/>
                <a:gd name="T82" fmla="*/ 106 w 190"/>
                <a:gd name="T83" fmla="*/ 28 h 110"/>
                <a:gd name="T84" fmla="*/ 113 w 190"/>
                <a:gd name="T85" fmla="*/ 24 h 110"/>
                <a:gd name="T86" fmla="*/ 99 w 190"/>
                <a:gd name="T87" fmla="*/ 15 h 110"/>
                <a:gd name="T88" fmla="*/ 112 w 190"/>
                <a:gd name="T89" fmla="*/ 3 h 110"/>
                <a:gd name="T90" fmla="*/ 121 w 190"/>
                <a:gd name="T91" fmla="*/ 7 h 110"/>
                <a:gd name="T92" fmla="*/ 188 w 190"/>
                <a:gd name="T93" fmla="*/ 43 h 110"/>
                <a:gd name="T94" fmla="*/ 178 w 190"/>
                <a:gd name="T95" fmla="*/ 51 h 110"/>
                <a:gd name="T96" fmla="*/ 181 w 190"/>
                <a:gd name="T97" fmla="*/ 40 h 110"/>
                <a:gd name="T98" fmla="*/ 160 w 190"/>
                <a:gd name="T99" fmla="*/ 103 h 110"/>
                <a:gd name="T100" fmla="*/ 145 w 190"/>
                <a:gd name="T101" fmla="*/ 93 h 110"/>
                <a:gd name="T102" fmla="*/ 165 w 190"/>
                <a:gd name="T103" fmla="*/ 86 h 110"/>
                <a:gd name="T104" fmla="*/ 178 w 190"/>
                <a:gd name="T105" fmla="*/ 93 h 110"/>
                <a:gd name="T106" fmla="*/ 169 w 190"/>
                <a:gd name="T107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0" h="110">
                  <a:moveTo>
                    <a:pt x="125" y="11"/>
                  </a:moveTo>
                  <a:lnTo>
                    <a:pt x="123" y="13"/>
                  </a:lnTo>
                  <a:lnTo>
                    <a:pt x="126" y="14"/>
                  </a:lnTo>
                  <a:lnTo>
                    <a:pt x="129" y="16"/>
                  </a:lnTo>
                  <a:lnTo>
                    <a:pt x="128" y="18"/>
                  </a:lnTo>
                  <a:lnTo>
                    <a:pt x="125" y="20"/>
                  </a:lnTo>
                  <a:lnTo>
                    <a:pt x="126" y="23"/>
                  </a:lnTo>
                  <a:lnTo>
                    <a:pt x="128" y="23"/>
                  </a:lnTo>
                  <a:lnTo>
                    <a:pt x="131" y="23"/>
                  </a:lnTo>
                  <a:lnTo>
                    <a:pt x="134" y="23"/>
                  </a:lnTo>
                  <a:lnTo>
                    <a:pt x="135" y="26"/>
                  </a:lnTo>
                  <a:lnTo>
                    <a:pt x="131" y="27"/>
                  </a:lnTo>
                  <a:lnTo>
                    <a:pt x="132" y="31"/>
                  </a:lnTo>
                  <a:lnTo>
                    <a:pt x="135" y="27"/>
                  </a:lnTo>
                  <a:lnTo>
                    <a:pt x="138" y="27"/>
                  </a:lnTo>
                  <a:lnTo>
                    <a:pt x="140" y="27"/>
                  </a:lnTo>
                  <a:lnTo>
                    <a:pt x="143" y="28"/>
                  </a:lnTo>
                  <a:lnTo>
                    <a:pt x="144" y="31"/>
                  </a:lnTo>
                  <a:lnTo>
                    <a:pt x="146" y="34"/>
                  </a:lnTo>
                  <a:lnTo>
                    <a:pt x="146" y="31"/>
                  </a:lnTo>
                  <a:lnTo>
                    <a:pt x="149" y="30"/>
                  </a:lnTo>
                  <a:lnTo>
                    <a:pt x="146" y="27"/>
                  </a:lnTo>
                  <a:lnTo>
                    <a:pt x="147" y="25"/>
                  </a:lnTo>
                  <a:lnTo>
                    <a:pt x="151" y="23"/>
                  </a:lnTo>
                  <a:lnTo>
                    <a:pt x="153" y="23"/>
                  </a:lnTo>
                  <a:lnTo>
                    <a:pt x="155" y="24"/>
                  </a:lnTo>
                  <a:lnTo>
                    <a:pt x="159" y="24"/>
                  </a:lnTo>
                  <a:lnTo>
                    <a:pt x="161" y="25"/>
                  </a:lnTo>
                  <a:lnTo>
                    <a:pt x="164" y="27"/>
                  </a:lnTo>
                  <a:lnTo>
                    <a:pt x="165" y="30"/>
                  </a:lnTo>
                  <a:lnTo>
                    <a:pt x="165" y="32"/>
                  </a:lnTo>
                  <a:lnTo>
                    <a:pt x="166" y="35"/>
                  </a:lnTo>
                  <a:lnTo>
                    <a:pt x="163" y="37"/>
                  </a:lnTo>
                  <a:lnTo>
                    <a:pt x="163" y="40"/>
                  </a:lnTo>
                  <a:lnTo>
                    <a:pt x="162" y="43"/>
                  </a:lnTo>
                  <a:lnTo>
                    <a:pt x="160" y="45"/>
                  </a:lnTo>
                  <a:lnTo>
                    <a:pt x="160" y="49"/>
                  </a:lnTo>
                  <a:lnTo>
                    <a:pt x="157" y="51"/>
                  </a:lnTo>
                  <a:lnTo>
                    <a:pt x="154" y="52"/>
                  </a:lnTo>
                  <a:lnTo>
                    <a:pt x="152" y="52"/>
                  </a:lnTo>
                  <a:lnTo>
                    <a:pt x="148" y="52"/>
                  </a:lnTo>
                  <a:lnTo>
                    <a:pt x="144" y="54"/>
                  </a:lnTo>
                  <a:lnTo>
                    <a:pt x="140" y="54"/>
                  </a:lnTo>
                  <a:lnTo>
                    <a:pt x="138" y="54"/>
                  </a:lnTo>
                  <a:lnTo>
                    <a:pt x="135" y="52"/>
                  </a:lnTo>
                  <a:lnTo>
                    <a:pt x="134" y="50"/>
                  </a:lnTo>
                  <a:lnTo>
                    <a:pt x="131" y="52"/>
                  </a:lnTo>
                  <a:lnTo>
                    <a:pt x="129" y="54"/>
                  </a:lnTo>
                  <a:lnTo>
                    <a:pt x="126" y="54"/>
                  </a:lnTo>
                  <a:lnTo>
                    <a:pt x="123" y="53"/>
                  </a:lnTo>
                  <a:lnTo>
                    <a:pt x="120" y="53"/>
                  </a:lnTo>
                  <a:lnTo>
                    <a:pt x="122" y="52"/>
                  </a:lnTo>
                  <a:lnTo>
                    <a:pt x="120" y="51"/>
                  </a:lnTo>
                  <a:lnTo>
                    <a:pt x="117" y="52"/>
                  </a:lnTo>
                  <a:lnTo>
                    <a:pt x="114" y="53"/>
                  </a:lnTo>
                  <a:lnTo>
                    <a:pt x="112" y="56"/>
                  </a:lnTo>
                  <a:lnTo>
                    <a:pt x="109" y="57"/>
                  </a:lnTo>
                  <a:lnTo>
                    <a:pt x="106" y="56"/>
                  </a:lnTo>
                  <a:lnTo>
                    <a:pt x="103" y="57"/>
                  </a:lnTo>
                  <a:lnTo>
                    <a:pt x="103" y="57"/>
                  </a:lnTo>
                  <a:lnTo>
                    <a:pt x="100" y="57"/>
                  </a:lnTo>
                  <a:lnTo>
                    <a:pt x="97" y="58"/>
                  </a:lnTo>
                  <a:lnTo>
                    <a:pt x="94" y="58"/>
                  </a:lnTo>
                  <a:lnTo>
                    <a:pt x="94" y="61"/>
                  </a:lnTo>
                  <a:lnTo>
                    <a:pt x="91" y="62"/>
                  </a:lnTo>
                  <a:lnTo>
                    <a:pt x="85" y="65"/>
                  </a:lnTo>
                  <a:lnTo>
                    <a:pt x="83" y="65"/>
                  </a:lnTo>
                  <a:lnTo>
                    <a:pt x="79" y="66"/>
                  </a:lnTo>
                  <a:lnTo>
                    <a:pt x="77" y="67"/>
                  </a:lnTo>
                  <a:lnTo>
                    <a:pt x="74" y="67"/>
                  </a:lnTo>
                  <a:lnTo>
                    <a:pt x="71" y="68"/>
                  </a:lnTo>
                  <a:lnTo>
                    <a:pt x="69" y="68"/>
                  </a:lnTo>
                  <a:lnTo>
                    <a:pt x="66" y="68"/>
                  </a:lnTo>
                  <a:lnTo>
                    <a:pt x="63" y="69"/>
                  </a:lnTo>
                  <a:lnTo>
                    <a:pt x="60" y="68"/>
                  </a:lnTo>
                  <a:lnTo>
                    <a:pt x="58" y="68"/>
                  </a:lnTo>
                  <a:lnTo>
                    <a:pt x="54" y="68"/>
                  </a:lnTo>
                  <a:lnTo>
                    <a:pt x="52" y="67"/>
                  </a:lnTo>
                  <a:lnTo>
                    <a:pt x="49" y="66"/>
                  </a:lnTo>
                  <a:lnTo>
                    <a:pt x="46" y="65"/>
                  </a:lnTo>
                  <a:lnTo>
                    <a:pt x="43" y="62"/>
                  </a:lnTo>
                  <a:lnTo>
                    <a:pt x="44" y="60"/>
                  </a:lnTo>
                  <a:lnTo>
                    <a:pt x="46" y="59"/>
                  </a:lnTo>
                  <a:lnTo>
                    <a:pt x="50" y="58"/>
                  </a:lnTo>
                  <a:lnTo>
                    <a:pt x="52" y="57"/>
                  </a:lnTo>
                  <a:lnTo>
                    <a:pt x="55" y="57"/>
                  </a:lnTo>
                  <a:lnTo>
                    <a:pt x="58" y="56"/>
                  </a:lnTo>
                  <a:lnTo>
                    <a:pt x="61" y="54"/>
                  </a:lnTo>
                  <a:lnTo>
                    <a:pt x="63" y="53"/>
                  </a:lnTo>
                  <a:lnTo>
                    <a:pt x="66" y="53"/>
                  </a:lnTo>
                  <a:lnTo>
                    <a:pt x="69" y="52"/>
                  </a:lnTo>
                  <a:lnTo>
                    <a:pt x="71" y="52"/>
                  </a:lnTo>
                  <a:lnTo>
                    <a:pt x="75" y="52"/>
                  </a:lnTo>
                  <a:lnTo>
                    <a:pt x="79" y="53"/>
                  </a:lnTo>
                  <a:lnTo>
                    <a:pt x="83" y="50"/>
                  </a:lnTo>
                  <a:lnTo>
                    <a:pt x="88" y="49"/>
                  </a:lnTo>
                  <a:lnTo>
                    <a:pt x="91" y="45"/>
                  </a:lnTo>
                  <a:lnTo>
                    <a:pt x="88" y="45"/>
                  </a:lnTo>
                  <a:lnTo>
                    <a:pt x="85" y="47"/>
                  </a:lnTo>
                  <a:lnTo>
                    <a:pt x="83" y="48"/>
                  </a:lnTo>
                  <a:lnTo>
                    <a:pt x="79" y="48"/>
                  </a:lnTo>
                  <a:lnTo>
                    <a:pt x="77" y="49"/>
                  </a:lnTo>
                  <a:lnTo>
                    <a:pt x="75" y="49"/>
                  </a:lnTo>
                  <a:lnTo>
                    <a:pt x="71" y="47"/>
                  </a:lnTo>
                  <a:lnTo>
                    <a:pt x="69" y="48"/>
                  </a:lnTo>
                  <a:lnTo>
                    <a:pt x="66" y="45"/>
                  </a:lnTo>
                  <a:lnTo>
                    <a:pt x="67" y="49"/>
                  </a:lnTo>
                  <a:lnTo>
                    <a:pt x="63" y="50"/>
                  </a:lnTo>
                  <a:lnTo>
                    <a:pt x="61" y="49"/>
                  </a:lnTo>
                  <a:lnTo>
                    <a:pt x="58" y="50"/>
                  </a:lnTo>
                  <a:lnTo>
                    <a:pt x="55" y="50"/>
                  </a:lnTo>
                  <a:lnTo>
                    <a:pt x="52" y="51"/>
                  </a:lnTo>
                  <a:lnTo>
                    <a:pt x="50" y="49"/>
                  </a:lnTo>
                  <a:lnTo>
                    <a:pt x="52" y="47"/>
                  </a:lnTo>
                  <a:lnTo>
                    <a:pt x="50" y="47"/>
                  </a:lnTo>
                  <a:lnTo>
                    <a:pt x="51" y="44"/>
                  </a:lnTo>
                  <a:lnTo>
                    <a:pt x="53" y="43"/>
                  </a:lnTo>
                  <a:lnTo>
                    <a:pt x="57" y="41"/>
                  </a:lnTo>
                  <a:lnTo>
                    <a:pt x="53" y="41"/>
                  </a:lnTo>
                  <a:lnTo>
                    <a:pt x="51" y="42"/>
                  </a:lnTo>
                  <a:lnTo>
                    <a:pt x="48" y="42"/>
                  </a:lnTo>
                  <a:lnTo>
                    <a:pt x="46" y="44"/>
                  </a:lnTo>
                  <a:lnTo>
                    <a:pt x="44" y="45"/>
                  </a:lnTo>
                  <a:lnTo>
                    <a:pt x="42" y="45"/>
                  </a:lnTo>
                  <a:lnTo>
                    <a:pt x="44" y="48"/>
                  </a:lnTo>
                  <a:lnTo>
                    <a:pt x="43" y="50"/>
                  </a:lnTo>
                  <a:lnTo>
                    <a:pt x="41" y="51"/>
                  </a:lnTo>
                  <a:lnTo>
                    <a:pt x="37" y="52"/>
                  </a:lnTo>
                  <a:lnTo>
                    <a:pt x="34" y="53"/>
                  </a:lnTo>
                  <a:lnTo>
                    <a:pt x="32" y="51"/>
                  </a:lnTo>
                  <a:lnTo>
                    <a:pt x="33" y="49"/>
                  </a:lnTo>
                  <a:lnTo>
                    <a:pt x="29" y="50"/>
                  </a:lnTo>
                  <a:lnTo>
                    <a:pt x="27" y="50"/>
                  </a:lnTo>
                  <a:lnTo>
                    <a:pt x="26" y="53"/>
                  </a:lnTo>
                  <a:lnTo>
                    <a:pt x="24" y="53"/>
                  </a:lnTo>
                  <a:lnTo>
                    <a:pt x="20" y="52"/>
                  </a:lnTo>
                  <a:lnTo>
                    <a:pt x="19" y="49"/>
                  </a:lnTo>
                  <a:lnTo>
                    <a:pt x="17" y="50"/>
                  </a:lnTo>
                  <a:lnTo>
                    <a:pt x="17" y="47"/>
                  </a:lnTo>
                  <a:lnTo>
                    <a:pt x="14" y="48"/>
                  </a:lnTo>
                  <a:lnTo>
                    <a:pt x="11" y="49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3" y="48"/>
                  </a:lnTo>
                  <a:lnTo>
                    <a:pt x="0" y="47"/>
                  </a:lnTo>
                  <a:lnTo>
                    <a:pt x="0" y="44"/>
                  </a:lnTo>
                  <a:lnTo>
                    <a:pt x="1" y="41"/>
                  </a:lnTo>
                  <a:lnTo>
                    <a:pt x="4" y="40"/>
                  </a:lnTo>
                  <a:lnTo>
                    <a:pt x="7" y="39"/>
                  </a:lnTo>
                  <a:lnTo>
                    <a:pt x="12" y="39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20" y="39"/>
                  </a:lnTo>
                  <a:lnTo>
                    <a:pt x="24" y="37"/>
                  </a:lnTo>
                  <a:lnTo>
                    <a:pt x="26" y="36"/>
                  </a:lnTo>
                  <a:lnTo>
                    <a:pt x="29" y="36"/>
                  </a:lnTo>
                  <a:lnTo>
                    <a:pt x="32" y="34"/>
                  </a:lnTo>
                  <a:lnTo>
                    <a:pt x="35" y="33"/>
                  </a:lnTo>
                  <a:lnTo>
                    <a:pt x="32" y="33"/>
                  </a:lnTo>
                  <a:lnTo>
                    <a:pt x="29" y="34"/>
                  </a:lnTo>
                  <a:lnTo>
                    <a:pt x="26" y="34"/>
                  </a:lnTo>
                  <a:lnTo>
                    <a:pt x="24" y="35"/>
                  </a:lnTo>
                  <a:lnTo>
                    <a:pt x="20" y="36"/>
                  </a:lnTo>
                  <a:lnTo>
                    <a:pt x="18" y="36"/>
                  </a:lnTo>
                  <a:lnTo>
                    <a:pt x="15" y="36"/>
                  </a:lnTo>
                  <a:lnTo>
                    <a:pt x="9" y="36"/>
                  </a:lnTo>
                  <a:lnTo>
                    <a:pt x="7" y="36"/>
                  </a:lnTo>
                  <a:lnTo>
                    <a:pt x="4" y="36"/>
                  </a:lnTo>
                  <a:lnTo>
                    <a:pt x="7" y="33"/>
                  </a:lnTo>
                  <a:lnTo>
                    <a:pt x="9" y="31"/>
                  </a:lnTo>
                  <a:lnTo>
                    <a:pt x="11" y="31"/>
                  </a:lnTo>
                  <a:lnTo>
                    <a:pt x="15" y="31"/>
                  </a:lnTo>
                  <a:lnTo>
                    <a:pt x="18" y="30"/>
                  </a:lnTo>
                  <a:lnTo>
                    <a:pt x="20" y="30"/>
                  </a:lnTo>
                  <a:lnTo>
                    <a:pt x="23" y="30"/>
                  </a:lnTo>
                  <a:lnTo>
                    <a:pt x="26" y="30"/>
                  </a:lnTo>
                  <a:lnTo>
                    <a:pt x="28" y="30"/>
                  </a:lnTo>
                  <a:lnTo>
                    <a:pt x="32" y="28"/>
                  </a:lnTo>
                  <a:lnTo>
                    <a:pt x="34" y="28"/>
                  </a:lnTo>
                  <a:lnTo>
                    <a:pt x="37" y="27"/>
                  </a:lnTo>
                  <a:lnTo>
                    <a:pt x="34" y="27"/>
                  </a:lnTo>
                  <a:lnTo>
                    <a:pt x="32" y="28"/>
                  </a:lnTo>
                  <a:lnTo>
                    <a:pt x="28" y="28"/>
                  </a:lnTo>
                  <a:lnTo>
                    <a:pt x="26" y="27"/>
                  </a:lnTo>
                  <a:lnTo>
                    <a:pt x="23" y="27"/>
                  </a:lnTo>
                  <a:lnTo>
                    <a:pt x="20" y="28"/>
                  </a:lnTo>
                  <a:lnTo>
                    <a:pt x="17" y="28"/>
                  </a:lnTo>
                  <a:lnTo>
                    <a:pt x="15" y="28"/>
                  </a:lnTo>
                  <a:lnTo>
                    <a:pt x="11" y="26"/>
                  </a:lnTo>
                  <a:lnTo>
                    <a:pt x="15" y="24"/>
                  </a:lnTo>
                  <a:lnTo>
                    <a:pt x="11" y="23"/>
                  </a:lnTo>
                  <a:lnTo>
                    <a:pt x="14" y="20"/>
                  </a:lnTo>
                  <a:lnTo>
                    <a:pt x="17" y="19"/>
                  </a:lnTo>
                  <a:lnTo>
                    <a:pt x="19" y="19"/>
                  </a:lnTo>
                  <a:lnTo>
                    <a:pt x="23" y="19"/>
                  </a:lnTo>
                  <a:lnTo>
                    <a:pt x="28" y="19"/>
                  </a:lnTo>
                  <a:lnTo>
                    <a:pt x="31" y="19"/>
                  </a:lnTo>
                  <a:lnTo>
                    <a:pt x="34" y="20"/>
                  </a:lnTo>
                  <a:lnTo>
                    <a:pt x="36" y="20"/>
                  </a:lnTo>
                  <a:lnTo>
                    <a:pt x="40" y="19"/>
                  </a:lnTo>
                  <a:lnTo>
                    <a:pt x="36" y="19"/>
                  </a:lnTo>
                  <a:lnTo>
                    <a:pt x="34" y="18"/>
                  </a:lnTo>
                  <a:lnTo>
                    <a:pt x="31" y="18"/>
                  </a:lnTo>
                  <a:lnTo>
                    <a:pt x="25" y="18"/>
                  </a:lnTo>
                  <a:lnTo>
                    <a:pt x="23" y="17"/>
                  </a:lnTo>
                  <a:lnTo>
                    <a:pt x="25" y="14"/>
                  </a:lnTo>
                  <a:lnTo>
                    <a:pt x="27" y="13"/>
                  </a:lnTo>
                  <a:lnTo>
                    <a:pt x="31" y="11"/>
                  </a:lnTo>
                  <a:lnTo>
                    <a:pt x="33" y="11"/>
                  </a:lnTo>
                  <a:lnTo>
                    <a:pt x="36" y="10"/>
                  </a:lnTo>
                  <a:lnTo>
                    <a:pt x="38" y="10"/>
                  </a:lnTo>
                  <a:lnTo>
                    <a:pt x="42" y="10"/>
                  </a:lnTo>
                  <a:lnTo>
                    <a:pt x="44" y="11"/>
                  </a:lnTo>
                  <a:lnTo>
                    <a:pt x="48" y="14"/>
                  </a:lnTo>
                  <a:lnTo>
                    <a:pt x="48" y="16"/>
                  </a:lnTo>
                  <a:lnTo>
                    <a:pt x="50" y="19"/>
                  </a:lnTo>
                  <a:lnTo>
                    <a:pt x="52" y="18"/>
                  </a:lnTo>
                  <a:lnTo>
                    <a:pt x="55" y="18"/>
                  </a:lnTo>
                  <a:lnTo>
                    <a:pt x="58" y="17"/>
                  </a:lnTo>
                  <a:lnTo>
                    <a:pt x="60" y="17"/>
                  </a:lnTo>
                  <a:lnTo>
                    <a:pt x="63" y="17"/>
                  </a:lnTo>
                  <a:lnTo>
                    <a:pt x="66" y="19"/>
                  </a:lnTo>
                  <a:lnTo>
                    <a:pt x="69" y="20"/>
                  </a:lnTo>
                  <a:lnTo>
                    <a:pt x="70" y="24"/>
                  </a:lnTo>
                  <a:lnTo>
                    <a:pt x="74" y="24"/>
                  </a:lnTo>
                  <a:lnTo>
                    <a:pt x="76" y="25"/>
                  </a:lnTo>
                  <a:lnTo>
                    <a:pt x="79" y="27"/>
                  </a:lnTo>
                  <a:lnTo>
                    <a:pt x="76" y="27"/>
                  </a:lnTo>
                  <a:lnTo>
                    <a:pt x="74" y="30"/>
                  </a:lnTo>
                  <a:lnTo>
                    <a:pt x="76" y="30"/>
                  </a:lnTo>
                  <a:lnTo>
                    <a:pt x="79" y="30"/>
                  </a:lnTo>
                  <a:lnTo>
                    <a:pt x="82" y="31"/>
                  </a:lnTo>
                  <a:lnTo>
                    <a:pt x="85" y="33"/>
                  </a:lnTo>
                  <a:lnTo>
                    <a:pt x="84" y="35"/>
                  </a:lnTo>
                  <a:lnTo>
                    <a:pt x="86" y="39"/>
                  </a:lnTo>
                  <a:lnTo>
                    <a:pt x="89" y="37"/>
                  </a:lnTo>
                  <a:lnTo>
                    <a:pt x="92" y="36"/>
                  </a:lnTo>
                  <a:lnTo>
                    <a:pt x="95" y="36"/>
                  </a:lnTo>
                  <a:lnTo>
                    <a:pt x="97" y="37"/>
                  </a:lnTo>
                  <a:lnTo>
                    <a:pt x="101" y="37"/>
                  </a:lnTo>
                  <a:lnTo>
                    <a:pt x="103" y="37"/>
                  </a:lnTo>
                  <a:lnTo>
                    <a:pt x="105" y="37"/>
                  </a:lnTo>
                  <a:lnTo>
                    <a:pt x="108" y="37"/>
                  </a:lnTo>
                  <a:lnTo>
                    <a:pt x="111" y="39"/>
                  </a:lnTo>
                  <a:lnTo>
                    <a:pt x="114" y="39"/>
                  </a:lnTo>
                  <a:lnTo>
                    <a:pt x="117" y="37"/>
                  </a:lnTo>
                  <a:lnTo>
                    <a:pt x="119" y="35"/>
                  </a:lnTo>
                  <a:lnTo>
                    <a:pt x="118" y="33"/>
                  </a:lnTo>
                  <a:lnTo>
                    <a:pt x="114" y="32"/>
                  </a:lnTo>
                  <a:lnTo>
                    <a:pt x="112" y="31"/>
                  </a:lnTo>
                  <a:lnTo>
                    <a:pt x="109" y="31"/>
                  </a:lnTo>
                  <a:lnTo>
                    <a:pt x="106" y="28"/>
                  </a:lnTo>
                  <a:lnTo>
                    <a:pt x="103" y="28"/>
                  </a:lnTo>
                  <a:lnTo>
                    <a:pt x="103" y="27"/>
                  </a:lnTo>
                  <a:lnTo>
                    <a:pt x="104" y="26"/>
                  </a:lnTo>
                  <a:lnTo>
                    <a:pt x="108" y="26"/>
                  </a:lnTo>
                  <a:lnTo>
                    <a:pt x="110" y="25"/>
                  </a:lnTo>
                  <a:lnTo>
                    <a:pt x="113" y="24"/>
                  </a:lnTo>
                  <a:lnTo>
                    <a:pt x="112" y="20"/>
                  </a:lnTo>
                  <a:lnTo>
                    <a:pt x="109" y="19"/>
                  </a:lnTo>
                  <a:lnTo>
                    <a:pt x="106" y="18"/>
                  </a:lnTo>
                  <a:lnTo>
                    <a:pt x="103" y="18"/>
                  </a:lnTo>
                  <a:lnTo>
                    <a:pt x="102" y="17"/>
                  </a:lnTo>
                  <a:lnTo>
                    <a:pt x="99" y="15"/>
                  </a:lnTo>
                  <a:lnTo>
                    <a:pt x="101" y="13"/>
                  </a:lnTo>
                  <a:lnTo>
                    <a:pt x="103" y="11"/>
                  </a:lnTo>
                  <a:lnTo>
                    <a:pt x="106" y="10"/>
                  </a:lnTo>
                  <a:lnTo>
                    <a:pt x="106" y="8"/>
                  </a:lnTo>
                  <a:lnTo>
                    <a:pt x="110" y="6"/>
                  </a:lnTo>
                  <a:lnTo>
                    <a:pt x="112" y="3"/>
                  </a:lnTo>
                  <a:lnTo>
                    <a:pt x="114" y="1"/>
                  </a:lnTo>
                  <a:lnTo>
                    <a:pt x="118" y="1"/>
                  </a:lnTo>
                  <a:lnTo>
                    <a:pt x="120" y="0"/>
                  </a:lnTo>
                  <a:lnTo>
                    <a:pt x="123" y="3"/>
                  </a:lnTo>
                  <a:lnTo>
                    <a:pt x="123" y="6"/>
                  </a:lnTo>
                  <a:lnTo>
                    <a:pt x="121" y="7"/>
                  </a:lnTo>
                  <a:lnTo>
                    <a:pt x="123" y="9"/>
                  </a:lnTo>
                  <a:lnTo>
                    <a:pt x="125" y="11"/>
                  </a:lnTo>
                  <a:lnTo>
                    <a:pt x="125" y="11"/>
                  </a:lnTo>
                  <a:close/>
                  <a:moveTo>
                    <a:pt x="183" y="40"/>
                  </a:moveTo>
                  <a:lnTo>
                    <a:pt x="186" y="41"/>
                  </a:lnTo>
                  <a:lnTo>
                    <a:pt x="188" y="43"/>
                  </a:lnTo>
                  <a:lnTo>
                    <a:pt x="189" y="45"/>
                  </a:lnTo>
                  <a:lnTo>
                    <a:pt x="190" y="49"/>
                  </a:lnTo>
                  <a:lnTo>
                    <a:pt x="188" y="50"/>
                  </a:lnTo>
                  <a:lnTo>
                    <a:pt x="183" y="51"/>
                  </a:lnTo>
                  <a:lnTo>
                    <a:pt x="181" y="51"/>
                  </a:lnTo>
                  <a:lnTo>
                    <a:pt x="178" y="51"/>
                  </a:lnTo>
                  <a:lnTo>
                    <a:pt x="176" y="50"/>
                  </a:lnTo>
                  <a:lnTo>
                    <a:pt x="173" y="49"/>
                  </a:lnTo>
                  <a:lnTo>
                    <a:pt x="176" y="45"/>
                  </a:lnTo>
                  <a:lnTo>
                    <a:pt x="177" y="43"/>
                  </a:lnTo>
                  <a:lnTo>
                    <a:pt x="179" y="41"/>
                  </a:lnTo>
                  <a:lnTo>
                    <a:pt x="181" y="40"/>
                  </a:lnTo>
                  <a:lnTo>
                    <a:pt x="183" y="40"/>
                  </a:lnTo>
                  <a:lnTo>
                    <a:pt x="183" y="40"/>
                  </a:lnTo>
                  <a:close/>
                  <a:moveTo>
                    <a:pt x="166" y="109"/>
                  </a:moveTo>
                  <a:lnTo>
                    <a:pt x="165" y="108"/>
                  </a:lnTo>
                  <a:lnTo>
                    <a:pt x="163" y="105"/>
                  </a:lnTo>
                  <a:lnTo>
                    <a:pt x="160" y="103"/>
                  </a:lnTo>
                  <a:lnTo>
                    <a:pt x="157" y="101"/>
                  </a:lnTo>
                  <a:lnTo>
                    <a:pt x="155" y="97"/>
                  </a:lnTo>
                  <a:lnTo>
                    <a:pt x="153" y="96"/>
                  </a:lnTo>
                  <a:lnTo>
                    <a:pt x="151" y="95"/>
                  </a:lnTo>
                  <a:lnTo>
                    <a:pt x="147" y="94"/>
                  </a:lnTo>
                  <a:lnTo>
                    <a:pt x="145" y="93"/>
                  </a:lnTo>
                  <a:lnTo>
                    <a:pt x="146" y="91"/>
                  </a:lnTo>
                  <a:lnTo>
                    <a:pt x="148" y="88"/>
                  </a:lnTo>
                  <a:lnTo>
                    <a:pt x="151" y="87"/>
                  </a:lnTo>
                  <a:lnTo>
                    <a:pt x="154" y="86"/>
                  </a:lnTo>
                  <a:lnTo>
                    <a:pt x="162" y="86"/>
                  </a:lnTo>
                  <a:lnTo>
                    <a:pt x="165" y="86"/>
                  </a:lnTo>
                  <a:lnTo>
                    <a:pt x="168" y="86"/>
                  </a:lnTo>
                  <a:lnTo>
                    <a:pt x="171" y="86"/>
                  </a:lnTo>
                  <a:lnTo>
                    <a:pt x="173" y="88"/>
                  </a:lnTo>
                  <a:lnTo>
                    <a:pt x="176" y="90"/>
                  </a:lnTo>
                  <a:lnTo>
                    <a:pt x="178" y="91"/>
                  </a:lnTo>
                  <a:lnTo>
                    <a:pt x="178" y="93"/>
                  </a:lnTo>
                  <a:lnTo>
                    <a:pt x="178" y="96"/>
                  </a:lnTo>
                  <a:lnTo>
                    <a:pt x="177" y="99"/>
                  </a:lnTo>
                  <a:lnTo>
                    <a:pt x="174" y="101"/>
                  </a:lnTo>
                  <a:lnTo>
                    <a:pt x="172" y="104"/>
                  </a:lnTo>
                  <a:lnTo>
                    <a:pt x="170" y="107"/>
                  </a:lnTo>
                  <a:lnTo>
                    <a:pt x="169" y="110"/>
                  </a:lnTo>
                  <a:lnTo>
                    <a:pt x="166" y="109"/>
                  </a:lnTo>
                  <a:lnTo>
                    <a:pt x="166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6" name="Freeform 236">
              <a:extLst>
                <a:ext uri="{FF2B5EF4-FFF2-40B4-BE49-F238E27FC236}">
                  <a16:creationId xmlns:a16="http://schemas.microsoft.com/office/drawing/2014/main" id="{6574C7BC-0A22-4D91-9A3A-62E767CC35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6138" y="2233613"/>
              <a:ext cx="193675" cy="76200"/>
            </a:xfrm>
            <a:custGeom>
              <a:avLst/>
              <a:gdLst>
                <a:gd name="T0" fmla="*/ 47 w 122"/>
                <a:gd name="T1" fmla="*/ 2 h 48"/>
                <a:gd name="T2" fmla="*/ 52 w 122"/>
                <a:gd name="T3" fmla="*/ 5 h 48"/>
                <a:gd name="T4" fmla="*/ 54 w 122"/>
                <a:gd name="T5" fmla="*/ 10 h 48"/>
                <a:gd name="T6" fmla="*/ 51 w 122"/>
                <a:gd name="T7" fmla="*/ 13 h 48"/>
                <a:gd name="T8" fmla="*/ 45 w 122"/>
                <a:gd name="T9" fmla="*/ 12 h 48"/>
                <a:gd name="T10" fmla="*/ 42 w 122"/>
                <a:gd name="T11" fmla="*/ 13 h 48"/>
                <a:gd name="T12" fmla="*/ 36 w 122"/>
                <a:gd name="T13" fmla="*/ 13 h 48"/>
                <a:gd name="T14" fmla="*/ 30 w 122"/>
                <a:gd name="T15" fmla="*/ 11 h 48"/>
                <a:gd name="T16" fmla="*/ 25 w 122"/>
                <a:gd name="T17" fmla="*/ 14 h 48"/>
                <a:gd name="T18" fmla="*/ 19 w 122"/>
                <a:gd name="T19" fmla="*/ 13 h 48"/>
                <a:gd name="T20" fmla="*/ 13 w 122"/>
                <a:gd name="T21" fmla="*/ 11 h 48"/>
                <a:gd name="T22" fmla="*/ 8 w 122"/>
                <a:gd name="T23" fmla="*/ 12 h 48"/>
                <a:gd name="T24" fmla="*/ 3 w 122"/>
                <a:gd name="T25" fmla="*/ 14 h 48"/>
                <a:gd name="T26" fmla="*/ 3 w 122"/>
                <a:gd name="T27" fmla="*/ 10 h 48"/>
                <a:gd name="T28" fmla="*/ 9 w 122"/>
                <a:gd name="T29" fmla="*/ 8 h 48"/>
                <a:gd name="T30" fmla="*/ 14 w 122"/>
                <a:gd name="T31" fmla="*/ 6 h 48"/>
                <a:gd name="T32" fmla="*/ 20 w 122"/>
                <a:gd name="T33" fmla="*/ 5 h 48"/>
                <a:gd name="T34" fmla="*/ 26 w 122"/>
                <a:gd name="T35" fmla="*/ 3 h 48"/>
                <a:gd name="T36" fmla="*/ 31 w 122"/>
                <a:gd name="T37" fmla="*/ 1 h 48"/>
                <a:gd name="T38" fmla="*/ 37 w 122"/>
                <a:gd name="T39" fmla="*/ 0 h 48"/>
                <a:gd name="T40" fmla="*/ 43 w 122"/>
                <a:gd name="T41" fmla="*/ 1 h 48"/>
                <a:gd name="T42" fmla="*/ 45 w 122"/>
                <a:gd name="T43" fmla="*/ 2 h 48"/>
                <a:gd name="T44" fmla="*/ 48 w 122"/>
                <a:gd name="T45" fmla="*/ 19 h 48"/>
                <a:gd name="T46" fmla="*/ 48 w 122"/>
                <a:gd name="T47" fmla="*/ 23 h 48"/>
                <a:gd name="T48" fmla="*/ 43 w 122"/>
                <a:gd name="T49" fmla="*/ 26 h 48"/>
                <a:gd name="T50" fmla="*/ 36 w 122"/>
                <a:gd name="T51" fmla="*/ 26 h 48"/>
                <a:gd name="T52" fmla="*/ 36 w 122"/>
                <a:gd name="T53" fmla="*/ 29 h 48"/>
                <a:gd name="T54" fmla="*/ 41 w 122"/>
                <a:gd name="T55" fmla="*/ 28 h 48"/>
                <a:gd name="T56" fmla="*/ 44 w 122"/>
                <a:gd name="T57" fmla="*/ 34 h 48"/>
                <a:gd name="T58" fmla="*/ 41 w 122"/>
                <a:gd name="T59" fmla="*/ 37 h 48"/>
                <a:gd name="T60" fmla="*/ 35 w 122"/>
                <a:gd name="T61" fmla="*/ 38 h 48"/>
                <a:gd name="T62" fmla="*/ 29 w 122"/>
                <a:gd name="T63" fmla="*/ 39 h 48"/>
                <a:gd name="T64" fmla="*/ 24 w 122"/>
                <a:gd name="T65" fmla="*/ 40 h 48"/>
                <a:gd name="T66" fmla="*/ 14 w 122"/>
                <a:gd name="T67" fmla="*/ 42 h 48"/>
                <a:gd name="T68" fmla="*/ 10 w 122"/>
                <a:gd name="T69" fmla="*/ 38 h 48"/>
                <a:gd name="T70" fmla="*/ 4 w 122"/>
                <a:gd name="T71" fmla="*/ 36 h 48"/>
                <a:gd name="T72" fmla="*/ 1 w 122"/>
                <a:gd name="T73" fmla="*/ 32 h 48"/>
                <a:gd name="T74" fmla="*/ 0 w 122"/>
                <a:gd name="T75" fmla="*/ 27 h 48"/>
                <a:gd name="T76" fmla="*/ 5 w 122"/>
                <a:gd name="T77" fmla="*/ 25 h 48"/>
                <a:gd name="T78" fmla="*/ 11 w 122"/>
                <a:gd name="T79" fmla="*/ 22 h 48"/>
                <a:gd name="T80" fmla="*/ 17 w 122"/>
                <a:gd name="T81" fmla="*/ 21 h 48"/>
                <a:gd name="T82" fmla="*/ 24 w 122"/>
                <a:gd name="T83" fmla="*/ 21 h 48"/>
                <a:gd name="T84" fmla="*/ 29 w 122"/>
                <a:gd name="T85" fmla="*/ 20 h 48"/>
                <a:gd name="T86" fmla="*/ 34 w 122"/>
                <a:gd name="T87" fmla="*/ 20 h 48"/>
                <a:gd name="T88" fmla="*/ 39 w 122"/>
                <a:gd name="T89" fmla="*/ 19 h 48"/>
                <a:gd name="T90" fmla="*/ 45 w 122"/>
                <a:gd name="T91" fmla="*/ 19 h 48"/>
                <a:gd name="T92" fmla="*/ 105 w 122"/>
                <a:gd name="T93" fmla="*/ 29 h 48"/>
                <a:gd name="T94" fmla="*/ 110 w 122"/>
                <a:gd name="T95" fmla="*/ 32 h 48"/>
                <a:gd name="T96" fmla="*/ 114 w 122"/>
                <a:gd name="T97" fmla="*/ 37 h 48"/>
                <a:gd name="T98" fmla="*/ 119 w 122"/>
                <a:gd name="T99" fmla="*/ 40 h 48"/>
                <a:gd name="T100" fmla="*/ 122 w 122"/>
                <a:gd name="T101" fmla="*/ 46 h 48"/>
                <a:gd name="T102" fmla="*/ 116 w 122"/>
                <a:gd name="T103" fmla="*/ 48 h 48"/>
                <a:gd name="T104" fmla="*/ 113 w 122"/>
                <a:gd name="T105" fmla="*/ 46 h 48"/>
                <a:gd name="T106" fmla="*/ 107 w 122"/>
                <a:gd name="T107" fmla="*/ 43 h 48"/>
                <a:gd name="T108" fmla="*/ 104 w 122"/>
                <a:gd name="T109" fmla="*/ 37 h 48"/>
                <a:gd name="T110" fmla="*/ 101 w 122"/>
                <a:gd name="T111" fmla="*/ 31 h 48"/>
                <a:gd name="T112" fmla="*/ 102 w 122"/>
                <a:gd name="T113" fmla="*/ 29 h 48"/>
                <a:gd name="T114" fmla="*/ 105 w 122"/>
                <a:gd name="T115" fmla="*/ 2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2" h="48">
                  <a:moveTo>
                    <a:pt x="45" y="2"/>
                  </a:moveTo>
                  <a:lnTo>
                    <a:pt x="47" y="2"/>
                  </a:lnTo>
                  <a:lnTo>
                    <a:pt x="50" y="4"/>
                  </a:lnTo>
                  <a:lnTo>
                    <a:pt x="52" y="5"/>
                  </a:lnTo>
                  <a:lnTo>
                    <a:pt x="55" y="8"/>
                  </a:lnTo>
                  <a:lnTo>
                    <a:pt x="54" y="10"/>
                  </a:lnTo>
                  <a:lnTo>
                    <a:pt x="54" y="13"/>
                  </a:lnTo>
                  <a:lnTo>
                    <a:pt x="51" y="13"/>
                  </a:lnTo>
                  <a:lnTo>
                    <a:pt x="48" y="13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2" y="13"/>
                  </a:lnTo>
                  <a:lnTo>
                    <a:pt x="39" y="13"/>
                  </a:lnTo>
                  <a:lnTo>
                    <a:pt x="36" y="13"/>
                  </a:lnTo>
                  <a:lnTo>
                    <a:pt x="34" y="12"/>
                  </a:lnTo>
                  <a:lnTo>
                    <a:pt x="30" y="11"/>
                  </a:lnTo>
                  <a:lnTo>
                    <a:pt x="28" y="13"/>
                  </a:lnTo>
                  <a:lnTo>
                    <a:pt x="25" y="14"/>
                  </a:lnTo>
                  <a:lnTo>
                    <a:pt x="22" y="14"/>
                  </a:lnTo>
                  <a:lnTo>
                    <a:pt x="19" y="13"/>
                  </a:lnTo>
                  <a:lnTo>
                    <a:pt x="17" y="11"/>
                  </a:lnTo>
                  <a:lnTo>
                    <a:pt x="13" y="11"/>
                  </a:lnTo>
                  <a:lnTo>
                    <a:pt x="11" y="12"/>
                  </a:lnTo>
                  <a:lnTo>
                    <a:pt x="8" y="12"/>
                  </a:lnTo>
                  <a:lnTo>
                    <a:pt x="5" y="13"/>
                  </a:lnTo>
                  <a:lnTo>
                    <a:pt x="3" y="14"/>
                  </a:lnTo>
                  <a:lnTo>
                    <a:pt x="0" y="12"/>
                  </a:lnTo>
                  <a:lnTo>
                    <a:pt x="3" y="10"/>
                  </a:lnTo>
                  <a:lnTo>
                    <a:pt x="5" y="9"/>
                  </a:lnTo>
                  <a:lnTo>
                    <a:pt x="9" y="8"/>
                  </a:lnTo>
                  <a:lnTo>
                    <a:pt x="11" y="6"/>
                  </a:lnTo>
                  <a:lnTo>
                    <a:pt x="14" y="6"/>
                  </a:lnTo>
                  <a:lnTo>
                    <a:pt x="17" y="5"/>
                  </a:lnTo>
                  <a:lnTo>
                    <a:pt x="20" y="5"/>
                  </a:lnTo>
                  <a:lnTo>
                    <a:pt x="22" y="5"/>
                  </a:lnTo>
                  <a:lnTo>
                    <a:pt x="26" y="3"/>
                  </a:lnTo>
                  <a:lnTo>
                    <a:pt x="28" y="2"/>
                  </a:lnTo>
                  <a:lnTo>
                    <a:pt x="31" y="1"/>
                  </a:lnTo>
                  <a:lnTo>
                    <a:pt x="34" y="0"/>
                  </a:lnTo>
                  <a:lnTo>
                    <a:pt x="37" y="0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5" y="2"/>
                  </a:lnTo>
                  <a:lnTo>
                    <a:pt x="45" y="2"/>
                  </a:lnTo>
                  <a:close/>
                  <a:moveTo>
                    <a:pt x="45" y="19"/>
                  </a:moveTo>
                  <a:lnTo>
                    <a:pt x="48" y="19"/>
                  </a:lnTo>
                  <a:lnTo>
                    <a:pt x="51" y="21"/>
                  </a:lnTo>
                  <a:lnTo>
                    <a:pt x="48" y="23"/>
                  </a:lnTo>
                  <a:lnTo>
                    <a:pt x="45" y="25"/>
                  </a:lnTo>
                  <a:lnTo>
                    <a:pt x="43" y="26"/>
                  </a:lnTo>
                  <a:lnTo>
                    <a:pt x="39" y="26"/>
                  </a:lnTo>
                  <a:lnTo>
                    <a:pt x="36" y="26"/>
                  </a:lnTo>
                  <a:lnTo>
                    <a:pt x="34" y="26"/>
                  </a:lnTo>
                  <a:lnTo>
                    <a:pt x="36" y="29"/>
                  </a:lnTo>
                  <a:lnTo>
                    <a:pt x="38" y="29"/>
                  </a:lnTo>
                  <a:lnTo>
                    <a:pt x="41" y="28"/>
                  </a:lnTo>
                  <a:lnTo>
                    <a:pt x="44" y="30"/>
                  </a:lnTo>
                  <a:lnTo>
                    <a:pt x="44" y="34"/>
                  </a:lnTo>
                  <a:lnTo>
                    <a:pt x="43" y="36"/>
                  </a:lnTo>
                  <a:lnTo>
                    <a:pt x="41" y="37"/>
                  </a:lnTo>
                  <a:lnTo>
                    <a:pt x="37" y="38"/>
                  </a:lnTo>
                  <a:lnTo>
                    <a:pt x="35" y="38"/>
                  </a:lnTo>
                  <a:lnTo>
                    <a:pt x="31" y="39"/>
                  </a:lnTo>
                  <a:lnTo>
                    <a:pt x="29" y="39"/>
                  </a:lnTo>
                  <a:lnTo>
                    <a:pt x="26" y="39"/>
                  </a:lnTo>
                  <a:lnTo>
                    <a:pt x="24" y="40"/>
                  </a:lnTo>
                  <a:lnTo>
                    <a:pt x="18" y="42"/>
                  </a:lnTo>
                  <a:lnTo>
                    <a:pt x="14" y="42"/>
                  </a:lnTo>
                  <a:lnTo>
                    <a:pt x="12" y="40"/>
                  </a:lnTo>
                  <a:lnTo>
                    <a:pt x="10" y="38"/>
                  </a:lnTo>
                  <a:lnTo>
                    <a:pt x="7" y="38"/>
                  </a:lnTo>
                  <a:lnTo>
                    <a:pt x="4" y="36"/>
                  </a:lnTo>
                  <a:lnTo>
                    <a:pt x="2" y="35"/>
                  </a:lnTo>
                  <a:lnTo>
                    <a:pt x="1" y="32"/>
                  </a:lnTo>
                  <a:lnTo>
                    <a:pt x="1" y="29"/>
                  </a:lnTo>
                  <a:lnTo>
                    <a:pt x="0" y="27"/>
                  </a:lnTo>
                  <a:lnTo>
                    <a:pt x="3" y="25"/>
                  </a:lnTo>
                  <a:lnTo>
                    <a:pt x="5" y="25"/>
                  </a:lnTo>
                  <a:lnTo>
                    <a:pt x="9" y="23"/>
                  </a:lnTo>
                  <a:lnTo>
                    <a:pt x="11" y="22"/>
                  </a:lnTo>
                  <a:lnTo>
                    <a:pt x="14" y="21"/>
                  </a:lnTo>
                  <a:lnTo>
                    <a:pt x="17" y="21"/>
                  </a:lnTo>
                  <a:lnTo>
                    <a:pt x="20" y="21"/>
                  </a:lnTo>
                  <a:lnTo>
                    <a:pt x="24" y="21"/>
                  </a:lnTo>
                  <a:lnTo>
                    <a:pt x="26" y="20"/>
                  </a:lnTo>
                  <a:lnTo>
                    <a:pt x="29" y="20"/>
                  </a:lnTo>
                  <a:lnTo>
                    <a:pt x="31" y="20"/>
                  </a:lnTo>
                  <a:lnTo>
                    <a:pt x="34" y="20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43" y="19"/>
                  </a:lnTo>
                  <a:lnTo>
                    <a:pt x="45" y="19"/>
                  </a:lnTo>
                  <a:lnTo>
                    <a:pt x="45" y="19"/>
                  </a:lnTo>
                  <a:close/>
                  <a:moveTo>
                    <a:pt x="105" y="29"/>
                  </a:moveTo>
                  <a:lnTo>
                    <a:pt x="106" y="30"/>
                  </a:lnTo>
                  <a:lnTo>
                    <a:pt x="110" y="32"/>
                  </a:lnTo>
                  <a:lnTo>
                    <a:pt x="112" y="34"/>
                  </a:lnTo>
                  <a:lnTo>
                    <a:pt x="114" y="37"/>
                  </a:lnTo>
                  <a:lnTo>
                    <a:pt x="115" y="39"/>
                  </a:lnTo>
                  <a:lnTo>
                    <a:pt x="119" y="40"/>
                  </a:lnTo>
                  <a:lnTo>
                    <a:pt x="121" y="43"/>
                  </a:lnTo>
                  <a:lnTo>
                    <a:pt x="122" y="46"/>
                  </a:lnTo>
                  <a:lnTo>
                    <a:pt x="120" y="47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3" y="46"/>
                  </a:lnTo>
                  <a:lnTo>
                    <a:pt x="111" y="45"/>
                  </a:lnTo>
                  <a:lnTo>
                    <a:pt x="107" y="43"/>
                  </a:lnTo>
                  <a:lnTo>
                    <a:pt x="105" y="40"/>
                  </a:lnTo>
                  <a:lnTo>
                    <a:pt x="104" y="37"/>
                  </a:lnTo>
                  <a:lnTo>
                    <a:pt x="102" y="35"/>
                  </a:lnTo>
                  <a:lnTo>
                    <a:pt x="101" y="31"/>
                  </a:lnTo>
                  <a:lnTo>
                    <a:pt x="102" y="29"/>
                  </a:lnTo>
                  <a:lnTo>
                    <a:pt x="102" y="29"/>
                  </a:lnTo>
                  <a:lnTo>
                    <a:pt x="105" y="29"/>
                  </a:lnTo>
                  <a:lnTo>
                    <a:pt x="105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7" name="Freeform 237">
              <a:extLst>
                <a:ext uri="{FF2B5EF4-FFF2-40B4-BE49-F238E27FC236}">
                  <a16:creationId xmlns:a16="http://schemas.microsoft.com/office/drawing/2014/main" id="{4DA46E54-99BE-4893-AD96-465D93118C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3088" y="2424113"/>
              <a:ext cx="230187" cy="142875"/>
            </a:xfrm>
            <a:custGeom>
              <a:avLst/>
              <a:gdLst>
                <a:gd name="T0" fmla="*/ 86 w 145"/>
                <a:gd name="T1" fmla="*/ 60 h 90"/>
                <a:gd name="T2" fmla="*/ 91 w 145"/>
                <a:gd name="T3" fmla="*/ 53 h 90"/>
                <a:gd name="T4" fmla="*/ 98 w 145"/>
                <a:gd name="T5" fmla="*/ 47 h 90"/>
                <a:gd name="T6" fmla="*/ 106 w 145"/>
                <a:gd name="T7" fmla="*/ 44 h 90"/>
                <a:gd name="T8" fmla="*/ 114 w 145"/>
                <a:gd name="T9" fmla="*/ 40 h 90"/>
                <a:gd name="T10" fmla="*/ 122 w 145"/>
                <a:gd name="T11" fmla="*/ 37 h 90"/>
                <a:gd name="T12" fmla="*/ 131 w 145"/>
                <a:gd name="T13" fmla="*/ 34 h 90"/>
                <a:gd name="T14" fmla="*/ 139 w 145"/>
                <a:gd name="T15" fmla="*/ 31 h 90"/>
                <a:gd name="T16" fmla="*/ 145 w 145"/>
                <a:gd name="T17" fmla="*/ 28 h 90"/>
                <a:gd name="T18" fmla="*/ 138 w 145"/>
                <a:gd name="T19" fmla="*/ 22 h 90"/>
                <a:gd name="T20" fmla="*/ 130 w 145"/>
                <a:gd name="T21" fmla="*/ 17 h 90"/>
                <a:gd name="T22" fmla="*/ 118 w 145"/>
                <a:gd name="T23" fmla="*/ 10 h 90"/>
                <a:gd name="T24" fmla="*/ 112 w 145"/>
                <a:gd name="T25" fmla="*/ 8 h 90"/>
                <a:gd name="T26" fmla="*/ 100 w 145"/>
                <a:gd name="T27" fmla="*/ 8 h 90"/>
                <a:gd name="T28" fmla="*/ 95 w 145"/>
                <a:gd name="T29" fmla="*/ 14 h 90"/>
                <a:gd name="T30" fmla="*/ 91 w 145"/>
                <a:gd name="T31" fmla="*/ 9 h 90"/>
                <a:gd name="T32" fmla="*/ 83 w 145"/>
                <a:gd name="T33" fmla="*/ 13 h 90"/>
                <a:gd name="T34" fmla="*/ 87 w 145"/>
                <a:gd name="T35" fmla="*/ 9 h 90"/>
                <a:gd name="T36" fmla="*/ 80 w 145"/>
                <a:gd name="T37" fmla="*/ 8 h 90"/>
                <a:gd name="T38" fmla="*/ 73 w 145"/>
                <a:gd name="T39" fmla="*/ 5 h 90"/>
                <a:gd name="T40" fmla="*/ 65 w 145"/>
                <a:gd name="T41" fmla="*/ 1 h 90"/>
                <a:gd name="T42" fmla="*/ 57 w 145"/>
                <a:gd name="T43" fmla="*/ 0 h 90"/>
                <a:gd name="T44" fmla="*/ 48 w 145"/>
                <a:gd name="T45" fmla="*/ 2 h 90"/>
                <a:gd name="T46" fmla="*/ 40 w 145"/>
                <a:gd name="T47" fmla="*/ 2 h 90"/>
                <a:gd name="T48" fmla="*/ 31 w 145"/>
                <a:gd name="T49" fmla="*/ 3 h 90"/>
                <a:gd name="T50" fmla="*/ 23 w 145"/>
                <a:gd name="T51" fmla="*/ 4 h 90"/>
                <a:gd name="T52" fmla="*/ 15 w 145"/>
                <a:gd name="T53" fmla="*/ 5 h 90"/>
                <a:gd name="T54" fmla="*/ 19 w 145"/>
                <a:gd name="T55" fmla="*/ 12 h 90"/>
                <a:gd name="T56" fmla="*/ 26 w 145"/>
                <a:gd name="T57" fmla="*/ 19 h 90"/>
                <a:gd name="T58" fmla="*/ 26 w 145"/>
                <a:gd name="T59" fmla="*/ 26 h 90"/>
                <a:gd name="T60" fmla="*/ 19 w 145"/>
                <a:gd name="T61" fmla="*/ 31 h 90"/>
                <a:gd name="T62" fmla="*/ 14 w 145"/>
                <a:gd name="T63" fmla="*/ 40 h 90"/>
                <a:gd name="T64" fmla="*/ 14 w 145"/>
                <a:gd name="T65" fmla="*/ 44 h 90"/>
                <a:gd name="T66" fmla="*/ 11 w 145"/>
                <a:gd name="T67" fmla="*/ 49 h 90"/>
                <a:gd name="T68" fmla="*/ 7 w 145"/>
                <a:gd name="T69" fmla="*/ 54 h 90"/>
                <a:gd name="T70" fmla="*/ 4 w 145"/>
                <a:gd name="T71" fmla="*/ 62 h 90"/>
                <a:gd name="T72" fmla="*/ 2 w 145"/>
                <a:gd name="T73" fmla="*/ 68 h 90"/>
                <a:gd name="T74" fmla="*/ 11 w 145"/>
                <a:gd name="T75" fmla="*/ 69 h 90"/>
                <a:gd name="T76" fmla="*/ 19 w 145"/>
                <a:gd name="T77" fmla="*/ 72 h 90"/>
                <a:gd name="T78" fmla="*/ 27 w 145"/>
                <a:gd name="T79" fmla="*/ 77 h 90"/>
                <a:gd name="T80" fmla="*/ 32 w 145"/>
                <a:gd name="T81" fmla="*/ 85 h 90"/>
                <a:gd name="T82" fmla="*/ 40 w 145"/>
                <a:gd name="T83" fmla="*/ 90 h 90"/>
                <a:gd name="T84" fmla="*/ 48 w 145"/>
                <a:gd name="T85" fmla="*/ 86 h 90"/>
                <a:gd name="T86" fmla="*/ 56 w 145"/>
                <a:gd name="T87" fmla="*/ 80 h 90"/>
                <a:gd name="T88" fmla="*/ 65 w 145"/>
                <a:gd name="T89" fmla="*/ 81 h 90"/>
                <a:gd name="T90" fmla="*/ 73 w 145"/>
                <a:gd name="T91" fmla="*/ 79 h 90"/>
                <a:gd name="T92" fmla="*/ 74 w 145"/>
                <a:gd name="T93" fmla="*/ 71 h 90"/>
                <a:gd name="T94" fmla="*/ 78 w 145"/>
                <a:gd name="T95" fmla="*/ 63 h 90"/>
                <a:gd name="T96" fmla="*/ 80 w 145"/>
                <a:gd name="T97" fmla="*/ 6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5" h="90">
                  <a:moveTo>
                    <a:pt x="80" y="61"/>
                  </a:moveTo>
                  <a:lnTo>
                    <a:pt x="82" y="61"/>
                  </a:lnTo>
                  <a:lnTo>
                    <a:pt x="86" y="60"/>
                  </a:lnTo>
                  <a:lnTo>
                    <a:pt x="88" y="59"/>
                  </a:lnTo>
                  <a:lnTo>
                    <a:pt x="90" y="55"/>
                  </a:lnTo>
                  <a:lnTo>
                    <a:pt x="91" y="53"/>
                  </a:lnTo>
                  <a:lnTo>
                    <a:pt x="92" y="51"/>
                  </a:lnTo>
                  <a:lnTo>
                    <a:pt x="95" y="49"/>
                  </a:lnTo>
                  <a:lnTo>
                    <a:pt x="98" y="47"/>
                  </a:lnTo>
                  <a:lnTo>
                    <a:pt x="100" y="47"/>
                  </a:lnTo>
                  <a:lnTo>
                    <a:pt x="103" y="45"/>
                  </a:lnTo>
                  <a:lnTo>
                    <a:pt x="106" y="44"/>
                  </a:lnTo>
                  <a:lnTo>
                    <a:pt x="108" y="44"/>
                  </a:lnTo>
                  <a:lnTo>
                    <a:pt x="112" y="42"/>
                  </a:lnTo>
                  <a:lnTo>
                    <a:pt x="114" y="40"/>
                  </a:lnTo>
                  <a:lnTo>
                    <a:pt x="117" y="39"/>
                  </a:lnTo>
                  <a:lnTo>
                    <a:pt x="120" y="38"/>
                  </a:lnTo>
                  <a:lnTo>
                    <a:pt x="122" y="37"/>
                  </a:lnTo>
                  <a:lnTo>
                    <a:pt x="125" y="36"/>
                  </a:lnTo>
                  <a:lnTo>
                    <a:pt x="128" y="35"/>
                  </a:lnTo>
                  <a:lnTo>
                    <a:pt x="131" y="34"/>
                  </a:lnTo>
                  <a:lnTo>
                    <a:pt x="133" y="32"/>
                  </a:lnTo>
                  <a:lnTo>
                    <a:pt x="135" y="32"/>
                  </a:lnTo>
                  <a:lnTo>
                    <a:pt x="139" y="31"/>
                  </a:lnTo>
                  <a:lnTo>
                    <a:pt x="141" y="30"/>
                  </a:lnTo>
                  <a:lnTo>
                    <a:pt x="145" y="28"/>
                  </a:lnTo>
                  <a:lnTo>
                    <a:pt x="145" y="28"/>
                  </a:lnTo>
                  <a:lnTo>
                    <a:pt x="143" y="26"/>
                  </a:lnTo>
                  <a:lnTo>
                    <a:pt x="140" y="23"/>
                  </a:lnTo>
                  <a:lnTo>
                    <a:pt x="138" y="22"/>
                  </a:lnTo>
                  <a:lnTo>
                    <a:pt x="134" y="20"/>
                  </a:lnTo>
                  <a:lnTo>
                    <a:pt x="132" y="19"/>
                  </a:lnTo>
                  <a:lnTo>
                    <a:pt x="130" y="17"/>
                  </a:lnTo>
                  <a:lnTo>
                    <a:pt x="126" y="14"/>
                  </a:lnTo>
                  <a:lnTo>
                    <a:pt x="124" y="12"/>
                  </a:lnTo>
                  <a:lnTo>
                    <a:pt x="118" y="10"/>
                  </a:lnTo>
                  <a:lnTo>
                    <a:pt x="116" y="9"/>
                  </a:lnTo>
                  <a:lnTo>
                    <a:pt x="113" y="8"/>
                  </a:lnTo>
                  <a:lnTo>
                    <a:pt x="112" y="8"/>
                  </a:lnTo>
                  <a:lnTo>
                    <a:pt x="108" y="8"/>
                  </a:lnTo>
                  <a:lnTo>
                    <a:pt x="106" y="6"/>
                  </a:lnTo>
                  <a:lnTo>
                    <a:pt x="100" y="8"/>
                  </a:lnTo>
                  <a:lnTo>
                    <a:pt x="97" y="9"/>
                  </a:lnTo>
                  <a:lnTo>
                    <a:pt x="97" y="12"/>
                  </a:lnTo>
                  <a:lnTo>
                    <a:pt x="95" y="14"/>
                  </a:lnTo>
                  <a:lnTo>
                    <a:pt x="91" y="14"/>
                  </a:lnTo>
                  <a:lnTo>
                    <a:pt x="94" y="11"/>
                  </a:lnTo>
                  <a:lnTo>
                    <a:pt x="91" y="9"/>
                  </a:lnTo>
                  <a:lnTo>
                    <a:pt x="88" y="9"/>
                  </a:lnTo>
                  <a:lnTo>
                    <a:pt x="86" y="11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5" y="10"/>
                  </a:lnTo>
                  <a:lnTo>
                    <a:pt x="87" y="9"/>
                  </a:lnTo>
                  <a:lnTo>
                    <a:pt x="85" y="8"/>
                  </a:lnTo>
                  <a:lnTo>
                    <a:pt x="81" y="8"/>
                  </a:lnTo>
                  <a:lnTo>
                    <a:pt x="80" y="8"/>
                  </a:lnTo>
                  <a:lnTo>
                    <a:pt x="79" y="8"/>
                  </a:lnTo>
                  <a:lnTo>
                    <a:pt x="77" y="6"/>
                  </a:lnTo>
                  <a:lnTo>
                    <a:pt x="73" y="5"/>
                  </a:lnTo>
                  <a:lnTo>
                    <a:pt x="71" y="4"/>
                  </a:lnTo>
                  <a:lnTo>
                    <a:pt x="69" y="3"/>
                  </a:lnTo>
                  <a:lnTo>
                    <a:pt x="65" y="1"/>
                  </a:lnTo>
                  <a:lnTo>
                    <a:pt x="63" y="0"/>
                  </a:lnTo>
                  <a:lnTo>
                    <a:pt x="60" y="0"/>
                  </a:lnTo>
                  <a:lnTo>
                    <a:pt x="57" y="0"/>
                  </a:lnTo>
                  <a:lnTo>
                    <a:pt x="54" y="1"/>
                  </a:lnTo>
                  <a:lnTo>
                    <a:pt x="52" y="1"/>
                  </a:lnTo>
                  <a:lnTo>
                    <a:pt x="48" y="2"/>
                  </a:lnTo>
                  <a:lnTo>
                    <a:pt x="46" y="2"/>
                  </a:lnTo>
                  <a:lnTo>
                    <a:pt x="43" y="2"/>
                  </a:lnTo>
                  <a:lnTo>
                    <a:pt x="40" y="2"/>
                  </a:lnTo>
                  <a:lnTo>
                    <a:pt x="37" y="3"/>
                  </a:lnTo>
                  <a:lnTo>
                    <a:pt x="35" y="3"/>
                  </a:lnTo>
                  <a:lnTo>
                    <a:pt x="31" y="3"/>
                  </a:lnTo>
                  <a:lnTo>
                    <a:pt x="29" y="3"/>
                  </a:lnTo>
                  <a:lnTo>
                    <a:pt x="27" y="4"/>
                  </a:lnTo>
                  <a:lnTo>
                    <a:pt x="23" y="4"/>
                  </a:lnTo>
                  <a:lnTo>
                    <a:pt x="21" y="4"/>
                  </a:lnTo>
                  <a:lnTo>
                    <a:pt x="18" y="5"/>
                  </a:lnTo>
                  <a:lnTo>
                    <a:pt x="15" y="5"/>
                  </a:lnTo>
                  <a:lnTo>
                    <a:pt x="18" y="8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21" y="15"/>
                  </a:lnTo>
                  <a:lnTo>
                    <a:pt x="23" y="18"/>
                  </a:lnTo>
                  <a:lnTo>
                    <a:pt x="26" y="19"/>
                  </a:lnTo>
                  <a:lnTo>
                    <a:pt x="28" y="20"/>
                  </a:lnTo>
                  <a:lnTo>
                    <a:pt x="27" y="22"/>
                  </a:lnTo>
                  <a:lnTo>
                    <a:pt x="26" y="26"/>
                  </a:lnTo>
                  <a:lnTo>
                    <a:pt x="23" y="28"/>
                  </a:lnTo>
                  <a:lnTo>
                    <a:pt x="20" y="29"/>
                  </a:lnTo>
                  <a:lnTo>
                    <a:pt x="19" y="31"/>
                  </a:lnTo>
                  <a:lnTo>
                    <a:pt x="18" y="35"/>
                  </a:lnTo>
                  <a:lnTo>
                    <a:pt x="14" y="37"/>
                  </a:lnTo>
                  <a:lnTo>
                    <a:pt x="14" y="40"/>
                  </a:lnTo>
                  <a:lnTo>
                    <a:pt x="18" y="40"/>
                  </a:lnTo>
                  <a:lnTo>
                    <a:pt x="17" y="44"/>
                  </a:lnTo>
                  <a:lnTo>
                    <a:pt x="14" y="44"/>
                  </a:lnTo>
                  <a:lnTo>
                    <a:pt x="11" y="44"/>
                  </a:lnTo>
                  <a:lnTo>
                    <a:pt x="12" y="47"/>
                  </a:lnTo>
                  <a:lnTo>
                    <a:pt x="11" y="49"/>
                  </a:lnTo>
                  <a:lnTo>
                    <a:pt x="11" y="52"/>
                  </a:lnTo>
                  <a:lnTo>
                    <a:pt x="9" y="54"/>
                  </a:lnTo>
                  <a:lnTo>
                    <a:pt x="7" y="54"/>
                  </a:lnTo>
                  <a:lnTo>
                    <a:pt x="6" y="57"/>
                  </a:lnTo>
                  <a:lnTo>
                    <a:pt x="5" y="60"/>
                  </a:lnTo>
                  <a:lnTo>
                    <a:pt x="4" y="62"/>
                  </a:lnTo>
                  <a:lnTo>
                    <a:pt x="2" y="65"/>
                  </a:lnTo>
                  <a:lnTo>
                    <a:pt x="0" y="68"/>
                  </a:lnTo>
                  <a:lnTo>
                    <a:pt x="2" y="68"/>
                  </a:lnTo>
                  <a:lnTo>
                    <a:pt x="5" y="68"/>
                  </a:lnTo>
                  <a:lnTo>
                    <a:pt x="7" y="68"/>
                  </a:lnTo>
                  <a:lnTo>
                    <a:pt x="11" y="69"/>
                  </a:lnTo>
                  <a:lnTo>
                    <a:pt x="13" y="70"/>
                  </a:lnTo>
                  <a:lnTo>
                    <a:pt x="17" y="71"/>
                  </a:lnTo>
                  <a:lnTo>
                    <a:pt x="19" y="72"/>
                  </a:lnTo>
                  <a:lnTo>
                    <a:pt x="21" y="73"/>
                  </a:lnTo>
                  <a:lnTo>
                    <a:pt x="24" y="74"/>
                  </a:lnTo>
                  <a:lnTo>
                    <a:pt x="27" y="77"/>
                  </a:lnTo>
                  <a:lnTo>
                    <a:pt x="30" y="79"/>
                  </a:lnTo>
                  <a:lnTo>
                    <a:pt x="31" y="82"/>
                  </a:lnTo>
                  <a:lnTo>
                    <a:pt x="32" y="85"/>
                  </a:lnTo>
                  <a:lnTo>
                    <a:pt x="35" y="88"/>
                  </a:lnTo>
                  <a:lnTo>
                    <a:pt x="37" y="89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6" y="87"/>
                  </a:lnTo>
                  <a:lnTo>
                    <a:pt x="48" y="86"/>
                  </a:lnTo>
                  <a:lnTo>
                    <a:pt x="52" y="86"/>
                  </a:lnTo>
                  <a:lnTo>
                    <a:pt x="54" y="83"/>
                  </a:lnTo>
                  <a:lnTo>
                    <a:pt x="56" y="80"/>
                  </a:lnTo>
                  <a:lnTo>
                    <a:pt x="60" y="82"/>
                  </a:lnTo>
                  <a:lnTo>
                    <a:pt x="62" y="82"/>
                  </a:lnTo>
                  <a:lnTo>
                    <a:pt x="65" y="81"/>
                  </a:lnTo>
                  <a:lnTo>
                    <a:pt x="68" y="81"/>
                  </a:lnTo>
                  <a:lnTo>
                    <a:pt x="70" y="80"/>
                  </a:lnTo>
                  <a:lnTo>
                    <a:pt x="73" y="79"/>
                  </a:lnTo>
                  <a:lnTo>
                    <a:pt x="74" y="77"/>
                  </a:lnTo>
                  <a:lnTo>
                    <a:pt x="74" y="73"/>
                  </a:lnTo>
                  <a:lnTo>
                    <a:pt x="74" y="71"/>
                  </a:lnTo>
                  <a:lnTo>
                    <a:pt x="74" y="68"/>
                  </a:lnTo>
                  <a:lnTo>
                    <a:pt x="77" y="65"/>
                  </a:lnTo>
                  <a:lnTo>
                    <a:pt x="78" y="63"/>
                  </a:lnTo>
                  <a:lnTo>
                    <a:pt x="78" y="60"/>
                  </a:lnTo>
                  <a:lnTo>
                    <a:pt x="80" y="61"/>
                  </a:lnTo>
                  <a:lnTo>
                    <a:pt x="80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8" name="Freeform 238">
              <a:extLst>
                <a:ext uri="{FF2B5EF4-FFF2-40B4-BE49-F238E27FC236}">
                  <a16:creationId xmlns:a16="http://schemas.microsoft.com/office/drawing/2014/main" id="{642C66A1-D290-4923-A155-792EE6DFA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8975" y="4687888"/>
              <a:ext cx="879475" cy="661988"/>
            </a:xfrm>
            <a:custGeom>
              <a:avLst/>
              <a:gdLst>
                <a:gd name="T0" fmla="*/ 539 w 554"/>
                <a:gd name="T1" fmla="*/ 313 h 417"/>
                <a:gd name="T2" fmla="*/ 517 w 554"/>
                <a:gd name="T3" fmla="*/ 344 h 417"/>
                <a:gd name="T4" fmla="*/ 504 w 554"/>
                <a:gd name="T5" fmla="*/ 378 h 417"/>
                <a:gd name="T6" fmla="*/ 480 w 554"/>
                <a:gd name="T7" fmla="*/ 397 h 417"/>
                <a:gd name="T8" fmla="*/ 456 w 554"/>
                <a:gd name="T9" fmla="*/ 415 h 417"/>
                <a:gd name="T10" fmla="*/ 437 w 554"/>
                <a:gd name="T11" fmla="*/ 402 h 417"/>
                <a:gd name="T12" fmla="*/ 412 w 554"/>
                <a:gd name="T13" fmla="*/ 412 h 417"/>
                <a:gd name="T14" fmla="*/ 375 w 554"/>
                <a:gd name="T15" fmla="*/ 399 h 417"/>
                <a:gd name="T16" fmla="*/ 360 w 554"/>
                <a:gd name="T17" fmla="*/ 366 h 417"/>
                <a:gd name="T18" fmla="*/ 355 w 554"/>
                <a:gd name="T19" fmla="*/ 358 h 417"/>
                <a:gd name="T20" fmla="*/ 341 w 554"/>
                <a:gd name="T21" fmla="*/ 341 h 417"/>
                <a:gd name="T22" fmla="*/ 333 w 554"/>
                <a:gd name="T23" fmla="*/ 347 h 417"/>
                <a:gd name="T24" fmla="*/ 337 w 554"/>
                <a:gd name="T25" fmla="*/ 316 h 417"/>
                <a:gd name="T26" fmla="*/ 312 w 554"/>
                <a:gd name="T27" fmla="*/ 347 h 417"/>
                <a:gd name="T28" fmla="*/ 299 w 554"/>
                <a:gd name="T29" fmla="*/ 333 h 417"/>
                <a:gd name="T30" fmla="*/ 278 w 554"/>
                <a:gd name="T31" fmla="*/ 309 h 417"/>
                <a:gd name="T32" fmla="*/ 239 w 554"/>
                <a:gd name="T33" fmla="*/ 299 h 417"/>
                <a:gd name="T34" fmla="*/ 192 w 554"/>
                <a:gd name="T35" fmla="*/ 311 h 417"/>
                <a:gd name="T36" fmla="*/ 154 w 554"/>
                <a:gd name="T37" fmla="*/ 321 h 417"/>
                <a:gd name="T38" fmla="*/ 124 w 554"/>
                <a:gd name="T39" fmla="*/ 337 h 417"/>
                <a:gd name="T40" fmla="*/ 89 w 554"/>
                <a:gd name="T41" fmla="*/ 339 h 417"/>
                <a:gd name="T42" fmla="*/ 57 w 554"/>
                <a:gd name="T43" fmla="*/ 353 h 417"/>
                <a:gd name="T44" fmla="*/ 25 w 554"/>
                <a:gd name="T45" fmla="*/ 333 h 417"/>
                <a:gd name="T46" fmla="*/ 35 w 554"/>
                <a:gd name="T47" fmla="*/ 310 h 417"/>
                <a:gd name="T48" fmla="*/ 25 w 554"/>
                <a:gd name="T49" fmla="*/ 270 h 417"/>
                <a:gd name="T50" fmla="*/ 10 w 554"/>
                <a:gd name="T51" fmla="*/ 234 h 417"/>
                <a:gd name="T52" fmla="*/ 6 w 554"/>
                <a:gd name="T53" fmla="*/ 217 h 417"/>
                <a:gd name="T54" fmla="*/ 13 w 554"/>
                <a:gd name="T55" fmla="*/ 211 h 417"/>
                <a:gd name="T56" fmla="*/ 8 w 554"/>
                <a:gd name="T57" fmla="*/ 176 h 417"/>
                <a:gd name="T58" fmla="*/ 18 w 554"/>
                <a:gd name="T59" fmla="*/ 160 h 417"/>
                <a:gd name="T60" fmla="*/ 51 w 554"/>
                <a:gd name="T61" fmla="*/ 140 h 417"/>
                <a:gd name="T62" fmla="*/ 89 w 554"/>
                <a:gd name="T63" fmla="*/ 131 h 417"/>
                <a:gd name="T64" fmla="*/ 118 w 554"/>
                <a:gd name="T65" fmla="*/ 111 h 417"/>
                <a:gd name="T66" fmla="*/ 134 w 554"/>
                <a:gd name="T67" fmla="*/ 80 h 417"/>
                <a:gd name="T68" fmla="*/ 147 w 554"/>
                <a:gd name="T69" fmla="*/ 85 h 417"/>
                <a:gd name="T70" fmla="*/ 155 w 554"/>
                <a:gd name="T71" fmla="*/ 79 h 417"/>
                <a:gd name="T72" fmla="*/ 163 w 554"/>
                <a:gd name="T73" fmla="*/ 61 h 417"/>
                <a:gd name="T74" fmla="*/ 177 w 554"/>
                <a:gd name="T75" fmla="*/ 47 h 417"/>
                <a:gd name="T76" fmla="*/ 206 w 554"/>
                <a:gd name="T77" fmla="*/ 56 h 417"/>
                <a:gd name="T78" fmla="*/ 218 w 554"/>
                <a:gd name="T79" fmla="*/ 58 h 417"/>
                <a:gd name="T80" fmla="*/ 227 w 554"/>
                <a:gd name="T81" fmla="*/ 46 h 417"/>
                <a:gd name="T82" fmla="*/ 245 w 554"/>
                <a:gd name="T83" fmla="*/ 21 h 417"/>
                <a:gd name="T84" fmla="*/ 260 w 554"/>
                <a:gd name="T85" fmla="*/ 11 h 417"/>
                <a:gd name="T86" fmla="*/ 280 w 554"/>
                <a:gd name="T87" fmla="*/ 14 h 417"/>
                <a:gd name="T88" fmla="*/ 308 w 554"/>
                <a:gd name="T89" fmla="*/ 21 h 417"/>
                <a:gd name="T90" fmla="*/ 321 w 554"/>
                <a:gd name="T91" fmla="*/ 32 h 417"/>
                <a:gd name="T92" fmla="*/ 305 w 554"/>
                <a:gd name="T93" fmla="*/ 58 h 417"/>
                <a:gd name="T94" fmla="*/ 340 w 554"/>
                <a:gd name="T95" fmla="*/ 81 h 417"/>
                <a:gd name="T96" fmla="*/ 368 w 554"/>
                <a:gd name="T97" fmla="*/ 98 h 417"/>
                <a:gd name="T98" fmla="*/ 386 w 554"/>
                <a:gd name="T99" fmla="*/ 72 h 417"/>
                <a:gd name="T100" fmla="*/ 391 w 554"/>
                <a:gd name="T101" fmla="*/ 37 h 417"/>
                <a:gd name="T102" fmla="*/ 397 w 554"/>
                <a:gd name="T103" fmla="*/ 7 h 417"/>
                <a:gd name="T104" fmla="*/ 411 w 554"/>
                <a:gd name="T105" fmla="*/ 23 h 417"/>
                <a:gd name="T106" fmla="*/ 427 w 554"/>
                <a:gd name="T107" fmla="*/ 50 h 417"/>
                <a:gd name="T108" fmla="*/ 443 w 554"/>
                <a:gd name="T109" fmla="*/ 77 h 417"/>
                <a:gd name="T110" fmla="*/ 454 w 554"/>
                <a:gd name="T111" fmla="*/ 109 h 417"/>
                <a:gd name="T112" fmla="*/ 482 w 554"/>
                <a:gd name="T113" fmla="*/ 130 h 417"/>
                <a:gd name="T114" fmla="*/ 497 w 554"/>
                <a:gd name="T115" fmla="*/ 158 h 417"/>
                <a:gd name="T116" fmla="*/ 516 w 554"/>
                <a:gd name="T117" fmla="*/ 169 h 417"/>
                <a:gd name="T118" fmla="*/ 535 w 554"/>
                <a:gd name="T119" fmla="*/ 198 h 417"/>
                <a:gd name="T120" fmla="*/ 547 w 554"/>
                <a:gd name="T121" fmla="*/ 229 h 417"/>
                <a:gd name="T122" fmla="*/ 551 w 554"/>
                <a:gd name="T123" fmla="*/ 265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54" h="417">
                  <a:moveTo>
                    <a:pt x="548" y="276"/>
                  </a:moveTo>
                  <a:lnTo>
                    <a:pt x="548" y="278"/>
                  </a:lnTo>
                  <a:lnTo>
                    <a:pt x="547" y="280"/>
                  </a:lnTo>
                  <a:lnTo>
                    <a:pt x="546" y="284"/>
                  </a:lnTo>
                  <a:lnTo>
                    <a:pt x="546" y="286"/>
                  </a:lnTo>
                  <a:lnTo>
                    <a:pt x="546" y="288"/>
                  </a:lnTo>
                  <a:lnTo>
                    <a:pt x="546" y="292"/>
                  </a:lnTo>
                  <a:lnTo>
                    <a:pt x="546" y="294"/>
                  </a:lnTo>
                  <a:lnTo>
                    <a:pt x="545" y="296"/>
                  </a:lnTo>
                  <a:lnTo>
                    <a:pt x="544" y="299"/>
                  </a:lnTo>
                  <a:lnTo>
                    <a:pt x="543" y="302"/>
                  </a:lnTo>
                  <a:lnTo>
                    <a:pt x="542" y="305"/>
                  </a:lnTo>
                  <a:lnTo>
                    <a:pt x="539" y="307"/>
                  </a:lnTo>
                  <a:lnTo>
                    <a:pt x="539" y="313"/>
                  </a:lnTo>
                  <a:lnTo>
                    <a:pt x="539" y="313"/>
                  </a:lnTo>
                  <a:lnTo>
                    <a:pt x="537" y="314"/>
                  </a:lnTo>
                  <a:lnTo>
                    <a:pt x="535" y="318"/>
                  </a:lnTo>
                  <a:lnTo>
                    <a:pt x="533" y="319"/>
                  </a:lnTo>
                  <a:lnTo>
                    <a:pt x="529" y="320"/>
                  </a:lnTo>
                  <a:lnTo>
                    <a:pt x="528" y="323"/>
                  </a:lnTo>
                  <a:lnTo>
                    <a:pt x="526" y="325"/>
                  </a:lnTo>
                  <a:lnTo>
                    <a:pt x="525" y="328"/>
                  </a:lnTo>
                  <a:lnTo>
                    <a:pt x="522" y="331"/>
                  </a:lnTo>
                  <a:lnTo>
                    <a:pt x="522" y="333"/>
                  </a:lnTo>
                  <a:lnTo>
                    <a:pt x="521" y="336"/>
                  </a:lnTo>
                  <a:lnTo>
                    <a:pt x="520" y="339"/>
                  </a:lnTo>
                  <a:lnTo>
                    <a:pt x="518" y="341"/>
                  </a:lnTo>
                  <a:lnTo>
                    <a:pt x="517" y="344"/>
                  </a:lnTo>
                  <a:lnTo>
                    <a:pt x="517" y="347"/>
                  </a:lnTo>
                  <a:lnTo>
                    <a:pt x="516" y="349"/>
                  </a:lnTo>
                  <a:lnTo>
                    <a:pt x="516" y="352"/>
                  </a:lnTo>
                  <a:lnTo>
                    <a:pt x="516" y="353"/>
                  </a:lnTo>
                  <a:lnTo>
                    <a:pt x="514" y="355"/>
                  </a:lnTo>
                  <a:lnTo>
                    <a:pt x="511" y="357"/>
                  </a:lnTo>
                  <a:lnTo>
                    <a:pt x="510" y="359"/>
                  </a:lnTo>
                  <a:lnTo>
                    <a:pt x="509" y="362"/>
                  </a:lnTo>
                  <a:lnTo>
                    <a:pt x="508" y="365"/>
                  </a:lnTo>
                  <a:lnTo>
                    <a:pt x="506" y="367"/>
                  </a:lnTo>
                  <a:lnTo>
                    <a:pt x="506" y="370"/>
                  </a:lnTo>
                  <a:lnTo>
                    <a:pt x="506" y="373"/>
                  </a:lnTo>
                  <a:lnTo>
                    <a:pt x="505" y="375"/>
                  </a:lnTo>
                  <a:lnTo>
                    <a:pt x="504" y="378"/>
                  </a:lnTo>
                  <a:lnTo>
                    <a:pt x="504" y="380"/>
                  </a:lnTo>
                  <a:lnTo>
                    <a:pt x="503" y="383"/>
                  </a:lnTo>
                  <a:lnTo>
                    <a:pt x="504" y="386"/>
                  </a:lnTo>
                  <a:lnTo>
                    <a:pt x="504" y="388"/>
                  </a:lnTo>
                  <a:lnTo>
                    <a:pt x="504" y="389"/>
                  </a:lnTo>
                  <a:lnTo>
                    <a:pt x="504" y="391"/>
                  </a:lnTo>
                  <a:lnTo>
                    <a:pt x="503" y="392"/>
                  </a:lnTo>
                  <a:lnTo>
                    <a:pt x="501" y="393"/>
                  </a:lnTo>
                  <a:lnTo>
                    <a:pt x="499" y="396"/>
                  </a:lnTo>
                  <a:lnTo>
                    <a:pt x="495" y="396"/>
                  </a:lnTo>
                  <a:lnTo>
                    <a:pt x="488" y="396"/>
                  </a:lnTo>
                  <a:lnTo>
                    <a:pt x="486" y="396"/>
                  </a:lnTo>
                  <a:lnTo>
                    <a:pt x="483" y="396"/>
                  </a:lnTo>
                  <a:lnTo>
                    <a:pt x="480" y="397"/>
                  </a:lnTo>
                  <a:lnTo>
                    <a:pt x="477" y="398"/>
                  </a:lnTo>
                  <a:lnTo>
                    <a:pt x="475" y="399"/>
                  </a:lnTo>
                  <a:lnTo>
                    <a:pt x="473" y="400"/>
                  </a:lnTo>
                  <a:lnTo>
                    <a:pt x="469" y="402"/>
                  </a:lnTo>
                  <a:lnTo>
                    <a:pt x="467" y="405"/>
                  </a:lnTo>
                  <a:lnTo>
                    <a:pt x="465" y="408"/>
                  </a:lnTo>
                  <a:lnTo>
                    <a:pt x="461" y="410"/>
                  </a:lnTo>
                  <a:lnTo>
                    <a:pt x="461" y="409"/>
                  </a:lnTo>
                  <a:lnTo>
                    <a:pt x="459" y="410"/>
                  </a:lnTo>
                  <a:lnTo>
                    <a:pt x="456" y="410"/>
                  </a:lnTo>
                  <a:lnTo>
                    <a:pt x="453" y="410"/>
                  </a:lnTo>
                  <a:lnTo>
                    <a:pt x="453" y="413"/>
                  </a:lnTo>
                  <a:lnTo>
                    <a:pt x="457" y="412"/>
                  </a:lnTo>
                  <a:lnTo>
                    <a:pt x="456" y="415"/>
                  </a:lnTo>
                  <a:lnTo>
                    <a:pt x="456" y="417"/>
                  </a:lnTo>
                  <a:lnTo>
                    <a:pt x="453" y="415"/>
                  </a:lnTo>
                  <a:lnTo>
                    <a:pt x="451" y="413"/>
                  </a:lnTo>
                  <a:lnTo>
                    <a:pt x="449" y="413"/>
                  </a:lnTo>
                  <a:lnTo>
                    <a:pt x="445" y="409"/>
                  </a:lnTo>
                  <a:lnTo>
                    <a:pt x="443" y="408"/>
                  </a:lnTo>
                  <a:lnTo>
                    <a:pt x="443" y="406"/>
                  </a:lnTo>
                  <a:lnTo>
                    <a:pt x="443" y="402"/>
                  </a:lnTo>
                  <a:lnTo>
                    <a:pt x="440" y="404"/>
                  </a:lnTo>
                  <a:lnTo>
                    <a:pt x="440" y="406"/>
                  </a:lnTo>
                  <a:lnTo>
                    <a:pt x="436" y="407"/>
                  </a:lnTo>
                  <a:lnTo>
                    <a:pt x="434" y="405"/>
                  </a:lnTo>
                  <a:lnTo>
                    <a:pt x="437" y="402"/>
                  </a:lnTo>
                  <a:lnTo>
                    <a:pt x="437" y="402"/>
                  </a:lnTo>
                  <a:lnTo>
                    <a:pt x="437" y="400"/>
                  </a:lnTo>
                  <a:lnTo>
                    <a:pt x="435" y="397"/>
                  </a:lnTo>
                  <a:lnTo>
                    <a:pt x="433" y="399"/>
                  </a:lnTo>
                  <a:lnTo>
                    <a:pt x="431" y="400"/>
                  </a:lnTo>
                  <a:lnTo>
                    <a:pt x="427" y="401"/>
                  </a:lnTo>
                  <a:lnTo>
                    <a:pt x="431" y="404"/>
                  </a:lnTo>
                  <a:lnTo>
                    <a:pt x="427" y="404"/>
                  </a:lnTo>
                  <a:lnTo>
                    <a:pt x="427" y="405"/>
                  </a:lnTo>
                  <a:lnTo>
                    <a:pt x="424" y="407"/>
                  </a:lnTo>
                  <a:lnTo>
                    <a:pt x="422" y="408"/>
                  </a:lnTo>
                  <a:lnTo>
                    <a:pt x="419" y="410"/>
                  </a:lnTo>
                  <a:lnTo>
                    <a:pt x="416" y="413"/>
                  </a:lnTo>
                  <a:lnTo>
                    <a:pt x="416" y="413"/>
                  </a:lnTo>
                  <a:lnTo>
                    <a:pt x="412" y="412"/>
                  </a:lnTo>
                  <a:lnTo>
                    <a:pt x="410" y="409"/>
                  </a:lnTo>
                  <a:lnTo>
                    <a:pt x="408" y="408"/>
                  </a:lnTo>
                  <a:lnTo>
                    <a:pt x="405" y="407"/>
                  </a:lnTo>
                  <a:lnTo>
                    <a:pt x="402" y="405"/>
                  </a:lnTo>
                  <a:lnTo>
                    <a:pt x="400" y="405"/>
                  </a:lnTo>
                  <a:lnTo>
                    <a:pt x="397" y="405"/>
                  </a:lnTo>
                  <a:lnTo>
                    <a:pt x="394" y="404"/>
                  </a:lnTo>
                  <a:lnTo>
                    <a:pt x="391" y="404"/>
                  </a:lnTo>
                  <a:lnTo>
                    <a:pt x="389" y="406"/>
                  </a:lnTo>
                  <a:lnTo>
                    <a:pt x="386" y="404"/>
                  </a:lnTo>
                  <a:lnTo>
                    <a:pt x="383" y="401"/>
                  </a:lnTo>
                  <a:lnTo>
                    <a:pt x="381" y="400"/>
                  </a:lnTo>
                  <a:lnTo>
                    <a:pt x="378" y="400"/>
                  </a:lnTo>
                  <a:lnTo>
                    <a:pt x="375" y="399"/>
                  </a:lnTo>
                  <a:lnTo>
                    <a:pt x="373" y="398"/>
                  </a:lnTo>
                  <a:lnTo>
                    <a:pt x="372" y="395"/>
                  </a:lnTo>
                  <a:lnTo>
                    <a:pt x="369" y="392"/>
                  </a:lnTo>
                  <a:lnTo>
                    <a:pt x="368" y="391"/>
                  </a:lnTo>
                  <a:lnTo>
                    <a:pt x="366" y="389"/>
                  </a:lnTo>
                  <a:lnTo>
                    <a:pt x="365" y="387"/>
                  </a:lnTo>
                  <a:lnTo>
                    <a:pt x="364" y="383"/>
                  </a:lnTo>
                  <a:lnTo>
                    <a:pt x="366" y="381"/>
                  </a:lnTo>
                  <a:lnTo>
                    <a:pt x="366" y="380"/>
                  </a:lnTo>
                  <a:lnTo>
                    <a:pt x="366" y="378"/>
                  </a:lnTo>
                  <a:lnTo>
                    <a:pt x="365" y="374"/>
                  </a:lnTo>
                  <a:lnTo>
                    <a:pt x="364" y="372"/>
                  </a:lnTo>
                  <a:lnTo>
                    <a:pt x="363" y="370"/>
                  </a:lnTo>
                  <a:lnTo>
                    <a:pt x="360" y="366"/>
                  </a:lnTo>
                  <a:lnTo>
                    <a:pt x="357" y="364"/>
                  </a:lnTo>
                  <a:lnTo>
                    <a:pt x="355" y="362"/>
                  </a:lnTo>
                  <a:lnTo>
                    <a:pt x="357" y="364"/>
                  </a:lnTo>
                  <a:lnTo>
                    <a:pt x="360" y="366"/>
                  </a:lnTo>
                  <a:lnTo>
                    <a:pt x="362" y="369"/>
                  </a:lnTo>
                  <a:lnTo>
                    <a:pt x="364" y="371"/>
                  </a:lnTo>
                  <a:lnTo>
                    <a:pt x="362" y="367"/>
                  </a:lnTo>
                  <a:lnTo>
                    <a:pt x="359" y="365"/>
                  </a:lnTo>
                  <a:lnTo>
                    <a:pt x="357" y="363"/>
                  </a:lnTo>
                  <a:lnTo>
                    <a:pt x="356" y="361"/>
                  </a:lnTo>
                  <a:lnTo>
                    <a:pt x="358" y="361"/>
                  </a:lnTo>
                  <a:lnTo>
                    <a:pt x="359" y="358"/>
                  </a:lnTo>
                  <a:lnTo>
                    <a:pt x="357" y="357"/>
                  </a:lnTo>
                  <a:lnTo>
                    <a:pt x="355" y="358"/>
                  </a:lnTo>
                  <a:lnTo>
                    <a:pt x="352" y="361"/>
                  </a:lnTo>
                  <a:lnTo>
                    <a:pt x="350" y="361"/>
                  </a:lnTo>
                  <a:lnTo>
                    <a:pt x="347" y="362"/>
                  </a:lnTo>
                  <a:lnTo>
                    <a:pt x="345" y="362"/>
                  </a:lnTo>
                  <a:lnTo>
                    <a:pt x="342" y="363"/>
                  </a:lnTo>
                  <a:lnTo>
                    <a:pt x="343" y="359"/>
                  </a:lnTo>
                  <a:lnTo>
                    <a:pt x="347" y="357"/>
                  </a:lnTo>
                  <a:lnTo>
                    <a:pt x="347" y="355"/>
                  </a:lnTo>
                  <a:lnTo>
                    <a:pt x="347" y="352"/>
                  </a:lnTo>
                  <a:lnTo>
                    <a:pt x="347" y="349"/>
                  </a:lnTo>
                  <a:lnTo>
                    <a:pt x="347" y="347"/>
                  </a:lnTo>
                  <a:lnTo>
                    <a:pt x="345" y="344"/>
                  </a:lnTo>
                  <a:lnTo>
                    <a:pt x="343" y="341"/>
                  </a:lnTo>
                  <a:lnTo>
                    <a:pt x="341" y="341"/>
                  </a:lnTo>
                  <a:lnTo>
                    <a:pt x="339" y="344"/>
                  </a:lnTo>
                  <a:lnTo>
                    <a:pt x="339" y="346"/>
                  </a:lnTo>
                  <a:lnTo>
                    <a:pt x="339" y="347"/>
                  </a:lnTo>
                  <a:lnTo>
                    <a:pt x="339" y="349"/>
                  </a:lnTo>
                  <a:lnTo>
                    <a:pt x="338" y="352"/>
                  </a:lnTo>
                  <a:lnTo>
                    <a:pt x="335" y="355"/>
                  </a:lnTo>
                  <a:lnTo>
                    <a:pt x="333" y="354"/>
                  </a:lnTo>
                  <a:lnTo>
                    <a:pt x="330" y="355"/>
                  </a:lnTo>
                  <a:lnTo>
                    <a:pt x="325" y="356"/>
                  </a:lnTo>
                  <a:lnTo>
                    <a:pt x="326" y="354"/>
                  </a:lnTo>
                  <a:lnTo>
                    <a:pt x="328" y="350"/>
                  </a:lnTo>
                  <a:lnTo>
                    <a:pt x="330" y="350"/>
                  </a:lnTo>
                  <a:lnTo>
                    <a:pt x="333" y="349"/>
                  </a:lnTo>
                  <a:lnTo>
                    <a:pt x="333" y="347"/>
                  </a:lnTo>
                  <a:lnTo>
                    <a:pt x="333" y="344"/>
                  </a:lnTo>
                  <a:lnTo>
                    <a:pt x="333" y="344"/>
                  </a:lnTo>
                  <a:lnTo>
                    <a:pt x="333" y="340"/>
                  </a:lnTo>
                  <a:lnTo>
                    <a:pt x="334" y="338"/>
                  </a:lnTo>
                  <a:lnTo>
                    <a:pt x="335" y="335"/>
                  </a:lnTo>
                  <a:lnTo>
                    <a:pt x="337" y="332"/>
                  </a:lnTo>
                  <a:lnTo>
                    <a:pt x="340" y="330"/>
                  </a:lnTo>
                  <a:lnTo>
                    <a:pt x="339" y="327"/>
                  </a:lnTo>
                  <a:lnTo>
                    <a:pt x="339" y="324"/>
                  </a:lnTo>
                  <a:lnTo>
                    <a:pt x="341" y="323"/>
                  </a:lnTo>
                  <a:lnTo>
                    <a:pt x="340" y="320"/>
                  </a:lnTo>
                  <a:lnTo>
                    <a:pt x="339" y="318"/>
                  </a:lnTo>
                  <a:lnTo>
                    <a:pt x="338" y="315"/>
                  </a:lnTo>
                  <a:lnTo>
                    <a:pt x="337" y="316"/>
                  </a:lnTo>
                  <a:lnTo>
                    <a:pt x="338" y="319"/>
                  </a:lnTo>
                  <a:lnTo>
                    <a:pt x="337" y="321"/>
                  </a:lnTo>
                  <a:lnTo>
                    <a:pt x="334" y="323"/>
                  </a:lnTo>
                  <a:lnTo>
                    <a:pt x="332" y="325"/>
                  </a:lnTo>
                  <a:lnTo>
                    <a:pt x="332" y="328"/>
                  </a:lnTo>
                  <a:lnTo>
                    <a:pt x="330" y="331"/>
                  </a:lnTo>
                  <a:lnTo>
                    <a:pt x="328" y="332"/>
                  </a:lnTo>
                  <a:lnTo>
                    <a:pt x="325" y="333"/>
                  </a:lnTo>
                  <a:lnTo>
                    <a:pt x="322" y="335"/>
                  </a:lnTo>
                  <a:lnTo>
                    <a:pt x="320" y="337"/>
                  </a:lnTo>
                  <a:lnTo>
                    <a:pt x="317" y="339"/>
                  </a:lnTo>
                  <a:lnTo>
                    <a:pt x="316" y="341"/>
                  </a:lnTo>
                  <a:lnTo>
                    <a:pt x="314" y="344"/>
                  </a:lnTo>
                  <a:lnTo>
                    <a:pt x="312" y="347"/>
                  </a:lnTo>
                  <a:lnTo>
                    <a:pt x="311" y="349"/>
                  </a:lnTo>
                  <a:lnTo>
                    <a:pt x="313" y="349"/>
                  </a:lnTo>
                  <a:lnTo>
                    <a:pt x="313" y="353"/>
                  </a:lnTo>
                  <a:lnTo>
                    <a:pt x="311" y="350"/>
                  </a:lnTo>
                  <a:lnTo>
                    <a:pt x="308" y="352"/>
                  </a:lnTo>
                  <a:lnTo>
                    <a:pt x="306" y="348"/>
                  </a:lnTo>
                  <a:lnTo>
                    <a:pt x="304" y="346"/>
                  </a:lnTo>
                  <a:lnTo>
                    <a:pt x="303" y="344"/>
                  </a:lnTo>
                  <a:lnTo>
                    <a:pt x="305" y="344"/>
                  </a:lnTo>
                  <a:lnTo>
                    <a:pt x="304" y="341"/>
                  </a:lnTo>
                  <a:lnTo>
                    <a:pt x="303" y="339"/>
                  </a:lnTo>
                  <a:lnTo>
                    <a:pt x="303" y="336"/>
                  </a:lnTo>
                  <a:lnTo>
                    <a:pt x="303" y="336"/>
                  </a:lnTo>
                  <a:lnTo>
                    <a:pt x="299" y="333"/>
                  </a:lnTo>
                  <a:lnTo>
                    <a:pt x="297" y="330"/>
                  </a:lnTo>
                  <a:lnTo>
                    <a:pt x="297" y="328"/>
                  </a:lnTo>
                  <a:lnTo>
                    <a:pt x="295" y="325"/>
                  </a:lnTo>
                  <a:lnTo>
                    <a:pt x="291" y="323"/>
                  </a:lnTo>
                  <a:lnTo>
                    <a:pt x="289" y="323"/>
                  </a:lnTo>
                  <a:lnTo>
                    <a:pt x="287" y="320"/>
                  </a:lnTo>
                  <a:lnTo>
                    <a:pt x="289" y="318"/>
                  </a:lnTo>
                  <a:lnTo>
                    <a:pt x="289" y="318"/>
                  </a:lnTo>
                  <a:lnTo>
                    <a:pt x="289" y="314"/>
                  </a:lnTo>
                  <a:lnTo>
                    <a:pt x="287" y="313"/>
                  </a:lnTo>
                  <a:lnTo>
                    <a:pt x="283" y="313"/>
                  </a:lnTo>
                  <a:lnTo>
                    <a:pt x="283" y="311"/>
                  </a:lnTo>
                  <a:lnTo>
                    <a:pt x="281" y="307"/>
                  </a:lnTo>
                  <a:lnTo>
                    <a:pt x="278" y="309"/>
                  </a:lnTo>
                  <a:lnTo>
                    <a:pt x="275" y="310"/>
                  </a:lnTo>
                  <a:lnTo>
                    <a:pt x="270" y="306"/>
                  </a:lnTo>
                  <a:lnTo>
                    <a:pt x="269" y="305"/>
                  </a:lnTo>
                  <a:lnTo>
                    <a:pt x="266" y="305"/>
                  </a:lnTo>
                  <a:lnTo>
                    <a:pt x="263" y="306"/>
                  </a:lnTo>
                  <a:lnTo>
                    <a:pt x="261" y="306"/>
                  </a:lnTo>
                  <a:lnTo>
                    <a:pt x="258" y="304"/>
                  </a:lnTo>
                  <a:lnTo>
                    <a:pt x="255" y="302"/>
                  </a:lnTo>
                  <a:lnTo>
                    <a:pt x="253" y="301"/>
                  </a:lnTo>
                  <a:lnTo>
                    <a:pt x="249" y="299"/>
                  </a:lnTo>
                  <a:lnTo>
                    <a:pt x="247" y="298"/>
                  </a:lnTo>
                  <a:lnTo>
                    <a:pt x="245" y="299"/>
                  </a:lnTo>
                  <a:lnTo>
                    <a:pt x="241" y="301"/>
                  </a:lnTo>
                  <a:lnTo>
                    <a:pt x="239" y="299"/>
                  </a:lnTo>
                  <a:lnTo>
                    <a:pt x="236" y="299"/>
                  </a:lnTo>
                  <a:lnTo>
                    <a:pt x="234" y="299"/>
                  </a:lnTo>
                  <a:lnTo>
                    <a:pt x="228" y="301"/>
                  </a:lnTo>
                  <a:lnTo>
                    <a:pt x="226" y="301"/>
                  </a:lnTo>
                  <a:lnTo>
                    <a:pt x="223" y="301"/>
                  </a:lnTo>
                  <a:lnTo>
                    <a:pt x="220" y="301"/>
                  </a:lnTo>
                  <a:lnTo>
                    <a:pt x="218" y="302"/>
                  </a:lnTo>
                  <a:lnTo>
                    <a:pt x="214" y="303"/>
                  </a:lnTo>
                  <a:lnTo>
                    <a:pt x="209" y="305"/>
                  </a:lnTo>
                  <a:lnTo>
                    <a:pt x="204" y="307"/>
                  </a:lnTo>
                  <a:lnTo>
                    <a:pt x="201" y="309"/>
                  </a:lnTo>
                  <a:lnTo>
                    <a:pt x="198" y="309"/>
                  </a:lnTo>
                  <a:lnTo>
                    <a:pt x="195" y="310"/>
                  </a:lnTo>
                  <a:lnTo>
                    <a:pt x="192" y="311"/>
                  </a:lnTo>
                  <a:lnTo>
                    <a:pt x="189" y="311"/>
                  </a:lnTo>
                  <a:lnTo>
                    <a:pt x="186" y="311"/>
                  </a:lnTo>
                  <a:lnTo>
                    <a:pt x="184" y="311"/>
                  </a:lnTo>
                  <a:lnTo>
                    <a:pt x="180" y="311"/>
                  </a:lnTo>
                  <a:lnTo>
                    <a:pt x="178" y="310"/>
                  </a:lnTo>
                  <a:lnTo>
                    <a:pt x="176" y="311"/>
                  </a:lnTo>
                  <a:lnTo>
                    <a:pt x="173" y="312"/>
                  </a:lnTo>
                  <a:lnTo>
                    <a:pt x="171" y="313"/>
                  </a:lnTo>
                  <a:lnTo>
                    <a:pt x="168" y="315"/>
                  </a:lnTo>
                  <a:lnTo>
                    <a:pt x="166" y="316"/>
                  </a:lnTo>
                  <a:lnTo>
                    <a:pt x="163" y="318"/>
                  </a:lnTo>
                  <a:lnTo>
                    <a:pt x="160" y="319"/>
                  </a:lnTo>
                  <a:lnTo>
                    <a:pt x="158" y="320"/>
                  </a:lnTo>
                  <a:lnTo>
                    <a:pt x="154" y="321"/>
                  </a:lnTo>
                  <a:lnTo>
                    <a:pt x="152" y="322"/>
                  </a:lnTo>
                  <a:lnTo>
                    <a:pt x="150" y="324"/>
                  </a:lnTo>
                  <a:lnTo>
                    <a:pt x="149" y="328"/>
                  </a:lnTo>
                  <a:lnTo>
                    <a:pt x="149" y="330"/>
                  </a:lnTo>
                  <a:lnTo>
                    <a:pt x="145" y="332"/>
                  </a:lnTo>
                  <a:lnTo>
                    <a:pt x="145" y="332"/>
                  </a:lnTo>
                  <a:lnTo>
                    <a:pt x="143" y="335"/>
                  </a:lnTo>
                  <a:lnTo>
                    <a:pt x="139" y="335"/>
                  </a:lnTo>
                  <a:lnTo>
                    <a:pt x="137" y="337"/>
                  </a:lnTo>
                  <a:lnTo>
                    <a:pt x="134" y="335"/>
                  </a:lnTo>
                  <a:lnTo>
                    <a:pt x="132" y="335"/>
                  </a:lnTo>
                  <a:lnTo>
                    <a:pt x="129" y="336"/>
                  </a:lnTo>
                  <a:lnTo>
                    <a:pt x="126" y="336"/>
                  </a:lnTo>
                  <a:lnTo>
                    <a:pt x="124" y="337"/>
                  </a:lnTo>
                  <a:lnTo>
                    <a:pt x="121" y="335"/>
                  </a:lnTo>
                  <a:lnTo>
                    <a:pt x="119" y="335"/>
                  </a:lnTo>
                  <a:lnTo>
                    <a:pt x="117" y="335"/>
                  </a:lnTo>
                  <a:lnTo>
                    <a:pt x="115" y="335"/>
                  </a:lnTo>
                  <a:lnTo>
                    <a:pt x="112" y="335"/>
                  </a:lnTo>
                  <a:lnTo>
                    <a:pt x="109" y="335"/>
                  </a:lnTo>
                  <a:lnTo>
                    <a:pt x="107" y="335"/>
                  </a:lnTo>
                  <a:lnTo>
                    <a:pt x="104" y="335"/>
                  </a:lnTo>
                  <a:lnTo>
                    <a:pt x="101" y="336"/>
                  </a:lnTo>
                  <a:lnTo>
                    <a:pt x="99" y="336"/>
                  </a:lnTo>
                  <a:lnTo>
                    <a:pt x="95" y="336"/>
                  </a:lnTo>
                  <a:lnTo>
                    <a:pt x="94" y="336"/>
                  </a:lnTo>
                  <a:lnTo>
                    <a:pt x="91" y="337"/>
                  </a:lnTo>
                  <a:lnTo>
                    <a:pt x="89" y="339"/>
                  </a:lnTo>
                  <a:lnTo>
                    <a:pt x="86" y="341"/>
                  </a:lnTo>
                  <a:lnTo>
                    <a:pt x="85" y="344"/>
                  </a:lnTo>
                  <a:lnTo>
                    <a:pt x="83" y="345"/>
                  </a:lnTo>
                  <a:lnTo>
                    <a:pt x="79" y="344"/>
                  </a:lnTo>
                  <a:lnTo>
                    <a:pt x="77" y="345"/>
                  </a:lnTo>
                  <a:lnTo>
                    <a:pt x="74" y="347"/>
                  </a:lnTo>
                  <a:lnTo>
                    <a:pt x="72" y="350"/>
                  </a:lnTo>
                  <a:lnTo>
                    <a:pt x="69" y="352"/>
                  </a:lnTo>
                  <a:lnTo>
                    <a:pt x="67" y="353"/>
                  </a:lnTo>
                  <a:lnTo>
                    <a:pt x="65" y="353"/>
                  </a:lnTo>
                  <a:lnTo>
                    <a:pt x="65" y="354"/>
                  </a:lnTo>
                  <a:lnTo>
                    <a:pt x="61" y="353"/>
                  </a:lnTo>
                  <a:lnTo>
                    <a:pt x="59" y="354"/>
                  </a:lnTo>
                  <a:lnTo>
                    <a:pt x="57" y="353"/>
                  </a:lnTo>
                  <a:lnTo>
                    <a:pt x="53" y="353"/>
                  </a:lnTo>
                  <a:lnTo>
                    <a:pt x="51" y="353"/>
                  </a:lnTo>
                  <a:lnTo>
                    <a:pt x="48" y="353"/>
                  </a:lnTo>
                  <a:lnTo>
                    <a:pt x="45" y="352"/>
                  </a:lnTo>
                  <a:lnTo>
                    <a:pt x="43" y="350"/>
                  </a:lnTo>
                  <a:lnTo>
                    <a:pt x="40" y="349"/>
                  </a:lnTo>
                  <a:lnTo>
                    <a:pt x="38" y="347"/>
                  </a:lnTo>
                  <a:lnTo>
                    <a:pt x="35" y="345"/>
                  </a:lnTo>
                  <a:lnTo>
                    <a:pt x="32" y="342"/>
                  </a:lnTo>
                  <a:lnTo>
                    <a:pt x="30" y="341"/>
                  </a:lnTo>
                  <a:lnTo>
                    <a:pt x="26" y="341"/>
                  </a:lnTo>
                  <a:lnTo>
                    <a:pt x="25" y="339"/>
                  </a:lnTo>
                  <a:lnTo>
                    <a:pt x="25" y="337"/>
                  </a:lnTo>
                  <a:lnTo>
                    <a:pt x="25" y="333"/>
                  </a:lnTo>
                  <a:lnTo>
                    <a:pt x="25" y="331"/>
                  </a:lnTo>
                  <a:lnTo>
                    <a:pt x="28" y="331"/>
                  </a:lnTo>
                  <a:lnTo>
                    <a:pt x="28" y="331"/>
                  </a:lnTo>
                  <a:lnTo>
                    <a:pt x="31" y="330"/>
                  </a:lnTo>
                  <a:lnTo>
                    <a:pt x="33" y="328"/>
                  </a:lnTo>
                  <a:lnTo>
                    <a:pt x="35" y="325"/>
                  </a:lnTo>
                  <a:lnTo>
                    <a:pt x="34" y="322"/>
                  </a:lnTo>
                  <a:lnTo>
                    <a:pt x="34" y="320"/>
                  </a:lnTo>
                  <a:lnTo>
                    <a:pt x="34" y="318"/>
                  </a:lnTo>
                  <a:lnTo>
                    <a:pt x="34" y="314"/>
                  </a:lnTo>
                  <a:lnTo>
                    <a:pt x="34" y="318"/>
                  </a:lnTo>
                  <a:lnTo>
                    <a:pt x="35" y="314"/>
                  </a:lnTo>
                  <a:lnTo>
                    <a:pt x="35" y="312"/>
                  </a:lnTo>
                  <a:lnTo>
                    <a:pt x="35" y="310"/>
                  </a:lnTo>
                  <a:lnTo>
                    <a:pt x="35" y="306"/>
                  </a:lnTo>
                  <a:lnTo>
                    <a:pt x="35" y="304"/>
                  </a:lnTo>
                  <a:lnTo>
                    <a:pt x="35" y="301"/>
                  </a:lnTo>
                  <a:lnTo>
                    <a:pt x="33" y="298"/>
                  </a:lnTo>
                  <a:lnTo>
                    <a:pt x="32" y="296"/>
                  </a:lnTo>
                  <a:lnTo>
                    <a:pt x="31" y="293"/>
                  </a:lnTo>
                  <a:lnTo>
                    <a:pt x="30" y="290"/>
                  </a:lnTo>
                  <a:lnTo>
                    <a:pt x="27" y="287"/>
                  </a:lnTo>
                  <a:lnTo>
                    <a:pt x="26" y="285"/>
                  </a:lnTo>
                  <a:lnTo>
                    <a:pt x="26" y="282"/>
                  </a:lnTo>
                  <a:lnTo>
                    <a:pt x="25" y="279"/>
                  </a:lnTo>
                  <a:lnTo>
                    <a:pt x="25" y="277"/>
                  </a:lnTo>
                  <a:lnTo>
                    <a:pt x="25" y="276"/>
                  </a:lnTo>
                  <a:lnTo>
                    <a:pt x="25" y="270"/>
                  </a:lnTo>
                  <a:lnTo>
                    <a:pt x="25" y="268"/>
                  </a:lnTo>
                  <a:lnTo>
                    <a:pt x="24" y="265"/>
                  </a:lnTo>
                  <a:lnTo>
                    <a:pt x="23" y="262"/>
                  </a:lnTo>
                  <a:lnTo>
                    <a:pt x="21" y="260"/>
                  </a:lnTo>
                  <a:lnTo>
                    <a:pt x="19" y="258"/>
                  </a:lnTo>
                  <a:lnTo>
                    <a:pt x="19" y="255"/>
                  </a:lnTo>
                  <a:lnTo>
                    <a:pt x="17" y="252"/>
                  </a:lnTo>
                  <a:lnTo>
                    <a:pt x="16" y="250"/>
                  </a:lnTo>
                  <a:lnTo>
                    <a:pt x="14" y="247"/>
                  </a:lnTo>
                  <a:lnTo>
                    <a:pt x="13" y="244"/>
                  </a:lnTo>
                  <a:lnTo>
                    <a:pt x="14" y="242"/>
                  </a:lnTo>
                  <a:lnTo>
                    <a:pt x="13" y="239"/>
                  </a:lnTo>
                  <a:lnTo>
                    <a:pt x="13" y="236"/>
                  </a:lnTo>
                  <a:lnTo>
                    <a:pt x="10" y="234"/>
                  </a:lnTo>
                  <a:lnTo>
                    <a:pt x="9" y="230"/>
                  </a:lnTo>
                  <a:lnTo>
                    <a:pt x="7" y="228"/>
                  </a:lnTo>
                  <a:lnTo>
                    <a:pt x="5" y="226"/>
                  </a:lnTo>
                  <a:lnTo>
                    <a:pt x="5" y="225"/>
                  </a:lnTo>
                  <a:lnTo>
                    <a:pt x="2" y="222"/>
                  </a:lnTo>
                  <a:lnTo>
                    <a:pt x="0" y="219"/>
                  </a:lnTo>
                  <a:lnTo>
                    <a:pt x="4" y="222"/>
                  </a:lnTo>
                  <a:lnTo>
                    <a:pt x="4" y="219"/>
                  </a:lnTo>
                  <a:lnTo>
                    <a:pt x="5" y="222"/>
                  </a:lnTo>
                  <a:lnTo>
                    <a:pt x="6" y="225"/>
                  </a:lnTo>
                  <a:lnTo>
                    <a:pt x="8" y="226"/>
                  </a:lnTo>
                  <a:lnTo>
                    <a:pt x="10" y="222"/>
                  </a:lnTo>
                  <a:lnTo>
                    <a:pt x="8" y="220"/>
                  </a:lnTo>
                  <a:lnTo>
                    <a:pt x="6" y="217"/>
                  </a:lnTo>
                  <a:lnTo>
                    <a:pt x="5" y="215"/>
                  </a:lnTo>
                  <a:lnTo>
                    <a:pt x="4" y="212"/>
                  </a:lnTo>
                  <a:lnTo>
                    <a:pt x="6" y="212"/>
                  </a:lnTo>
                  <a:lnTo>
                    <a:pt x="8" y="216"/>
                  </a:lnTo>
                  <a:lnTo>
                    <a:pt x="8" y="218"/>
                  </a:lnTo>
                  <a:lnTo>
                    <a:pt x="8" y="219"/>
                  </a:lnTo>
                  <a:lnTo>
                    <a:pt x="10" y="217"/>
                  </a:lnTo>
                  <a:lnTo>
                    <a:pt x="10" y="219"/>
                  </a:lnTo>
                  <a:lnTo>
                    <a:pt x="11" y="221"/>
                  </a:lnTo>
                  <a:lnTo>
                    <a:pt x="15" y="222"/>
                  </a:lnTo>
                  <a:lnTo>
                    <a:pt x="14" y="219"/>
                  </a:lnTo>
                  <a:lnTo>
                    <a:pt x="15" y="217"/>
                  </a:lnTo>
                  <a:lnTo>
                    <a:pt x="15" y="215"/>
                  </a:lnTo>
                  <a:lnTo>
                    <a:pt x="13" y="211"/>
                  </a:lnTo>
                  <a:lnTo>
                    <a:pt x="11" y="209"/>
                  </a:lnTo>
                  <a:lnTo>
                    <a:pt x="9" y="207"/>
                  </a:lnTo>
                  <a:lnTo>
                    <a:pt x="8" y="203"/>
                  </a:lnTo>
                  <a:lnTo>
                    <a:pt x="7" y="201"/>
                  </a:lnTo>
                  <a:lnTo>
                    <a:pt x="7" y="201"/>
                  </a:lnTo>
                  <a:lnTo>
                    <a:pt x="6" y="198"/>
                  </a:lnTo>
                  <a:lnTo>
                    <a:pt x="4" y="195"/>
                  </a:lnTo>
                  <a:lnTo>
                    <a:pt x="4" y="192"/>
                  </a:lnTo>
                  <a:lnTo>
                    <a:pt x="4" y="190"/>
                  </a:lnTo>
                  <a:lnTo>
                    <a:pt x="5" y="187"/>
                  </a:lnTo>
                  <a:lnTo>
                    <a:pt x="5" y="184"/>
                  </a:lnTo>
                  <a:lnTo>
                    <a:pt x="7" y="182"/>
                  </a:lnTo>
                  <a:lnTo>
                    <a:pt x="8" y="179"/>
                  </a:lnTo>
                  <a:lnTo>
                    <a:pt x="8" y="176"/>
                  </a:lnTo>
                  <a:lnTo>
                    <a:pt x="9" y="174"/>
                  </a:lnTo>
                  <a:lnTo>
                    <a:pt x="8" y="170"/>
                  </a:lnTo>
                  <a:lnTo>
                    <a:pt x="7" y="168"/>
                  </a:lnTo>
                  <a:lnTo>
                    <a:pt x="8" y="167"/>
                  </a:lnTo>
                  <a:lnTo>
                    <a:pt x="9" y="164"/>
                  </a:lnTo>
                  <a:lnTo>
                    <a:pt x="10" y="161"/>
                  </a:lnTo>
                  <a:lnTo>
                    <a:pt x="10" y="158"/>
                  </a:lnTo>
                  <a:lnTo>
                    <a:pt x="14" y="156"/>
                  </a:lnTo>
                  <a:lnTo>
                    <a:pt x="14" y="159"/>
                  </a:lnTo>
                  <a:lnTo>
                    <a:pt x="13" y="161"/>
                  </a:lnTo>
                  <a:lnTo>
                    <a:pt x="14" y="165"/>
                  </a:lnTo>
                  <a:lnTo>
                    <a:pt x="16" y="166"/>
                  </a:lnTo>
                  <a:lnTo>
                    <a:pt x="17" y="164"/>
                  </a:lnTo>
                  <a:lnTo>
                    <a:pt x="18" y="160"/>
                  </a:lnTo>
                  <a:lnTo>
                    <a:pt x="19" y="159"/>
                  </a:lnTo>
                  <a:lnTo>
                    <a:pt x="21" y="157"/>
                  </a:lnTo>
                  <a:lnTo>
                    <a:pt x="23" y="156"/>
                  </a:lnTo>
                  <a:lnTo>
                    <a:pt x="24" y="154"/>
                  </a:lnTo>
                  <a:lnTo>
                    <a:pt x="27" y="153"/>
                  </a:lnTo>
                  <a:lnTo>
                    <a:pt x="30" y="152"/>
                  </a:lnTo>
                  <a:lnTo>
                    <a:pt x="33" y="151"/>
                  </a:lnTo>
                  <a:lnTo>
                    <a:pt x="35" y="149"/>
                  </a:lnTo>
                  <a:lnTo>
                    <a:pt x="38" y="145"/>
                  </a:lnTo>
                  <a:lnTo>
                    <a:pt x="40" y="144"/>
                  </a:lnTo>
                  <a:lnTo>
                    <a:pt x="43" y="142"/>
                  </a:lnTo>
                  <a:lnTo>
                    <a:pt x="45" y="142"/>
                  </a:lnTo>
                  <a:lnTo>
                    <a:pt x="49" y="140"/>
                  </a:lnTo>
                  <a:lnTo>
                    <a:pt x="51" y="140"/>
                  </a:lnTo>
                  <a:lnTo>
                    <a:pt x="55" y="139"/>
                  </a:lnTo>
                  <a:lnTo>
                    <a:pt x="57" y="141"/>
                  </a:lnTo>
                  <a:lnTo>
                    <a:pt x="59" y="140"/>
                  </a:lnTo>
                  <a:lnTo>
                    <a:pt x="62" y="140"/>
                  </a:lnTo>
                  <a:lnTo>
                    <a:pt x="65" y="139"/>
                  </a:lnTo>
                  <a:lnTo>
                    <a:pt x="67" y="136"/>
                  </a:lnTo>
                  <a:lnTo>
                    <a:pt x="69" y="135"/>
                  </a:lnTo>
                  <a:lnTo>
                    <a:pt x="73" y="135"/>
                  </a:lnTo>
                  <a:lnTo>
                    <a:pt x="74" y="134"/>
                  </a:lnTo>
                  <a:lnTo>
                    <a:pt x="77" y="134"/>
                  </a:lnTo>
                  <a:lnTo>
                    <a:pt x="79" y="132"/>
                  </a:lnTo>
                  <a:lnTo>
                    <a:pt x="82" y="130"/>
                  </a:lnTo>
                  <a:lnTo>
                    <a:pt x="86" y="130"/>
                  </a:lnTo>
                  <a:lnTo>
                    <a:pt x="89" y="131"/>
                  </a:lnTo>
                  <a:lnTo>
                    <a:pt x="91" y="130"/>
                  </a:lnTo>
                  <a:lnTo>
                    <a:pt x="93" y="130"/>
                  </a:lnTo>
                  <a:lnTo>
                    <a:pt x="94" y="130"/>
                  </a:lnTo>
                  <a:lnTo>
                    <a:pt x="96" y="128"/>
                  </a:lnTo>
                  <a:lnTo>
                    <a:pt x="99" y="128"/>
                  </a:lnTo>
                  <a:lnTo>
                    <a:pt x="102" y="127"/>
                  </a:lnTo>
                  <a:lnTo>
                    <a:pt x="104" y="126"/>
                  </a:lnTo>
                  <a:lnTo>
                    <a:pt x="108" y="125"/>
                  </a:lnTo>
                  <a:lnTo>
                    <a:pt x="110" y="123"/>
                  </a:lnTo>
                  <a:lnTo>
                    <a:pt x="112" y="121"/>
                  </a:lnTo>
                  <a:lnTo>
                    <a:pt x="115" y="117"/>
                  </a:lnTo>
                  <a:lnTo>
                    <a:pt x="116" y="115"/>
                  </a:lnTo>
                  <a:lnTo>
                    <a:pt x="116" y="111"/>
                  </a:lnTo>
                  <a:lnTo>
                    <a:pt x="118" y="111"/>
                  </a:lnTo>
                  <a:lnTo>
                    <a:pt x="119" y="108"/>
                  </a:lnTo>
                  <a:lnTo>
                    <a:pt x="121" y="108"/>
                  </a:lnTo>
                  <a:lnTo>
                    <a:pt x="124" y="105"/>
                  </a:lnTo>
                  <a:lnTo>
                    <a:pt x="126" y="102"/>
                  </a:lnTo>
                  <a:lnTo>
                    <a:pt x="124" y="101"/>
                  </a:lnTo>
                  <a:lnTo>
                    <a:pt x="124" y="99"/>
                  </a:lnTo>
                  <a:lnTo>
                    <a:pt x="124" y="96"/>
                  </a:lnTo>
                  <a:lnTo>
                    <a:pt x="124" y="93"/>
                  </a:lnTo>
                  <a:lnTo>
                    <a:pt x="125" y="90"/>
                  </a:lnTo>
                  <a:lnTo>
                    <a:pt x="126" y="88"/>
                  </a:lnTo>
                  <a:lnTo>
                    <a:pt x="128" y="87"/>
                  </a:lnTo>
                  <a:lnTo>
                    <a:pt x="130" y="84"/>
                  </a:lnTo>
                  <a:lnTo>
                    <a:pt x="132" y="82"/>
                  </a:lnTo>
                  <a:lnTo>
                    <a:pt x="134" y="80"/>
                  </a:lnTo>
                  <a:lnTo>
                    <a:pt x="135" y="82"/>
                  </a:lnTo>
                  <a:lnTo>
                    <a:pt x="136" y="84"/>
                  </a:lnTo>
                  <a:lnTo>
                    <a:pt x="138" y="88"/>
                  </a:lnTo>
                  <a:lnTo>
                    <a:pt x="139" y="90"/>
                  </a:lnTo>
                  <a:lnTo>
                    <a:pt x="141" y="92"/>
                  </a:lnTo>
                  <a:lnTo>
                    <a:pt x="143" y="96"/>
                  </a:lnTo>
                  <a:lnTo>
                    <a:pt x="143" y="96"/>
                  </a:lnTo>
                  <a:lnTo>
                    <a:pt x="143" y="93"/>
                  </a:lnTo>
                  <a:lnTo>
                    <a:pt x="143" y="90"/>
                  </a:lnTo>
                  <a:lnTo>
                    <a:pt x="143" y="88"/>
                  </a:lnTo>
                  <a:lnTo>
                    <a:pt x="146" y="90"/>
                  </a:lnTo>
                  <a:lnTo>
                    <a:pt x="147" y="90"/>
                  </a:lnTo>
                  <a:lnTo>
                    <a:pt x="146" y="88"/>
                  </a:lnTo>
                  <a:lnTo>
                    <a:pt x="147" y="85"/>
                  </a:lnTo>
                  <a:lnTo>
                    <a:pt x="145" y="85"/>
                  </a:lnTo>
                  <a:lnTo>
                    <a:pt x="143" y="83"/>
                  </a:lnTo>
                  <a:lnTo>
                    <a:pt x="142" y="81"/>
                  </a:lnTo>
                  <a:lnTo>
                    <a:pt x="144" y="80"/>
                  </a:lnTo>
                  <a:lnTo>
                    <a:pt x="145" y="79"/>
                  </a:lnTo>
                  <a:lnTo>
                    <a:pt x="143" y="76"/>
                  </a:lnTo>
                  <a:lnTo>
                    <a:pt x="145" y="76"/>
                  </a:lnTo>
                  <a:lnTo>
                    <a:pt x="147" y="79"/>
                  </a:lnTo>
                  <a:lnTo>
                    <a:pt x="150" y="77"/>
                  </a:lnTo>
                  <a:lnTo>
                    <a:pt x="152" y="79"/>
                  </a:lnTo>
                  <a:lnTo>
                    <a:pt x="159" y="79"/>
                  </a:lnTo>
                  <a:lnTo>
                    <a:pt x="161" y="80"/>
                  </a:lnTo>
                  <a:lnTo>
                    <a:pt x="159" y="79"/>
                  </a:lnTo>
                  <a:lnTo>
                    <a:pt x="155" y="79"/>
                  </a:lnTo>
                  <a:lnTo>
                    <a:pt x="154" y="75"/>
                  </a:lnTo>
                  <a:lnTo>
                    <a:pt x="156" y="73"/>
                  </a:lnTo>
                  <a:lnTo>
                    <a:pt x="154" y="72"/>
                  </a:lnTo>
                  <a:lnTo>
                    <a:pt x="154" y="68"/>
                  </a:lnTo>
                  <a:lnTo>
                    <a:pt x="154" y="68"/>
                  </a:lnTo>
                  <a:lnTo>
                    <a:pt x="156" y="66"/>
                  </a:lnTo>
                  <a:lnTo>
                    <a:pt x="159" y="64"/>
                  </a:lnTo>
                  <a:lnTo>
                    <a:pt x="161" y="65"/>
                  </a:lnTo>
                  <a:lnTo>
                    <a:pt x="163" y="66"/>
                  </a:lnTo>
                  <a:lnTo>
                    <a:pt x="164" y="67"/>
                  </a:lnTo>
                  <a:lnTo>
                    <a:pt x="164" y="64"/>
                  </a:lnTo>
                  <a:lnTo>
                    <a:pt x="161" y="64"/>
                  </a:lnTo>
                  <a:lnTo>
                    <a:pt x="160" y="62"/>
                  </a:lnTo>
                  <a:lnTo>
                    <a:pt x="163" y="61"/>
                  </a:lnTo>
                  <a:lnTo>
                    <a:pt x="166" y="61"/>
                  </a:lnTo>
                  <a:lnTo>
                    <a:pt x="167" y="62"/>
                  </a:lnTo>
                  <a:lnTo>
                    <a:pt x="164" y="58"/>
                  </a:lnTo>
                  <a:lnTo>
                    <a:pt x="164" y="56"/>
                  </a:lnTo>
                  <a:lnTo>
                    <a:pt x="167" y="54"/>
                  </a:lnTo>
                  <a:lnTo>
                    <a:pt x="169" y="53"/>
                  </a:lnTo>
                  <a:lnTo>
                    <a:pt x="170" y="53"/>
                  </a:lnTo>
                  <a:lnTo>
                    <a:pt x="170" y="50"/>
                  </a:lnTo>
                  <a:lnTo>
                    <a:pt x="171" y="53"/>
                  </a:lnTo>
                  <a:lnTo>
                    <a:pt x="175" y="54"/>
                  </a:lnTo>
                  <a:lnTo>
                    <a:pt x="177" y="51"/>
                  </a:lnTo>
                  <a:lnTo>
                    <a:pt x="177" y="49"/>
                  </a:lnTo>
                  <a:lnTo>
                    <a:pt x="178" y="47"/>
                  </a:lnTo>
                  <a:lnTo>
                    <a:pt x="177" y="47"/>
                  </a:lnTo>
                  <a:lnTo>
                    <a:pt x="178" y="46"/>
                  </a:lnTo>
                  <a:lnTo>
                    <a:pt x="179" y="48"/>
                  </a:lnTo>
                  <a:lnTo>
                    <a:pt x="181" y="46"/>
                  </a:lnTo>
                  <a:lnTo>
                    <a:pt x="183" y="47"/>
                  </a:lnTo>
                  <a:lnTo>
                    <a:pt x="186" y="47"/>
                  </a:lnTo>
                  <a:lnTo>
                    <a:pt x="188" y="45"/>
                  </a:lnTo>
                  <a:lnTo>
                    <a:pt x="188" y="42"/>
                  </a:lnTo>
                  <a:lnTo>
                    <a:pt x="189" y="41"/>
                  </a:lnTo>
                  <a:lnTo>
                    <a:pt x="190" y="45"/>
                  </a:lnTo>
                  <a:lnTo>
                    <a:pt x="194" y="45"/>
                  </a:lnTo>
                  <a:lnTo>
                    <a:pt x="200" y="48"/>
                  </a:lnTo>
                  <a:lnTo>
                    <a:pt x="201" y="51"/>
                  </a:lnTo>
                  <a:lnTo>
                    <a:pt x="204" y="54"/>
                  </a:lnTo>
                  <a:lnTo>
                    <a:pt x="206" y="56"/>
                  </a:lnTo>
                  <a:lnTo>
                    <a:pt x="206" y="57"/>
                  </a:lnTo>
                  <a:lnTo>
                    <a:pt x="205" y="59"/>
                  </a:lnTo>
                  <a:lnTo>
                    <a:pt x="204" y="62"/>
                  </a:lnTo>
                  <a:lnTo>
                    <a:pt x="204" y="65"/>
                  </a:lnTo>
                  <a:lnTo>
                    <a:pt x="204" y="66"/>
                  </a:lnTo>
                  <a:lnTo>
                    <a:pt x="205" y="64"/>
                  </a:lnTo>
                  <a:lnTo>
                    <a:pt x="207" y="65"/>
                  </a:lnTo>
                  <a:lnTo>
                    <a:pt x="206" y="63"/>
                  </a:lnTo>
                  <a:lnTo>
                    <a:pt x="206" y="61"/>
                  </a:lnTo>
                  <a:lnTo>
                    <a:pt x="209" y="61"/>
                  </a:lnTo>
                  <a:lnTo>
                    <a:pt x="210" y="57"/>
                  </a:lnTo>
                  <a:lnTo>
                    <a:pt x="212" y="56"/>
                  </a:lnTo>
                  <a:lnTo>
                    <a:pt x="215" y="57"/>
                  </a:lnTo>
                  <a:lnTo>
                    <a:pt x="218" y="58"/>
                  </a:lnTo>
                  <a:lnTo>
                    <a:pt x="220" y="61"/>
                  </a:lnTo>
                  <a:lnTo>
                    <a:pt x="220" y="58"/>
                  </a:lnTo>
                  <a:lnTo>
                    <a:pt x="223" y="58"/>
                  </a:lnTo>
                  <a:lnTo>
                    <a:pt x="226" y="61"/>
                  </a:lnTo>
                  <a:lnTo>
                    <a:pt x="227" y="63"/>
                  </a:lnTo>
                  <a:lnTo>
                    <a:pt x="227" y="62"/>
                  </a:lnTo>
                  <a:lnTo>
                    <a:pt x="226" y="58"/>
                  </a:lnTo>
                  <a:lnTo>
                    <a:pt x="229" y="57"/>
                  </a:lnTo>
                  <a:lnTo>
                    <a:pt x="226" y="55"/>
                  </a:lnTo>
                  <a:lnTo>
                    <a:pt x="223" y="53"/>
                  </a:lnTo>
                  <a:lnTo>
                    <a:pt x="222" y="50"/>
                  </a:lnTo>
                  <a:lnTo>
                    <a:pt x="224" y="47"/>
                  </a:lnTo>
                  <a:lnTo>
                    <a:pt x="224" y="47"/>
                  </a:lnTo>
                  <a:lnTo>
                    <a:pt x="227" y="46"/>
                  </a:lnTo>
                  <a:lnTo>
                    <a:pt x="228" y="40"/>
                  </a:lnTo>
                  <a:lnTo>
                    <a:pt x="231" y="39"/>
                  </a:lnTo>
                  <a:lnTo>
                    <a:pt x="234" y="37"/>
                  </a:lnTo>
                  <a:lnTo>
                    <a:pt x="236" y="37"/>
                  </a:lnTo>
                  <a:lnTo>
                    <a:pt x="232" y="34"/>
                  </a:lnTo>
                  <a:lnTo>
                    <a:pt x="232" y="31"/>
                  </a:lnTo>
                  <a:lnTo>
                    <a:pt x="235" y="31"/>
                  </a:lnTo>
                  <a:lnTo>
                    <a:pt x="236" y="29"/>
                  </a:lnTo>
                  <a:lnTo>
                    <a:pt x="238" y="27"/>
                  </a:lnTo>
                  <a:lnTo>
                    <a:pt x="239" y="24"/>
                  </a:lnTo>
                  <a:lnTo>
                    <a:pt x="241" y="25"/>
                  </a:lnTo>
                  <a:lnTo>
                    <a:pt x="243" y="24"/>
                  </a:lnTo>
                  <a:lnTo>
                    <a:pt x="245" y="23"/>
                  </a:lnTo>
                  <a:lnTo>
                    <a:pt x="245" y="21"/>
                  </a:lnTo>
                  <a:lnTo>
                    <a:pt x="247" y="21"/>
                  </a:lnTo>
                  <a:lnTo>
                    <a:pt x="250" y="21"/>
                  </a:lnTo>
                  <a:lnTo>
                    <a:pt x="253" y="22"/>
                  </a:lnTo>
                  <a:lnTo>
                    <a:pt x="255" y="21"/>
                  </a:lnTo>
                  <a:lnTo>
                    <a:pt x="258" y="22"/>
                  </a:lnTo>
                  <a:lnTo>
                    <a:pt x="261" y="21"/>
                  </a:lnTo>
                  <a:lnTo>
                    <a:pt x="263" y="21"/>
                  </a:lnTo>
                  <a:lnTo>
                    <a:pt x="264" y="21"/>
                  </a:lnTo>
                  <a:lnTo>
                    <a:pt x="266" y="19"/>
                  </a:lnTo>
                  <a:lnTo>
                    <a:pt x="267" y="16"/>
                  </a:lnTo>
                  <a:lnTo>
                    <a:pt x="267" y="14"/>
                  </a:lnTo>
                  <a:lnTo>
                    <a:pt x="265" y="11"/>
                  </a:lnTo>
                  <a:lnTo>
                    <a:pt x="263" y="10"/>
                  </a:lnTo>
                  <a:lnTo>
                    <a:pt x="260" y="11"/>
                  </a:lnTo>
                  <a:lnTo>
                    <a:pt x="257" y="8"/>
                  </a:lnTo>
                  <a:lnTo>
                    <a:pt x="256" y="8"/>
                  </a:lnTo>
                  <a:lnTo>
                    <a:pt x="258" y="6"/>
                  </a:lnTo>
                  <a:lnTo>
                    <a:pt x="261" y="8"/>
                  </a:lnTo>
                  <a:lnTo>
                    <a:pt x="261" y="6"/>
                  </a:lnTo>
                  <a:lnTo>
                    <a:pt x="263" y="6"/>
                  </a:lnTo>
                  <a:lnTo>
                    <a:pt x="265" y="8"/>
                  </a:lnTo>
                  <a:lnTo>
                    <a:pt x="266" y="8"/>
                  </a:lnTo>
                  <a:lnTo>
                    <a:pt x="269" y="11"/>
                  </a:lnTo>
                  <a:lnTo>
                    <a:pt x="271" y="8"/>
                  </a:lnTo>
                  <a:lnTo>
                    <a:pt x="273" y="11"/>
                  </a:lnTo>
                  <a:lnTo>
                    <a:pt x="274" y="13"/>
                  </a:lnTo>
                  <a:lnTo>
                    <a:pt x="277" y="13"/>
                  </a:lnTo>
                  <a:lnTo>
                    <a:pt x="280" y="14"/>
                  </a:lnTo>
                  <a:lnTo>
                    <a:pt x="282" y="14"/>
                  </a:lnTo>
                  <a:lnTo>
                    <a:pt x="284" y="14"/>
                  </a:lnTo>
                  <a:lnTo>
                    <a:pt x="288" y="16"/>
                  </a:lnTo>
                  <a:lnTo>
                    <a:pt x="290" y="17"/>
                  </a:lnTo>
                  <a:lnTo>
                    <a:pt x="292" y="19"/>
                  </a:lnTo>
                  <a:lnTo>
                    <a:pt x="295" y="17"/>
                  </a:lnTo>
                  <a:lnTo>
                    <a:pt x="298" y="20"/>
                  </a:lnTo>
                  <a:lnTo>
                    <a:pt x="300" y="21"/>
                  </a:lnTo>
                  <a:lnTo>
                    <a:pt x="303" y="21"/>
                  </a:lnTo>
                  <a:lnTo>
                    <a:pt x="306" y="20"/>
                  </a:lnTo>
                  <a:lnTo>
                    <a:pt x="308" y="19"/>
                  </a:lnTo>
                  <a:lnTo>
                    <a:pt x="311" y="15"/>
                  </a:lnTo>
                  <a:lnTo>
                    <a:pt x="311" y="19"/>
                  </a:lnTo>
                  <a:lnTo>
                    <a:pt x="308" y="21"/>
                  </a:lnTo>
                  <a:lnTo>
                    <a:pt x="312" y="20"/>
                  </a:lnTo>
                  <a:lnTo>
                    <a:pt x="313" y="22"/>
                  </a:lnTo>
                  <a:lnTo>
                    <a:pt x="315" y="24"/>
                  </a:lnTo>
                  <a:lnTo>
                    <a:pt x="317" y="23"/>
                  </a:lnTo>
                  <a:lnTo>
                    <a:pt x="317" y="21"/>
                  </a:lnTo>
                  <a:lnTo>
                    <a:pt x="318" y="17"/>
                  </a:lnTo>
                  <a:lnTo>
                    <a:pt x="321" y="16"/>
                  </a:lnTo>
                  <a:lnTo>
                    <a:pt x="321" y="20"/>
                  </a:lnTo>
                  <a:lnTo>
                    <a:pt x="324" y="20"/>
                  </a:lnTo>
                  <a:lnTo>
                    <a:pt x="326" y="23"/>
                  </a:lnTo>
                  <a:lnTo>
                    <a:pt x="324" y="25"/>
                  </a:lnTo>
                  <a:lnTo>
                    <a:pt x="321" y="28"/>
                  </a:lnTo>
                  <a:lnTo>
                    <a:pt x="320" y="30"/>
                  </a:lnTo>
                  <a:lnTo>
                    <a:pt x="321" y="32"/>
                  </a:lnTo>
                  <a:lnTo>
                    <a:pt x="320" y="34"/>
                  </a:lnTo>
                  <a:lnTo>
                    <a:pt x="317" y="34"/>
                  </a:lnTo>
                  <a:lnTo>
                    <a:pt x="314" y="34"/>
                  </a:lnTo>
                  <a:lnTo>
                    <a:pt x="312" y="37"/>
                  </a:lnTo>
                  <a:lnTo>
                    <a:pt x="312" y="39"/>
                  </a:lnTo>
                  <a:lnTo>
                    <a:pt x="312" y="41"/>
                  </a:lnTo>
                  <a:lnTo>
                    <a:pt x="314" y="41"/>
                  </a:lnTo>
                  <a:lnTo>
                    <a:pt x="313" y="44"/>
                  </a:lnTo>
                  <a:lnTo>
                    <a:pt x="312" y="47"/>
                  </a:lnTo>
                  <a:lnTo>
                    <a:pt x="311" y="49"/>
                  </a:lnTo>
                  <a:lnTo>
                    <a:pt x="308" y="51"/>
                  </a:lnTo>
                  <a:lnTo>
                    <a:pt x="307" y="55"/>
                  </a:lnTo>
                  <a:lnTo>
                    <a:pt x="305" y="56"/>
                  </a:lnTo>
                  <a:lnTo>
                    <a:pt x="305" y="58"/>
                  </a:lnTo>
                  <a:lnTo>
                    <a:pt x="308" y="61"/>
                  </a:lnTo>
                  <a:lnTo>
                    <a:pt x="311" y="62"/>
                  </a:lnTo>
                  <a:lnTo>
                    <a:pt x="314" y="64"/>
                  </a:lnTo>
                  <a:lnTo>
                    <a:pt x="316" y="65"/>
                  </a:lnTo>
                  <a:lnTo>
                    <a:pt x="317" y="68"/>
                  </a:lnTo>
                  <a:lnTo>
                    <a:pt x="321" y="70"/>
                  </a:lnTo>
                  <a:lnTo>
                    <a:pt x="322" y="70"/>
                  </a:lnTo>
                  <a:lnTo>
                    <a:pt x="324" y="73"/>
                  </a:lnTo>
                  <a:lnTo>
                    <a:pt x="326" y="72"/>
                  </a:lnTo>
                  <a:lnTo>
                    <a:pt x="330" y="73"/>
                  </a:lnTo>
                  <a:lnTo>
                    <a:pt x="332" y="75"/>
                  </a:lnTo>
                  <a:lnTo>
                    <a:pt x="334" y="76"/>
                  </a:lnTo>
                  <a:lnTo>
                    <a:pt x="338" y="79"/>
                  </a:lnTo>
                  <a:lnTo>
                    <a:pt x="340" y="81"/>
                  </a:lnTo>
                  <a:lnTo>
                    <a:pt x="340" y="81"/>
                  </a:lnTo>
                  <a:lnTo>
                    <a:pt x="343" y="83"/>
                  </a:lnTo>
                  <a:lnTo>
                    <a:pt x="346" y="84"/>
                  </a:lnTo>
                  <a:lnTo>
                    <a:pt x="349" y="84"/>
                  </a:lnTo>
                  <a:lnTo>
                    <a:pt x="351" y="85"/>
                  </a:lnTo>
                  <a:lnTo>
                    <a:pt x="355" y="87"/>
                  </a:lnTo>
                  <a:lnTo>
                    <a:pt x="356" y="89"/>
                  </a:lnTo>
                  <a:lnTo>
                    <a:pt x="357" y="91"/>
                  </a:lnTo>
                  <a:lnTo>
                    <a:pt x="358" y="92"/>
                  </a:lnTo>
                  <a:lnTo>
                    <a:pt x="360" y="93"/>
                  </a:lnTo>
                  <a:lnTo>
                    <a:pt x="364" y="96"/>
                  </a:lnTo>
                  <a:lnTo>
                    <a:pt x="365" y="96"/>
                  </a:lnTo>
                  <a:lnTo>
                    <a:pt x="367" y="97"/>
                  </a:lnTo>
                  <a:lnTo>
                    <a:pt x="368" y="98"/>
                  </a:lnTo>
                  <a:lnTo>
                    <a:pt x="371" y="98"/>
                  </a:lnTo>
                  <a:lnTo>
                    <a:pt x="373" y="97"/>
                  </a:lnTo>
                  <a:lnTo>
                    <a:pt x="376" y="96"/>
                  </a:lnTo>
                  <a:lnTo>
                    <a:pt x="377" y="94"/>
                  </a:lnTo>
                  <a:lnTo>
                    <a:pt x="380" y="92"/>
                  </a:lnTo>
                  <a:lnTo>
                    <a:pt x="381" y="90"/>
                  </a:lnTo>
                  <a:lnTo>
                    <a:pt x="382" y="87"/>
                  </a:lnTo>
                  <a:lnTo>
                    <a:pt x="383" y="84"/>
                  </a:lnTo>
                  <a:lnTo>
                    <a:pt x="384" y="83"/>
                  </a:lnTo>
                  <a:lnTo>
                    <a:pt x="385" y="81"/>
                  </a:lnTo>
                  <a:lnTo>
                    <a:pt x="386" y="77"/>
                  </a:lnTo>
                  <a:lnTo>
                    <a:pt x="388" y="75"/>
                  </a:lnTo>
                  <a:lnTo>
                    <a:pt x="388" y="74"/>
                  </a:lnTo>
                  <a:lnTo>
                    <a:pt x="386" y="72"/>
                  </a:lnTo>
                  <a:lnTo>
                    <a:pt x="388" y="70"/>
                  </a:lnTo>
                  <a:lnTo>
                    <a:pt x="388" y="66"/>
                  </a:lnTo>
                  <a:lnTo>
                    <a:pt x="389" y="64"/>
                  </a:lnTo>
                  <a:lnTo>
                    <a:pt x="390" y="63"/>
                  </a:lnTo>
                  <a:lnTo>
                    <a:pt x="391" y="59"/>
                  </a:lnTo>
                  <a:lnTo>
                    <a:pt x="390" y="57"/>
                  </a:lnTo>
                  <a:lnTo>
                    <a:pt x="389" y="55"/>
                  </a:lnTo>
                  <a:lnTo>
                    <a:pt x="389" y="51"/>
                  </a:lnTo>
                  <a:lnTo>
                    <a:pt x="390" y="49"/>
                  </a:lnTo>
                  <a:lnTo>
                    <a:pt x="390" y="47"/>
                  </a:lnTo>
                  <a:lnTo>
                    <a:pt x="388" y="44"/>
                  </a:lnTo>
                  <a:lnTo>
                    <a:pt x="389" y="41"/>
                  </a:lnTo>
                  <a:lnTo>
                    <a:pt x="390" y="38"/>
                  </a:lnTo>
                  <a:lnTo>
                    <a:pt x="391" y="37"/>
                  </a:lnTo>
                  <a:lnTo>
                    <a:pt x="391" y="37"/>
                  </a:lnTo>
                  <a:lnTo>
                    <a:pt x="390" y="33"/>
                  </a:lnTo>
                  <a:lnTo>
                    <a:pt x="390" y="31"/>
                  </a:lnTo>
                  <a:lnTo>
                    <a:pt x="392" y="29"/>
                  </a:lnTo>
                  <a:lnTo>
                    <a:pt x="395" y="28"/>
                  </a:lnTo>
                  <a:lnTo>
                    <a:pt x="392" y="25"/>
                  </a:lnTo>
                  <a:lnTo>
                    <a:pt x="390" y="25"/>
                  </a:lnTo>
                  <a:lnTo>
                    <a:pt x="391" y="22"/>
                  </a:lnTo>
                  <a:lnTo>
                    <a:pt x="392" y="20"/>
                  </a:lnTo>
                  <a:lnTo>
                    <a:pt x="395" y="19"/>
                  </a:lnTo>
                  <a:lnTo>
                    <a:pt x="394" y="15"/>
                  </a:lnTo>
                  <a:lnTo>
                    <a:pt x="395" y="13"/>
                  </a:lnTo>
                  <a:lnTo>
                    <a:pt x="397" y="11"/>
                  </a:lnTo>
                  <a:lnTo>
                    <a:pt x="397" y="7"/>
                  </a:lnTo>
                  <a:lnTo>
                    <a:pt x="398" y="5"/>
                  </a:lnTo>
                  <a:lnTo>
                    <a:pt x="400" y="3"/>
                  </a:lnTo>
                  <a:lnTo>
                    <a:pt x="401" y="0"/>
                  </a:lnTo>
                  <a:lnTo>
                    <a:pt x="403" y="0"/>
                  </a:lnTo>
                  <a:lnTo>
                    <a:pt x="402" y="3"/>
                  </a:lnTo>
                  <a:lnTo>
                    <a:pt x="405" y="4"/>
                  </a:lnTo>
                  <a:lnTo>
                    <a:pt x="407" y="6"/>
                  </a:lnTo>
                  <a:lnTo>
                    <a:pt x="407" y="8"/>
                  </a:lnTo>
                  <a:lnTo>
                    <a:pt x="407" y="12"/>
                  </a:lnTo>
                  <a:lnTo>
                    <a:pt x="407" y="14"/>
                  </a:lnTo>
                  <a:lnTo>
                    <a:pt x="410" y="16"/>
                  </a:lnTo>
                  <a:lnTo>
                    <a:pt x="412" y="17"/>
                  </a:lnTo>
                  <a:lnTo>
                    <a:pt x="410" y="20"/>
                  </a:lnTo>
                  <a:lnTo>
                    <a:pt x="411" y="23"/>
                  </a:lnTo>
                  <a:lnTo>
                    <a:pt x="414" y="25"/>
                  </a:lnTo>
                  <a:lnTo>
                    <a:pt x="414" y="28"/>
                  </a:lnTo>
                  <a:lnTo>
                    <a:pt x="416" y="31"/>
                  </a:lnTo>
                  <a:lnTo>
                    <a:pt x="416" y="33"/>
                  </a:lnTo>
                  <a:lnTo>
                    <a:pt x="416" y="37"/>
                  </a:lnTo>
                  <a:lnTo>
                    <a:pt x="417" y="39"/>
                  </a:lnTo>
                  <a:lnTo>
                    <a:pt x="416" y="41"/>
                  </a:lnTo>
                  <a:lnTo>
                    <a:pt x="417" y="45"/>
                  </a:lnTo>
                  <a:lnTo>
                    <a:pt x="417" y="45"/>
                  </a:lnTo>
                  <a:lnTo>
                    <a:pt x="418" y="47"/>
                  </a:lnTo>
                  <a:lnTo>
                    <a:pt x="419" y="50"/>
                  </a:lnTo>
                  <a:lnTo>
                    <a:pt x="422" y="53"/>
                  </a:lnTo>
                  <a:lnTo>
                    <a:pt x="425" y="51"/>
                  </a:lnTo>
                  <a:lnTo>
                    <a:pt x="427" y="50"/>
                  </a:lnTo>
                  <a:lnTo>
                    <a:pt x="429" y="48"/>
                  </a:lnTo>
                  <a:lnTo>
                    <a:pt x="431" y="50"/>
                  </a:lnTo>
                  <a:lnTo>
                    <a:pt x="432" y="54"/>
                  </a:lnTo>
                  <a:lnTo>
                    <a:pt x="434" y="54"/>
                  </a:lnTo>
                  <a:lnTo>
                    <a:pt x="436" y="57"/>
                  </a:lnTo>
                  <a:lnTo>
                    <a:pt x="440" y="58"/>
                  </a:lnTo>
                  <a:lnTo>
                    <a:pt x="441" y="58"/>
                  </a:lnTo>
                  <a:lnTo>
                    <a:pt x="440" y="62"/>
                  </a:lnTo>
                  <a:lnTo>
                    <a:pt x="440" y="64"/>
                  </a:lnTo>
                  <a:lnTo>
                    <a:pt x="440" y="67"/>
                  </a:lnTo>
                  <a:lnTo>
                    <a:pt x="441" y="70"/>
                  </a:lnTo>
                  <a:lnTo>
                    <a:pt x="441" y="72"/>
                  </a:lnTo>
                  <a:lnTo>
                    <a:pt x="443" y="75"/>
                  </a:lnTo>
                  <a:lnTo>
                    <a:pt x="443" y="77"/>
                  </a:lnTo>
                  <a:lnTo>
                    <a:pt x="442" y="80"/>
                  </a:lnTo>
                  <a:lnTo>
                    <a:pt x="444" y="83"/>
                  </a:lnTo>
                  <a:lnTo>
                    <a:pt x="446" y="85"/>
                  </a:lnTo>
                  <a:lnTo>
                    <a:pt x="446" y="87"/>
                  </a:lnTo>
                  <a:lnTo>
                    <a:pt x="450" y="87"/>
                  </a:lnTo>
                  <a:lnTo>
                    <a:pt x="449" y="89"/>
                  </a:lnTo>
                  <a:lnTo>
                    <a:pt x="450" y="91"/>
                  </a:lnTo>
                  <a:lnTo>
                    <a:pt x="451" y="94"/>
                  </a:lnTo>
                  <a:lnTo>
                    <a:pt x="452" y="97"/>
                  </a:lnTo>
                  <a:lnTo>
                    <a:pt x="451" y="99"/>
                  </a:lnTo>
                  <a:lnTo>
                    <a:pt x="451" y="102"/>
                  </a:lnTo>
                  <a:lnTo>
                    <a:pt x="450" y="105"/>
                  </a:lnTo>
                  <a:lnTo>
                    <a:pt x="452" y="108"/>
                  </a:lnTo>
                  <a:lnTo>
                    <a:pt x="454" y="109"/>
                  </a:lnTo>
                  <a:lnTo>
                    <a:pt x="454" y="113"/>
                  </a:lnTo>
                  <a:lnTo>
                    <a:pt x="454" y="115"/>
                  </a:lnTo>
                  <a:lnTo>
                    <a:pt x="457" y="117"/>
                  </a:lnTo>
                  <a:lnTo>
                    <a:pt x="462" y="121"/>
                  </a:lnTo>
                  <a:lnTo>
                    <a:pt x="465" y="121"/>
                  </a:lnTo>
                  <a:lnTo>
                    <a:pt x="468" y="122"/>
                  </a:lnTo>
                  <a:lnTo>
                    <a:pt x="470" y="122"/>
                  </a:lnTo>
                  <a:lnTo>
                    <a:pt x="471" y="125"/>
                  </a:lnTo>
                  <a:lnTo>
                    <a:pt x="471" y="125"/>
                  </a:lnTo>
                  <a:lnTo>
                    <a:pt x="473" y="127"/>
                  </a:lnTo>
                  <a:lnTo>
                    <a:pt x="475" y="126"/>
                  </a:lnTo>
                  <a:lnTo>
                    <a:pt x="476" y="128"/>
                  </a:lnTo>
                  <a:lnTo>
                    <a:pt x="479" y="130"/>
                  </a:lnTo>
                  <a:lnTo>
                    <a:pt x="482" y="130"/>
                  </a:lnTo>
                  <a:lnTo>
                    <a:pt x="483" y="133"/>
                  </a:lnTo>
                  <a:lnTo>
                    <a:pt x="486" y="133"/>
                  </a:lnTo>
                  <a:lnTo>
                    <a:pt x="488" y="134"/>
                  </a:lnTo>
                  <a:lnTo>
                    <a:pt x="490" y="136"/>
                  </a:lnTo>
                  <a:lnTo>
                    <a:pt x="487" y="139"/>
                  </a:lnTo>
                  <a:lnTo>
                    <a:pt x="488" y="141"/>
                  </a:lnTo>
                  <a:lnTo>
                    <a:pt x="491" y="143"/>
                  </a:lnTo>
                  <a:lnTo>
                    <a:pt x="493" y="144"/>
                  </a:lnTo>
                  <a:lnTo>
                    <a:pt x="494" y="148"/>
                  </a:lnTo>
                  <a:lnTo>
                    <a:pt x="495" y="148"/>
                  </a:lnTo>
                  <a:lnTo>
                    <a:pt x="495" y="151"/>
                  </a:lnTo>
                  <a:lnTo>
                    <a:pt x="497" y="152"/>
                  </a:lnTo>
                  <a:lnTo>
                    <a:pt x="497" y="154"/>
                  </a:lnTo>
                  <a:lnTo>
                    <a:pt x="497" y="158"/>
                  </a:lnTo>
                  <a:lnTo>
                    <a:pt x="499" y="160"/>
                  </a:lnTo>
                  <a:lnTo>
                    <a:pt x="500" y="162"/>
                  </a:lnTo>
                  <a:lnTo>
                    <a:pt x="501" y="166"/>
                  </a:lnTo>
                  <a:lnTo>
                    <a:pt x="503" y="165"/>
                  </a:lnTo>
                  <a:lnTo>
                    <a:pt x="504" y="167"/>
                  </a:lnTo>
                  <a:lnTo>
                    <a:pt x="504" y="166"/>
                  </a:lnTo>
                  <a:lnTo>
                    <a:pt x="503" y="164"/>
                  </a:lnTo>
                  <a:lnTo>
                    <a:pt x="504" y="161"/>
                  </a:lnTo>
                  <a:lnTo>
                    <a:pt x="508" y="164"/>
                  </a:lnTo>
                  <a:lnTo>
                    <a:pt x="512" y="167"/>
                  </a:lnTo>
                  <a:lnTo>
                    <a:pt x="512" y="165"/>
                  </a:lnTo>
                  <a:lnTo>
                    <a:pt x="514" y="165"/>
                  </a:lnTo>
                  <a:lnTo>
                    <a:pt x="514" y="167"/>
                  </a:lnTo>
                  <a:lnTo>
                    <a:pt x="516" y="169"/>
                  </a:lnTo>
                  <a:lnTo>
                    <a:pt x="514" y="173"/>
                  </a:lnTo>
                  <a:lnTo>
                    <a:pt x="516" y="175"/>
                  </a:lnTo>
                  <a:lnTo>
                    <a:pt x="516" y="177"/>
                  </a:lnTo>
                  <a:lnTo>
                    <a:pt x="517" y="181"/>
                  </a:lnTo>
                  <a:lnTo>
                    <a:pt x="516" y="181"/>
                  </a:lnTo>
                  <a:lnTo>
                    <a:pt x="519" y="182"/>
                  </a:lnTo>
                  <a:lnTo>
                    <a:pt x="520" y="184"/>
                  </a:lnTo>
                  <a:lnTo>
                    <a:pt x="523" y="186"/>
                  </a:lnTo>
                  <a:lnTo>
                    <a:pt x="525" y="187"/>
                  </a:lnTo>
                  <a:lnTo>
                    <a:pt x="528" y="187"/>
                  </a:lnTo>
                  <a:lnTo>
                    <a:pt x="530" y="190"/>
                  </a:lnTo>
                  <a:lnTo>
                    <a:pt x="531" y="192"/>
                  </a:lnTo>
                  <a:lnTo>
                    <a:pt x="533" y="194"/>
                  </a:lnTo>
                  <a:lnTo>
                    <a:pt x="535" y="198"/>
                  </a:lnTo>
                  <a:lnTo>
                    <a:pt x="538" y="199"/>
                  </a:lnTo>
                  <a:lnTo>
                    <a:pt x="539" y="201"/>
                  </a:lnTo>
                  <a:lnTo>
                    <a:pt x="539" y="203"/>
                  </a:lnTo>
                  <a:lnTo>
                    <a:pt x="542" y="205"/>
                  </a:lnTo>
                  <a:lnTo>
                    <a:pt x="545" y="208"/>
                  </a:lnTo>
                  <a:lnTo>
                    <a:pt x="544" y="211"/>
                  </a:lnTo>
                  <a:lnTo>
                    <a:pt x="545" y="213"/>
                  </a:lnTo>
                  <a:lnTo>
                    <a:pt x="546" y="215"/>
                  </a:lnTo>
                  <a:lnTo>
                    <a:pt x="548" y="216"/>
                  </a:lnTo>
                  <a:lnTo>
                    <a:pt x="547" y="218"/>
                  </a:lnTo>
                  <a:lnTo>
                    <a:pt x="547" y="221"/>
                  </a:lnTo>
                  <a:lnTo>
                    <a:pt x="547" y="224"/>
                  </a:lnTo>
                  <a:lnTo>
                    <a:pt x="547" y="227"/>
                  </a:lnTo>
                  <a:lnTo>
                    <a:pt x="547" y="229"/>
                  </a:lnTo>
                  <a:lnTo>
                    <a:pt x="548" y="232"/>
                  </a:lnTo>
                  <a:lnTo>
                    <a:pt x="547" y="235"/>
                  </a:lnTo>
                  <a:lnTo>
                    <a:pt x="548" y="237"/>
                  </a:lnTo>
                  <a:lnTo>
                    <a:pt x="550" y="241"/>
                  </a:lnTo>
                  <a:lnTo>
                    <a:pt x="552" y="243"/>
                  </a:lnTo>
                  <a:lnTo>
                    <a:pt x="552" y="245"/>
                  </a:lnTo>
                  <a:lnTo>
                    <a:pt x="553" y="248"/>
                  </a:lnTo>
                  <a:lnTo>
                    <a:pt x="554" y="248"/>
                  </a:lnTo>
                  <a:lnTo>
                    <a:pt x="554" y="252"/>
                  </a:lnTo>
                  <a:lnTo>
                    <a:pt x="554" y="254"/>
                  </a:lnTo>
                  <a:lnTo>
                    <a:pt x="554" y="256"/>
                  </a:lnTo>
                  <a:lnTo>
                    <a:pt x="554" y="260"/>
                  </a:lnTo>
                  <a:lnTo>
                    <a:pt x="552" y="262"/>
                  </a:lnTo>
                  <a:lnTo>
                    <a:pt x="551" y="265"/>
                  </a:lnTo>
                  <a:lnTo>
                    <a:pt x="551" y="268"/>
                  </a:lnTo>
                  <a:lnTo>
                    <a:pt x="551" y="270"/>
                  </a:lnTo>
                  <a:lnTo>
                    <a:pt x="550" y="273"/>
                  </a:lnTo>
                  <a:lnTo>
                    <a:pt x="548" y="276"/>
                  </a:lnTo>
                  <a:lnTo>
                    <a:pt x="548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9" name="Freeform 239">
              <a:extLst>
                <a:ext uri="{FF2B5EF4-FFF2-40B4-BE49-F238E27FC236}">
                  <a16:creationId xmlns:a16="http://schemas.microsoft.com/office/drawing/2014/main" id="{8E3946E9-0D04-4E55-AB01-7EAD229958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5000" y="2281238"/>
              <a:ext cx="6811962" cy="2960688"/>
            </a:xfrm>
            <a:custGeom>
              <a:avLst/>
              <a:gdLst>
                <a:gd name="T0" fmla="*/ 4219 w 4291"/>
                <a:gd name="T1" fmla="*/ 276 h 1865"/>
                <a:gd name="T2" fmla="*/ 3874 w 4291"/>
                <a:gd name="T3" fmla="*/ 206 h 1865"/>
                <a:gd name="T4" fmla="*/ 3458 w 4291"/>
                <a:gd name="T5" fmla="*/ 175 h 1865"/>
                <a:gd name="T6" fmla="*/ 3144 w 4291"/>
                <a:gd name="T7" fmla="*/ 122 h 1865"/>
                <a:gd name="T8" fmla="*/ 3014 w 4291"/>
                <a:gd name="T9" fmla="*/ 50 h 1865"/>
                <a:gd name="T10" fmla="*/ 2764 w 4291"/>
                <a:gd name="T11" fmla="*/ 182 h 1865"/>
                <a:gd name="T12" fmla="*/ 2679 w 4291"/>
                <a:gd name="T13" fmla="*/ 213 h 1865"/>
                <a:gd name="T14" fmla="*/ 2405 w 4291"/>
                <a:gd name="T15" fmla="*/ 238 h 1865"/>
                <a:gd name="T16" fmla="*/ 2146 w 4291"/>
                <a:gd name="T17" fmla="*/ 293 h 1865"/>
                <a:gd name="T18" fmla="*/ 2066 w 4291"/>
                <a:gd name="T19" fmla="*/ 180 h 1865"/>
                <a:gd name="T20" fmla="*/ 1911 w 4291"/>
                <a:gd name="T21" fmla="*/ 248 h 1865"/>
                <a:gd name="T22" fmla="*/ 1822 w 4291"/>
                <a:gd name="T23" fmla="*/ 357 h 1865"/>
                <a:gd name="T24" fmla="*/ 1762 w 4291"/>
                <a:gd name="T25" fmla="*/ 416 h 1865"/>
                <a:gd name="T26" fmla="*/ 1905 w 4291"/>
                <a:gd name="T27" fmla="*/ 501 h 1865"/>
                <a:gd name="T28" fmla="*/ 1979 w 4291"/>
                <a:gd name="T29" fmla="*/ 392 h 1865"/>
                <a:gd name="T30" fmla="*/ 1877 w 4291"/>
                <a:gd name="T31" fmla="*/ 549 h 1865"/>
                <a:gd name="T32" fmla="*/ 1740 w 4291"/>
                <a:gd name="T33" fmla="*/ 592 h 1865"/>
                <a:gd name="T34" fmla="*/ 1565 w 4291"/>
                <a:gd name="T35" fmla="*/ 782 h 1865"/>
                <a:gd name="T36" fmla="*/ 1902 w 4291"/>
                <a:gd name="T37" fmla="*/ 811 h 1865"/>
                <a:gd name="T38" fmla="*/ 1982 w 4291"/>
                <a:gd name="T39" fmla="*/ 818 h 1865"/>
                <a:gd name="T40" fmla="*/ 2115 w 4291"/>
                <a:gd name="T41" fmla="*/ 677 h 1865"/>
                <a:gd name="T42" fmla="*/ 2071 w 4291"/>
                <a:gd name="T43" fmla="*/ 784 h 1865"/>
                <a:gd name="T44" fmla="*/ 2097 w 4291"/>
                <a:gd name="T45" fmla="*/ 925 h 1865"/>
                <a:gd name="T46" fmla="*/ 1563 w 4291"/>
                <a:gd name="T47" fmla="*/ 902 h 1865"/>
                <a:gd name="T48" fmla="*/ 1518 w 4291"/>
                <a:gd name="T49" fmla="*/ 1268 h 1865"/>
                <a:gd name="T50" fmla="*/ 1809 w 4291"/>
                <a:gd name="T51" fmla="*/ 1378 h 1865"/>
                <a:gd name="T52" fmla="*/ 2027 w 4291"/>
                <a:gd name="T53" fmla="*/ 1852 h 1865"/>
                <a:gd name="T54" fmla="*/ 2254 w 4291"/>
                <a:gd name="T55" fmla="*/ 1392 h 1865"/>
                <a:gd name="T56" fmla="*/ 2191 w 4291"/>
                <a:gd name="T57" fmla="*/ 1071 h 1865"/>
                <a:gd name="T58" fmla="*/ 2274 w 4291"/>
                <a:gd name="T59" fmla="*/ 1170 h 1865"/>
                <a:gd name="T60" fmla="*/ 2412 w 4291"/>
                <a:gd name="T61" fmla="*/ 1032 h 1865"/>
                <a:gd name="T62" fmla="*/ 2439 w 4291"/>
                <a:gd name="T63" fmla="*/ 996 h 1865"/>
                <a:gd name="T64" fmla="*/ 2683 w 4291"/>
                <a:gd name="T65" fmla="*/ 1097 h 1865"/>
                <a:gd name="T66" fmla="*/ 2798 w 4291"/>
                <a:gd name="T67" fmla="*/ 1143 h 1865"/>
                <a:gd name="T68" fmla="*/ 2926 w 4291"/>
                <a:gd name="T69" fmla="*/ 1048 h 1865"/>
                <a:gd name="T70" fmla="*/ 3035 w 4291"/>
                <a:gd name="T71" fmla="*/ 1197 h 1865"/>
                <a:gd name="T72" fmla="*/ 3044 w 4291"/>
                <a:gd name="T73" fmla="*/ 1223 h 1865"/>
                <a:gd name="T74" fmla="*/ 3166 w 4291"/>
                <a:gd name="T75" fmla="*/ 1219 h 1865"/>
                <a:gd name="T76" fmla="*/ 3197 w 4291"/>
                <a:gd name="T77" fmla="*/ 1074 h 1865"/>
                <a:gd name="T78" fmla="*/ 3350 w 4291"/>
                <a:gd name="T79" fmla="*/ 956 h 1865"/>
                <a:gd name="T80" fmla="*/ 3328 w 4291"/>
                <a:gd name="T81" fmla="*/ 789 h 1865"/>
                <a:gd name="T82" fmla="*/ 3457 w 4291"/>
                <a:gd name="T83" fmla="*/ 845 h 1865"/>
                <a:gd name="T84" fmla="*/ 3572 w 4291"/>
                <a:gd name="T85" fmla="*/ 549 h 1865"/>
                <a:gd name="T86" fmla="*/ 3865 w 4291"/>
                <a:gd name="T87" fmla="*/ 390 h 1865"/>
                <a:gd name="T88" fmla="*/ 3856 w 4291"/>
                <a:gd name="T89" fmla="*/ 565 h 1865"/>
                <a:gd name="T90" fmla="*/ 4091 w 4291"/>
                <a:gd name="T91" fmla="*/ 384 h 1865"/>
                <a:gd name="T92" fmla="*/ 4255 w 4291"/>
                <a:gd name="T93" fmla="*/ 324 h 1865"/>
                <a:gd name="T94" fmla="*/ 2431 w 4291"/>
                <a:gd name="T95" fmla="*/ 777 h 1865"/>
                <a:gd name="T96" fmla="*/ 2410 w 4291"/>
                <a:gd name="T97" fmla="*/ 792 h 1865"/>
                <a:gd name="T98" fmla="*/ 2419 w 4291"/>
                <a:gd name="T99" fmla="*/ 804 h 1865"/>
                <a:gd name="T100" fmla="*/ 2381 w 4291"/>
                <a:gd name="T101" fmla="*/ 842 h 1865"/>
                <a:gd name="T102" fmla="*/ 2361 w 4291"/>
                <a:gd name="T103" fmla="*/ 796 h 1865"/>
                <a:gd name="T104" fmla="*/ 2353 w 4291"/>
                <a:gd name="T105" fmla="*/ 763 h 1865"/>
                <a:gd name="T106" fmla="*/ 2326 w 4291"/>
                <a:gd name="T107" fmla="*/ 719 h 1865"/>
                <a:gd name="T108" fmla="*/ 2348 w 4291"/>
                <a:gd name="T109" fmla="*/ 693 h 1865"/>
                <a:gd name="T110" fmla="*/ 2372 w 4291"/>
                <a:gd name="T111" fmla="*/ 678 h 1865"/>
                <a:gd name="T112" fmla="*/ 2414 w 4291"/>
                <a:gd name="T113" fmla="*/ 691 h 1865"/>
                <a:gd name="T114" fmla="*/ 2397 w 4291"/>
                <a:gd name="T115" fmla="*/ 702 h 1865"/>
                <a:gd name="T116" fmla="*/ 2381 w 4291"/>
                <a:gd name="T117" fmla="*/ 722 h 1865"/>
                <a:gd name="T118" fmla="*/ 2405 w 4291"/>
                <a:gd name="T119" fmla="*/ 765 h 1865"/>
                <a:gd name="T120" fmla="*/ 2516 w 4291"/>
                <a:gd name="T121" fmla="*/ 714 h 1865"/>
                <a:gd name="T122" fmla="*/ 2504 w 4291"/>
                <a:gd name="T123" fmla="*/ 690 h 1865"/>
                <a:gd name="T124" fmla="*/ 2517 w 4291"/>
                <a:gd name="T125" fmla="*/ 682 h 1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91" h="1865">
                  <a:moveTo>
                    <a:pt x="98" y="9"/>
                  </a:moveTo>
                  <a:lnTo>
                    <a:pt x="95" y="8"/>
                  </a:lnTo>
                  <a:lnTo>
                    <a:pt x="92" y="6"/>
                  </a:lnTo>
                  <a:lnTo>
                    <a:pt x="89" y="5"/>
                  </a:lnTo>
                  <a:lnTo>
                    <a:pt x="86" y="6"/>
                  </a:lnTo>
                  <a:lnTo>
                    <a:pt x="83" y="6"/>
                  </a:lnTo>
                  <a:lnTo>
                    <a:pt x="81" y="8"/>
                  </a:lnTo>
                  <a:lnTo>
                    <a:pt x="83" y="9"/>
                  </a:lnTo>
                  <a:lnTo>
                    <a:pt x="86" y="9"/>
                  </a:lnTo>
                  <a:lnTo>
                    <a:pt x="84" y="12"/>
                  </a:lnTo>
                  <a:lnTo>
                    <a:pt x="81" y="10"/>
                  </a:lnTo>
                  <a:lnTo>
                    <a:pt x="78" y="13"/>
                  </a:lnTo>
                  <a:lnTo>
                    <a:pt x="75" y="12"/>
                  </a:lnTo>
                  <a:lnTo>
                    <a:pt x="73" y="12"/>
                  </a:lnTo>
                  <a:lnTo>
                    <a:pt x="69" y="10"/>
                  </a:lnTo>
                  <a:lnTo>
                    <a:pt x="67" y="10"/>
                  </a:lnTo>
                  <a:lnTo>
                    <a:pt x="64" y="10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0" y="15"/>
                  </a:lnTo>
                  <a:lnTo>
                    <a:pt x="48" y="17"/>
                  </a:lnTo>
                  <a:lnTo>
                    <a:pt x="44" y="18"/>
                  </a:lnTo>
                  <a:lnTo>
                    <a:pt x="42" y="21"/>
                  </a:lnTo>
                  <a:lnTo>
                    <a:pt x="41" y="21"/>
                  </a:lnTo>
                  <a:lnTo>
                    <a:pt x="39" y="24"/>
                  </a:lnTo>
                  <a:lnTo>
                    <a:pt x="36" y="25"/>
                  </a:lnTo>
                  <a:lnTo>
                    <a:pt x="35" y="27"/>
                  </a:lnTo>
                  <a:lnTo>
                    <a:pt x="33" y="28"/>
                  </a:lnTo>
                  <a:lnTo>
                    <a:pt x="30" y="30"/>
                  </a:lnTo>
                  <a:lnTo>
                    <a:pt x="26" y="31"/>
                  </a:lnTo>
                  <a:lnTo>
                    <a:pt x="24" y="32"/>
                  </a:lnTo>
                  <a:lnTo>
                    <a:pt x="22" y="35"/>
                  </a:lnTo>
                  <a:lnTo>
                    <a:pt x="19" y="38"/>
                  </a:lnTo>
                  <a:lnTo>
                    <a:pt x="16" y="38"/>
                  </a:lnTo>
                  <a:lnTo>
                    <a:pt x="14" y="38"/>
                  </a:lnTo>
                  <a:lnTo>
                    <a:pt x="10" y="38"/>
                  </a:lnTo>
                  <a:lnTo>
                    <a:pt x="8" y="39"/>
                  </a:lnTo>
                  <a:lnTo>
                    <a:pt x="5" y="41"/>
                  </a:lnTo>
                  <a:lnTo>
                    <a:pt x="2" y="43"/>
                  </a:lnTo>
                  <a:lnTo>
                    <a:pt x="0" y="45"/>
                  </a:lnTo>
                  <a:lnTo>
                    <a:pt x="6" y="44"/>
                  </a:lnTo>
                  <a:lnTo>
                    <a:pt x="7" y="48"/>
                  </a:lnTo>
                  <a:lnTo>
                    <a:pt x="5" y="50"/>
                  </a:lnTo>
                  <a:lnTo>
                    <a:pt x="7" y="52"/>
                  </a:lnTo>
                  <a:lnTo>
                    <a:pt x="10" y="51"/>
                  </a:lnTo>
                  <a:lnTo>
                    <a:pt x="13" y="49"/>
                  </a:lnTo>
                  <a:lnTo>
                    <a:pt x="16" y="48"/>
                  </a:lnTo>
                  <a:lnTo>
                    <a:pt x="18" y="49"/>
                  </a:lnTo>
                  <a:lnTo>
                    <a:pt x="22" y="50"/>
                  </a:lnTo>
                  <a:lnTo>
                    <a:pt x="24" y="51"/>
                  </a:lnTo>
                  <a:lnTo>
                    <a:pt x="26" y="50"/>
                  </a:lnTo>
                  <a:lnTo>
                    <a:pt x="27" y="47"/>
                  </a:lnTo>
                  <a:lnTo>
                    <a:pt x="29" y="44"/>
                  </a:lnTo>
                  <a:lnTo>
                    <a:pt x="32" y="45"/>
                  </a:lnTo>
                  <a:lnTo>
                    <a:pt x="31" y="48"/>
                  </a:lnTo>
                  <a:lnTo>
                    <a:pt x="34" y="50"/>
                  </a:lnTo>
                  <a:lnTo>
                    <a:pt x="35" y="52"/>
                  </a:lnTo>
                  <a:lnTo>
                    <a:pt x="35" y="55"/>
                  </a:lnTo>
                  <a:lnTo>
                    <a:pt x="39" y="53"/>
                  </a:lnTo>
                  <a:lnTo>
                    <a:pt x="41" y="55"/>
                  </a:lnTo>
                  <a:lnTo>
                    <a:pt x="41" y="53"/>
                  </a:lnTo>
                  <a:lnTo>
                    <a:pt x="44" y="53"/>
                  </a:lnTo>
                  <a:lnTo>
                    <a:pt x="46" y="50"/>
                  </a:lnTo>
                  <a:lnTo>
                    <a:pt x="47" y="48"/>
                  </a:lnTo>
                  <a:lnTo>
                    <a:pt x="44" y="47"/>
                  </a:lnTo>
                  <a:lnTo>
                    <a:pt x="47" y="47"/>
                  </a:lnTo>
                  <a:lnTo>
                    <a:pt x="47" y="43"/>
                  </a:lnTo>
                  <a:lnTo>
                    <a:pt x="47" y="41"/>
                  </a:lnTo>
                  <a:lnTo>
                    <a:pt x="49" y="42"/>
                  </a:lnTo>
                  <a:lnTo>
                    <a:pt x="51" y="45"/>
                  </a:lnTo>
                  <a:lnTo>
                    <a:pt x="53" y="48"/>
                  </a:lnTo>
                  <a:lnTo>
                    <a:pt x="57" y="44"/>
                  </a:lnTo>
                  <a:lnTo>
                    <a:pt x="57" y="42"/>
                  </a:lnTo>
                  <a:lnTo>
                    <a:pt x="59" y="42"/>
                  </a:lnTo>
                  <a:lnTo>
                    <a:pt x="60" y="39"/>
                  </a:lnTo>
                  <a:lnTo>
                    <a:pt x="58" y="36"/>
                  </a:lnTo>
                  <a:lnTo>
                    <a:pt x="57" y="34"/>
                  </a:lnTo>
                  <a:lnTo>
                    <a:pt x="60" y="35"/>
                  </a:lnTo>
                  <a:lnTo>
                    <a:pt x="63" y="34"/>
                  </a:lnTo>
                  <a:lnTo>
                    <a:pt x="64" y="31"/>
                  </a:lnTo>
                  <a:lnTo>
                    <a:pt x="65" y="28"/>
                  </a:lnTo>
                  <a:lnTo>
                    <a:pt x="67" y="28"/>
                  </a:lnTo>
                  <a:lnTo>
                    <a:pt x="70" y="26"/>
                  </a:lnTo>
                  <a:lnTo>
                    <a:pt x="70" y="30"/>
                  </a:lnTo>
                  <a:lnTo>
                    <a:pt x="69" y="32"/>
                  </a:lnTo>
                  <a:lnTo>
                    <a:pt x="69" y="35"/>
                  </a:lnTo>
                  <a:lnTo>
                    <a:pt x="68" y="38"/>
                  </a:lnTo>
                  <a:lnTo>
                    <a:pt x="70" y="40"/>
                  </a:lnTo>
                  <a:lnTo>
                    <a:pt x="74" y="42"/>
                  </a:lnTo>
                  <a:lnTo>
                    <a:pt x="77" y="42"/>
                  </a:lnTo>
                  <a:lnTo>
                    <a:pt x="79" y="42"/>
                  </a:lnTo>
                  <a:lnTo>
                    <a:pt x="82" y="40"/>
                  </a:lnTo>
                  <a:lnTo>
                    <a:pt x="82" y="38"/>
                  </a:lnTo>
                  <a:lnTo>
                    <a:pt x="82" y="35"/>
                  </a:lnTo>
                  <a:lnTo>
                    <a:pt x="84" y="34"/>
                  </a:lnTo>
                  <a:lnTo>
                    <a:pt x="87" y="33"/>
                  </a:lnTo>
                  <a:lnTo>
                    <a:pt x="90" y="33"/>
                  </a:lnTo>
                  <a:lnTo>
                    <a:pt x="93" y="33"/>
                  </a:lnTo>
                  <a:lnTo>
                    <a:pt x="95" y="31"/>
                  </a:lnTo>
                  <a:lnTo>
                    <a:pt x="96" y="28"/>
                  </a:lnTo>
                  <a:lnTo>
                    <a:pt x="94" y="26"/>
                  </a:lnTo>
                  <a:lnTo>
                    <a:pt x="92" y="24"/>
                  </a:lnTo>
                  <a:lnTo>
                    <a:pt x="94" y="24"/>
                  </a:lnTo>
                  <a:lnTo>
                    <a:pt x="98" y="24"/>
                  </a:lnTo>
                  <a:lnTo>
                    <a:pt x="98" y="22"/>
                  </a:lnTo>
                  <a:lnTo>
                    <a:pt x="94" y="21"/>
                  </a:lnTo>
                  <a:lnTo>
                    <a:pt x="92" y="18"/>
                  </a:lnTo>
                  <a:lnTo>
                    <a:pt x="95" y="16"/>
                  </a:lnTo>
                  <a:lnTo>
                    <a:pt x="98" y="15"/>
                  </a:lnTo>
                  <a:lnTo>
                    <a:pt x="101" y="14"/>
                  </a:lnTo>
                  <a:lnTo>
                    <a:pt x="103" y="13"/>
                  </a:lnTo>
                  <a:lnTo>
                    <a:pt x="101" y="9"/>
                  </a:lnTo>
                  <a:lnTo>
                    <a:pt x="98" y="9"/>
                  </a:lnTo>
                  <a:close/>
                  <a:moveTo>
                    <a:pt x="4288" y="297"/>
                  </a:moveTo>
                  <a:lnTo>
                    <a:pt x="4286" y="297"/>
                  </a:lnTo>
                  <a:lnTo>
                    <a:pt x="4286" y="297"/>
                  </a:lnTo>
                  <a:lnTo>
                    <a:pt x="4284" y="298"/>
                  </a:lnTo>
                  <a:lnTo>
                    <a:pt x="4283" y="295"/>
                  </a:lnTo>
                  <a:lnTo>
                    <a:pt x="4281" y="293"/>
                  </a:lnTo>
                  <a:lnTo>
                    <a:pt x="4279" y="296"/>
                  </a:lnTo>
                  <a:lnTo>
                    <a:pt x="4281" y="293"/>
                  </a:lnTo>
                  <a:lnTo>
                    <a:pt x="4279" y="292"/>
                  </a:lnTo>
                  <a:lnTo>
                    <a:pt x="4275" y="290"/>
                  </a:lnTo>
                  <a:lnTo>
                    <a:pt x="4273" y="288"/>
                  </a:lnTo>
                  <a:lnTo>
                    <a:pt x="4269" y="287"/>
                  </a:lnTo>
                  <a:lnTo>
                    <a:pt x="4267" y="284"/>
                  </a:lnTo>
                  <a:lnTo>
                    <a:pt x="4264" y="282"/>
                  </a:lnTo>
                  <a:lnTo>
                    <a:pt x="4264" y="280"/>
                  </a:lnTo>
                  <a:lnTo>
                    <a:pt x="4260" y="279"/>
                  </a:lnTo>
                  <a:lnTo>
                    <a:pt x="4258" y="279"/>
                  </a:lnTo>
                  <a:lnTo>
                    <a:pt x="4255" y="279"/>
                  </a:lnTo>
                  <a:lnTo>
                    <a:pt x="4250" y="278"/>
                  </a:lnTo>
                  <a:lnTo>
                    <a:pt x="4252" y="278"/>
                  </a:lnTo>
                  <a:lnTo>
                    <a:pt x="4250" y="278"/>
                  </a:lnTo>
                  <a:lnTo>
                    <a:pt x="4248" y="276"/>
                  </a:lnTo>
                  <a:lnTo>
                    <a:pt x="4245" y="276"/>
                  </a:lnTo>
                  <a:lnTo>
                    <a:pt x="4248" y="278"/>
                  </a:lnTo>
                  <a:lnTo>
                    <a:pt x="4250" y="279"/>
                  </a:lnTo>
                  <a:lnTo>
                    <a:pt x="4248" y="280"/>
                  </a:lnTo>
                  <a:lnTo>
                    <a:pt x="4246" y="280"/>
                  </a:lnTo>
                  <a:lnTo>
                    <a:pt x="4242" y="279"/>
                  </a:lnTo>
                  <a:lnTo>
                    <a:pt x="4243" y="281"/>
                  </a:lnTo>
                  <a:lnTo>
                    <a:pt x="4241" y="282"/>
                  </a:lnTo>
                  <a:lnTo>
                    <a:pt x="4241" y="279"/>
                  </a:lnTo>
                  <a:lnTo>
                    <a:pt x="4243" y="276"/>
                  </a:lnTo>
                  <a:lnTo>
                    <a:pt x="4241" y="276"/>
                  </a:lnTo>
                  <a:lnTo>
                    <a:pt x="4238" y="275"/>
                  </a:lnTo>
                  <a:lnTo>
                    <a:pt x="4235" y="275"/>
                  </a:lnTo>
                  <a:lnTo>
                    <a:pt x="4232" y="275"/>
                  </a:lnTo>
                  <a:lnTo>
                    <a:pt x="4230" y="275"/>
                  </a:lnTo>
                  <a:lnTo>
                    <a:pt x="4226" y="275"/>
                  </a:lnTo>
                  <a:lnTo>
                    <a:pt x="4224" y="275"/>
                  </a:lnTo>
                  <a:lnTo>
                    <a:pt x="4226" y="276"/>
                  </a:lnTo>
                  <a:lnTo>
                    <a:pt x="4230" y="278"/>
                  </a:lnTo>
                  <a:lnTo>
                    <a:pt x="4231" y="281"/>
                  </a:lnTo>
                  <a:lnTo>
                    <a:pt x="4232" y="283"/>
                  </a:lnTo>
                  <a:lnTo>
                    <a:pt x="4230" y="287"/>
                  </a:lnTo>
                  <a:lnTo>
                    <a:pt x="4228" y="288"/>
                  </a:lnTo>
                  <a:lnTo>
                    <a:pt x="4230" y="288"/>
                  </a:lnTo>
                  <a:lnTo>
                    <a:pt x="4233" y="289"/>
                  </a:lnTo>
                  <a:lnTo>
                    <a:pt x="4234" y="291"/>
                  </a:lnTo>
                  <a:lnTo>
                    <a:pt x="4232" y="295"/>
                  </a:lnTo>
                  <a:lnTo>
                    <a:pt x="4231" y="296"/>
                  </a:lnTo>
                  <a:lnTo>
                    <a:pt x="4231" y="293"/>
                  </a:lnTo>
                  <a:lnTo>
                    <a:pt x="4232" y="291"/>
                  </a:lnTo>
                  <a:lnTo>
                    <a:pt x="4229" y="290"/>
                  </a:lnTo>
                  <a:lnTo>
                    <a:pt x="4226" y="292"/>
                  </a:lnTo>
                  <a:lnTo>
                    <a:pt x="4225" y="290"/>
                  </a:lnTo>
                  <a:lnTo>
                    <a:pt x="4223" y="288"/>
                  </a:lnTo>
                  <a:lnTo>
                    <a:pt x="4220" y="287"/>
                  </a:lnTo>
                  <a:lnTo>
                    <a:pt x="4220" y="284"/>
                  </a:lnTo>
                  <a:lnTo>
                    <a:pt x="4221" y="281"/>
                  </a:lnTo>
                  <a:lnTo>
                    <a:pt x="4219" y="276"/>
                  </a:lnTo>
                  <a:lnTo>
                    <a:pt x="4220" y="273"/>
                  </a:lnTo>
                  <a:lnTo>
                    <a:pt x="4221" y="271"/>
                  </a:lnTo>
                  <a:lnTo>
                    <a:pt x="4219" y="267"/>
                  </a:lnTo>
                  <a:lnTo>
                    <a:pt x="4216" y="270"/>
                  </a:lnTo>
                  <a:lnTo>
                    <a:pt x="4213" y="270"/>
                  </a:lnTo>
                  <a:lnTo>
                    <a:pt x="4215" y="267"/>
                  </a:lnTo>
                  <a:lnTo>
                    <a:pt x="4214" y="265"/>
                  </a:lnTo>
                  <a:lnTo>
                    <a:pt x="4214" y="263"/>
                  </a:lnTo>
                  <a:lnTo>
                    <a:pt x="4212" y="262"/>
                  </a:lnTo>
                  <a:lnTo>
                    <a:pt x="4209" y="261"/>
                  </a:lnTo>
                  <a:lnTo>
                    <a:pt x="4207" y="260"/>
                  </a:lnTo>
                  <a:lnTo>
                    <a:pt x="4204" y="257"/>
                  </a:lnTo>
                  <a:lnTo>
                    <a:pt x="4202" y="256"/>
                  </a:lnTo>
                  <a:lnTo>
                    <a:pt x="4196" y="254"/>
                  </a:lnTo>
                  <a:lnTo>
                    <a:pt x="4192" y="253"/>
                  </a:lnTo>
                  <a:lnTo>
                    <a:pt x="4188" y="249"/>
                  </a:lnTo>
                  <a:lnTo>
                    <a:pt x="4185" y="248"/>
                  </a:lnTo>
                  <a:lnTo>
                    <a:pt x="4182" y="250"/>
                  </a:lnTo>
                  <a:lnTo>
                    <a:pt x="4181" y="248"/>
                  </a:lnTo>
                  <a:lnTo>
                    <a:pt x="4183" y="248"/>
                  </a:lnTo>
                  <a:lnTo>
                    <a:pt x="4181" y="246"/>
                  </a:lnTo>
                  <a:lnTo>
                    <a:pt x="4178" y="245"/>
                  </a:lnTo>
                  <a:lnTo>
                    <a:pt x="4175" y="244"/>
                  </a:lnTo>
                  <a:lnTo>
                    <a:pt x="4173" y="243"/>
                  </a:lnTo>
                  <a:lnTo>
                    <a:pt x="4175" y="244"/>
                  </a:lnTo>
                  <a:lnTo>
                    <a:pt x="4178" y="245"/>
                  </a:lnTo>
                  <a:lnTo>
                    <a:pt x="4181" y="247"/>
                  </a:lnTo>
                  <a:lnTo>
                    <a:pt x="4178" y="248"/>
                  </a:lnTo>
                  <a:lnTo>
                    <a:pt x="4177" y="245"/>
                  </a:lnTo>
                  <a:lnTo>
                    <a:pt x="4174" y="244"/>
                  </a:lnTo>
                  <a:lnTo>
                    <a:pt x="4171" y="243"/>
                  </a:lnTo>
                  <a:lnTo>
                    <a:pt x="4169" y="243"/>
                  </a:lnTo>
                  <a:lnTo>
                    <a:pt x="4166" y="239"/>
                  </a:lnTo>
                  <a:lnTo>
                    <a:pt x="4170" y="240"/>
                  </a:lnTo>
                  <a:lnTo>
                    <a:pt x="4168" y="238"/>
                  </a:lnTo>
                  <a:lnTo>
                    <a:pt x="4164" y="237"/>
                  </a:lnTo>
                  <a:lnTo>
                    <a:pt x="4162" y="236"/>
                  </a:lnTo>
                  <a:lnTo>
                    <a:pt x="4158" y="236"/>
                  </a:lnTo>
                  <a:lnTo>
                    <a:pt x="4157" y="232"/>
                  </a:lnTo>
                  <a:lnTo>
                    <a:pt x="4154" y="233"/>
                  </a:lnTo>
                  <a:lnTo>
                    <a:pt x="4152" y="232"/>
                  </a:lnTo>
                  <a:lnTo>
                    <a:pt x="4149" y="231"/>
                  </a:lnTo>
                  <a:lnTo>
                    <a:pt x="4147" y="231"/>
                  </a:lnTo>
                  <a:lnTo>
                    <a:pt x="4144" y="229"/>
                  </a:lnTo>
                  <a:lnTo>
                    <a:pt x="4147" y="230"/>
                  </a:lnTo>
                  <a:lnTo>
                    <a:pt x="4144" y="228"/>
                  </a:lnTo>
                  <a:lnTo>
                    <a:pt x="4141" y="226"/>
                  </a:lnTo>
                  <a:lnTo>
                    <a:pt x="4138" y="224"/>
                  </a:lnTo>
                  <a:lnTo>
                    <a:pt x="4136" y="224"/>
                  </a:lnTo>
                  <a:lnTo>
                    <a:pt x="4132" y="224"/>
                  </a:lnTo>
                  <a:lnTo>
                    <a:pt x="4136" y="223"/>
                  </a:lnTo>
                  <a:lnTo>
                    <a:pt x="4132" y="221"/>
                  </a:lnTo>
                  <a:lnTo>
                    <a:pt x="4130" y="220"/>
                  </a:lnTo>
                  <a:lnTo>
                    <a:pt x="4127" y="220"/>
                  </a:lnTo>
                  <a:lnTo>
                    <a:pt x="4124" y="220"/>
                  </a:lnTo>
                  <a:lnTo>
                    <a:pt x="4121" y="219"/>
                  </a:lnTo>
                  <a:lnTo>
                    <a:pt x="4119" y="218"/>
                  </a:lnTo>
                  <a:lnTo>
                    <a:pt x="4117" y="216"/>
                  </a:lnTo>
                  <a:lnTo>
                    <a:pt x="4113" y="216"/>
                  </a:lnTo>
                  <a:lnTo>
                    <a:pt x="4107" y="215"/>
                  </a:lnTo>
                  <a:lnTo>
                    <a:pt x="4105" y="214"/>
                  </a:lnTo>
                  <a:lnTo>
                    <a:pt x="4102" y="213"/>
                  </a:lnTo>
                  <a:lnTo>
                    <a:pt x="4100" y="212"/>
                  </a:lnTo>
                  <a:lnTo>
                    <a:pt x="4097" y="210"/>
                  </a:lnTo>
                  <a:lnTo>
                    <a:pt x="4094" y="209"/>
                  </a:lnTo>
                  <a:lnTo>
                    <a:pt x="4092" y="209"/>
                  </a:lnTo>
                  <a:lnTo>
                    <a:pt x="4088" y="210"/>
                  </a:lnTo>
                  <a:lnTo>
                    <a:pt x="4086" y="211"/>
                  </a:lnTo>
                  <a:lnTo>
                    <a:pt x="4083" y="210"/>
                  </a:lnTo>
                  <a:lnTo>
                    <a:pt x="4074" y="210"/>
                  </a:lnTo>
                  <a:lnTo>
                    <a:pt x="4071" y="210"/>
                  </a:lnTo>
                  <a:lnTo>
                    <a:pt x="4069" y="210"/>
                  </a:lnTo>
                  <a:lnTo>
                    <a:pt x="4066" y="210"/>
                  </a:lnTo>
                  <a:lnTo>
                    <a:pt x="4063" y="209"/>
                  </a:lnTo>
                  <a:lnTo>
                    <a:pt x="4060" y="207"/>
                  </a:lnTo>
                  <a:lnTo>
                    <a:pt x="4058" y="209"/>
                  </a:lnTo>
                  <a:lnTo>
                    <a:pt x="4060" y="211"/>
                  </a:lnTo>
                  <a:lnTo>
                    <a:pt x="4058" y="212"/>
                  </a:lnTo>
                  <a:lnTo>
                    <a:pt x="4057" y="212"/>
                  </a:lnTo>
                  <a:lnTo>
                    <a:pt x="4054" y="210"/>
                  </a:lnTo>
                  <a:lnTo>
                    <a:pt x="4051" y="209"/>
                  </a:lnTo>
                  <a:lnTo>
                    <a:pt x="4049" y="207"/>
                  </a:lnTo>
                  <a:lnTo>
                    <a:pt x="4046" y="207"/>
                  </a:lnTo>
                  <a:lnTo>
                    <a:pt x="4043" y="207"/>
                  </a:lnTo>
                  <a:lnTo>
                    <a:pt x="4041" y="206"/>
                  </a:lnTo>
                  <a:lnTo>
                    <a:pt x="4038" y="206"/>
                  </a:lnTo>
                  <a:lnTo>
                    <a:pt x="4036" y="206"/>
                  </a:lnTo>
                  <a:lnTo>
                    <a:pt x="4034" y="205"/>
                  </a:lnTo>
                  <a:lnTo>
                    <a:pt x="4030" y="205"/>
                  </a:lnTo>
                  <a:lnTo>
                    <a:pt x="4028" y="205"/>
                  </a:lnTo>
                  <a:lnTo>
                    <a:pt x="4025" y="204"/>
                  </a:lnTo>
                  <a:lnTo>
                    <a:pt x="4023" y="204"/>
                  </a:lnTo>
                  <a:lnTo>
                    <a:pt x="4019" y="203"/>
                  </a:lnTo>
                  <a:lnTo>
                    <a:pt x="4020" y="206"/>
                  </a:lnTo>
                  <a:lnTo>
                    <a:pt x="4020" y="206"/>
                  </a:lnTo>
                  <a:lnTo>
                    <a:pt x="4020" y="210"/>
                  </a:lnTo>
                  <a:lnTo>
                    <a:pt x="4020" y="212"/>
                  </a:lnTo>
                  <a:lnTo>
                    <a:pt x="4018" y="213"/>
                  </a:lnTo>
                  <a:lnTo>
                    <a:pt x="4015" y="214"/>
                  </a:lnTo>
                  <a:lnTo>
                    <a:pt x="4018" y="216"/>
                  </a:lnTo>
                  <a:lnTo>
                    <a:pt x="4020" y="216"/>
                  </a:lnTo>
                  <a:lnTo>
                    <a:pt x="4021" y="219"/>
                  </a:lnTo>
                  <a:lnTo>
                    <a:pt x="4024" y="222"/>
                  </a:lnTo>
                  <a:lnTo>
                    <a:pt x="4026" y="224"/>
                  </a:lnTo>
                  <a:lnTo>
                    <a:pt x="4026" y="228"/>
                  </a:lnTo>
                  <a:lnTo>
                    <a:pt x="4028" y="230"/>
                  </a:lnTo>
                  <a:lnTo>
                    <a:pt x="4026" y="231"/>
                  </a:lnTo>
                  <a:lnTo>
                    <a:pt x="4023" y="232"/>
                  </a:lnTo>
                  <a:lnTo>
                    <a:pt x="4023" y="235"/>
                  </a:lnTo>
                  <a:lnTo>
                    <a:pt x="4023" y="236"/>
                  </a:lnTo>
                  <a:lnTo>
                    <a:pt x="4019" y="233"/>
                  </a:lnTo>
                  <a:lnTo>
                    <a:pt x="4020" y="237"/>
                  </a:lnTo>
                  <a:lnTo>
                    <a:pt x="4021" y="237"/>
                  </a:lnTo>
                  <a:lnTo>
                    <a:pt x="4018" y="236"/>
                  </a:lnTo>
                  <a:lnTo>
                    <a:pt x="4016" y="236"/>
                  </a:lnTo>
                  <a:lnTo>
                    <a:pt x="4012" y="236"/>
                  </a:lnTo>
                  <a:lnTo>
                    <a:pt x="4012" y="236"/>
                  </a:lnTo>
                  <a:lnTo>
                    <a:pt x="4010" y="236"/>
                  </a:lnTo>
                  <a:lnTo>
                    <a:pt x="4007" y="236"/>
                  </a:lnTo>
                  <a:lnTo>
                    <a:pt x="4004" y="233"/>
                  </a:lnTo>
                  <a:lnTo>
                    <a:pt x="4004" y="230"/>
                  </a:lnTo>
                  <a:lnTo>
                    <a:pt x="4002" y="229"/>
                  </a:lnTo>
                  <a:lnTo>
                    <a:pt x="3999" y="228"/>
                  </a:lnTo>
                  <a:lnTo>
                    <a:pt x="3996" y="227"/>
                  </a:lnTo>
                  <a:lnTo>
                    <a:pt x="3993" y="226"/>
                  </a:lnTo>
                  <a:lnTo>
                    <a:pt x="3991" y="226"/>
                  </a:lnTo>
                  <a:lnTo>
                    <a:pt x="3989" y="223"/>
                  </a:lnTo>
                  <a:lnTo>
                    <a:pt x="3989" y="218"/>
                  </a:lnTo>
                  <a:lnTo>
                    <a:pt x="3985" y="216"/>
                  </a:lnTo>
                  <a:lnTo>
                    <a:pt x="3984" y="213"/>
                  </a:lnTo>
                  <a:lnTo>
                    <a:pt x="3981" y="212"/>
                  </a:lnTo>
                  <a:lnTo>
                    <a:pt x="3978" y="214"/>
                  </a:lnTo>
                  <a:lnTo>
                    <a:pt x="3975" y="216"/>
                  </a:lnTo>
                  <a:lnTo>
                    <a:pt x="3973" y="218"/>
                  </a:lnTo>
                  <a:lnTo>
                    <a:pt x="3969" y="219"/>
                  </a:lnTo>
                  <a:lnTo>
                    <a:pt x="3967" y="219"/>
                  </a:lnTo>
                  <a:lnTo>
                    <a:pt x="3959" y="219"/>
                  </a:lnTo>
                  <a:lnTo>
                    <a:pt x="3956" y="218"/>
                  </a:lnTo>
                  <a:lnTo>
                    <a:pt x="3953" y="216"/>
                  </a:lnTo>
                  <a:lnTo>
                    <a:pt x="3950" y="216"/>
                  </a:lnTo>
                  <a:lnTo>
                    <a:pt x="3949" y="216"/>
                  </a:lnTo>
                  <a:lnTo>
                    <a:pt x="3947" y="216"/>
                  </a:lnTo>
                  <a:lnTo>
                    <a:pt x="3943" y="216"/>
                  </a:lnTo>
                  <a:lnTo>
                    <a:pt x="3938" y="216"/>
                  </a:lnTo>
                  <a:lnTo>
                    <a:pt x="3935" y="215"/>
                  </a:lnTo>
                  <a:lnTo>
                    <a:pt x="3932" y="213"/>
                  </a:lnTo>
                  <a:lnTo>
                    <a:pt x="3930" y="213"/>
                  </a:lnTo>
                  <a:lnTo>
                    <a:pt x="3926" y="214"/>
                  </a:lnTo>
                  <a:lnTo>
                    <a:pt x="3924" y="214"/>
                  </a:lnTo>
                  <a:lnTo>
                    <a:pt x="3922" y="213"/>
                  </a:lnTo>
                  <a:lnTo>
                    <a:pt x="3918" y="214"/>
                  </a:lnTo>
                  <a:lnTo>
                    <a:pt x="3916" y="214"/>
                  </a:lnTo>
                  <a:lnTo>
                    <a:pt x="3913" y="215"/>
                  </a:lnTo>
                  <a:lnTo>
                    <a:pt x="3910" y="214"/>
                  </a:lnTo>
                  <a:lnTo>
                    <a:pt x="3909" y="214"/>
                  </a:lnTo>
                  <a:lnTo>
                    <a:pt x="3906" y="215"/>
                  </a:lnTo>
                  <a:lnTo>
                    <a:pt x="3905" y="215"/>
                  </a:lnTo>
                  <a:lnTo>
                    <a:pt x="3902" y="215"/>
                  </a:lnTo>
                  <a:lnTo>
                    <a:pt x="3900" y="215"/>
                  </a:lnTo>
                  <a:lnTo>
                    <a:pt x="3897" y="215"/>
                  </a:lnTo>
                  <a:lnTo>
                    <a:pt x="3895" y="216"/>
                  </a:lnTo>
                  <a:lnTo>
                    <a:pt x="3891" y="218"/>
                  </a:lnTo>
                  <a:lnTo>
                    <a:pt x="3887" y="215"/>
                  </a:lnTo>
                  <a:lnTo>
                    <a:pt x="3884" y="214"/>
                  </a:lnTo>
                  <a:lnTo>
                    <a:pt x="3881" y="214"/>
                  </a:lnTo>
                  <a:lnTo>
                    <a:pt x="3880" y="215"/>
                  </a:lnTo>
                  <a:lnTo>
                    <a:pt x="3878" y="213"/>
                  </a:lnTo>
                  <a:lnTo>
                    <a:pt x="3875" y="213"/>
                  </a:lnTo>
                  <a:lnTo>
                    <a:pt x="3873" y="212"/>
                  </a:lnTo>
                  <a:lnTo>
                    <a:pt x="3872" y="210"/>
                  </a:lnTo>
                  <a:lnTo>
                    <a:pt x="3873" y="209"/>
                  </a:lnTo>
                  <a:lnTo>
                    <a:pt x="3873" y="207"/>
                  </a:lnTo>
                  <a:lnTo>
                    <a:pt x="3874" y="206"/>
                  </a:lnTo>
                  <a:lnTo>
                    <a:pt x="3874" y="206"/>
                  </a:lnTo>
                  <a:lnTo>
                    <a:pt x="3874" y="206"/>
                  </a:lnTo>
                  <a:lnTo>
                    <a:pt x="3874" y="205"/>
                  </a:lnTo>
                  <a:lnTo>
                    <a:pt x="3873" y="204"/>
                  </a:lnTo>
                  <a:lnTo>
                    <a:pt x="3875" y="202"/>
                  </a:lnTo>
                  <a:lnTo>
                    <a:pt x="3878" y="199"/>
                  </a:lnTo>
                  <a:lnTo>
                    <a:pt x="3876" y="196"/>
                  </a:lnTo>
                  <a:lnTo>
                    <a:pt x="3874" y="194"/>
                  </a:lnTo>
                  <a:lnTo>
                    <a:pt x="3872" y="190"/>
                  </a:lnTo>
                  <a:lnTo>
                    <a:pt x="3867" y="187"/>
                  </a:lnTo>
                  <a:lnTo>
                    <a:pt x="3856" y="182"/>
                  </a:lnTo>
                  <a:lnTo>
                    <a:pt x="3847" y="180"/>
                  </a:lnTo>
                  <a:lnTo>
                    <a:pt x="3839" y="180"/>
                  </a:lnTo>
                  <a:lnTo>
                    <a:pt x="3820" y="179"/>
                  </a:lnTo>
                  <a:lnTo>
                    <a:pt x="3797" y="182"/>
                  </a:lnTo>
                  <a:lnTo>
                    <a:pt x="3789" y="186"/>
                  </a:lnTo>
                  <a:lnTo>
                    <a:pt x="3786" y="185"/>
                  </a:lnTo>
                  <a:lnTo>
                    <a:pt x="3776" y="186"/>
                  </a:lnTo>
                  <a:lnTo>
                    <a:pt x="3770" y="185"/>
                  </a:lnTo>
                  <a:lnTo>
                    <a:pt x="3761" y="182"/>
                  </a:lnTo>
                  <a:lnTo>
                    <a:pt x="3767" y="182"/>
                  </a:lnTo>
                  <a:lnTo>
                    <a:pt x="3768" y="180"/>
                  </a:lnTo>
                  <a:lnTo>
                    <a:pt x="3762" y="176"/>
                  </a:lnTo>
                  <a:lnTo>
                    <a:pt x="3759" y="173"/>
                  </a:lnTo>
                  <a:lnTo>
                    <a:pt x="3756" y="173"/>
                  </a:lnTo>
                  <a:lnTo>
                    <a:pt x="3753" y="172"/>
                  </a:lnTo>
                  <a:lnTo>
                    <a:pt x="3751" y="172"/>
                  </a:lnTo>
                  <a:lnTo>
                    <a:pt x="3748" y="175"/>
                  </a:lnTo>
                  <a:lnTo>
                    <a:pt x="3745" y="175"/>
                  </a:lnTo>
                  <a:lnTo>
                    <a:pt x="3743" y="175"/>
                  </a:lnTo>
                  <a:lnTo>
                    <a:pt x="3739" y="177"/>
                  </a:lnTo>
                  <a:lnTo>
                    <a:pt x="3742" y="175"/>
                  </a:lnTo>
                  <a:lnTo>
                    <a:pt x="3745" y="173"/>
                  </a:lnTo>
                  <a:lnTo>
                    <a:pt x="3747" y="171"/>
                  </a:lnTo>
                  <a:lnTo>
                    <a:pt x="3744" y="169"/>
                  </a:lnTo>
                  <a:lnTo>
                    <a:pt x="3742" y="169"/>
                  </a:lnTo>
                  <a:lnTo>
                    <a:pt x="3737" y="170"/>
                  </a:lnTo>
                  <a:lnTo>
                    <a:pt x="3738" y="168"/>
                  </a:lnTo>
                  <a:lnTo>
                    <a:pt x="3735" y="166"/>
                  </a:lnTo>
                  <a:lnTo>
                    <a:pt x="3727" y="164"/>
                  </a:lnTo>
                  <a:lnTo>
                    <a:pt x="3724" y="166"/>
                  </a:lnTo>
                  <a:lnTo>
                    <a:pt x="3724" y="162"/>
                  </a:lnTo>
                  <a:lnTo>
                    <a:pt x="3726" y="162"/>
                  </a:lnTo>
                  <a:lnTo>
                    <a:pt x="3729" y="161"/>
                  </a:lnTo>
                  <a:lnTo>
                    <a:pt x="3731" y="160"/>
                  </a:lnTo>
                  <a:lnTo>
                    <a:pt x="3735" y="162"/>
                  </a:lnTo>
                  <a:lnTo>
                    <a:pt x="3737" y="161"/>
                  </a:lnTo>
                  <a:lnTo>
                    <a:pt x="3739" y="159"/>
                  </a:lnTo>
                  <a:lnTo>
                    <a:pt x="3734" y="153"/>
                  </a:lnTo>
                  <a:lnTo>
                    <a:pt x="3726" y="151"/>
                  </a:lnTo>
                  <a:lnTo>
                    <a:pt x="3718" y="149"/>
                  </a:lnTo>
                  <a:lnTo>
                    <a:pt x="3712" y="149"/>
                  </a:lnTo>
                  <a:lnTo>
                    <a:pt x="3701" y="149"/>
                  </a:lnTo>
                  <a:lnTo>
                    <a:pt x="3693" y="155"/>
                  </a:lnTo>
                  <a:lnTo>
                    <a:pt x="3688" y="160"/>
                  </a:lnTo>
                  <a:lnTo>
                    <a:pt x="3686" y="161"/>
                  </a:lnTo>
                  <a:lnTo>
                    <a:pt x="3680" y="163"/>
                  </a:lnTo>
                  <a:lnTo>
                    <a:pt x="3677" y="163"/>
                  </a:lnTo>
                  <a:lnTo>
                    <a:pt x="3675" y="166"/>
                  </a:lnTo>
                  <a:lnTo>
                    <a:pt x="3673" y="164"/>
                  </a:lnTo>
                  <a:lnTo>
                    <a:pt x="3669" y="164"/>
                  </a:lnTo>
                  <a:lnTo>
                    <a:pt x="3673" y="162"/>
                  </a:lnTo>
                  <a:lnTo>
                    <a:pt x="3670" y="159"/>
                  </a:lnTo>
                  <a:lnTo>
                    <a:pt x="3673" y="159"/>
                  </a:lnTo>
                  <a:lnTo>
                    <a:pt x="3676" y="160"/>
                  </a:lnTo>
                  <a:lnTo>
                    <a:pt x="3682" y="159"/>
                  </a:lnTo>
                  <a:lnTo>
                    <a:pt x="3679" y="151"/>
                  </a:lnTo>
                  <a:lnTo>
                    <a:pt x="3682" y="151"/>
                  </a:lnTo>
                  <a:lnTo>
                    <a:pt x="3684" y="153"/>
                  </a:lnTo>
                  <a:lnTo>
                    <a:pt x="3686" y="153"/>
                  </a:lnTo>
                  <a:lnTo>
                    <a:pt x="3686" y="155"/>
                  </a:lnTo>
                  <a:lnTo>
                    <a:pt x="3684" y="158"/>
                  </a:lnTo>
                  <a:lnTo>
                    <a:pt x="3684" y="161"/>
                  </a:lnTo>
                  <a:lnTo>
                    <a:pt x="3688" y="156"/>
                  </a:lnTo>
                  <a:lnTo>
                    <a:pt x="3696" y="149"/>
                  </a:lnTo>
                  <a:lnTo>
                    <a:pt x="3688" y="149"/>
                  </a:lnTo>
                  <a:lnTo>
                    <a:pt x="3671" y="150"/>
                  </a:lnTo>
                  <a:lnTo>
                    <a:pt x="3666" y="151"/>
                  </a:lnTo>
                  <a:lnTo>
                    <a:pt x="3663" y="152"/>
                  </a:lnTo>
                  <a:lnTo>
                    <a:pt x="3660" y="152"/>
                  </a:lnTo>
                  <a:lnTo>
                    <a:pt x="3659" y="151"/>
                  </a:lnTo>
                  <a:lnTo>
                    <a:pt x="3659" y="150"/>
                  </a:lnTo>
                  <a:lnTo>
                    <a:pt x="3665" y="150"/>
                  </a:lnTo>
                  <a:lnTo>
                    <a:pt x="3667" y="146"/>
                  </a:lnTo>
                  <a:lnTo>
                    <a:pt x="3670" y="142"/>
                  </a:lnTo>
                  <a:lnTo>
                    <a:pt x="3665" y="141"/>
                  </a:lnTo>
                  <a:lnTo>
                    <a:pt x="3661" y="141"/>
                  </a:lnTo>
                  <a:lnTo>
                    <a:pt x="3653" y="139"/>
                  </a:lnTo>
                  <a:lnTo>
                    <a:pt x="3651" y="139"/>
                  </a:lnTo>
                  <a:lnTo>
                    <a:pt x="3634" y="138"/>
                  </a:lnTo>
                  <a:lnTo>
                    <a:pt x="3628" y="138"/>
                  </a:lnTo>
                  <a:lnTo>
                    <a:pt x="3623" y="136"/>
                  </a:lnTo>
                  <a:lnTo>
                    <a:pt x="3619" y="135"/>
                  </a:lnTo>
                  <a:lnTo>
                    <a:pt x="3611" y="134"/>
                  </a:lnTo>
                  <a:lnTo>
                    <a:pt x="3611" y="136"/>
                  </a:lnTo>
                  <a:lnTo>
                    <a:pt x="3615" y="138"/>
                  </a:lnTo>
                  <a:lnTo>
                    <a:pt x="3615" y="141"/>
                  </a:lnTo>
                  <a:lnTo>
                    <a:pt x="3612" y="143"/>
                  </a:lnTo>
                  <a:lnTo>
                    <a:pt x="3607" y="144"/>
                  </a:lnTo>
                  <a:lnTo>
                    <a:pt x="3602" y="144"/>
                  </a:lnTo>
                  <a:lnTo>
                    <a:pt x="3599" y="144"/>
                  </a:lnTo>
                  <a:lnTo>
                    <a:pt x="3597" y="144"/>
                  </a:lnTo>
                  <a:lnTo>
                    <a:pt x="3591" y="147"/>
                  </a:lnTo>
                  <a:lnTo>
                    <a:pt x="3590" y="151"/>
                  </a:lnTo>
                  <a:lnTo>
                    <a:pt x="3592" y="153"/>
                  </a:lnTo>
                  <a:lnTo>
                    <a:pt x="3594" y="153"/>
                  </a:lnTo>
                  <a:lnTo>
                    <a:pt x="3598" y="151"/>
                  </a:lnTo>
                  <a:lnTo>
                    <a:pt x="3602" y="151"/>
                  </a:lnTo>
                  <a:lnTo>
                    <a:pt x="3605" y="152"/>
                  </a:lnTo>
                  <a:lnTo>
                    <a:pt x="3599" y="153"/>
                  </a:lnTo>
                  <a:lnTo>
                    <a:pt x="3598" y="156"/>
                  </a:lnTo>
                  <a:lnTo>
                    <a:pt x="3594" y="158"/>
                  </a:lnTo>
                  <a:lnTo>
                    <a:pt x="3598" y="160"/>
                  </a:lnTo>
                  <a:lnTo>
                    <a:pt x="3598" y="162"/>
                  </a:lnTo>
                  <a:lnTo>
                    <a:pt x="3599" y="166"/>
                  </a:lnTo>
                  <a:lnTo>
                    <a:pt x="3601" y="168"/>
                  </a:lnTo>
                  <a:lnTo>
                    <a:pt x="3602" y="170"/>
                  </a:lnTo>
                  <a:lnTo>
                    <a:pt x="3601" y="170"/>
                  </a:lnTo>
                  <a:lnTo>
                    <a:pt x="3599" y="170"/>
                  </a:lnTo>
                  <a:lnTo>
                    <a:pt x="3596" y="170"/>
                  </a:lnTo>
                  <a:lnTo>
                    <a:pt x="3593" y="171"/>
                  </a:lnTo>
                  <a:lnTo>
                    <a:pt x="3590" y="170"/>
                  </a:lnTo>
                  <a:lnTo>
                    <a:pt x="3589" y="168"/>
                  </a:lnTo>
                  <a:lnTo>
                    <a:pt x="3586" y="167"/>
                  </a:lnTo>
                  <a:lnTo>
                    <a:pt x="3583" y="166"/>
                  </a:lnTo>
                  <a:lnTo>
                    <a:pt x="3577" y="167"/>
                  </a:lnTo>
                  <a:lnTo>
                    <a:pt x="3575" y="168"/>
                  </a:lnTo>
                  <a:lnTo>
                    <a:pt x="3574" y="173"/>
                  </a:lnTo>
                  <a:lnTo>
                    <a:pt x="3580" y="175"/>
                  </a:lnTo>
                  <a:lnTo>
                    <a:pt x="3576" y="176"/>
                  </a:lnTo>
                  <a:lnTo>
                    <a:pt x="3571" y="177"/>
                  </a:lnTo>
                  <a:lnTo>
                    <a:pt x="3574" y="178"/>
                  </a:lnTo>
                  <a:lnTo>
                    <a:pt x="3568" y="177"/>
                  </a:lnTo>
                  <a:lnTo>
                    <a:pt x="3571" y="176"/>
                  </a:lnTo>
                  <a:lnTo>
                    <a:pt x="3568" y="176"/>
                  </a:lnTo>
                  <a:lnTo>
                    <a:pt x="3565" y="173"/>
                  </a:lnTo>
                  <a:lnTo>
                    <a:pt x="3559" y="170"/>
                  </a:lnTo>
                  <a:lnTo>
                    <a:pt x="3557" y="169"/>
                  </a:lnTo>
                  <a:lnTo>
                    <a:pt x="3555" y="169"/>
                  </a:lnTo>
                  <a:lnTo>
                    <a:pt x="3552" y="168"/>
                  </a:lnTo>
                  <a:lnTo>
                    <a:pt x="3547" y="166"/>
                  </a:lnTo>
                  <a:lnTo>
                    <a:pt x="3543" y="166"/>
                  </a:lnTo>
                  <a:lnTo>
                    <a:pt x="3541" y="167"/>
                  </a:lnTo>
                  <a:lnTo>
                    <a:pt x="3539" y="169"/>
                  </a:lnTo>
                  <a:lnTo>
                    <a:pt x="3535" y="168"/>
                  </a:lnTo>
                  <a:lnTo>
                    <a:pt x="3533" y="169"/>
                  </a:lnTo>
                  <a:lnTo>
                    <a:pt x="3530" y="171"/>
                  </a:lnTo>
                  <a:lnTo>
                    <a:pt x="3530" y="172"/>
                  </a:lnTo>
                  <a:lnTo>
                    <a:pt x="3529" y="176"/>
                  </a:lnTo>
                  <a:lnTo>
                    <a:pt x="3530" y="172"/>
                  </a:lnTo>
                  <a:lnTo>
                    <a:pt x="3521" y="172"/>
                  </a:lnTo>
                  <a:lnTo>
                    <a:pt x="3516" y="171"/>
                  </a:lnTo>
                  <a:lnTo>
                    <a:pt x="3511" y="169"/>
                  </a:lnTo>
                  <a:lnTo>
                    <a:pt x="3507" y="167"/>
                  </a:lnTo>
                  <a:lnTo>
                    <a:pt x="3503" y="161"/>
                  </a:lnTo>
                  <a:lnTo>
                    <a:pt x="3503" y="158"/>
                  </a:lnTo>
                  <a:lnTo>
                    <a:pt x="3499" y="160"/>
                  </a:lnTo>
                  <a:lnTo>
                    <a:pt x="3496" y="166"/>
                  </a:lnTo>
                  <a:lnTo>
                    <a:pt x="3494" y="171"/>
                  </a:lnTo>
                  <a:lnTo>
                    <a:pt x="3492" y="173"/>
                  </a:lnTo>
                  <a:lnTo>
                    <a:pt x="3494" y="177"/>
                  </a:lnTo>
                  <a:lnTo>
                    <a:pt x="3490" y="178"/>
                  </a:lnTo>
                  <a:lnTo>
                    <a:pt x="3488" y="180"/>
                  </a:lnTo>
                  <a:lnTo>
                    <a:pt x="3488" y="182"/>
                  </a:lnTo>
                  <a:lnTo>
                    <a:pt x="3486" y="186"/>
                  </a:lnTo>
                  <a:lnTo>
                    <a:pt x="3482" y="187"/>
                  </a:lnTo>
                  <a:lnTo>
                    <a:pt x="3480" y="188"/>
                  </a:lnTo>
                  <a:lnTo>
                    <a:pt x="3478" y="186"/>
                  </a:lnTo>
                  <a:lnTo>
                    <a:pt x="3477" y="184"/>
                  </a:lnTo>
                  <a:lnTo>
                    <a:pt x="3473" y="185"/>
                  </a:lnTo>
                  <a:lnTo>
                    <a:pt x="3471" y="184"/>
                  </a:lnTo>
                  <a:lnTo>
                    <a:pt x="3465" y="180"/>
                  </a:lnTo>
                  <a:lnTo>
                    <a:pt x="3462" y="179"/>
                  </a:lnTo>
                  <a:lnTo>
                    <a:pt x="3461" y="177"/>
                  </a:lnTo>
                  <a:lnTo>
                    <a:pt x="3458" y="175"/>
                  </a:lnTo>
                  <a:lnTo>
                    <a:pt x="3456" y="172"/>
                  </a:lnTo>
                  <a:lnTo>
                    <a:pt x="3455" y="169"/>
                  </a:lnTo>
                  <a:lnTo>
                    <a:pt x="3452" y="167"/>
                  </a:lnTo>
                  <a:lnTo>
                    <a:pt x="3449" y="167"/>
                  </a:lnTo>
                  <a:lnTo>
                    <a:pt x="3451" y="164"/>
                  </a:lnTo>
                  <a:lnTo>
                    <a:pt x="3453" y="164"/>
                  </a:lnTo>
                  <a:lnTo>
                    <a:pt x="3455" y="163"/>
                  </a:lnTo>
                  <a:lnTo>
                    <a:pt x="3458" y="164"/>
                  </a:lnTo>
                  <a:lnTo>
                    <a:pt x="3455" y="162"/>
                  </a:lnTo>
                  <a:lnTo>
                    <a:pt x="3454" y="159"/>
                  </a:lnTo>
                  <a:lnTo>
                    <a:pt x="3452" y="156"/>
                  </a:lnTo>
                  <a:lnTo>
                    <a:pt x="3452" y="156"/>
                  </a:lnTo>
                  <a:lnTo>
                    <a:pt x="3453" y="160"/>
                  </a:lnTo>
                  <a:lnTo>
                    <a:pt x="3453" y="162"/>
                  </a:lnTo>
                  <a:lnTo>
                    <a:pt x="3451" y="163"/>
                  </a:lnTo>
                  <a:lnTo>
                    <a:pt x="3448" y="162"/>
                  </a:lnTo>
                  <a:lnTo>
                    <a:pt x="3446" y="160"/>
                  </a:lnTo>
                  <a:lnTo>
                    <a:pt x="3444" y="158"/>
                  </a:lnTo>
                  <a:lnTo>
                    <a:pt x="3440" y="152"/>
                  </a:lnTo>
                  <a:lnTo>
                    <a:pt x="3440" y="151"/>
                  </a:lnTo>
                  <a:lnTo>
                    <a:pt x="3445" y="152"/>
                  </a:lnTo>
                  <a:lnTo>
                    <a:pt x="3446" y="154"/>
                  </a:lnTo>
                  <a:lnTo>
                    <a:pt x="3452" y="155"/>
                  </a:lnTo>
                  <a:lnTo>
                    <a:pt x="3455" y="154"/>
                  </a:lnTo>
                  <a:lnTo>
                    <a:pt x="3457" y="153"/>
                  </a:lnTo>
                  <a:lnTo>
                    <a:pt x="3455" y="153"/>
                  </a:lnTo>
                  <a:lnTo>
                    <a:pt x="3458" y="151"/>
                  </a:lnTo>
                  <a:lnTo>
                    <a:pt x="3456" y="150"/>
                  </a:lnTo>
                  <a:lnTo>
                    <a:pt x="3457" y="147"/>
                  </a:lnTo>
                  <a:lnTo>
                    <a:pt x="3457" y="147"/>
                  </a:lnTo>
                  <a:lnTo>
                    <a:pt x="3455" y="146"/>
                  </a:lnTo>
                  <a:lnTo>
                    <a:pt x="3454" y="144"/>
                  </a:lnTo>
                  <a:lnTo>
                    <a:pt x="3448" y="145"/>
                  </a:lnTo>
                  <a:lnTo>
                    <a:pt x="3445" y="144"/>
                  </a:lnTo>
                  <a:lnTo>
                    <a:pt x="3443" y="143"/>
                  </a:lnTo>
                  <a:lnTo>
                    <a:pt x="3443" y="143"/>
                  </a:lnTo>
                  <a:lnTo>
                    <a:pt x="3448" y="143"/>
                  </a:lnTo>
                  <a:lnTo>
                    <a:pt x="3451" y="139"/>
                  </a:lnTo>
                  <a:lnTo>
                    <a:pt x="3454" y="139"/>
                  </a:lnTo>
                  <a:lnTo>
                    <a:pt x="3454" y="138"/>
                  </a:lnTo>
                  <a:lnTo>
                    <a:pt x="3448" y="137"/>
                  </a:lnTo>
                  <a:lnTo>
                    <a:pt x="3449" y="136"/>
                  </a:lnTo>
                  <a:lnTo>
                    <a:pt x="3452" y="136"/>
                  </a:lnTo>
                  <a:lnTo>
                    <a:pt x="3455" y="136"/>
                  </a:lnTo>
                  <a:lnTo>
                    <a:pt x="3452" y="135"/>
                  </a:lnTo>
                  <a:lnTo>
                    <a:pt x="3444" y="134"/>
                  </a:lnTo>
                  <a:lnTo>
                    <a:pt x="3444" y="133"/>
                  </a:lnTo>
                  <a:lnTo>
                    <a:pt x="3446" y="133"/>
                  </a:lnTo>
                  <a:lnTo>
                    <a:pt x="3449" y="132"/>
                  </a:lnTo>
                  <a:lnTo>
                    <a:pt x="3452" y="130"/>
                  </a:lnTo>
                  <a:lnTo>
                    <a:pt x="3451" y="128"/>
                  </a:lnTo>
                  <a:lnTo>
                    <a:pt x="3448" y="129"/>
                  </a:lnTo>
                  <a:lnTo>
                    <a:pt x="3449" y="128"/>
                  </a:lnTo>
                  <a:lnTo>
                    <a:pt x="3449" y="125"/>
                  </a:lnTo>
                  <a:lnTo>
                    <a:pt x="3446" y="124"/>
                  </a:lnTo>
                  <a:lnTo>
                    <a:pt x="3444" y="125"/>
                  </a:lnTo>
                  <a:lnTo>
                    <a:pt x="3440" y="124"/>
                  </a:lnTo>
                  <a:lnTo>
                    <a:pt x="3441" y="121"/>
                  </a:lnTo>
                  <a:lnTo>
                    <a:pt x="3439" y="121"/>
                  </a:lnTo>
                  <a:lnTo>
                    <a:pt x="3436" y="119"/>
                  </a:lnTo>
                  <a:lnTo>
                    <a:pt x="3436" y="118"/>
                  </a:lnTo>
                  <a:lnTo>
                    <a:pt x="3430" y="118"/>
                  </a:lnTo>
                  <a:lnTo>
                    <a:pt x="3426" y="117"/>
                  </a:lnTo>
                  <a:lnTo>
                    <a:pt x="3422" y="117"/>
                  </a:lnTo>
                  <a:lnTo>
                    <a:pt x="3420" y="119"/>
                  </a:lnTo>
                  <a:lnTo>
                    <a:pt x="3418" y="121"/>
                  </a:lnTo>
                  <a:lnTo>
                    <a:pt x="3415" y="121"/>
                  </a:lnTo>
                  <a:lnTo>
                    <a:pt x="3415" y="120"/>
                  </a:lnTo>
                  <a:lnTo>
                    <a:pt x="3412" y="119"/>
                  </a:lnTo>
                  <a:lnTo>
                    <a:pt x="3415" y="119"/>
                  </a:lnTo>
                  <a:lnTo>
                    <a:pt x="3414" y="117"/>
                  </a:lnTo>
                  <a:lnTo>
                    <a:pt x="3412" y="117"/>
                  </a:lnTo>
                  <a:lnTo>
                    <a:pt x="3409" y="119"/>
                  </a:lnTo>
                  <a:lnTo>
                    <a:pt x="3410" y="117"/>
                  </a:lnTo>
                  <a:lnTo>
                    <a:pt x="3407" y="118"/>
                  </a:lnTo>
                  <a:lnTo>
                    <a:pt x="3404" y="119"/>
                  </a:lnTo>
                  <a:lnTo>
                    <a:pt x="3405" y="117"/>
                  </a:lnTo>
                  <a:lnTo>
                    <a:pt x="3402" y="116"/>
                  </a:lnTo>
                  <a:lnTo>
                    <a:pt x="3400" y="117"/>
                  </a:lnTo>
                  <a:lnTo>
                    <a:pt x="3400" y="113"/>
                  </a:lnTo>
                  <a:lnTo>
                    <a:pt x="3388" y="110"/>
                  </a:lnTo>
                  <a:lnTo>
                    <a:pt x="3385" y="112"/>
                  </a:lnTo>
                  <a:lnTo>
                    <a:pt x="3383" y="110"/>
                  </a:lnTo>
                  <a:lnTo>
                    <a:pt x="3381" y="113"/>
                  </a:lnTo>
                  <a:lnTo>
                    <a:pt x="3379" y="115"/>
                  </a:lnTo>
                  <a:lnTo>
                    <a:pt x="3377" y="112"/>
                  </a:lnTo>
                  <a:lnTo>
                    <a:pt x="3375" y="113"/>
                  </a:lnTo>
                  <a:lnTo>
                    <a:pt x="3373" y="116"/>
                  </a:lnTo>
                  <a:lnTo>
                    <a:pt x="3375" y="118"/>
                  </a:lnTo>
                  <a:lnTo>
                    <a:pt x="3373" y="121"/>
                  </a:lnTo>
                  <a:lnTo>
                    <a:pt x="3376" y="124"/>
                  </a:lnTo>
                  <a:lnTo>
                    <a:pt x="3377" y="127"/>
                  </a:lnTo>
                  <a:lnTo>
                    <a:pt x="3375" y="127"/>
                  </a:lnTo>
                  <a:lnTo>
                    <a:pt x="3373" y="129"/>
                  </a:lnTo>
                  <a:lnTo>
                    <a:pt x="3372" y="133"/>
                  </a:lnTo>
                  <a:lnTo>
                    <a:pt x="3369" y="133"/>
                  </a:lnTo>
                  <a:lnTo>
                    <a:pt x="3367" y="130"/>
                  </a:lnTo>
                  <a:lnTo>
                    <a:pt x="3363" y="130"/>
                  </a:lnTo>
                  <a:lnTo>
                    <a:pt x="3361" y="132"/>
                  </a:lnTo>
                  <a:lnTo>
                    <a:pt x="3359" y="132"/>
                  </a:lnTo>
                  <a:lnTo>
                    <a:pt x="3346" y="132"/>
                  </a:lnTo>
                  <a:lnTo>
                    <a:pt x="3343" y="133"/>
                  </a:lnTo>
                  <a:lnTo>
                    <a:pt x="3341" y="133"/>
                  </a:lnTo>
                  <a:lnTo>
                    <a:pt x="3335" y="132"/>
                  </a:lnTo>
                  <a:lnTo>
                    <a:pt x="3329" y="130"/>
                  </a:lnTo>
                  <a:lnTo>
                    <a:pt x="3325" y="130"/>
                  </a:lnTo>
                  <a:lnTo>
                    <a:pt x="3324" y="130"/>
                  </a:lnTo>
                  <a:lnTo>
                    <a:pt x="3320" y="129"/>
                  </a:lnTo>
                  <a:lnTo>
                    <a:pt x="3316" y="128"/>
                  </a:lnTo>
                  <a:lnTo>
                    <a:pt x="3307" y="126"/>
                  </a:lnTo>
                  <a:lnTo>
                    <a:pt x="3306" y="122"/>
                  </a:lnTo>
                  <a:lnTo>
                    <a:pt x="3306" y="120"/>
                  </a:lnTo>
                  <a:lnTo>
                    <a:pt x="3308" y="118"/>
                  </a:lnTo>
                  <a:lnTo>
                    <a:pt x="3311" y="119"/>
                  </a:lnTo>
                  <a:lnTo>
                    <a:pt x="3313" y="119"/>
                  </a:lnTo>
                  <a:lnTo>
                    <a:pt x="3310" y="116"/>
                  </a:lnTo>
                  <a:lnTo>
                    <a:pt x="3308" y="116"/>
                  </a:lnTo>
                  <a:lnTo>
                    <a:pt x="3294" y="116"/>
                  </a:lnTo>
                  <a:lnTo>
                    <a:pt x="3279" y="113"/>
                  </a:lnTo>
                  <a:lnTo>
                    <a:pt x="3277" y="113"/>
                  </a:lnTo>
                  <a:lnTo>
                    <a:pt x="3272" y="112"/>
                  </a:lnTo>
                  <a:lnTo>
                    <a:pt x="3262" y="112"/>
                  </a:lnTo>
                  <a:lnTo>
                    <a:pt x="3257" y="115"/>
                  </a:lnTo>
                  <a:lnTo>
                    <a:pt x="3247" y="116"/>
                  </a:lnTo>
                  <a:lnTo>
                    <a:pt x="3241" y="117"/>
                  </a:lnTo>
                  <a:lnTo>
                    <a:pt x="3240" y="120"/>
                  </a:lnTo>
                  <a:lnTo>
                    <a:pt x="3243" y="121"/>
                  </a:lnTo>
                  <a:lnTo>
                    <a:pt x="3245" y="121"/>
                  </a:lnTo>
                  <a:lnTo>
                    <a:pt x="3240" y="125"/>
                  </a:lnTo>
                  <a:lnTo>
                    <a:pt x="3239" y="125"/>
                  </a:lnTo>
                  <a:lnTo>
                    <a:pt x="3238" y="121"/>
                  </a:lnTo>
                  <a:lnTo>
                    <a:pt x="3235" y="118"/>
                  </a:lnTo>
                  <a:lnTo>
                    <a:pt x="3238" y="113"/>
                  </a:lnTo>
                  <a:lnTo>
                    <a:pt x="3234" y="108"/>
                  </a:lnTo>
                  <a:lnTo>
                    <a:pt x="3231" y="105"/>
                  </a:lnTo>
                  <a:lnTo>
                    <a:pt x="3231" y="111"/>
                  </a:lnTo>
                  <a:lnTo>
                    <a:pt x="3228" y="112"/>
                  </a:lnTo>
                  <a:lnTo>
                    <a:pt x="3222" y="112"/>
                  </a:lnTo>
                  <a:lnTo>
                    <a:pt x="3219" y="112"/>
                  </a:lnTo>
                  <a:lnTo>
                    <a:pt x="3213" y="111"/>
                  </a:lnTo>
                  <a:lnTo>
                    <a:pt x="3209" y="109"/>
                  </a:lnTo>
                  <a:lnTo>
                    <a:pt x="3208" y="108"/>
                  </a:lnTo>
                  <a:lnTo>
                    <a:pt x="3202" y="111"/>
                  </a:lnTo>
                  <a:lnTo>
                    <a:pt x="3204" y="112"/>
                  </a:lnTo>
                  <a:lnTo>
                    <a:pt x="3198" y="113"/>
                  </a:lnTo>
                  <a:lnTo>
                    <a:pt x="3195" y="116"/>
                  </a:lnTo>
                  <a:lnTo>
                    <a:pt x="3192" y="116"/>
                  </a:lnTo>
                  <a:lnTo>
                    <a:pt x="3190" y="118"/>
                  </a:lnTo>
                  <a:lnTo>
                    <a:pt x="3188" y="119"/>
                  </a:lnTo>
                  <a:lnTo>
                    <a:pt x="3185" y="119"/>
                  </a:lnTo>
                  <a:lnTo>
                    <a:pt x="3182" y="118"/>
                  </a:lnTo>
                  <a:lnTo>
                    <a:pt x="3180" y="117"/>
                  </a:lnTo>
                  <a:lnTo>
                    <a:pt x="3182" y="119"/>
                  </a:lnTo>
                  <a:lnTo>
                    <a:pt x="3180" y="118"/>
                  </a:lnTo>
                  <a:lnTo>
                    <a:pt x="3178" y="121"/>
                  </a:lnTo>
                  <a:lnTo>
                    <a:pt x="3175" y="121"/>
                  </a:lnTo>
                  <a:lnTo>
                    <a:pt x="3167" y="122"/>
                  </a:lnTo>
                  <a:lnTo>
                    <a:pt x="3162" y="126"/>
                  </a:lnTo>
                  <a:lnTo>
                    <a:pt x="3158" y="126"/>
                  </a:lnTo>
                  <a:lnTo>
                    <a:pt x="3153" y="127"/>
                  </a:lnTo>
                  <a:lnTo>
                    <a:pt x="3150" y="126"/>
                  </a:lnTo>
                  <a:lnTo>
                    <a:pt x="3147" y="127"/>
                  </a:lnTo>
                  <a:lnTo>
                    <a:pt x="3142" y="126"/>
                  </a:lnTo>
                  <a:lnTo>
                    <a:pt x="3139" y="127"/>
                  </a:lnTo>
                  <a:lnTo>
                    <a:pt x="3137" y="133"/>
                  </a:lnTo>
                  <a:lnTo>
                    <a:pt x="3129" y="137"/>
                  </a:lnTo>
                  <a:lnTo>
                    <a:pt x="3122" y="137"/>
                  </a:lnTo>
                  <a:lnTo>
                    <a:pt x="3122" y="136"/>
                  </a:lnTo>
                  <a:lnTo>
                    <a:pt x="3124" y="136"/>
                  </a:lnTo>
                  <a:lnTo>
                    <a:pt x="3130" y="134"/>
                  </a:lnTo>
                  <a:lnTo>
                    <a:pt x="3132" y="130"/>
                  </a:lnTo>
                  <a:lnTo>
                    <a:pt x="3133" y="128"/>
                  </a:lnTo>
                  <a:lnTo>
                    <a:pt x="3138" y="122"/>
                  </a:lnTo>
                  <a:lnTo>
                    <a:pt x="3144" y="122"/>
                  </a:lnTo>
                  <a:lnTo>
                    <a:pt x="3146" y="121"/>
                  </a:lnTo>
                  <a:lnTo>
                    <a:pt x="3148" y="119"/>
                  </a:lnTo>
                  <a:lnTo>
                    <a:pt x="3154" y="115"/>
                  </a:lnTo>
                  <a:lnTo>
                    <a:pt x="3159" y="115"/>
                  </a:lnTo>
                  <a:lnTo>
                    <a:pt x="3162" y="113"/>
                  </a:lnTo>
                  <a:lnTo>
                    <a:pt x="3165" y="113"/>
                  </a:lnTo>
                  <a:lnTo>
                    <a:pt x="3170" y="110"/>
                  </a:lnTo>
                  <a:lnTo>
                    <a:pt x="3173" y="107"/>
                  </a:lnTo>
                  <a:lnTo>
                    <a:pt x="3179" y="103"/>
                  </a:lnTo>
                  <a:lnTo>
                    <a:pt x="3184" y="102"/>
                  </a:lnTo>
                  <a:lnTo>
                    <a:pt x="3190" y="99"/>
                  </a:lnTo>
                  <a:lnTo>
                    <a:pt x="3187" y="96"/>
                  </a:lnTo>
                  <a:lnTo>
                    <a:pt x="3190" y="94"/>
                  </a:lnTo>
                  <a:lnTo>
                    <a:pt x="3193" y="94"/>
                  </a:lnTo>
                  <a:lnTo>
                    <a:pt x="3196" y="92"/>
                  </a:lnTo>
                  <a:lnTo>
                    <a:pt x="3198" y="92"/>
                  </a:lnTo>
                  <a:lnTo>
                    <a:pt x="3201" y="91"/>
                  </a:lnTo>
                  <a:lnTo>
                    <a:pt x="3204" y="90"/>
                  </a:lnTo>
                  <a:lnTo>
                    <a:pt x="3209" y="86"/>
                  </a:lnTo>
                  <a:lnTo>
                    <a:pt x="3213" y="86"/>
                  </a:lnTo>
                  <a:lnTo>
                    <a:pt x="3215" y="86"/>
                  </a:lnTo>
                  <a:lnTo>
                    <a:pt x="3219" y="81"/>
                  </a:lnTo>
                  <a:lnTo>
                    <a:pt x="3228" y="78"/>
                  </a:lnTo>
                  <a:lnTo>
                    <a:pt x="3231" y="77"/>
                  </a:lnTo>
                  <a:lnTo>
                    <a:pt x="3239" y="70"/>
                  </a:lnTo>
                  <a:lnTo>
                    <a:pt x="3241" y="68"/>
                  </a:lnTo>
                  <a:lnTo>
                    <a:pt x="3242" y="65"/>
                  </a:lnTo>
                  <a:lnTo>
                    <a:pt x="3236" y="62"/>
                  </a:lnTo>
                  <a:lnTo>
                    <a:pt x="3236" y="59"/>
                  </a:lnTo>
                  <a:lnTo>
                    <a:pt x="3233" y="60"/>
                  </a:lnTo>
                  <a:lnTo>
                    <a:pt x="3231" y="62"/>
                  </a:lnTo>
                  <a:lnTo>
                    <a:pt x="3230" y="57"/>
                  </a:lnTo>
                  <a:lnTo>
                    <a:pt x="3226" y="57"/>
                  </a:lnTo>
                  <a:lnTo>
                    <a:pt x="3224" y="55"/>
                  </a:lnTo>
                  <a:lnTo>
                    <a:pt x="3226" y="55"/>
                  </a:lnTo>
                  <a:lnTo>
                    <a:pt x="3235" y="58"/>
                  </a:lnTo>
                  <a:lnTo>
                    <a:pt x="3238" y="59"/>
                  </a:lnTo>
                  <a:lnTo>
                    <a:pt x="3240" y="60"/>
                  </a:lnTo>
                  <a:lnTo>
                    <a:pt x="3242" y="58"/>
                  </a:lnTo>
                  <a:lnTo>
                    <a:pt x="3243" y="55"/>
                  </a:lnTo>
                  <a:lnTo>
                    <a:pt x="3243" y="52"/>
                  </a:lnTo>
                  <a:lnTo>
                    <a:pt x="3238" y="51"/>
                  </a:lnTo>
                  <a:lnTo>
                    <a:pt x="3239" y="49"/>
                  </a:lnTo>
                  <a:lnTo>
                    <a:pt x="3239" y="45"/>
                  </a:lnTo>
                  <a:lnTo>
                    <a:pt x="3235" y="43"/>
                  </a:lnTo>
                  <a:lnTo>
                    <a:pt x="3233" y="42"/>
                  </a:lnTo>
                  <a:lnTo>
                    <a:pt x="3235" y="44"/>
                  </a:lnTo>
                  <a:lnTo>
                    <a:pt x="3233" y="45"/>
                  </a:lnTo>
                  <a:lnTo>
                    <a:pt x="3231" y="48"/>
                  </a:lnTo>
                  <a:lnTo>
                    <a:pt x="3228" y="48"/>
                  </a:lnTo>
                  <a:lnTo>
                    <a:pt x="3230" y="45"/>
                  </a:lnTo>
                  <a:lnTo>
                    <a:pt x="3227" y="44"/>
                  </a:lnTo>
                  <a:lnTo>
                    <a:pt x="3228" y="42"/>
                  </a:lnTo>
                  <a:lnTo>
                    <a:pt x="3226" y="39"/>
                  </a:lnTo>
                  <a:lnTo>
                    <a:pt x="3223" y="38"/>
                  </a:lnTo>
                  <a:lnTo>
                    <a:pt x="3221" y="38"/>
                  </a:lnTo>
                  <a:lnTo>
                    <a:pt x="3217" y="39"/>
                  </a:lnTo>
                  <a:lnTo>
                    <a:pt x="3221" y="36"/>
                  </a:lnTo>
                  <a:lnTo>
                    <a:pt x="3215" y="32"/>
                  </a:lnTo>
                  <a:lnTo>
                    <a:pt x="3212" y="32"/>
                  </a:lnTo>
                  <a:lnTo>
                    <a:pt x="3209" y="30"/>
                  </a:lnTo>
                  <a:lnTo>
                    <a:pt x="3206" y="31"/>
                  </a:lnTo>
                  <a:lnTo>
                    <a:pt x="3204" y="28"/>
                  </a:lnTo>
                  <a:lnTo>
                    <a:pt x="3200" y="30"/>
                  </a:lnTo>
                  <a:lnTo>
                    <a:pt x="3198" y="28"/>
                  </a:lnTo>
                  <a:lnTo>
                    <a:pt x="3195" y="28"/>
                  </a:lnTo>
                  <a:lnTo>
                    <a:pt x="3192" y="30"/>
                  </a:lnTo>
                  <a:lnTo>
                    <a:pt x="3188" y="30"/>
                  </a:lnTo>
                  <a:lnTo>
                    <a:pt x="3185" y="28"/>
                  </a:lnTo>
                  <a:lnTo>
                    <a:pt x="3182" y="28"/>
                  </a:lnTo>
                  <a:lnTo>
                    <a:pt x="3174" y="30"/>
                  </a:lnTo>
                  <a:lnTo>
                    <a:pt x="3168" y="30"/>
                  </a:lnTo>
                  <a:lnTo>
                    <a:pt x="3163" y="28"/>
                  </a:lnTo>
                  <a:lnTo>
                    <a:pt x="3163" y="32"/>
                  </a:lnTo>
                  <a:lnTo>
                    <a:pt x="3161" y="34"/>
                  </a:lnTo>
                  <a:lnTo>
                    <a:pt x="3158" y="35"/>
                  </a:lnTo>
                  <a:lnTo>
                    <a:pt x="3153" y="35"/>
                  </a:lnTo>
                  <a:lnTo>
                    <a:pt x="3145" y="35"/>
                  </a:lnTo>
                  <a:lnTo>
                    <a:pt x="3141" y="35"/>
                  </a:lnTo>
                  <a:lnTo>
                    <a:pt x="3140" y="35"/>
                  </a:lnTo>
                  <a:lnTo>
                    <a:pt x="3144" y="34"/>
                  </a:lnTo>
                  <a:lnTo>
                    <a:pt x="3146" y="31"/>
                  </a:lnTo>
                  <a:lnTo>
                    <a:pt x="3148" y="30"/>
                  </a:lnTo>
                  <a:lnTo>
                    <a:pt x="3150" y="27"/>
                  </a:lnTo>
                  <a:lnTo>
                    <a:pt x="3154" y="25"/>
                  </a:lnTo>
                  <a:lnTo>
                    <a:pt x="3154" y="23"/>
                  </a:lnTo>
                  <a:lnTo>
                    <a:pt x="3150" y="21"/>
                  </a:lnTo>
                  <a:lnTo>
                    <a:pt x="3148" y="21"/>
                  </a:lnTo>
                  <a:lnTo>
                    <a:pt x="3145" y="21"/>
                  </a:lnTo>
                  <a:lnTo>
                    <a:pt x="3142" y="21"/>
                  </a:lnTo>
                  <a:lnTo>
                    <a:pt x="3140" y="19"/>
                  </a:lnTo>
                  <a:lnTo>
                    <a:pt x="3137" y="19"/>
                  </a:lnTo>
                  <a:lnTo>
                    <a:pt x="3134" y="22"/>
                  </a:lnTo>
                  <a:lnTo>
                    <a:pt x="3129" y="22"/>
                  </a:lnTo>
                  <a:lnTo>
                    <a:pt x="3131" y="21"/>
                  </a:lnTo>
                  <a:lnTo>
                    <a:pt x="3133" y="17"/>
                  </a:lnTo>
                  <a:lnTo>
                    <a:pt x="3125" y="18"/>
                  </a:lnTo>
                  <a:lnTo>
                    <a:pt x="3123" y="18"/>
                  </a:lnTo>
                  <a:lnTo>
                    <a:pt x="3120" y="18"/>
                  </a:lnTo>
                  <a:lnTo>
                    <a:pt x="3117" y="17"/>
                  </a:lnTo>
                  <a:lnTo>
                    <a:pt x="3111" y="19"/>
                  </a:lnTo>
                  <a:lnTo>
                    <a:pt x="3108" y="18"/>
                  </a:lnTo>
                  <a:lnTo>
                    <a:pt x="3111" y="17"/>
                  </a:lnTo>
                  <a:lnTo>
                    <a:pt x="3114" y="17"/>
                  </a:lnTo>
                  <a:lnTo>
                    <a:pt x="3116" y="16"/>
                  </a:lnTo>
                  <a:lnTo>
                    <a:pt x="3122" y="16"/>
                  </a:lnTo>
                  <a:lnTo>
                    <a:pt x="3125" y="15"/>
                  </a:lnTo>
                  <a:lnTo>
                    <a:pt x="3128" y="14"/>
                  </a:lnTo>
                  <a:lnTo>
                    <a:pt x="3131" y="12"/>
                  </a:lnTo>
                  <a:lnTo>
                    <a:pt x="3133" y="10"/>
                  </a:lnTo>
                  <a:lnTo>
                    <a:pt x="3137" y="12"/>
                  </a:lnTo>
                  <a:lnTo>
                    <a:pt x="3134" y="8"/>
                  </a:lnTo>
                  <a:lnTo>
                    <a:pt x="3132" y="6"/>
                  </a:lnTo>
                  <a:lnTo>
                    <a:pt x="3130" y="5"/>
                  </a:lnTo>
                  <a:lnTo>
                    <a:pt x="3127" y="6"/>
                  </a:lnTo>
                  <a:lnTo>
                    <a:pt x="3124" y="5"/>
                  </a:lnTo>
                  <a:lnTo>
                    <a:pt x="3119" y="4"/>
                  </a:lnTo>
                  <a:lnTo>
                    <a:pt x="3115" y="1"/>
                  </a:lnTo>
                  <a:lnTo>
                    <a:pt x="3113" y="1"/>
                  </a:lnTo>
                  <a:lnTo>
                    <a:pt x="3110" y="0"/>
                  </a:lnTo>
                  <a:lnTo>
                    <a:pt x="3107" y="0"/>
                  </a:lnTo>
                  <a:lnTo>
                    <a:pt x="3098" y="4"/>
                  </a:lnTo>
                  <a:lnTo>
                    <a:pt x="3096" y="2"/>
                  </a:lnTo>
                  <a:lnTo>
                    <a:pt x="3093" y="4"/>
                  </a:lnTo>
                  <a:lnTo>
                    <a:pt x="3090" y="6"/>
                  </a:lnTo>
                  <a:lnTo>
                    <a:pt x="3087" y="7"/>
                  </a:lnTo>
                  <a:lnTo>
                    <a:pt x="3085" y="8"/>
                  </a:lnTo>
                  <a:lnTo>
                    <a:pt x="3081" y="10"/>
                  </a:lnTo>
                  <a:lnTo>
                    <a:pt x="3079" y="10"/>
                  </a:lnTo>
                  <a:lnTo>
                    <a:pt x="3079" y="13"/>
                  </a:lnTo>
                  <a:lnTo>
                    <a:pt x="3077" y="14"/>
                  </a:lnTo>
                  <a:lnTo>
                    <a:pt x="3072" y="17"/>
                  </a:lnTo>
                  <a:lnTo>
                    <a:pt x="3071" y="21"/>
                  </a:lnTo>
                  <a:lnTo>
                    <a:pt x="3068" y="22"/>
                  </a:lnTo>
                  <a:lnTo>
                    <a:pt x="3065" y="24"/>
                  </a:lnTo>
                  <a:lnTo>
                    <a:pt x="3068" y="27"/>
                  </a:lnTo>
                  <a:lnTo>
                    <a:pt x="3070" y="27"/>
                  </a:lnTo>
                  <a:lnTo>
                    <a:pt x="3069" y="31"/>
                  </a:lnTo>
                  <a:lnTo>
                    <a:pt x="3069" y="33"/>
                  </a:lnTo>
                  <a:lnTo>
                    <a:pt x="3072" y="35"/>
                  </a:lnTo>
                  <a:lnTo>
                    <a:pt x="3084" y="38"/>
                  </a:lnTo>
                  <a:lnTo>
                    <a:pt x="3081" y="39"/>
                  </a:lnTo>
                  <a:lnTo>
                    <a:pt x="3078" y="36"/>
                  </a:lnTo>
                  <a:lnTo>
                    <a:pt x="3074" y="36"/>
                  </a:lnTo>
                  <a:lnTo>
                    <a:pt x="3072" y="36"/>
                  </a:lnTo>
                  <a:lnTo>
                    <a:pt x="3069" y="36"/>
                  </a:lnTo>
                  <a:lnTo>
                    <a:pt x="3067" y="35"/>
                  </a:lnTo>
                  <a:lnTo>
                    <a:pt x="3057" y="36"/>
                  </a:lnTo>
                  <a:lnTo>
                    <a:pt x="3054" y="35"/>
                  </a:lnTo>
                  <a:lnTo>
                    <a:pt x="3046" y="36"/>
                  </a:lnTo>
                  <a:lnTo>
                    <a:pt x="3043" y="35"/>
                  </a:lnTo>
                  <a:lnTo>
                    <a:pt x="3040" y="35"/>
                  </a:lnTo>
                  <a:lnTo>
                    <a:pt x="3040" y="38"/>
                  </a:lnTo>
                  <a:lnTo>
                    <a:pt x="3046" y="42"/>
                  </a:lnTo>
                  <a:lnTo>
                    <a:pt x="3048" y="42"/>
                  </a:lnTo>
                  <a:lnTo>
                    <a:pt x="3052" y="48"/>
                  </a:lnTo>
                  <a:lnTo>
                    <a:pt x="3052" y="48"/>
                  </a:lnTo>
                  <a:lnTo>
                    <a:pt x="3048" y="48"/>
                  </a:lnTo>
                  <a:lnTo>
                    <a:pt x="3048" y="45"/>
                  </a:lnTo>
                  <a:lnTo>
                    <a:pt x="3043" y="47"/>
                  </a:lnTo>
                  <a:lnTo>
                    <a:pt x="3040" y="43"/>
                  </a:lnTo>
                  <a:lnTo>
                    <a:pt x="3038" y="44"/>
                  </a:lnTo>
                  <a:lnTo>
                    <a:pt x="3036" y="43"/>
                  </a:lnTo>
                  <a:lnTo>
                    <a:pt x="3033" y="44"/>
                  </a:lnTo>
                  <a:lnTo>
                    <a:pt x="3027" y="45"/>
                  </a:lnTo>
                  <a:lnTo>
                    <a:pt x="3029" y="47"/>
                  </a:lnTo>
                  <a:lnTo>
                    <a:pt x="3027" y="48"/>
                  </a:lnTo>
                  <a:lnTo>
                    <a:pt x="3025" y="48"/>
                  </a:lnTo>
                  <a:lnTo>
                    <a:pt x="3021" y="48"/>
                  </a:lnTo>
                  <a:lnTo>
                    <a:pt x="3025" y="49"/>
                  </a:lnTo>
                  <a:lnTo>
                    <a:pt x="3019" y="50"/>
                  </a:lnTo>
                  <a:lnTo>
                    <a:pt x="3016" y="51"/>
                  </a:lnTo>
                  <a:lnTo>
                    <a:pt x="3018" y="49"/>
                  </a:lnTo>
                  <a:lnTo>
                    <a:pt x="3014" y="50"/>
                  </a:lnTo>
                  <a:lnTo>
                    <a:pt x="3012" y="51"/>
                  </a:lnTo>
                  <a:lnTo>
                    <a:pt x="3006" y="53"/>
                  </a:lnTo>
                  <a:lnTo>
                    <a:pt x="3009" y="50"/>
                  </a:lnTo>
                  <a:lnTo>
                    <a:pt x="3005" y="49"/>
                  </a:lnTo>
                  <a:lnTo>
                    <a:pt x="3003" y="51"/>
                  </a:lnTo>
                  <a:lnTo>
                    <a:pt x="3000" y="51"/>
                  </a:lnTo>
                  <a:lnTo>
                    <a:pt x="2994" y="53"/>
                  </a:lnTo>
                  <a:lnTo>
                    <a:pt x="3000" y="48"/>
                  </a:lnTo>
                  <a:lnTo>
                    <a:pt x="2997" y="45"/>
                  </a:lnTo>
                  <a:lnTo>
                    <a:pt x="2992" y="45"/>
                  </a:lnTo>
                  <a:lnTo>
                    <a:pt x="2989" y="47"/>
                  </a:lnTo>
                  <a:lnTo>
                    <a:pt x="2986" y="47"/>
                  </a:lnTo>
                  <a:lnTo>
                    <a:pt x="2980" y="45"/>
                  </a:lnTo>
                  <a:lnTo>
                    <a:pt x="2980" y="48"/>
                  </a:lnTo>
                  <a:lnTo>
                    <a:pt x="2977" y="47"/>
                  </a:lnTo>
                  <a:lnTo>
                    <a:pt x="2968" y="47"/>
                  </a:lnTo>
                  <a:lnTo>
                    <a:pt x="2971" y="48"/>
                  </a:lnTo>
                  <a:lnTo>
                    <a:pt x="2969" y="49"/>
                  </a:lnTo>
                  <a:lnTo>
                    <a:pt x="2963" y="48"/>
                  </a:lnTo>
                  <a:lnTo>
                    <a:pt x="2960" y="47"/>
                  </a:lnTo>
                  <a:lnTo>
                    <a:pt x="2958" y="48"/>
                  </a:lnTo>
                  <a:lnTo>
                    <a:pt x="2956" y="51"/>
                  </a:lnTo>
                  <a:lnTo>
                    <a:pt x="2959" y="52"/>
                  </a:lnTo>
                  <a:lnTo>
                    <a:pt x="2962" y="50"/>
                  </a:lnTo>
                  <a:lnTo>
                    <a:pt x="2963" y="53"/>
                  </a:lnTo>
                  <a:lnTo>
                    <a:pt x="2965" y="51"/>
                  </a:lnTo>
                  <a:lnTo>
                    <a:pt x="2968" y="52"/>
                  </a:lnTo>
                  <a:lnTo>
                    <a:pt x="2974" y="51"/>
                  </a:lnTo>
                  <a:lnTo>
                    <a:pt x="2971" y="52"/>
                  </a:lnTo>
                  <a:lnTo>
                    <a:pt x="2962" y="55"/>
                  </a:lnTo>
                  <a:lnTo>
                    <a:pt x="2946" y="57"/>
                  </a:lnTo>
                  <a:lnTo>
                    <a:pt x="2941" y="57"/>
                  </a:lnTo>
                  <a:lnTo>
                    <a:pt x="2939" y="60"/>
                  </a:lnTo>
                  <a:lnTo>
                    <a:pt x="2936" y="59"/>
                  </a:lnTo>
                  <a:lnTo>
                    <a:pt x="2931" y="60"/>
                  </a:lnTo>
                  <a:lnTo>
                    <a:pt x="2928" y="59"/>
                  </a:lnTo>
                  <a:lnTo>
                    <a:pt x="2925" y="60"/>
                  </a:lnTo>
                  <a:lnTo>
                    <a:pt x="2917" y="61"/>
                  </a:lnTo>
                  <a:lnTo>
                    <a:pt x="2917" y="64"/>
                  </a:lnTo>
                  <a:lnTo>
                    <a:pt x="2915" y="64"/>
                  </a:lnTo>
                  <a:lnTo>
                    <a:pt x="2911" y="65"/>
                  </a:lnTo>
                  <a:lnTo>
                    <a:pt x="2906" y="65"/>
                  </a:lnTo>
                  <a:lnTo>
                    <a:pt x="2903" y="65"/>
                  </a:lnTo>
                  <a:lnTo>
                    <a:pt x="2898" y="69"/>
                  </a:lnTo>
                  <a:lnTo>
                    <a:pt x="2894" y="70"/>
                  </a:lnTo>
                  <a:lnTo>
                    <a:pt x="2892" y="74"/>
                  </a:lnTo>
                  <a:lnTo>
                    <a:pt x="2889" y="75"/>
                  </a:lnTo>
                  <a:lnTo>
                    <a:pt x="2883" y="74"/>
                  </a:lnTo>
                  <a:lnTo>
                    <a:pt x="2877" y="73"/>
                  </a:lnTo>
                  <a:lnTo>
                    <a:pt x="2875" y="74"/>
                  </a:lnTo>
                  <a:lnTo>
                    <a:pt x="2876" y="75"/>
                  </a:lnTo>
                  <a:lnTo>
                    <a:pt x="2882" y="76"/>
                  </a:lnTo>
                  <a:lnTo>
                    <a:pt x="2885" y="76"/>
                  </a:lnTo>
                  <a:lnTo>
                    <a:pt x="2884" y="79"/>
                  </a:lnTo>
                  <a:lnTo>
                    <a:pt x="2881" y="77"/>
                  </a:lnTo>
                  <a:lnTo>
                    <a:pt x="2878" y="77"/>
                  </a:lnTo>
                  <a:lnTo>
                    <a:pt x="2881" y="78"/>
                  </a:lnTo>
                  <a:lnTo>
                    <a:pt x="2878" y="81"/>
                  </a:lnTo>
                  <a:lnTo>
                    <a:pt x="2877" y="83"/>
                  </a:lnTo>
                  <a:lnTo>
                    <a:pt x="2874" y="84"/>
                  </a:lnTo>
                  <a:lnTo>
                    <a:pt x="2875" y="87"/>
                  </a:lnTo>
                  <a:lnTo>
                    <a:pt x="2872" y="87"/>
                  </a:lnTo>
                  <a:lnTo>
                    <a:pt x="2869" y="85"/>
                  </a:lnTo>
                  <a:lnTo>
                    <a:pt x="2867" y="85"/>
                  </a:lnTo>
                  <a:lnTo>
                    <a:pt x="2865" y="83"/>
                  </a:lnTo>
                  <a:lnTo>
                    <a:pt x="2863" y="85"/>
                  </a:lnTo>
                  <a:lnTo>
                    <a:pt x="2860" y="86"/>
                  </a:lnTo>
                  <a:lnTo>
                    <a:pt x="2863" y="87"/>
                  </a:lnTo>
                  <a:lnTo>
                    <a:pt x="2872" y="90"/>
                  </a:lnTo>
                  <a:lnTo>
                    <a:pt x="2872" y="92"/>
                  </a:lnTo>
                  <a:lnTo>
                    <a:pt x="2875" y="93"/>
                  </a:lnTo>
                  <a:lnTo>
                    <a:pt x="2877" y="94"/>
                  </a:lnTo>
                  <a:lnTo>
                    <a:pt x="2876" y="96"/>
                  </a:lnTo>
                  <a:lnTo>
                    <a:pt x="2874" y="96"/>
                  </a:lnTo>
                  <a:lnTo>
                    <a:pt x="2872" y="94"/>
                  </a:lnTo>
                  <a:lnTo>
                    <a:pt x="2868" y="92"/>
                  </a:lnTo>
                  <a:lnTo>
                    <a:pt x="2866" y="93"/>
                  </a:lnTo>
                  <a:lnTo>
                    <a:pt x="2863" y="93"/>
                  </a:lnTo>
                  <a:lnTo>
                    <a:pt x="2866" y="94"/>
                  </a:lnTo>
                  <a:lnTo>
                    <a:pt x="2863" y="95"/>
                  </a:lnTo>
                  <a:lnTo>
                    <a:pt x="2865" y="98"/>
                  </a:lnTo>
                  <a:lnTo>
                    <a:pt x="2871" y="98"/>
                  </a:lnTo>
                  <a:lnTo>
                    <a:pt x="2873" y="100"/>
                  </a:lnTo>
                  <a:lnTo>
                    <a:pt x="2874" y="102"/>
                  </a:lnTo>
                  <a:lnTo>
                    <a:pt x="2880" y="103"/>
                  </a:lnTo>
                  <a:lnTo>
                    <a:pt x="2876" y="103"/>
                  </a:lnTo>
                  <a:lnTo>
                    <a:pt x="2878" y="108"/>
                  </a:lnTo>
                  <a:lnTo>
                    <a:pt x="2877" y="108"/>
                  </a:lnTo>
                  <a:lnTo>
                    <a:pt x="2876" y="108"/>
                  </a:lnTo>
                  <a:lnTo>
                    <a:pt x="2874" y="108"/>
                  </a:lnTo>
                  <a:lnTo>
                    <a:pt x="2863" y="108"/>
                  </a:lnTo>
                  <a:lnTo>
                    <a:pt x="2859" y="109"/>
                  </a:lnTo>
                  <a:lnTo>
                    <a:pt x="2857" y="109"/>
                  </a:lnTo>
                  <a:lnTo>
                    <a:pt x="2855" y="112"/>
                  </a:lnTo>
                  <a:lnTo>
                    <a:pt x="2851" y="112"/>
                  </a:lnTo>
                  <a:lnTo>
                    <a:pt x="2849" y="112"/>
                  </a:lnTo>
                  <a:lnTo>
                    <a:pt x="2847" y="111"/>
                  </a:lnTo>
                  <a:lnTo>
                    <a:pt x="2843" y="111"/>
                  </a:lnTo>
                  <a:lnTo>
                    <a:pt x="2838" y="112"/>
                  </a:lnTo>
                  <a:lnTo>
                    <a:pt x="2832" y="112"/>
                  </a:lnTo>
                  <a:lnTo>
                    <a:pt x="2826" y="113"/>
                  </a:lnTo>
                  <a:lnTo>
                    <a:pt x="2815" y="113"/>
                  </a:lnTo>
                  <a:lnTo>
                    <a:pt x="2806" y="113"/>
                  </a:lnTo>
                  <a:lnTo>
                    <a:pt x="2800" y="113"/>
                  </a:lnTo>
                  <a:lnTo>
                    <a:pt x="2798" y="115"/>
                  </a:lnTo>
                  <a:lnTo>
                    <a:pt x="2795" y="115"/>
                  </a:lnTo>
                  <a:lnTo>
                    <a:pt x="2792" y="116"/>
                  </a:lnTo>
                  <a:lnTo>
                    <a:pt x="2789" y="118"/>
                  </a:lnTo>
                  <a:lnTo>
                    <a:pt x="2787" y="120"/>
                  </a:lnTo>
                  <a:lnTo>
                    <a:pt x="2784" y="124"/>
                  </a:lnTo>
                  <a:lnTo>
                    <a:pt x="2788" y="125"/>
                  </a:lnTo>
                  <a:lnTo>
                    <a:pt x="2784" y="126"/>
                  </a:lnTo>
                  <a:lnTo>
                    <a:pt x="2788" y="129"/>
                  </a:lnTo>
                  <a:lnTo>
                    <a:pt x="2790" y="130"/>
                  </a:lnTo>
                  <a:lnTo>
                    <a:pt x="2791" y="133"/>
                  </a:lnTo>
                  <a:lnTo>
                    <a:pt x="2790" y="136"/>
                  </a:lnTo>
                  <a:lnTo>
                    <a:pt x="2789" y="138"/>
                  </a:lnTo>
                  <a:lnTo>
                    <a:pt x="2791" y="141"/>
                  </a:lnTo>
                  <a:lnTo>
                    <a:pt x="2791" y="144"/>
                  </a:lnTo>
                  <a:lnTo>
                    <a:pt x="2797" y="147"/>
                  </a:lnTo>
                  <a:lnTo>
                    <a:pt x="2805" y="149"/>
                  </a:lnTo>
                  <a:lnTo>
                    <a:pt x="2807" y="150"/>
                  </a:lnTo>
                  <a:lnTo>
                    <a:pt x="2811" y="150"/>
                  </a:lnTo>
                  <a:lnTo>
                    <a:pt x="2812" y="153"/>
                  </a:lnTo>
                  <a:lnTo>
                    <a:pt x="2812" y="155"/>
                  </a:lnTo>
                  <a:lnTo>
                    <a:pt x="2815" y="156"/>
                  </a:lnTo>
                  <a:lnTo>
                    <a:pt x="2817" y="161"/>
                  </a:lnTo>
                  <a:lnTo>
                    <a:pt x="2817" y="162"/>
                  </a:lnTo>
                  <a:lnTo>
                    <a:pt x="2809" y="164"/>
                  </a:lnTo>
                  <a:lnTo>
                    <a:pt x="2804" y="164"/>
                  </a:lnTo>
                  <a:lnTo>
                    <a:pt x="2798" y="162"/>
                  </a:lnTo>
                  <a:lnTo>
                    <a:pt x="2796" y="160"/>
                  </a:lnTo>
                  <a:lnTo>
                    <a:pt x="2791" y="156"/>
                  </a:lnTo>
                  <a:lnTo>
                    <a:pt x="2789" y="154"/>
                  </a:lnTo>
                  <a:lnTo>
                    <a:pt x="2787" y="153"/>
                  </a:lnTo>
                  <a:lnTo>
                    <a:pt x="2781" y="152"/>
                  </a:lnTo>
                  <a:lnTo>
                    <a:pt x="2778" y="150"/>
                  </a:lnTo>
                  <a:lnTo>
                    <a:pt x="2775" y="149"/>
                  </a:lnTo>
                  <a:lnTo>
                    <a:pt x="2772" y="147"/>
                  </a:lnTo>
                  <a:lnTo>
                    <a:pt x="2766" y="147"/>
                  </a:lnTo>
                  <a:lnTo>
                    <a:pt x="2760" y="146"/>
                  </a:lnTo>
                  <a:lnTo>
                    <a:pt x="2760" y="147"/>
                  </a:lnTo>
                  <a:lnTo>
                    <a:pt x="2754" y="147"/>
                  </a:lnTo>
                  <a:lnTo>
                    <a:pt x="2752" y="149"/>
                  </a:lnTo>
                  <a:lnTo>
                    <a:pt x="2749" y="152"/>
                  </a:lnTo>
                  <a:lnTo>
                    <a:pt x="2746" y="151"/>
                  </a:lnTo>
                  <a:lnTo>
                    <a:pt x="2745" y="154"/>
                  </a:lnTo>
                  <a:lnTo>
                    <a:pt x="2747" y="154"/>
                  </a:lnTo>
                  <a:lnTo>
                    <a:pt x="2750" y="154"/>
                  </a:lnTo>
                  <a:lnTo>
                    <a:pt x="2753" y="154"/>
                  </a:lnTo>
                  <a:lnTo>
                    <a:pt x="2755" y="156"/>
                  </a:lnTo>
                  <a:lnTo>
                    <a:pt x="2755" y="159"/>
                  </a:lnTo>
                  <a:lnTo>
                    <a:pt x="2749" y="161"/>
                  </a:lnTo>
                  <a:lnTo>
                    <a:pt x="2747" y="161"/>
                  </a:lnTo>
                  <a:lnTo>
                    <a:pt x="2741" y="158"/>
                  </a:lnTo>
                  <a:lnTo>
                    <a:pt x="2737" y="155"/>
                  </a:lnTo>
                  <a:lnTo>
                    <a:pt x="2735" y="155"/>
                  </a:lnTo>
                  <a:lnTo>
                    <a:pt x="2729" y="158"/>
                  </a:lnTo>
                  <a:lnTo>
                    <a:pt x="2727" y="159"/>
                  </a:lnTo>
                  <a:lnTo>
                    <a:pt x="2727" y="161"/>
                  </a:lnTo>
                  <a:lnTo>
                    <a:pt x="2729" y="167"/>
                  </a:lnTo>
                  <a:lnTo>
                    <a:pt x="2735" y="170"/>
                  </a:lnTo>
                  <a:lnTo>
                    <a:pt x="2737" y="171"/>
                  </a:lnTo>
                  <a:lnTo>
                    <a:pt x="2740" y="171"/>
                  </a:lnTo>
                  <a:lnTo>
                    <a:pt x="2746" y="175"/>
                  </a:lnTo>
                  <a:lnTo>
                    <a:pt x="2748" y="175"/>
                  </a:lnTo>
                  <a:lnTo>
                    <a:pt x="2752" y="173"/>
                  </a:lnTo>
                  <a:lnTo>
                    <a:pt x="2754" y="175"/>
                  </a:lnTo>
                  <a:lnTo>
                    <a:pt x="2757" y="176"/>
                  </a:lnTo>
                  <a:lnTo>
                    <a:pt x="2756" y="178"/>
                  </a:lnTo>
                  <a:lnTo>
                    <a:pt x="2760" y="181"/>
                  </a:lnTo>
                  <a:lnTo>
                    <a:pt x="2758" y="184"/>
                  </a:lnTo>
                  <a:lnTo>
                    <a:pt x="2762" y="182"/>
                  </a:lnTo>
                  <a:lnTo>
                    <a:pt x="2764" y="182"/>
                  </a:lnTo>
                  <a:lnTo>
                    <a:pt x="2767" y="181"/>
                  </a:lnTo>
                  <a:lnTo>
                    <a:pt x="2764" y="184"/>
                  </a:lnTo>
                  <a:lnTo>
                    <a:pt x="2758" y="185"/>
                  </a:lnTo>
                  <a:lnTo>
                    <a:pt x="2756" y="184"/>
                  </a:lnTo>
                  <a:lnTo>
                    <a:pt x="2753" y="182"/>
                  </a:lnTo>
                  <a:lnTo>
                    <a:pt x="2752" y="180"/>
                  </a:lnTo>
                  <a:lnTo>
                    <a:pt x="2748" y="178"/>
                  </a:lnTo>
                  <a:lnTo>
                    <a:pt x="2739" y="177"/>
                  </a:lnTo>
                  <a:lnTo>
                    <a:pt x="2738" y="180"/>
                  </a:lnTo>
                  <a:lnTo>
                    <a:pt x="2738" y="178"/>
                  </a:lnTo>
                  <a:lnTo>
                    <a:pt x="2735" y="177"/>
                  </a:lnTo>
                  <a:lnTo>
                    <a:pt x="2727" y="177"/>
                  </a:lnTo>
                  <a:lnTo>
                    <a:pt x="2723" y="176"/>
                  </a:lnTo>
                  <a:lnTo>
                    <a:pt x="2719" y="175"/>
                  </a:lnTo>
                  <a:lnTo>
                    <a:pt x="2715" y="173"/>
                  </a:lnTo>
                  <a:lnTo>
                    <a:pt x="2715" y="170"/>
                  </a:lnTo>
                  <a:lnTo>
                    <a:pt x="2719" y="169"/>
                  </a:lnTo>
                  <a:lnTo>
                    <a:pt x="2718" y="166"/>
                  </a:lnTo>
                  <a:lnTo>
                    <a:pt x="2715" y="163"/>
                  </a:lnTo>
                  <a:lnTo>
                    <a:pt x="2715" y="161"/>
                  </a:lnTo>
                  <a:lnTo>
                    <a:pt x="2715" y="158"/>
                  </a:lnTo>
                  <a:lnTo>
                    <a:pt x="2718" y="156"/>
                  </a:lnTo>
                  <a:lnTo>
                    <a:pt x="2721" y="149"/>
                  </a:lnTo>
                  <a:lnTo>
                    <a:pt x="2719" y="141"/>
                  </a:lnTo>
                  <a:lnTo>
                    <a:pt x="2719" y="137"/>
                  </a:lnTo>
                  <a:lnTo>
                    <a:pt x="2715" y="135"/>
                  </a:lnTo>
                  <a:lnTo>
                    <a:pt x="2713" y="135"/>
                  </a:lnTo>
                  <a:lnTo>
                    <a:pt x="2711" y="135"/>
                  </a:lnTo>
                  <a:lnTo>
                    <a:pt x="2710" y="137"/>
                  </a:lnTo>
                  <a:lnTo>
                    <a:pt x="2712" y="139"/>
                  </a:lnTo>
                  <a:lnTo>
                    <a:pt x="2713" y="149"/>
                  </a:lnTo>
                  <a:lnTo>
                    <a:pt x="2713" y="151"/>
                  </a:lnTo>
                  <a:lnTo>
                    <a:pt x="2711" y="153"/>
                  </a:lnTo>
                  <a:lnTo>
                    <a:pt x="2709" y="155"/>
                  </a:lnTo>
                  <a:lnTo>
                    <a:pt x="2705" y="156"/>
                  </a:lnTo>
                  <a:lnTo>
                    <a:pt x="2694" y="160"/>
                  </a:lnTo>
                  <a:lnTo>
                    <a:pt x="2692" y="161"/>
                  </a:lnTo>
                  <a:lnTo>
                    <a:pt x="2692" y="164"/>
                  </a:lnTo>
                  <a:lnTo>
                    <a:pt x="2689" y="167"/>
                  </a:lnTo>
                  <a:lnTo>
                    <a:pt x="2687" y="169"/>
                  </a:lnTo>
                  <a:lnTo>
                    <a:pt x="2685" y="172"/>
                  </a:lnTo>
                  <a:lnTo>
                    <a:pt x="2690" y="175"/>
                  </a:lnTo>
                  <a:lnTo>
                    <a:pt x="2693" y="178"/>
                  </a:lnTo>
                  <a:lnTo>
                    <a:pt x="2694" y="180"/>
                  </a:lnTo>
                  <a:lnTo>
                    <a:pt x="2697" y="182"/>
                  </a:lnTo>
                  <a:lnTo>
                    <a:pt x="2697" y="186"/>
                  </a:lnTo>
                  <a:lnTo>
                    <a:pt x="2702" y="190"/>
                  </a:lnTo>
                  <a:lnTo>
                    <a:pt x="2703" y="193"/>
                  </a:lnTo>
                  <a:lnTo>
                    <a:pt x="2698" y="198"/>
                  </a:lnTo>
                  <a:lnTo>
                    <a:pt x="2696" y="201"/>
                  </a:lnTo>
                  <a:lnTo>
                    <a:pt x="2694" y="206"/>
                  </a:lnTo>
                  <a:lnTo>
                    <a:pt x="2694" y="207"/>
                  </a:lnTo>
                  <a:lnTo>
                    <a:pt x="2693" y="210"/>
                  </a:lnTo>
                  <a:lnTo>
                    <a:pt x="2692" y="213"/>
                  </a:lnTo>
                  <a:lnTo>
                    <a:pt x="2693" y="215"/>
                  </a:lnTo>
                  <a:lnTo>
                    <a:pt x="2695" y="218"/>
                  </a:lnTo>
                  <a:lnTo>
                    <a:pt x="2696" y="221"/>
                  </a:lnTo>
                  <a:lnTo>
                    <a:pt x="2696" y="223"/>
                  </a:lnTo>
                  <a:lnTo>
                    <a:pt x="2695" y="227"/>
                  </a:lnTo>
                  <a:lnTo>
                    <a:pt x="2697" y="229"/>
                  </a:lnTo>
                  <a:lnTo>
                    <a:pt x="2702" y="228"/>
                  </a:lnTo>
                  <a:lnTo>
                    <a:pt x="2705" y="228"/>
                  </a:lnTo>
                  <a:lnTo>
                    <a:pt x="2707" y="229"/>
                  </a:lnTo>
                  <a:lnTo>
                    <a:pt x="2711" y="229"/>
                  </a:lnTo>
                  <a:lnTo>
                    <a:pt x="2717" y="226"/>
                  </a:lnTo>
                  <a:lnTo>
                    <a:pt x="2720" y="224"/>
                  </a:lnTo>
                  <a:lnTo>
                    <a:pt x="2722" y="226"/>
                  </a:lnTo>
                  <a:lnTo>
                    <a:pt x="2724" y="226"/>
                  </a:lnTo>
                  <a:lnTo>
                    <a:pt x="2730" y="227"/>
                  </a:lnTo>
                  <a:lnTo>
                    <a:pt x="2736" y="228"/>
                  </a:lnTo>
                  <a:lnTo>
                    <a:pt x="2738" y="230"/>
                  </a:lnTo>
                  <a:lnTo>
                    <a:pt x="2746" y="232"/>
                  </a:lnTo>
                  <a:lnTo>
                    <a:pt x="2748" y="236"/>
                  </a:lnTo>
                  <a:lnTo>
                    <a:pt x="2749" y="238"/>
                  </a:lnTo>
                  <a:lnTo>
                    <a:pt x="2749" y="240"/>
                  </a:lnTo>
                  <a:lnTo>
                    <a:pt x="2752" y="244"/>
                  </a:lnTo>
                  <a:lnTo>
                    <a:pt x="2754" y="246"/>
                  </a:lnTo>
                  <a:lnTo>
                    <a:pt x="2754" y="248"/>
                  </a:lnTo>
                  <a:lnTo>
                    <a:pt x="2748" y="249"/>
                  </a:lnTo>
                  <a:lnTo>
                    <a:pt x="2746" y="253"/>
                  </a:lnTo>
                  <a:lnTo>
                    <a:pt x="2746" y="258"/>
                  </a:lnTo>
                  <a:lnTo>
                    <a:pt x="2746" y="261"/>
                  </a:lnTo>
                  <a:lnTo>
                    <a:pt x="2752" y="261"/>
                  </a:lnTo>
                  <a:lnTo>
                    <a:pt x="2753" y="262"/>
                  </a:lnTo>
                  <a:lnTo>
                    <a:pt x="2761" y="264"/>
                  </a:lnTo>
                  <a:lnTo>
                    <a:pt x="2763" y="263"/>
                  </a:lnTo>
                  <a:lnTo>
                    <a:pt x="2766" y="265"/>
                  </a:lnTo>
                  <a:lnTo>
                    <a:pt x="2763" y="264"/>
                  </a:lnTo>
                  <a:lnTo>
                    <a:pt x="2761" y="265"/>
                  </a:lnTo>
                  <a:lnTo>
                    <a:pt x="2760" y="265"/>
                  </a:lnTo>
                  <a:lnTo>
                    <a:pt x="2757" y="265"/>
                  </a:lnTo>
                  <a:lnTo>
                    <a:pt x="2754" y="265"/>
                  </a:lnTo>
                  <a:lnTo>
                    <a:pt x="2750" y="265"/>
                  </a:lnTo>
                  <a:lnTo>
                    <a:pt x="2741" y="261"/>
                  </a:lnTo>
                  <a:lnTo>
                    <a:pt x="2743" y="258"/>
                  </a:lnTo>
                  <a:lnTo>
                    <a:pt x="2741" y="255"/>
                  </a:lnTo>
                  <a:lnTo>
                    <a:pt x="2741" y="253"/>
                  </a:lnTo>
                  <a:lnTo>
                    <a:pt x="2744" y="249"/>
                  </a:lnTo>
                  <a:lnTo>
                    <a:pt x="2741" y="247"/>
                  </a:lnTo>
                  <a:lnTo>
                    <a:pt x="2743" y="245"/>
                  </a:lnTo>
                  <a:lnTo>
                    <a:pt x="2743" y="241"/>
                  </a:lnTo>
                  <a:lnTo>
                    <a:pt x="2740" y="241"/>
                  </a:lnTo>
                  <a:lnTo>
                    <a:pt x="2737" y="238"/>
                  </a:lnTo>
                  <a:lnTo>
                    <a:pt x="2735" y="237"/>
                  </a:lnTo>
                  <a:lnTo>
                    <a:pt x="2735" y="235"/>
                  </a:lnTo>
                  <a:lnTo>
                    <a:pt x="2732" y="231"/>
                  </a:lnTo>
                  <a:lnTo>
                    <a:pt x="2728" y="231"/>
                  </a:lnTo>
                  <a:lnTo>
                    <a:pt x="2715" y="233"/>
                  </a:lnTo>
                  <a:lnTo>
                    <a:pt x="2705" y="237"/>
                  </a:lnTo>
                  <a:lnTo>
                    <a:pt x="2704" y="240"/>
                  </a:lnTo>
                  <a:lnTo>
                    <a:pt x="2704" y="243"/>
                  </a:lnTo>
                  <a:lnTo>
                    <a:pt x="2703" y="246"/>
                  </a:lnTo>
                  <a:lnTo>
                    <a:pt x="2707" y="250"/>
                  </a:lnTo>
                  <a:lnTo>
                    <a:pt x="2710" y="256"/>
                  </a:lnTo>
                  <a:lnTo>
                    <a:pt x="2709" y="260"/>
                  </a:lnTo>
                  <a:lnTo>
                    <a:pt x="2707" y="262"/>
                  </a:lnTo>
                  <a:lnTo>
                    <a:pt x="2703" y="266"/>
                  </a:lnTo>
                  <a:lnTo>
                    <a:pt x="2700" y="267"/>
                  </a:lnTo>
                  <a:lnTo>
                    <a:pt x="2697" y="271"/>
                  </a:lnTo>
                  <a:lnTo>
                    <a:pt x="2697" y="275"/>
                  </a:lnTo>
                  <a:lnTo>
                    <a:pt x="2695" y="279"/>
                  </a:lnTo>
                  <a:lnTo>
                    <a:pt x="2693" y="280"/>
                  </a:lnTo>
                  <a:lnTo>
                    <a:pt x="2690" y="282"/>
                  </a:lnTo>
                  <a:lnTo>
                    <a:pt x="2685" y="284"/>
                  </a:lnTo>
                  <a:lnTo>
                    <a:pt x="2681" y="287"/>
                  </a:lnTo>
                  <a:lnTo>
                    <a:pt x="2679" y="287"/>
                  </a:lnTo>
                  <a:lnTo>
                    <a:pt x="2676" y="288"/>
                  </a:lnTo>
                  <a:lnTo>
                    <a:pt x="2676" y="293"/>
                  </a:lnTo>
                  <a:lnTo>
                    <a:pt x="2671" y="296"/>
                  </a:lnTo>
                  <a:lnTo>
                    <a:pt x="2668" y="296"/>
                  </a:lnTo>
                  <a:lnTo>
                    <a:pt x="2666" y="293"/>
                  </a:lnTo>
                  <a:lnTo>
                    <a:pt x="2662" y="292"/>
                  </a:lnTo>
                  <a:lnTo>
                    <a:pt x="2656" y="292"/>
                  </a:lnTo>
                  <a:lnTo>
                    <a:pt x="2649" y="293"/>
                  </a:lnTo>
                  <a:lnTo>
                    <a:pt x="2641" y="290"/>
                  </a:lnTo>
                  <a:lnTo>
                    <a:pt x="2635" y="289"/>
                  </a:lnTo>
                  <a:lnTo>
                    <a:pt x="2633" y="288"/>
                  </a:lnTo>
                  <a:lnTo>
                    <a:pt x="2632" y="284"/>
                  </a:lnTo>
                  <a:lnTo>
                    <a:pt x="2629" y="282"/>
                  </a:lnTo>
                  <a:lnTo>
                    <a:pt x="2635" y="282"/>
                  </a:lnTo>
                  <a:lnTo>
                    <a:pt x="2637" y="283"/>
                  </a:lnTo>
                  <a:lnTo>
                    <a:pt x="2643" y="282"/>
                  </a:lnTo>
                  <a:lnTo>
                    <a:pt x="2643" y="283"/>
                  </a:lnTo>
                  <a:lnTo>
                    <a:pt x="2646" y="284"/>
                  </a:lnTo>
                  <a:lnTo>
                    <a:pt x="2649" y="286"/>
                  </a:lnTo>
                  <a:lnTo>
                    <a:pt x="2654" y="283"/>
                  </a:lnTo>
                  <a:lnTo>
                    <a:pt x="2654" y="283"/>
                  </a:lnTo>
                  <a:lnTo>
                    <a:pt x="2656" y="282"/>
                  </a:lnTo>
                  <a:lnTo>
                    <a:pt x="2660" y="281"/>
                  </a:lnTo>
                  <a:lnTo>
                    <a:pt x="2668" y="279"/>
                  </a:lnTo>
                  <a:lnTo>
                    <a:pt x="2671" y="276"/>
                  </a:lnTo>
                  <a:lnTo>
                    <a:pt x="2672" y="274"/>
                  </a:lnTo>
                  <a:lnTo>
                    <a:pt x="2671" y="271"/>
                  </a:lnTo>
                  <a:lnTo>
                    <a:pt x="2673" y="271"/>
                  </a:lnTo>
                  <a:lnTo>
                    <a:pt x="2677" y="270"/>
                  </a:lnTo>
                  <a:lnTo>
                    <a:pt x="2677" y="266"/>
                  </a:lnTo>
                  <a:lnTo>
                    <a:pt x="2680" y="263"/>
                  </a:lnTo>
                  <a:lnTo>
                    <a:pt x="2686" y="261"/>
                  </a:lnTo>
                  <a:lnTo>
                    <a:pt x="2686" y="258"/>
                  </a:lnTo>
                  <a:lnTo>
                    <a:pt x="2687" y="256"/>
                  </a:lnTo>
                  <a:lnTo>
                    <a:pt x="2686" y="253"/>
                  </a:lnTo>
                  <a:lnTo>
                    <a:pt x="2686" y="250"/>
                  </a:lnTo>
                  <a:lnTo>
                    <a:pt x="2690" y="245"/>
                  </a:lnTo>
                  <a:lnTo>
                    <a:pt x="2693" y="244"/>
                  </a:lnTo>
                  <a:lnTo>
                    <a:pt x="2693" y="241"/>
                  </a:lnTo>
                  <a:lnTo>
                    <a:pt x="2687" y="238"/>
                  </a:lnTo>
                  <a:lnTo>
                    <a:pt x="2681" y="235"/>
                  </a:lnTo>
                  <a:lnTo>
                    <a:pt x="2679" y="232"/>
                  </a:lnTo>
                  <a:lnTo>
                    <a:pt x="2677" y="227"/>
                  </a:lnTo>
                  <a:lnTo>
                    <a:pt x="2679" y="224"/>
                  </a:lnTo>
                  <a:lnTo>
                    <a:pt x="2678" y="222"/>
                  </a:lnTo>
                  <a:lnTo>
                    <a:pt x="2679" y="219"/>
                  </a:lnTo>
                  <a:lnTo>
                    <a:pt x="2678" y="216"/>
                  </a:lnTo>
                  <a:lnTo>
                    <a:pt x="2679" y="213"/>
                  </a:lnTo>
                  <a:lnTo>
                    <a:pt x="2680" y="211"/>
                  </a:lnTo>
                  <a:lnTo>
                    <a:pt x="2678" y="206"/>
                  </a:lnTo>
                  <a:lnTo>
                    <a:pt x="2678" y="204"/>
                  </a:lnTo>
                  <a:lnTo>
                    <a:pt x="2678" y="202"/>
                  </a:lnTo>
                  <a:lnTo>
                    <a:pt x="2678" y="198"/>
                  </a:lnTo>
                  <a:lnTo>
                    <a:pt x="2680" y="196"/>
                  </a:lnTo>
                  <a:lnTo>
                    <a:pt x="2681" y="194"/>
                  </a:lnTo>
                  <a:lnTo>
                    <a:pt x="2680" y="192"/>
                  </a:lnTo>
                  <a:lnTo>
                    <a:pt x="2683" y="186"/>
                  </a:lnTo>
                  <a:lnTo>
                    <a:pt x="2680" y="182"/>
                  </a:lnTo>
                  <a:lnTo>
                    <a:pt x="2679" y="180"/>
                  </a:lnTo>
                  <a:lnTo>
                    <a:pt x="2677" y="178"/>
                  </a:lnTo>
                  <a:lnTo>
                    <a:pt x="2671" y="175"/>
                  </a:lnTo>
                  <a:lnTo>
                    <a:pt x="2669" y="171"/>
                  </a:lnTo>
                  <a:lnTo>
                    <a:pt x="2668" y="169"/>
                  </a:lnTo>
                  <a:lnTo>
                    <a:pt x="2673" y="166"/>
                  </a:lnTo>
                  <a:lnTo>
                    <a:pt x="2676" y="163"/>
                  </a:lnTo>
                  <a:lnTo>
                    <a:pt x="2676" y="161"/>
                  </a:lnTo>
                  <a:lnTo>
                    <a:pt x="2678" y="159"/>
                  </a:lnTo>
                  <a:lnTo>
                    <a:pt x="2678" y="156"/>
                  </a:lnTo>
                  <a:lnTo>
                    <a:pt x="2680" y="154"/>
                  </a:lnTo>
                  <a:lnTo>
                    <a:pt x="2683" y="149"/>
                  </a:lnTo>
                  <a:lnTo>
                    <a:pt x="2681" y="145"/>
                  </a:lnTo>
                  <a:lnTo>
                    <a:pt x="2681" y="141"/>
                  </a:lnTo>
                  <a:lnTo>
                    <a:pt x="2680" y="137"/>
                  </a:lnTo>
                  <a:lnTo>
                    <a:pt x="2671" y="135"/>
                  </a:lnTo>
                  <a:lnTo>
                    <a:pt x="2669" y="136"/>
                  </a:lnTo>
                  <a:lnTo>
                    <a:pt x="2666" y="134"/>
                  </a:lnTo>
                  <a:lnTo>
                    <a:pt x="2663" y="133"/>
                  </a:lnTo>
                  <a:lnTo>
                    <a:pt x="2660" y="134"/>
                  </a:lnTo>
                  <a:lnTo>
                    <a:pt x="2646" y="134"/>
                  </a:lnTo>
                  <a:lnTo>
                    <a:pt x="2637" y="134"/>
                  </a:lnTo>
                  <a:lnTo>
                    <a:pt x="2641" y="133"/>
                  </a:lnTo>
                  <a:lnTo>
                    <a:pt x="2637" y="132"/>
                  </a:lnTo>
                  <a:lnTo>
                    <a:pt x="2635" y="132"/>
                  </a:lnTo>
                  <a:lnTo>
                    <a:pt x="2634" y="135"/>
                  </a:lnTo>
                  <a:lnTo>
                    <a:pt x="2630" y="137"/>
                  </a:lnTo>
                  <a:lnTo>
                    <a:pt x="2629" y="141"/>
                  </a:lnTo>
                  <a:lnTo>
                    <a:pt x="2628" y="143"/>
                  </a:lnTo>
                  <a:lnTo>
                    <a:pt x="2627" y="149"/>
                  </a:lnTo>
                  <a:lnTo>
                    <a:pt x="2624" y="159"/>
                  </a:lnTo>
                  <a:lnTo>
                    <a:pt x="2620" y="164"/>
                  </a:lnTo>
                  <a:lnTo>
                    <a:pt x="2611" y="170"/>
                  </a:lnTo>
                  <a:lnTo>
                    <a:pt x="2603" y="175"/>
                  </a:lnTo>
                  <a:lnTo>
                    <a:pt x="2600" y="176"/>
                  </a:lnTo>
                  <a:lnTo>
                    <a:pt x="2598" y="181"/>
                  </a:lnTo>
                  <a:lnTo>
                    <a:pt x="2600" y="179"/>
                  </a:lnTo>
                  <a:lnTo>
                    <a:pt x="2600" y="182"/>
                  </a:lnTo>
                  <a:lnTo>
                    <a:pt x="2596" y="185"/>
                  </a:lnTo>
                  <a:lnTo>
                    <a:pt x="2599" y="187"/>
                  </a:lnTo>
                  <a:lnTo>
                    <a:pt x="2604" y="186"/>
                  </a:lnTo>
                  <a:lnTo>
                    <a:pt x="2607" y="187"/>
                  </a:lnTo>
                  <a:lnTo>
                    <a:pt x="2605" y="193"/>
                  </a:lnTo>
                  <a:lnTo>
                    <a:pt x="2605" y="196"/>
                  </a:lnTo>
                  <a:lnTo>
                    <a:pt x="2603" y="201"/>
                  </a:lnTo>
                  <a:lnTo>
                    <a:pt x="2607" y="204"/>
                  </a:lnTo>
                  <a:lnTo>
                    <a:pt x="2605" y="206"/>
                  </a:lnTo>
                  <a:lnTo>
                    <a:pt x="2602" y="206"/>
                  </a:lnTo>
                  <a:lnTo>
                    <a:pt x="2600" y="207"/>
                  </a:lnTo>
                  <a:lnTo>
                    <a:pt x="2599" y="213"/>
                  </a:lnTo>
                  <a:lnTo>
                    <a:pt x="2599" y="215"/>
                  </a:lnTo>
                  <a:lnTo>
                    <a:pt x="2602" y="218"/>
                  </a:lnTo>
                  <a:lnTo>
                    <a:pt x="2601" y="215"/>
                  </a:lnTo>
                  <a:lnTo>
                    <a:pt x="2603" y="214"/>
                  </a:lnTo>
                  <a:lnTo>
                    <a:pt x="2605" y="215"/>
                  </a:lnTo>
                  <a:lnTo>
                    <a:pt x="2609" y="215"/>
                  </a:lnTo>
                  <a:lnTo>
                    <a:pt x="2611" y="218"/>
                  </a:lnTo>
                  <a:lnTo>
                    <a:pt x="2615" y="219"/>
                  </a:lnTo>
                  <a:lnTo>
                    <a:pt x="2617" y="219"/>
                  </a:lnTo>
                  <a:lnTo>
                    <a:pt x="2617" y="221"/>
                  </a:lnTo>
                  <a:lnTo>
                    <a:pt x="2617" y="223"/>
                  </a:lnTo>
                  <a:lnTo>
                    <a:pt x="2618" y="227"/>
                  </a:lnTo>
                  <a:lnTo>
                    <a:pt x="2624" y="232"/>
                  </a:lnTo>
                  <a:lnTo>
                    <a:pt x="2626" y="233"/>
                  </a:lnTo>
                  <a:lnTo>
                    <a:pt x="2629" y="232"/>
                  </a:lnTo>
                  <a:lnTo>
                    <a:pt x="2632" y="232"/>
                  </a:lnTo>
                  <a:lnTo>
                    <a:pt x="2629" y="233"/>
                  </a:lnTo>
                  <a:lnTo>
                    <a:pt x="2629" y="237"/>
                  </a:lnTo>
                  <a:lnTo>
                    <a:pt x="2627" y="241"/>
                  </a:lnTo>
                  <a:lnTo>
                    <a:pt x="2625" y="245"/>
                  </a:lnTo>
                  <a:lnTo>
                    <a:pt x="2625" y="247"/>
                  </a:lnTo>
                  <a:lnTo>
                    <a:pt x="2624" y="247"/>
                  </a:lnTo>
                  <a:lnTo>
                    <a:pt x="2621" y="249"/>
                  </a:lnTo>
                  <a:lnTo>
                    <a:pt x="2619" y="248"/>
                  </a:lnTo>
                  <a:lnTo>
                    <a:pt x="2618" y="245"/>
                  </a:lnTo>
                  <a:lnTo>
                    <a:pt x="2612" y="243"/>
                  </a:lnTo>
                  <a:lnTo>
                    <a:pt x="2604" y="237"/>
                  </a:lnTo>
                  <a:lnTo>
                    <a:pt x="2603" y="235"/>
                  </a:lnTo>
                  <a:lnTo>
                    <a:pt x="2598" y="233"/>
                  </a:lnTo>
                  <a:lnTo>
                    <a:pt x="2592" y="231"/>
                  </a:lnTo>
                  <a:lnTo>
                    <a:pt x="2586" y="229"/>
                  </a:lnTo>
                  <a:lnTo>
                    <a:pt x="2584" y="228"/>
                  </a:lnTo>
                  <a:lnTo>
                    <a:pt x="2586" y="228"/>
                  </a:lnTo>
                  <a:lnTo>
                    <a:pt x="2581" y="227"/>
                  </a:lnTo>
                  <a:lnTo>
                    <a:pt x="2575" y="224"/>
                  </a:lnTo>
                  <a:lnTo>
                    <a:pt x="2574" y="227"/>
                  </a:lnTo>
                  <a:lnTo>
                    <a:pt x="2573" y="227"/>
                  </a:lnTo>
                  <a:lnTo>
                    <a:pt x="2572" y="226"/>
                  </a:lnTo>
                  <a:lnTo>
                    <a:pt x="2573" y="222"/>
                  </a:lnTo>
                  <a:lnTo>
                    <a:pt x="2565" y="219"/>
                  </a:lnTo>
                  <a:lnTo>
                    <a:pt x="2550" y="214"/>
                  </a:lnTo>
                  <a:lnTo>
                    <a:pt x="2539" y="213"/>
                  </a:lnTo>
                  <a:lnTo>
                    <a:pt x="2533" y="213"/>
                  </a:lnTo>
                  <a:lnTo>
                    <a:pt x="2527" y="212"/>
                  </a:lnTo>
                  <a:lnTo>
                    <a:pt x="2519" y="210"/>
                  </a:lnTo>
                  <a:lnTo>
                    <a:pt x="2516" y="211"/>
                  </a:lnTo>
                  <a:lnTo>
                    <a:pt x="2516" y="213"/>
                  </a:lnTo>
                  <a:lnTo>
                    <a:pt x="2513" y="214"/>
                  </a:lnTo>
                  <a:lnTo>
                    <a:pt x="2510" y="214"/>
                  </a:lnTo>
                  <a:lnTo>
                    <a:pt x="2509" y="218"/>
                  </a:lnTo>
                  <a:lnTo>
                    <a:pt x="2510" y="220"/>
                  </a:lnTo>
                  <a:lnTo>
                    <a:pt x="2514" y="223"/>
                  </a:lnTo>
                  <a:lnTo>
                    <a:pt x="2516" y="229"/>
                  </a:lnTo>
                  <a:lnTo>
                    <a:pt x="2519" y="228"/>
                  </a:lnTo>
                  <a:lnTo>
                    <a:pt x="2519" y="231"/>
                  </a:lnTo>
                  <a:lnTo>
                    <a:pt x="2517" y="233"/>
                  </a:lnTo>
                  <a:lnTo>
                    <a:pt x="2515" y="237"/>
                  </a:lnTo>
                  <a:lnTo>
                    <a:pt x="2511" y="238"/>
                  </a:lnTo>
                  <a:lnTo>
                    <a:pt x="2509" y="238"/>
                  </a:lnTo>
                  <a:lnTo>
                    <a:pt x="2506" y="238"/>
                  </a:lnTo>
                  <a:lnTo>
                    <a:pt x="2502" y="239"/>
                  </a:lnTo>
                  <a:lnTo>
                    <a:pt x="2506" y="243"/>
                  </a:lnTo>
                  <a:lnTo>
                    <a:pt x="2505" y="245"/>
                  </a:lnTo>
                  <a:lnTo>
                    <a:pt x="2502" y="247"/>
                  </a:lnTo>
                  <a:lnTo>
                    <a:pt x="2499" y="246"/>
                  </a:lnTo>
                  <a:lnTo>
                    <a:pt x="2497" y="246"/>
                  </a:lnTo>
                  <a:lnTo>
                    <a:pt x="2493" y="244"/>
                  </a:lnTo>
                  <a:lnTo>
                    <a:pt x="2493" y="240"/>
                  </a:lnTo>
                  <a:lnTo>
                    <a:pt x="2496" y="238"/>
                  </a:lnTo>
                  <a:lnTo>
                    <a:pt x="2498" y="238"/>
                  </a:lnTo>
                  <a:lnTo>
                    <a:pt x="2497" y="235"/>
                  </a:lnTo>
                  <a:lnTo>
                    <a:pt x="2493" y="233"/>
                  </a:lnTo>
                  <a:lnTo>
                    <a:pt x="2491" y="232"/>
                  </a:lnTo>
                  <a:lnTo>
                    <a:pt x="2493" y="231"/>
                  </a:lnTo>
                  <a:lnTo>
                    <a:pt x="2491" y="231"/>
                  </a:lnTo>
                  <a:lnTo>
                    <a:pt x="2489" y="231"/>
                  </a:lnTo>
                  <a:lnTo>
                    <a:pt x="2485" y="232"/>
                  </a:lnTo>
                  <a:lnTo>
                    <a:pt x="2483" y="233"/>
                  </a:lnTo>
                  <a:lnTo>
                    <a:pt x="2483" y="237"/>
                  </a:lnTo>
                  <a:lnTo>
                    <a:pt x="2481" y="233"/>
                  </a:lnTo>
                  <a:lnTo>
                    <a:pt x="2479" y="237"/>
                  </a:lnTo>
                  <a:lnTo>
                    <a:pt x="2473" y="238"/>
                  </a:lnTo>
                  <a:lnTo>
                    <a:pt x="2471" y="240"/>
                  </a:lnTo>
                  <a:lnTo>
                    <a:pt x="2468" y="241"/>
                  </a:lnTo>
                  <a:lnTo>
                    <a:pt x="2465" y="241"/>
                  </a:lnTo>
                  <a:lnTo>
                    <a:pt x="2459" y="239"/>
                  </a:lnTo>
                  <a:lnTo>
                    <a:pt x="2455" y="240"/>
                  </a:lnTo>
                  <a:lnTo>
                    <a:pt x="2451" y="239"/>
                  </a:lnTo>
                  <a:lnTo>
                    <a:pt x="2449" y="240"/>
                  </a:lnTo>
                  <a:lnTo>
                    <a:pt x="2444" y="241"/>
                  </a:lnTo>
                  <a:lnTo>
                    <a:pt x="2438" y="245"/>
                  </a:lnTo>
                  <a:lnTo>
                    <a:pt x="2437" y="245"/>
                  </a:lnTo>
                  <a:lnTo>
                    <a:pt x="2437" y="248"/>
                  </a:lnTo>
                  <a:lnTo>
                    <a:pt x="2436" y="250"/>
                  </a:lnTo>
                  <a:lnTo>
                    <a:pt x="2430" y="248"/>
                  </a:lnTo>
                  <a:lnTo>
                    <a:pt x="2428" y="249"/>
                  </a:lnTo>
                  <a:lnTo>
                    <a:pt x="2425" y="248"/>
                  </a:lnTo>
                  <a:lnTo>
                    <a:pt x="2423" y="249"/>
                  </a:lnTo>
                  <a:lnTo>
                    <a:pt x="2422" y="249"/>
                  </a:lnTo>
                  <a:lnTo>
                    <a:pt x="2420" y="248"/>
                  </a:lnTo>
                  <a:lnTo>
                    <a:pt x="2414" y="248"/>
                  </a:lnTo>
                  <a:lnTo>
                    <a:pt x="2415" y="246"/>
                  </a:lnTo>
                  <a:lnTo>
                    <a:pt x="2421" y="246"/>
                  </a:lnTo>
                  <a:lnTo>
                    <a:pt x="2423" y="245"/>
                  </a:lnTo>
                  <a:lnTo>
                    <a:pt x="2422" y="243"/>
                  </a:lnTo>
                  <a:lnTo>
                    <a:pt x="2420" y="239"/>
                  </a:lnTo>
                  <a:lnTo>
                    <a:pt x="2423" y="233"/>
                  </a:lnTo>
                  <a:lnTo>
                    <a:pt x="2421" y="232"/>
                  </a:lnTo>
                  <a:lnTo>
                    <a:pt x="2427" y="232"/>
                  </a:lnTo>
                  <a:lnTo>
                    <a:pt x="2429" y="231"/>
                  </a:lnTo>
                  <a:lnTo>
                    <a:pt x="2427" y="231"/>
                  </a:lnTo>
                  <a:lnTo>
                    <a:pt x="2421" y="231"/>
                  </a:lnTo>
                  <a:lnTo>
                    <a:pt x="2415" y="233"/>
                  </a:lnTo>
                  <a:lnTo>
                    <a:pt x="2405" y="238"/>
                  </a:lnTo>
                  <a:lnTo>
                    <a:pt x="2403" y="240"/>
                  </a:lnTo>
                  <a:lnTo>
                    <a:pt x="2406" y="239"/>
                  </a:lnTo>
                  <a:lnTo>
                    <a:pt x="2405" y="245"/>
                  </a:lnTo>
                  <a:lnTo>
                    <a:pt x="2402" y="247"/>
                  </a:lnTo>
                  <a:lnTo>
                    <a:pt x="2399" y="247"/>
                  </a:lnTo>
                  <a:lnTo>
                    <a:pt x="2400" y="244"/>
                  </a:lnTo>
                  <a:lnTo>
                    <a:pt x="2399" y="241"/>
                  </a:lnTo>
                  <a:lnTo>
                    <a:pt x="2394" y="243"/>
                  </a:lnTo>
                  <a:lnTo>
                    <a:pt x="2391" y="244"/>
                  </a:lnTo>
                  <a:lnTo>
                    <a:pt x="2386" y="246"/>
                  </a:lnTo>
                  <a:lnTo>
                    <a:pt x="2383" y="246"/>
                  </a:lnTo>
                  <a:lnTo>
                    <a:pt x="2380" y="246"/>
                  </a:lnTo>
                  <a:lnTo>
                    <a:pt x="2378" y="248"/>
                  </a:lnTo>
                  <a:lnTo>
                    <a:pt x="2372" y="250"/>
                  </a:lnTo>
                  <a:lnTo>
                    <a:pt x="2370" y="254"/>
                  </a:lnTo>
                  <a:lnTo>
                    <a:pt x="2369" y="253"/>
                  </a:lnTo>
                  <a:lnTo>
                    <a:pt x="2364" y="255"/>
                  </a:lnTo>
                  <a:lnTo>
                    <a:pt x="2359" y="257"/>
                  </a:lnTo>
                  <a:lnTo>
                    <a:pt x="2353" y="258"/>
                  </a:lnTo>
                  <a:lnTo>
                    <a:pt x="2354" y="261"/>
                  </a:lnTo>
                  <a:lnTo>
                    <a:pt x="2356" y="263"/>
                  </a:lnTo>
                  <a:lnTo>
                    <a:pt x="2354" y="262"/>
                  </a:lnTo>
                  <a:lnTo>
                    <a:pt x="2351" y="262"/>
                  </a:lnTo>
                  <a:lnTo>
                    <a:pt x="2348" y="263"/>
                  </a:lnTo>
                  <a:lnTo>
                    <a:pt x="2345" y="262"/>
                  </a:lnTo>
                  <a:lnTo>
                    <a:pt x="2343" y="263"/>
                  </a:lnTo>
                  <a:lnTo>
                    <a:pt x="2340" y="264"/>
                  </a:lnTo>
                  <a:lnTo>
                    <a:pt x="2340" y="266"/>
                  </a:lnTo>
                  <a:lnTo>
                    <a:pt x="2339" y="270"/>
                  </a:lnTo>
                  <a:lnTo>
                    <a:pt x="2339" y="272"/>
                  </a:lnTo>
                  <a:lnTo>
                    <a:pt x="2338" y="278"/>
                  </a:lnTo>
                  <a:lnTo>
                    <a:pt x="2336" y="281"/>
                  </a:lnTo>
                  <a:lnTo>
                    <a:pt x="2334" y="280"/>
                  </a:lnTo>
                  <a:lnTo>
                    <a:pt x="2322" y="282"/>
                  </a:lnTo>
                  <a:lnTo>
                    <a:pt x="2320" y="283"/>
                  </a:lnTo>
                  <a:lnTo>
                    <a:pt x="2321" y="281"/>
                  </a:lnTo>
                  <a:lnTo>
                    <a:pt x="2316" y="282"/>
                  </a:lnTo>
                  <a:lnTo>
                    <a:pt x="2312" y="280"/>
                  </a:lnTo>
                  <a:lnTo>
                    <a:pt x="2310" y="276"/>
                  </a:lnTo>
                  <a:lnTo>
                    <a:pt x="2310" y="274"/>
                  </a:lnTo>
                  <a:lnTo>
                    <a:pt x="2301" y="271"/>
                  </a:lnTo>
                  <a:lnTo>
                    <a:pt x="2300" y="269"/>
                  </a:lnTo>
                  <a:lnTo>
                    <a:pt x="2301" y="266"/>
                  </a:lnTo>
                  <a:lnTo>
                    <a:pt x="2302" y="265"/>
                  </a:lnTo>
                  <a:lnTo>
                    <a:pt x="2305" y="264"/>
                  </a:lnTo>
                  <a:lnTo>
                    <a:pt x="2305" y="262"/>
                  </a:lnTo>
                  <a:lnTo>
                    <a:pt x="2308" y="261"/>
                  </a:lnTo>
                  <a:lnTo>
                    <a:pt x="2319" y="258"/>
                  </a:lnTo>
                  <a:lnTo>
                    <a:pt x="2325" y="258"/>
                  </a:lnTo>
                  <a:lnTo>
                    <a:pt x="2322" y="253"/>
                  </a:lnTo>
                  <a:lnTo>
                    <a:pt x="2320" y="250"/>
                  </a:lnTo>
                  <a:lnTo>
                    <a:pt x="2318" y="249"/>
                  </a:lnTo>
                  <a:lnTo>
                    <a:pt x="2314" y="247"/>
                  </a:lnTo>
                  <a:lnTo>
                    <a:pt x="2314" y="244"/>
                  </a:lnTo>
                  <a:lnTo>
                    <a:pt x="2306" y="241"/>
                  </a:lnTo>
                  <a:lnTo>
                    <a:pt x="2301" y="241"/>
                  </a:lnTo>
                  <a:lnTo>
                    <a:pt x="2289" y="243"/>
                  </a:lnTo>
                  <a:lnTo>
                    <a:pt x="2286" y="241"/>
                  </a:lnTo>
                  <a:lnTo>
                    <a:pt x="2284" y="240"/>
                  </a:lnTo>
                  <a:lnTo>
                    <a:pt x="2282" y="239"/>
                  </a:lnTo>
                  <a:lnTo>
                    <a:pt x="2278" y="240"/>
                  </a:lnTo>
                  <a:lnTo>
                    <a:pt x="2284" y="244"/>
                  </a:lnTo>
                  <a:lnTo>
                    <a:pt x="2286" y="245"/>
                  </a:lnTo>
                  <a:lnTo>
                    <a:pt x="2289" y="247"/>
                  </a:lnTo>
                  <a:lnTo>
                    <a:pt x="2291" y="248"/>
                  </a:lnTo>
                  <a:lnTo>
                    <a:pt x="2289" y="252"/>
                  </a:lnTo>
                  <a:lnTo>
                    <a:pt x="2291" y="254"/>
                  </a:lnTo>
                  <a:lnTo>
                    <a:pt x="2291" y="256"/>
                  </a:lnTo>
                  <a:lnTo>
                    <a:pt x="2289" y="260"/>
                  </a:lnTo>
                  <a:lnTo>
                    <a:pt x="2288" y="262"/>
                  </a:lnTo>
                  <a:lnTo>
                    <a:pt x="2285" y="267"/>
                  </a:lnTo>
                  <a:lnTo>
                    <a:pt x="2284" y="270"/>
                  </a:lnTo>
                  <a:lnTo>
                    <a:pt x="2284" y="273"/>
                  </a:lnTo>
                  <a:lnTo>
                    <a:pt x="2289" y="274"/>
                  </a:lnTo>
                  <a:lnTo>
                    <a:pt x="2292" y="275"/>
                  </a:lnTo>
                  <a:lnTo>
                    <a:pt x="2293" y="279"/>
                  </a:lnTo>
                  <a:lnTo>
                    <a:pt x="2294" y="281"/>
                  </a:lnTo>
                  <a:lnTo>
                    <a:pt x="2293" y="284"/>
                  </a:lnTo>
                  <a:lnTo>
                    <a:pt x="2292" y="290"/>
                  </a:lnTo>
                  <a:lnTo>
                    <a:pt x="2289" y="293"/>
                  </a:lnTo>
                  <a:lnTo>
                    <a:pt x="2288" y="296"/>
                  </a:lnTo>
                  <a:lnTo>
                    <a:pt x="2289" y="298"/>
                  </a:lnTo>
                  <a:lnTo>
                    <a:pt x="2289" y="301"/>
                  </a:lnTo>
                  <a:lnTo>
                    <a:pt x="2289" y="304"/>
                  </a:lnTo>
                  <a:lnTo>
                    <a:pt x="2288" y="301"/>
                  </a:lnTo>
                  <a:lnTo>
                    <a:pt x="2287" y="298"/>
                  </a:lnTo>
                  <a:lnTo>
                    <a:pt x="2284" y="297"/>
                  </a:lnTo>
                  <a:lnTo>
                    <a:pt x="2282" y="297"/>
                  </a:lnTo>
                  <a:lnTo>
                    <a:pt x="2278" y="300"/>
                  </a:lnTo>
                  <a:lnTo>
                    <a:pt x="2279" y="297"/>
                  </a:lnTo>
                  <a:lnTo>
                    <a:pt x="2283" y="296"/>
                  </a:lnTo>
                  <a:lnTo>
                    <a:pt x="2280" y="293"/>
                  </a:lnTo>
                  <a:lnTo>
                    <a:pt x="2276" y="291"/>
                  </a:lnTo>
                  <a:lnTo>
                    <a:pt x="2270" y="291"/>
                  </a:lnTo>
                  <a:lnTo>
                    <a:pt x="2267" y="290"/>
                  </a:lnTo>
                  <a:lnTo>
                    <a:pt x="2265" y="289"/>
                  </a:lnTo>
                  <a:lnTo>
                    <a:pt x="2261" y="289"/>
                  </a:lnTo>
                  <a:lnTo>
                    <a:pt x="2257" y="295"/>
                  </a:lnTo>
                  <a:lnTo>
                    <a:pt x="2251" y="299"/>
                  </a:lnTo>
                  <a:lnTo>
                    <a:pt x="2249" y="300"/>
                  </a:lnTo>
                  <a:lnTo>
                    <a:pt x="2246" y="300"/>
                  </a:lnTo>
                  <a:lnTo>
                    <a:pt x="2243" y="301"/>
                  </a:lnTo>
                  <a:lnTo>
                    <a:pt x="2237" y="306"/>
                  </a:lnTo>
                  <a:lnTo>
                    <a:pt x="2232" y="309"/>
                  </a:lnTo>
                  <a:lnTo>
                    <a:pt x="2229" y="312"/>
                  </a:lnTo>
                  <a:lnTo>
                    <a:pt x="2228" y="314"/>
                  </a:lnTo>
                  <a:lnTo>
                    <a:pt x="2234" y="322"/>
                  </a:lnTo>
                  <a:lnTo>
                    <a:pt x="2236" y="323"/>
                  </a:lnTo>
                  <a:lnTo>
                    <a:pt x="2237" y="325"/>
                  </a:lnTo>
                  <a:lnTo>
                    <a:pt x="2238" y="327"/>
                  </a:lnTo>
                  <a:lnTo>
                    <a:pt x="2238" y="330"/>
                  </a:lnTo>
                  <a:lnTo>
                    <a:pt x="2240" y="333"/>
                  </a:lnTo>
                  <a:lnTo>
                    <a:pt x="2240" y="333"/>
                  </a:lnTo>
                  <a:lnTo>
                    <a:pt x="2235" y="333"/>
                  </a:lnTo>
                  <a:lnTo>
                    <a:pt x="2233" y="331"/>
                  </a:lnTo>
                  <a:lnTo>
                    <a:pt x="2228" y="333"/>
                  </a:lnTo>
                  <a:lnTo>
                    <a:pt x="2225" y="332"/>
                  </a:lnTo>
                  <a:lnTo>
                    <a:pt x="2223" y="331"/>
                  </a:lnTo>
                  <a:lnTo>
                    <a:pt x="2217" y="329"/>
                  </a:lnTo>
                  <a:lnTo>
                    <a:pt x="2215" y="329"/>
                  </a:lnTo>
                  <a:lnTo>
                    <a:pt x="2211" y="329"/>
                  </a:lnTo>
                  <a:lnTo>
                    <a:pt x="2209" y="330"/>
                  </a:lnTo>
                  <a:lnTo>
                    <a:pt x="2206" y="331"/>
                  </a:lnTo>
                  <a:lnTo>
                    <a:pt x="2207" y="329"/>
                  </a:lnTo>
                  <a:lnTo>
                    <a:pt x="2210" y="326"/>
                  </a:lnTo>
                  <a:lnTo>
                    <a:pt x="2207" y="326"/>
                  </a:lnTo>
                  <a:lnTo>
                    <a:pt x="2205" y="326"/>
                  </a:lnTo>
                  <a:lnTo>
                    <a:pt x="2200" y="322"/>
                  </a:lnTo>
                  <a:lnTo>
                    <a:pt x="2192" y="318"/>
                  </a:lnTo>
                  <a:lnTo>
                    <a:pt x="2190" y="321"/>
                  </a:lnTo>
                  <a:lnTo>
                    <a:pt x="2189" y="323"/>
                  </a:lnTo>
                  <a:lnTo>
                    <a:pt x="2184" y="326"/>
                  </a:lnTo>
                  <a:lnTo>
                    <a:pt x="2186" y="329"/>
                  </a:lnTo>
                  <a:lnTo>
                    <a:pt x="2194" y="337"/>
                  </a:lnTo>
                  <a:lnTo>
                    <a:pt x="2197" y="338"/>
                  </a:lnTo>
                  <a:lnTo>
                    <a:pt x="2202" y="337"/>
                  </a:lnTo>
                  <a:lnTo>
                    <a:pt x="2206" y="339"/>
                  </a:lnTo>
                  <a:lnTo>
                    <a:pt x="2205" y="341"/>
                  </a:lnTo>
                  <a:lnTo>
                    <a:pt x="2206" y="344"/>
                  </a:lnTo>
                  <a:lnTo>
                    <a:pt x="2205" y="347"/>
                  </a:lnTo>
                  <a:lnTo>
                    <a:pt x="2201" y="347"/>
                  </a:lnTo>
                  <a:lnTo>
                    <a:pt x="2199" y="349"/>
                  </a:lnTo>
                  <a:lnTo>
                    <a:pt x="2197" y="349"/>
                  </a:lnTo>
                  <a:lnTo>
                    <a:pt x="2193" y="348"/>
                  </a:lnTo>
                  <a:lnTo>
                    <a:pt x="2190" y="347"/>
                  </a:lnTo>
                  <a:lnTo>
                    <a:pt x="2188" y="347"/>
                  </a:lnTo>
                  <a:lnTo>
                    <a:pt x="2184" y="346"/>
                  </a:lnTo>
                  <a:lnTo>
                    <a:pt x="2181" y="343"/>
                  </a:lnTo>
                  <a:lnTo>
                    <a:pt x="2180" y="341"/>
                  </a:lnTo>
                  <a:lnTo>
                    <a:pt x="2177" y="340"/>
                  </a:lnTo>
                  <a:lnTo>
                    <a:pt x="2175" y="338"/>
                  </a:lnTo>
                  <a:lnTo>
                    <a:pt x="2169" y="339"/>
                  </a:lnTo>
                  <a:lnTo>
                    <a:pt x="2164" y="335"/>
                  </a:lnTo>
                  <a:lnTo>
                    <a:pt x="2161" y="333"/>
                  </a:lnTo>
                  <a:lnTo>
                    <a:pt x="2163" y="331"/>
                  </a:lnTo>
                  <a:lnTo>
                    <a:pt x="2164" y="329"/>
                  </a:lnTo>
                  <a:lnTo>
                    <a:pt x="2161" y="329"/>
                  </a:lnTo>
                  <a:lnTo>
                    <a:pt x="2163" y="326"/>
                  </a:lnTo>
                  <a:lnTo>
                    <a:pt x="2160" y="324"/>
                  </a:lnTo>
                  <a:lnTo>
                    <a:pt x="2160" y="323"/>
                  </a:lnTo>
                  <a:lnTo>
                    <a:pt x="2158" y="317"/>
                  </a:lnTo>
                  <a:lnTo>
                    <a:pt x="2156" y="315"/>
                  </a:lnTo>
                  <a:lnTo>
                    <a:pt x="2158" y="314"/>
                  </a:lnTo>
                  <a:lnTo>
                    <a:pt x="2160" y="310"/>
                  </a:lnTo>
                  <a:lnTo>
                    <a:pt x="2159" y="305"/>
                  </a:lnTo>
                  <a:lnTo>
                    <a:pt x="2163" y="307"/>
                  </a:lnTo>
                  <a:lnTo>
                    <a:pt x="2163" y="305"/>
                  </a:lnTo>
                  <a:lnTo>
                    <a:pt x="2159" y="303"/>
                  </a:lnTo>
                  <a:lnTo>
                    <a:pt x="2159" y="300"/>
                  </a:lnTo>
                  <a:lnTo>
                    <a:pt x="2157" y="298"/>
                  </a:lnTo>
                  <a:lnTo>
                    <a:pt x="2154" y="297"/>
                  </a:lnTo>
                  <a:lnTo>
                    <a:pt x="2151" y="296"/>
                  </a:lnTo>
                  <a:lnTo>
                    <a:pt x="2149" y="296"/>
                  </a:lnTo>
                  <a:lnTo>
                    <a:pt x="2146" y="293"/>
                  </a:lnTo>
                  <a:lnTo>
                    <a:pt x="2141" y="293"/>
                  </a:lnTo>
                  <a:lnTo>
                    <a:pt x="2143" y="292"/>
                  </a:lnTo>
                  <a:lnTo>
                    <a:pt x="2146" y="292"/>
                  </a:lnTo>
                  <a:lnTo>
                    <a:pt x="2140" y="289"/>
                  </a:lnTo>
                  <a:lnTo>
                    <a:pt x="2137" y="289"/>
                  </a:lnTo>
                  <a:lnTo>
                    <a:pt x="2139" y="288"/>
                  </a:lnTo>
                  <a:lnTo>
                    <a:pt x="2142" y="289"/>
                  </a:lnTo>
                  <a:lnTo>
                    <a:pt x="2139" y="288"/>
                  </a:lnTo>
                  <a:lnTo>
                    <a:pt x="2138" y="288"/>
                  </a:lnTo>
                  <a:lnTo>
                    <a:pt x="2134" y="288"/>
                  </a:lnTo>
                  <a:lnTo>
                    <a:pt x="2140" y="287"/>
                  </a:lnTo>
                  <a:lnTo>
                    <a:pt x="2138" y="286"/>
                  </a:lnTo>
                  <a:lnTo>
                    <a:pt x="2134" y="284"/>
                  </a:lnTo>
                  <a:lnTo>
                    <a:pt x="2132" y="282"/>
                  </a:lnTo>
                  <a:lnTo>
                    <a:pt x="2130" y="281"/>
                  </a:lnTo>
                  <a:lnTo>
                    <a:pt x="2131" y="278"/>
                  </a:lnTo>
                  <a:lnTo>
                    <a:pt x="2127" y="276"/>
                  </a:lnTo>
                  <a:lnTo>
                    <a:pt x="2125" y="275"/>
                  </a:lnTo>
                  <a:lnTo>
                    <a:pt x="2122" y="275"/>
                  </a:lnTo>
                  <a:lnTo>
                    <a:pt x="2125" y="274"/>
                  </a:lnTo>
                  <a:lnTo>
                    <a:pt x="2132" y="275"/>
                  </a:lnTo>
                  <a:lnTo>
                    <a:pt x="2134" y="275"/>
                  </a:lnTo>
                  <a:lnTo>
                    <a:pt x="2134" y="279"/>
                  </a:lnTo>
                  <a:lnTo>
                    <a:pt x="2140" y="283"/>
                  </a:lnTo>
                  <a:lnTo>
                    <a:pt x="2142" y="284"/>
                  </a:lnTo>
                  <a:lnTo>
                    <a:pt x="2146" y="282"/>
                  </a:lnTo>
                  <a:lnTo>
                    <a:pt x="2148" y="284"/>
                  </a:lnTo>
                  <a:lnTo>
                    <a:pt x="2154" y="286"/>
                  </a:lnTo>
                  <a:lnTo>
                    <a:pt x="2157" y="287"/>
                  </a:lnTo>
                  <a:lnTo>
                    <a:pt x="2159" y="288"/>
                  </a:lnTo>
                  <a:lnTo>
                    <a:pt x="2163" y="287"/>
                  </a:lnTo>
                  <a:lnTo>
                    <a:pt x="2169" y="291"/>
                  </a:lnTo>
                  <a:lnTo>
                    <a:pt x="2183" y="293"/>
                  </a:lnTo>
                  <a:lnTo>
                    <a:pt x="2193" y="295"/>
                  </a:lnTo>
                  <a:lnTo>
                    <a:pt x="2195" y="296"/>
                  </a:lnTo>
                  <a:lnTo>
                    <a:pt x="2198" y="297"/>
                  </a:lnTo>
                  <a:lnTo>
                    <a:pt x="2205" y="299"/>
                  </a:lnTo>
                  <a:lnTo>
                    <a:pt x="2212" y="300"/>
                  </a:lnTo>
                  <a:lnTo>
                    <a:pt x="2218" y="298"/>
                  </a:lnTo>
                  <a:lnTo>
                    <a:pt x="2220" y="298"/>
                  </a:lnTo>
                  <a:lnTo>
                    <a:pt x="2224" y="298"/>
                  </a:lnTo>
                  <a:lnTo>
                    <a:pt x="2226" y="296"/>
                  </a:lnTo>
                  <a:lnTo>
                    <a:pt x="2233" y="295"/>
                  </a:lnTo>
                  <a:lnTo>
                    <a:pt x="2235" y="292"/>
                  </a:lnTo>
                  <a:lnTo>
                    <a:pt x="2237" y="291"/>
                  </a:lnTo>
                  <a:lnTo>
                    <a:pt x="2249" y="282"/>
                  </a:lnTo>
                  <a:lnTo>
                    <a:pt x="2250" y="279"/>
                  </a:lnTo>
                  <a:lnTo>
                    <a:pt x="2250" y="278"/>
                  </a:lnTo>
                  <a:lnTo>
                    <a:pt x="2251" y="275"/>
                  </a:lnTo>
                  <a:lnTo>
                    <a:pt x="2250" y="273"/>
                  </a:lnTo>
                  <a:lnTo>
                    <a:pt x="2248" y="270"/>
                  </a:lnTo>
                  <a:lnTo>
                    <a:pt x="2246" y="267"/>
                  </a:lnTo>
                  <a:lnTo>
                    <a:pt x="2246" y="262"/>
                  </a:lnTo>
                  <a:lnTo>
                    <a:pt x="2243" y="261"/>
                  </a:lnTo>
                  <a:lnTo>
                    <a:pt x="2241" y="260"/>
                  </a:lnTo>
                  <a:lnTo>
                    <a:pt x="2237" y="260"/>
                  </a:lnTo>
                  <a:lnTo>
                    <a:pt x="2236" y="257"/>
                  </a:lnTo>
                  <a:lnTo>
                    <a:pt x="2233" y="254"/>
                  </a:lnTo>
                  <a:lnTo>
                    <a:pt x="2231" y="252"/>
                  </a:lnTo>
                  <a:lnTo>
                    <a:pt x="2227" y="253"/>
                  </a:lnTo>
                  <a:lnTo>
                    <a:pt x="2225" y="253"/>
                  </a:lnTo>
                  <a:lnTo>
                    <a:pt x="2214" y="246"/>
                  </a:lnTo>
                  <a:lnTo>
                    <a:pt x="2211" y="246"/>
                  </a:lnTo>
                  <a:lnTo>
                    <a:pt x="2202" y="239"/>
                  </a:lnTo>
                  <a:lnTo>
                    <a:pt x="2200" y="238"/>
                  </a:lnTo>
                  <a:lnTo>
                    <a:pt x="2194" y="236"/>
                  </a:lnTo>
                  <a:lnTo>
                    <a:pt x="2186" y="230"/>
                  </a:lnTo>
                  <a:lnTo>
                    <a:pt x="2184" y="230"/>
                  </a:lnTo>
                  <a:lnTo>
                    <a:pt x="2181" y="228"/>
                  </a:lnTo>
                  <a:lnTo>
                    <a:pt x="2178" y="228"/>
                  </a:lnTo>
                  <a:lnTo>
                    <a:pt x="2175" y="227"/>
                  </a:lnTo>
                  <a:lnTo>
                    <a:pt x="2169" y="224"/>
                  </a:lnTo>
                  <a:lnTo>
                    <a:pt x="2167" y="224"/>
                  </a:lnTo>
                  <a:lnTo>
                    <a:pt x="2164" y="226"/>
                  </a:lnTo>
                  <a:lnTo>
                    <a:pt x="2161" y="226"/>
                  </a:lnTo>
                  <a:lnTo>
                    <a:pt x="2156" y="223"/>
                  </a:lnTo>
                  <a:lnTo>
                    <a:pt x="2150" y="223"/>
                  </a:lnTo>
                  <a:lnTo>
                    <a:pt x="2144" y="223"/>
                  </a:lnTo>
                  <a:lnTo>
                    <a:pt x="2144" y="227"/>
                  </a:lnTo>
                  <a:lnTo>
                    <a:pt x="2141" y="229"/>
                  </a:lnTo>
                  <a:lnTo>
                    <a:pt x="2139" y="229"/>
                  </a:lnTo>
                  <a:lnTo>
                    <a:pt x="2137" y="232"/>
                  </a:lnTo>
                  <a:lnTo>
                    <a:pt x="2137" y="229"/>
                  </a:lnTo>
                  <a:lnTo>
                    <a:pt x="2140" y="229"/>
                  </a:lnTo>
                  <a:lnTo>
                    <a:pt x="2142" y="227"/>
                  </a:lnTo>
                  <a:lnTo>
                    <a:pt x="2143" y="224"/>
                  </a:lnTo>
                  <a:lnTo>
                    <a:pt x="2140" y="224"/>
                  </a:lnTo>
                  <a:lnTo>
                    <a:pt x="2143" y="222"/>
                  </a:lnTo>
                  <a:lnTo>
                    <a:pt x="2140" y="221"/>
                  </a:lnTo>
                  <a:lnTo>
                    <a:pt x="2138" y="221"/>
                  </a:lnTo>
                  <a:lnTo>
                    <a:pt x="2135" y="223"/>
                  </a:lnTo>
                  <a:lnTo>
                    <a:pt x="2137" y="221"/>
                  </a:lnTo>
                  <a:lnTo>
                    <a:pt x="2133" y="221"/>
                  </a:lnTo>
                  <a:lnTo>
                    <a:pt x="2131" y="219"/>
                  </a:lnTo>
                  <a:lnTo>
                    <a:pt x="2127" y="220"/>
                  </a:lnTo>
                  <a:lnTo>
                    <a:pt x="2129" y="218"/>
                  </a:lnTo>
                  <a:lnTo>
                    <a:pt x="2123" y="215"/>
                  </a:lnTo>
                  <a:lnTo>
                    <a:pt x="2124" y="213"/>
                  </a:lnTo>
                  <a:lnTo>
                    <a:pt x="2127" y="215"/>
                  </a:lnTo>
                  <a:lnTo>
                    <a:pt x="2135" y="216"/>
                  </a:lnTo>
                  <a:lnTo>
                    <a:pt x="2138" y="214"/>
                  </a:lnTo>
                  <a:lnTo>
                    <a:pt x="2135" y="212"/>
                  </a:lnTo>
                  <a:lnTo>
                    <a:pt x="2130" y="212"/>
                  </a:lnTo>
                  <a:lnTo>
                    <a:pt x="2127" y="210"/>
                  </a:lnTo>
                  <a:lnTo>
                    <a:pt x="2124" y="209"/>
                  </a:lnTo>
                  <a:lnTo>
                    <a:pt x="2122" y="209"/>
                  </a:lnTo>
                  <a:lnTo>
                    <a:pt x="2124" y="211"/>
                  </a:lnTo>
                  <a:lnTo>
                    <a:pt x="2121" y="211"/>
                  </a:lnTo>
                  <a:lnTo>
                    <a:pt x="2118" y="213"/>
                  </a:lnTo>
                  <a:lnTo>
                    <a:pt x="2116" y="214"/>
                  </a:lnTo>
                  <a:lnTo>
                    <a:pt x="2113" y="216"/>
                  </a:lnTo>
                  <a:lnTo>
                    <a:pt x="2115" y="213"/>
                  </a:lnTo>
                  <a:lnTo>
                    <a:pt x="2107" y="212"/>
                  </a:lnTo>
                  <a:lnTo>
                    <a:pt x="2105" y="211"/>
                  </a:lnTo>
                  <a:lnTo>
                    <a:pt x="2103" y="214"/>
                  </a:lnTo>
                  <a:lnTo>
                    <a:pt x="2101" y="211"/>
                  </a:lnTo>
                  <a:lnTo>
                    <a:pt x="2099" y="210"/>
                  </a:lnTo>
                  <a:lnTo>
                    <a:pt x="2099" y="212"/>
                  </a:lnTo>
                  <a:lnTo>
                    <a:pt x="2098" y="214"/>
                  </a:lnTo>
                  <a:lnTo>
                    <a:pt x="2096" y="214"/>
                  </a:lnTo>
                  <a:lnTo>
                    <a:pt x="2096" y="213"/>
                  </a:lnTo>
                  <a:lnTo>
                    <a:pt x="2092" y="213"/>
                  </a:lnTo>
                  <a:lnTo>
                    <a:pt x="2089" y="213"/>
                  </a:lnTo>
                  <a:lnTo>
                    <a:pt x="2092" y="212"/>
                  </a:lnTo>
                  <a:lnTo>
                    <a:pt x="2091" y="209"/>
                  </a:lnTo>
                  <a:lnTo>
                    <a:pt x="2088" y="210"/>
                  </a:lnTo>
                  <a:lnTo>
                    <a:pt x="2089" y="206"/>
                  </a:lnTo>
                  <a:lnTo>
                    <a:pt x="2087" y="206"/>
                  </a:lnTo>
                  <a:lnTo>
                    <a:pt x="2083" y="205"/>
                  </a:lnTo>
                  <a:lnTo>
                    <a:pt x="2078" y="204"/>
                  </a:lnTo>
                  <a:lnTo>
                    <a:pt x="2081" y="203"/>
                  </a:lnTo>
                  <a:lnTo>
                    <a:pt x="2092" y="205"/>
                  </a:lnTo>
                  <a:lnTo>
                    <a:pt x="2098" y="205"/>
                  </a:lnTo>
                  <a:lnTo>
                    <a:pt x="2101" y="203"/>
                  </a:lnTo>
                  <a:lnTo>
                    <a:pt x="2104" y="201"/>
                  </a:lnTo>
                  <a:lnTo>
                    <a:pt x="2109" y="199"/>
                  </a:lnTo>
                  <a:lnTo>
                    <a:pt x="2110" y="197"/>
                  </a:lnTo>
                  <a:lnTo>
                    <a:pt x="2101" y="193"/>
                  </a:lnTo>
                  <a:lnTo>
                    <a:pt x="2099" y="194"/>
                  </a:lnTo>
                  <a:lnTo>
                    <a:pt x="2097" y="194"/>
                  </a:lnTo>
                  <a:lnTo>
                    <a:pt x="2099" y="193"/>
                  </a:lnTo>
                  <a:lnTo>
                    <a:pt x="2099" y="190"/>
                  </a:lnTo>
                  <a:lnTo>
                    <a:pt x="2096" y="189"/>
                  </a:lnTo>
                  <a:lnTo>
                    <a:pt x="2092" y="192"/>
                  </a:lnTo>
                  <a:lnTo>
                    <a:pt x="2092" y="188"/>
                  </a:lnTo>
                  <a:lnTo>
                    <a:pt x="2089" y="189"/>
                  </a:lnTo>
                  <a:lnTo>
                    <a:pt x="2087" y="190"/>
                  </a:lnTo>
                  <a:lnTo>
                    <a:pt x="2088" y="187"/>
                  </a:lnTo>
                  <a:lnTo>
                    <a:pt x="2084" y="186"/>
                  </a:lnTo>
                  <a:lnTo>
                    <a:pt x="2082" y="185"/>
                  </a:lnTo>
                  <a:lnTo>
                    <a:pt x="2079" y="186"/>
                  </a:lnTo>
                  <a:lnTo>
                    <a:pt x="2077" y="188"/>
                  </a:lnTo>
                  <a:lnTo>
                    <a:pt x="2075" y="190"/>
                  </a:lnTo>
                  <a:lnTo>
                    <a:pt x="2075" y="194"/>
                  </a:lnTo>
                  <a:lnTo>
                    <a:pt x="2072" y="196"/>
                  </a:lnTo>
                  <a:lnTo>
                    <a:pt x="2071" y="199"/>
                  </a:lnTo>
                  <a:lnTo>
                    <a:pt x="2071" y="196"/>
                  </a:lnTo>
                  <a:lnTo>
                    <a:pt x="2073" y="194"/>
                  </a:lnTo>
                  <a:lnTo>
                    <a:pt x="2069" y="195"/>
                  </a:lnTo>
                  <a:lnTo>
                    <a:pt x="2071" y="192"/>
                  </a:lnTo>
                  <a:lnTo>
                    <a:pt x="2073" y="189"/>
                  </a:lnTo>
                  <a:lnTo>
                    <a:pt x="2066" y="192"/>
                  </a:lnTo>
                  <a:lnTo>
                    <a:pt x="2064" y="192"/>
                  </a:lnTo>
                  <a:lnTo>
                    <a:pt x="2066" y="190"/>
                  </a:lnTo>
                  <a:lnTo>
                    <a:pt x="2070" y="189"/>
                  </a:lnTo>
                  <a:lnTo>
                    <a:pt x="2066" y="188"/>
                  </a:lnTo>
                  <a:lnTo>
                    <a:pt x="2069" y="186"/>
                  </a:lnTo>
                  <a:lnTo>
                    <a:pt x="2071" y="187"/>
                  </a:lnTo>
                  <a:lnTo>
                    <a:pt x="2075" y="185"/>
                  </a:lnTo>
                  <a:lnTo>
                    <a:pt x="2074" y="181"/>
                  </a:lnTo>
                  <a:lnTo>
                    <a:pt x="2071" y="182"/>
                  </a:lnTo>
                  <a:lnTo>
                    <a:pt x="2072" y="180"/>
                  </a:lnTo>
                  <a:lnTo>
                    <a:pt x="2069" y="180"/>
                  </a:lnTo>
                  <a:lnTo>
                    <a:pt x="2066" y="180"/>
                  </a:lnTo>
                  <a:lnTo>
                    <a:pt x="2064" y="179"/>
                  </a:lnTo>
                  <a:lnTo>
                    <a:pt x="2061" y="181"/>
                  </a:lnTo>
                  <a:lnTo>
                    <a:pt x="2058" y="181"/>
                  </a:lnTo>
                  <a:lnTo>
                    <a:pt x="2058" y="185"/>
                  </a:lnTo>
                  <a:lnTo>
                    <a:pt x="2062" y="187"/>
                  </a:lnTo>
                  <a:lnTo>
                    <a:pt x="2058" y="188"/>
                  </a:lnTo>
                  <a:lnTo>
                    <a:pt x="2056" y="189"/>
                  </a:lnTo>
                  <a:lnTo>
                    <a:pt x="2057" y="192"/>
                  </a:lnTo>
                  <a:lnTo>
                    <a:pt x="2055" y="192"/>
                  </a:lnTo>
                  <a:lnTo>
                    <a:pt x="2056" y="195"/>
                  </a:lnTo>
                  <a:lnTo>
                    <a:pt x="2054" y="195"/>
                  </a:lnTo>
                  <a:lnTo>
                    <a:pt x="2048" y="197"/>
                  </a:lnTo>
                  <a:lnTo>
                    <a:pt x="2049" y="195"/>
                  </a:lnTo>
                  <a:lnTo>
                    <a:pt x="2049" y="193"/>
                  </a:lnTo>
                  <a:lnTo>
                    <a:pt x="2048" y="189"/>
                  </a:lnTo>
                  <a:lnTo>
                    <a:pt x="2050" y="188"/>
                  </a:lnTo>
                  <a:lnTo>
                    <a:pt x="2049" y="182"/>
                  </a:lnTo>
                  <a:lnTo>
                    <a:pt x="2047" y="185"/>
                  </a:lnTo>
                  <a:lnTo>
                    <a:pt x="2041" y="189"/>
                  </a:lnTo>
                  <a:lnTo>
                    <a:pt x="2040" y="192"/>
                  </a:lnTo>
                  <a:lnTo>
                    <a:pt x="2038" y="194"/>
                  </a:lnTo>
                  <a:lnTo>
                    <a:pt x="2036" y="196"/>
                  </a:lnTo>
                  <a:lnTo>
                    <a:pt x="2035" y="199"/>
                  </a:lnTo>
                  <a:lnTo>
                    <a:pt x="2032" y="202"/>
                  </a:lnTo>
                  <a:lnTo>
                    <a:pt x="2029" y="203"/>
                  </a:lnTo>
                  <a:lnTo>
                    <a:pt x="2027" y="203"/>
                  </a:lnTo>
                  <a:lnTo>
                    <a:pt x="2028" y="201"/>
                  </a:lnTo>
                  <a:lnTo>
                    <a:pt x="2029" y="197"/>
                  </a:lnTo>
                  <a:lnTo>
                    <a:pt x="2031" y="195"/>
                  </a:lnTo>
                  <a:lnTo>
                    <a:pt x="2029" y="195"/>
                  </a:lnTo>
                  <a:lnTo>
                    <a:pt x="2030" y="193"/>
                  </a:lnTo>
                  <a:lnTo>
                    <a:pt x="2038" y="187"/>
                  </a:lnTo>
                  <a:lnTo>
                    <a:pt x="2038" y="185"/>
                  </a:lnTo>
                  <a:lnTo>
                    <a:pt x="2036" y="185"/>
                  </a:lnTo>
                  <a:lnTo>
                    <a:pt x="2032" y="184"/>
                  </a:lnTo>
                  <a:lnTo>
                    <a:pt x="2031" y="187"/>
                  </a:lnTo>
                  <a:lnTo>
                    <a:pt x="2029" y="184"/>
                  </a:lnTo>
                  <a:lnTo>
                    <a:pt x="2027" y="184"/>
                  </a:lnTo>
                  <a:lnTo>
                    <a:pt x="2024" y="182"/>
                  </a:lnTo>
                  <a:lnTo>
                    <a:pt x="2021" y="182"/>
                  </a:lnTo>
                  <a:lnTo>
                    <a:pt x="2023" y="185"/>
                  </a:lnTo>
                  <a:lnTo>
                    <a:pt x="2020" y="186"/>
                  </a:lnTo>
                  <a:lnTo>
                    <a:pt x="2018" y="187"/>
                  </a:lnTo>
                  <a:lnTo>
                    <a:pt x="2020" y="188"/>
                  </a:lnTo>
                  <a:lnTo>
                    <a:pt x="2023" y="190"/>
                  </a:lnTo>
                  <a:lnTo>
                    <a:pt x="2018" y="190"/>
                  </a:lnTo>
                  <a:lnTo>
                    <a:pt x="2015" y="193"/>
                  </a:lnTo>
                  <a:lnTo>
                    <a:pt x="2019" y="195"/>
                  </a:lnTo>
                  <a:lnTo>
                    <a:pt x="2014" y="194"/>
                  </a:lnTo>
                  <a:lnTo>
                    <a:pt x="2011" y="195"/>
                  </a:lnTo>
                  <a:lnTo>
                    <a:pt x="2009" y="196"/>
                  </a:lnTo>
                  <a:lnTo>
                    <a:pt x="2007" y="199"/>
                  </a:lnTo>
                  <a:lnTo>
                    <a:pt x="2005" y="199"/>
                  </a:lnTo>
                  <a:lnTo>
                    <a:pt x="2004" y="203"/>
                  </a:lnTo>
                  <a:lnTo>
                    <a:pt x="2003" y="205"/>
                  </a:lnTo>
                  <a:lnTo>
                    <a:pt x="2006" y="206"/>
                  </a:lnTo>
                  <a:lnTo>
                    <a:pt x="2006" y="206"/>
                  </a:lnTo>
                  <a:lnTo>
                    <a:pt x="2003" y="207"/>
                  </a:lnTo>
                  <a:lnTo>
                    <a:pt x="2002" y="206"/>
                  </a:lnTo>
                  <a:lnTo>
                    <a:pt x="2001" y="206"/>
                  </a:lnTo>
                  <a:lnTo>
                    <a:pt x="1999" y="203"/>
                  </a:lnTo>
                  <a:lnTo>
                    <a:pt x="1997" y="204"/>
                  </a:lnTo>
                  <a:lnTo>
                    <a:pt x="1992" y="205"/>
                  </a:lnTo>
                  <a:lnTo>
                    <a:pt x="1996" y="204"/>
                  </a:lnTo>
                  <a:lnTo>
                    <a:pt x="1999" y="202"/>
                  </a:lnTo>
                  <a:lnTo>
                    <a:pt x="1993" y="201"/>
                  </a:lnTo>
                  <a:lnTo>
                    <a:pt x="1990" y="201"/>
                  </a:lnTo>
                  <a:lnTo>
                    <a:pt x="1993" y="203"/>
                  </a:lnTo>
                  <a:lnTo>
                    <a:pt x="1989" y="202"/>
                  </a:lnTo>
                  <a:lnTo>
                    <a:pt x="1988" y="199"/>
                  </a:lnTo>
                  <a:lnTo>
                    <a:pt x="1985" y="198"/>
                  </a:lnTo>
                  <a:lnTo>
                    <a:pt x="1984" y="202"/>
                  </a:lnTo>
                  <a:lnTo>
                    <a:pt x="1980" y="198"/>
                  </a:lnTo>
                  <a:lnTo>
                    <a:pt x="1976" y="201"/>
                  </a:lnTo>
                  <a:lnTo>
                    <a:pt x="1978" y="203"/>
                  </a:lnTo>
                  <a:lnTo>
                    <a:pt x="1981" y="205"/>
                  </a:lnTo>
                  <a:lnTo>
                    <a:pt x="1984" y="205"/>
                  </a:lnTo>
                  <a:lnTo>
                    <a:pt x="1987" y="204"/>
                  </a:lnTo>
                  <a:lnTo>
                    <a:pt x="1984" y="205"/>
                  </a:lnTo>
                  <a:lnTo>
                    <a:pt x="1987" y="206"/>
                  </a:lnTo>
                  <a:lnTo>
                    <a:pt x="1987" y="206"/>
                  </a:lnTo>
                  <a:lnTo>
                    <a:pt x="1985" y="207"/>
                  </a:lnTo>
                  <a:lnTo>
                    <a:pt x="1985" y="211"/>
                  </a:lnTo>
                  <a:lnTo>
                    <a:pt x="1986" y="213"/>
                  </a:lnTo>
                  <a:lnTo>
                    <a:pt x="1985" y="211"/>
                  </a:lnTo>
                  <a:lnTo>
                    <a:pt x="1982" y="209"/>
                  </a:lnTo>
                  <a:lnTo>
                    <a:pt x="1979" y="206"/>
                  </a:lnTo>
                  <a:lnTo>
                    <a:pt x="1976" y="206"/>
                  </a:lnTo>
                  <a:lnTo>
                    <a:pt x="1976" y="211"/>
                  </a:lnTo>
                  <a:lnTo>
                    <a:pt x="1973" y="212"/>
                  </a:lnTo>
                  <a:lnTo>
                    <a:pt x="1971" y="210"/>
                  </a:lnTo>
                  <a:lnTo>
                    <a:pt x="1973" y="207"/>
                  </a:lnTo>
                  <a:lnTo>
                    <a:pt x="1971" y="209"/>
                  </a:lnTo>
                  <a:lnTo>
                    <a:pt x="1969" y="212"/>
                  </a:lnTo>
                  <a:lnTo>
                    <a:pt x="1967" y="213"/>
                  </a:lnTo>
                  <a:lnTo>
                    <a:pt x="1967" y="216"/>
                  </a:lnTo>
                  <a:lnTo>
                    <a:pt x="1970" y="219"/>
                  </a:lnTo>
                  <a:lnTo>
                    <a:pt x="1967" y="218"/>
                  </a:lnTo>
                  <a:lnTo>
                    <a:pt x="1964" y="219"/>
                  </a:lnTo>
                  <a:lnTo>
                    <a:pt x="1962" y="222"/>
                  </a:lnTo>
                  <a:lnTo>
                    <a:pt x="1959" y="224"/>
                  </a:lnTo>
                  <a:lnTo>
                    <a:pt x="1959" y="223"/>
                  </a:lnTo>
                  <a:lnTo>
                    <a:pt x="1961" y="221"/>
                  </a:lnTo>
                  <a:lnTo>
                    <a:pt x="1964" y="215"/>
                  </a:lnTo>
                  <a:lnTo>
                    <a:pt x="1963" y="213"/>
                  </a:lnTo>
                  <a:lnTo>
                    <a:pt x="1964" y="210"/>
                  </a:lnTo>
                  <a:lnTo>
                    <a:pt x="1963" y="207"/>
                  </a:lnTo>
                  <a:lnTo>
                    <a:pt x="1962" y="210"/>
                  </a:lnTo>
                  <a:lnTo>
                    <a:pt x="1959" y="212"/>
                  </a:lnTo>
                  <a:lnTo>
                    <a:pt x="1959" y="211"/>
                  </a:lnTo>
                  <a:lnTo>
                    <a:pt x="1956" y="213"/>
                  </a:lnTo>
                  <a:lnTo>
                    <a:pt x="1958" y="216"/>
                  </a:lnTo>
                  <a:lnTo>
                    <a:pt x="1959" y="216"/>
                  </a:lnTo>
                  <a:lnTo>
                    <a:pt x="1955" y="216"/>
                  </a:lnTo>
                  <a:lnTo>
                    <a:pt x="1955" y="219"/>
                  </a:lnTo>
                  <a:lnTo>
                    <a:pt x="1953" y="221"/>
                  </a:lnTo>
                  <a:lnTo>
                    <a:pt x="1955" y="215"/>
                  </a:lnTo>
                  <a:lnTo>
                    <a:pt x="1955" y="213"/>
                  </a:lnTo>
                  <a:lnTo>
                    <a:pt x="1953" y="212"/>
                  </a:lnTo>
                  <a:lnTo>
                    <a:pt x="1950" y="212"/>
                  </a:lnTo>
                  <a:lnTo>
                    <a:pt x="1947" y="213"/>
                  </a:lnTo>
                  <a:lnTo>
                    <a:pt x="1945" y="215"/>
                  </a:lnTo>
                  <a:lnTo>
                    <a:pt x="1945" y="218"/>
                  </a:lnTo>
                  <a:lnTo>
                    <a:pt x="1949" y="218"/>
                  </a:lnTo>
                  <a:lnTo>
                    <a:pt x="1945" y="219"/>
                  </a:lnTo>
                  <a:lnTo>
                    <a:pt x="1946" y="222"/>
                  </a:lnTo>
                  <a:lnTo>
                    <a:pt x="1950" y="222"/>
                  </a:lnTo>
                  <a:lnTo>
                    <a:pt x="1951" y="224"/>
                  </a:lnTo>
                  <a:lnTo>
                    <a:pt x="1949" y="222"/>
                  </a:lnTo>
                  <a:lnTo>
                    <a:pt x="1945" y="222"/>
                  </a:lnTo>
                  <a:lnTo>
                    <a:pt x="1944" y="219"/>
                  </a:lnTo>
                  <a:lnTo>
                    <a:pt x="1941" y="218"/>
                  </a:lnTo>
                  <a:lnTo>
                    <a:pt x="1938" y="219"/>
                  </a:lnTo>
                  <a:lnTo>
                    <a:pt x="1939" y="221"/>
                  </a:lnTo>
                  <a:lnTo>
                    <a:pt x="1945" y="224"/>
                  </a:lnTo>
                  <a:lnTo>
                    <a:pt x="1943" y="223"/>
                  </a:lnTo>
                  <a:lnTo>
                    <a:pt x="1939" y="223"/>
                  </a:lnTo>
                  <a:lnTo>
                    <a:pt x="1938" y="226"/>
                  </a:lnTo>
                  <a:lnTo>
                    <a:pt x="1938" y="224"/>
                  </a:lnTo>
                  <a:lnTo>
                    <a:pt x="1937" y="221"/>
                  </a:lnTo>
                  <a:lnTo>
                    <a:pt x="1935" y="220"/>
                  </a:lnTo>
                  <a:lnTo>
                    <a:pt x="1932" y="226"/>
                  </a:lnTo>
                  <a:lnTo>
                    <a:pt x="1933" y="228"/>
                  </a:lnTo>
                  <a:lnTo>
                    <a:pt x="1928" y="228"/>
                  </a:lnTo>
                  <a:lnTo>
                    <a:pt x="1925" y="230"/>
                  </a:lnTo>
                  <a:lnTo>
                    <a:pt x="1925" y="233"/>
                  </a:lnTo>
                  <a:lnTo>
                    <a:pt x="1927" y="233"/>
                  </a:lnTo>
                  <a:lnTo>
                    <a:pt x="1927" y="236"/>
                  </a:lnTo>
                  <a:lnTo>
                    <a:pt x="1924" y="236"/>
                  </a:lnTo>
                  <a:lnTo>
                    <a:pt x="1922" y="236"/>
                  </a:lnTo>
                  <a:lnTo>
                    <a:pt x="1927" y="239"/>
                  </a:lnTo>
                  <a:lnTo>
                    <a:pt x="1921" y="237"/>
                  </a:lnTo>
                  <a:lnTo>
                    <a:pt x="1918" y="238"/>
                  </a:lnTo>
                  <a:lnTo>
                    <a:pt x="1912" y="239"/>
                  </a:lnTo>
                  <a:lnTo>
                    <a:pt x="1912" y="241"/>
                  </a:lnTo>
                  <a:lnTo>
                    <a:pt x="1913" y="244"/>
                  </a:lnTo>
                  <a:lnTo>
                    <a:pt x="1919" y="244"/>
                  </a:lnTo>
                  <a:lnTo>
                    <a:pt x="1922" y="244"/>
                  </a:lnTo>
                  <a:lnTo>
                    <a:pt x="1928" y="244"/>
                  </a:lnTo>
                  <a:lnTo>
                    <a:pt x="1924" y="245"/>
                  </a:lnTo>
                  <a:lnTo>
                    <a:pt x="1921" y="246"/>
                  </a:lnTo>
                  <a:lnTo>
                    <a:pt x="1921" y="247"/>
                  </a:lnTo>
                  <a:lnTo>
                    <a:pt x="1924" y="249"/>
                  </a:lnTo>
                  <a:lnTo>
                    <a:pt x="1921" y="247"/>
                  </a:lnTo>
                  <a:lnTo>
                    <a:pt x="1921" y="246"/>
                  </a:lnTo>
                  <a:lnTo>
                    <a:pt x="1919" y="246"/>
                  </a:lnTo>
                  <a:lnTo>
                    <a:pt x="1916" y="247"/>
                  </a:lnTo>
                  <a:lnTo>
                    <a:pt x="1913" y="245"/>
                  </a:lnTo>
                  <a:lnTo>
                    <a:pt x="1910" y="245"/>
                  </a:lnTo>
                  <a:lnTo>
                    <a:pt x="1911" y="248"/>
                  </a:lnTo>
                  <a:lnTo>
                    <a:pt x="1915" y="250"/>
                  </a:lnTo>
                  <a:lnTo>
                    <a:pt x="1911" y="248"/>
                  </a:lnTo>
                  <a:lnTo>
                    <a:pt x="1908" y="247"/>
                  </a:lnTo>
                  <a:lnTo>
                    <a:pt x="1911" y="248"/>
                  </a:lnTo>
                  <a:lnTo>
                    <a:pt x="1910" y="250"/>
                  </a:lnTo>
                  <a:lnTo>
                    <a:pt x="1913" y="253"/>
                  </a:lnTo>
                  <a:lnTo>
                    <a:pt x="1910" y="253"/>
                  </a:lnTo>
                  <a:lnTo>
                    <a:pt x="1911" y="255"/>
                  </a:lnTo>
                  <a:lnTo>
                    <a:pt x="1909" y="254"/>
                  </a:lnTo>
                  <a:lnTo>
                    <a:pt x="1910" y="257"/>
                  </a:lnTo>
                  <a:lnTo>
                    <a:pt x="1908" y="254"/>
                  </a:lnTo>
                  <a:lnTo>
                    <a:pt x="1908" y="257"/>
                  </a:lnTo>
                  <a:lnTo>
                    <a:pt x="1910" y="258"/>
                  </a:lnTo>
                  <a:lnTo>
                    <a:pt x="1908" y="257"/>
                  </a:lnTo>
                  <a:lnTo>
                    <a:pt x="1908" y="257"/>
                  </a:lnTo>
                  <a:lnTo>
                    <a:pt x="1907" y="255"/>
                  </a:lnTo>
                  <a:lnTo>
                    <a:pt x="1905" y="249"/>
                  </a:lnTo>
                  <a:lnTo>
                    <a:pt x="1902" y="249"/>
                  </a:lnTo>
                  <a:lnTo>
                    <a:pt x="1901" y="253"/>
                  </a:lnTo>
                  <a:lnTo>
                    <a:pt x="1899" y="252"/>
                  </a:lnTo>
                  <a:lnTo>
                    <a:pt x="1896" y="252"/>
                  </a:lnTo>
                  <a:lnTo>
                    <a:pt x="1895" y="254"/>
                  </a:lnTo>
                  <a:lnTo>
                    <a:pt x="1899" y="253"/>
                  </a:lnTo>
                  <a:lnTo>
                    <a:pt x="1901" y="254"/>
                  </a:lnTo>
                  <a:lnTo>
                    <a:pt x="1901" y="254"/>
                  </a:lnTo>
                  <a:lnTo>
                    <a:pt x="1901" y="254"/>
                  </a:lnTo>
                  <a:lnTo>
                    <a:pt x="1903" y="255"/>
                  </a:lnTo>
                  <a:lnTo>
                    <a:pt x="1901" y="255"/>
                  </a:lnTo>
                  <a:lnTo>
                    <a:pt x="1893" y="257"/>
                  </a:lnTo>
                  <a:lnTo>
                    <a:pt x="1890" y="257"/>
                  </a:lnTo>
                  <a:lnTo>
                    <a:pt x="1890" y="261"/>
                  </a:lnTo>
                  <a:lnTo>
                    <a:pt x="1887" y="262"/>
                  </a:lnTo>
                  <a:lnTo>
                    <a:pt x="1890" y="263"/>
                  </a:lnTo>
                  <a:lnTo>
                    <a:pt x="1896" y="258"/>
                  </a:lnTo>
                  <a:lnTo>
                    <a:pt x="1899" y="260"/>
                  </a:lnTo>
                  <a:lnTo>
                    <a:pt x="1901" y="262"/>
                  </a:lnTo>
                  <a:lnTo>
                    <a:pt x="1899" y="261"/>
                  </a:lnTo>
                  <a:lnTo>
                    <a:pt x="1896" y="261"/>
                  </a:lnTo>
                  <a:lnTo>
                    <a:pt x="1899" y="262"/>
                  </a:lnTo>
                  <a:lnTo>
                    <a:pt x="1896" y="262"/>
                  </a:lnTo>
                  <a:lnTo>
                    <a:pt x="1893" y="263"/>
                  </a:lnTo>
                  <a:lnTo>
                    <a:pt x="1896" y="265"/>
                  </a:lnTo>
                  <a:lnTo>
                    <a:pt x="1901" y="265"/>
                  </a:lnTo>
                  <a:lnTo>
                    <a:pt x="1899" y="266"/>
                  </a:lnTo>
                  <a:lnTo>
                    <a:pt x="1900" y="269"/>
                  </a:lnTo>
                  <a:lnTo>
                    <a:pt x="1898" y="269"/>
                  </a:lnTo>
                  <a:lnTo>
                    <a:pt x="1895" y="266"/>
                  </a:lnTo>
                  <a:lnTo>
                    <a:pt x="1893" y="265"/>
                  </a:lnTo>
                  <a:lnTo>
                    <a:pt x="1890" y="266"/>
                  </a:lnTo>
                  <a:lnTo>
                    <a:pt x="1893" y="265"/>
                  </a:lnTo>
                  <a:lnTo>
                    <a:pt x="1890" y="264"/>
                  </a:lnTo>
                  <a:lnTo>
                    <a:pt x="1887" y="266"/>
                  </a:lnTo>
                  <a:lnTo>
                    <a:pt x="1890" y="267"/>
                  </a:lnTo>
                  <a:lnTo>
                    <a:pt x="1890" y="267"/>
                  </a:lnTo>
                  <a:lnTo>
                    <a:pt x="1887" y="267"/>
                  </a:lnTo>
                  <a:lnTo>
                    <a:pt x="1882" y="272"/>
                  </a:lnTo>
                  <a:lnTo>
                    <a:pt x="1887" y="271"/>
                  </a:lnTo>
                  <a:lnTo>
                    <a:pt x="1887" y="272"/>
                  </a:lnTo>
                  <a:lnTo>
                    <a:pt x="1893" y="270"/>
                  </a:lnTo>
                  <a:lnTo>
                    <a:pt x="1895" y="272"/>
                  </a:lnTo>
                  <a:lnTo>
                    <a:pt x="1900" y="272"/>
                  </a:lnTo>
                  <a:lnTo>
                    <a:pt x="1898" y="272"/>
                  </a:lnTo>
                  <a:lnTo>
                    <a:pt x="1896" y="275"/>
                  </a:lnTo>
                  <a:lnTo>
                    <a:pt x="1894" y="273"/>
                  </a:lnTo>
                  <a:lnTo>
                    <a:pt x="1891" y="273"/>
                  </a:lnTo>
                  <a:lnTo>
                    <a:pt x="1890" y="273"/>
                  </a:lnTo>
                  <a:lnTo>
                    <a:pt x="1890" y="272"/>
                  </a:lnTo>
                  <a:lnTo>
                    <a:pt x="1884" y="274"/>
                  </a:lnTo>
                  <a:lnTo>
                    <a:pt x="1882" y="275"/>
                  </a:lnTo>
                  <a:lnTo>
                    <a:pt x="1884" y="276"/>
                  </a:lnTo>
                  <a:lnTo>
                    <a:pt x="1882" y="276"/>
                  </a:lnTo>
                  <a:lnTo>
                    <a:pt x="1879" y="278"/>
                  </a:lnTo>
                  <a:lnTo>
                    <a:pt x="1876" y="278"/>
                  </a:lnTo>
                  <a:lnTo>
                    <a:pt x="1874" y="279"/>
                  </a:lnTo>
                  <a:lnTo>
                    <a:pt x="1870" y="280"/>
                  </a:lnTo>
                  <a:lnTo>
                    <a:pt x="1876" y="282"/>
                  </a:lnTo>
                  <a:lnTo>
                    <a:pt x="1874" y="282"/>
                  </a:lnTo>
                  <a:lnTo>
                    <a:pt x="1870" y="283"/>
                  </a:lnTo>
                  <a:lnTo>
                    <a:pt x="1874" y="283"/>
                  </a:lnTo>
                  <a:lnTo>
                    <a:pt x="1870" y="283"/>
                  </a:lnTo>
                  <a:lnTo>
                    <a:pt x="1871" y="284"/>
                  </a:lnTo>
                  <a:lnTo>
                    <a:pt x="1874" y="284"/>
                  </a:lnTo>
                  <a:lnTo>
                    <a:pt x="1871" y="284"/>
                  </a:lnTo>
                  <a:lnTo>
                    <a:pt x="1868" y="284"/>
                  </a:lnTo>
                  <a:lnTo>
                    <a:pt x="1869" y="286"/>
                  </a:lnTo>
                  <a:lnTo>
                    <a:pt x="1866" y="286"/>
                  </a:lnTo>
                  <a:lnTo>
                    <a:pt x="1867" y="288"/>
                  </a:lnTo>
                  <a:lnTo>
                    <a:pt x="1869" y="288"/>
                  </a:lnTo>
                  <a:lnTo>
                    <a:pt x="1873" y="289"/>
                  </a:lnTo>
                  <a:lnTo>
                    <a:pt x="1869" y="288"/>
                  </a:lnTo>
                  <a:lnTo>
                    <a:pt x="1867" y="290"/>
                  </a:lnTo>
                  <a:lnTo>
                    <a:pt x="1864" y="288"/>
                  </a:lnTo>
                  <a:lnTo>
                    <a:pt x="1865" y="291"/>
                  </a:lnTo>
                  <a:lnTo>
                    <a:pt x="1865" y="293"/>
                  </a:lnTo>
                  <a:lnTo>
                    <a:pt x="1870" y="293"/>
                  </a:lnTo>
                  <a:lnTo>
                    <a:pt x="1868" y="293"/>
                  </a:lnTo>
                  <a:lnTo>
                    <a:pt x="1865" y="296"/>
                  </a:lnTo>
                  <a:lnTo>
                    <a:pt x="1868" y="295"/>
                  </a:lnTo>
                  <a:lnTo>
                    <a:pt x="1870" y="295"/>
                  </a:lnTo>
                  <a:lnTo>
                    <a:pt x="1874" y="295"/>
                  </a:lnTo>
                  <a:lnTo>
                    <a:pt x="1879" y="293"/>
                  </a:lnTo>
                  <a:lnTo>
                    <a:pt x="1875" y="296"/>
                  </a:lnTo>
                  <a:lnTo>
                    <a:pt x="1871" y="297"/>
                  </a:lnTo>
                  <a:lnTo>
                    <a:pt x="1873" y="297"/>
                  </a:lnTo>
                  <a:lnTo>
                    <a:pt x="1874" y="297"/>
                  </a:lnTo>
                  <a:lnTo>
                    <a:pt x="1875" y="297"/>
                  </a:lnTo>
                  <a:lnTo>
                    <a:pt x="1873" y="297"/>
                  </a:lnTo>
                  <a:lnTo>
                    <a:pt x="1870" y="298"/>
                  </a:lnTo>
                  <a:lnTo>
                    <a:pt x="1869" y="296"/>
                  </a:lnTo>
                  <a:lnTo>
                    <a:pt x="1864" y="297"/>
                  </a:lnTo>
                  <a:lnTo>
                    <a:pt x="1861" y="298"/>
                  </a:lnTo>
                  <a:lnTo>
                    <a:pt x="1859" y="300"/>
                  </a:lnTo>
                  <a:lnTo>
                    <a:pt x="1864" y="299"/>
                  </a:lnTo>
                  <a:lnTo>
                    <a:pt x="1862" y="301"/>
                  </a:lnTo>
                  <a:lnTo>
                    <a:pt x="1864" y="303"/>
                  </a:lnTo>
                  <a:lnTo>
                    <a:pt x="1861" y="301"/>
                  </a:lnTo>
                  <a:lnTo>
                    <a:pt x="1859" y="303"/>
                  </a:lnTo>
                  <a:lnTo>
                    <a:pt x="1858" y="308"/>
                  </a:lnTo>
                  <a:lnTo>
                    <a:pt x="1856" y="308"/>
                  </a:lnTo>
                  <a:lnTo>
                    <a:pt x="1854" y="310"/>
                  </a:lnTo>
                  <a:lnTo>
                    <a:pt x="1858" y="310"/>
                  </a:lnTo>
                  <a:lnTo>
                    <a:pt x="1858" y="314"/>
                  </a:lnTo>
                  <a:lnTo>
                    <a:pt x="1856" y="313"/>
                  </a:lnTo>
                  <a:lnTo>
                    <a:pt x="1853" y="310"/>
                  </a:lnTo>
                  <a:lnTo>
                    <a:pt x="1854" y="313"/>
                  </a:lnTo>
                  <a:lnTo>
                    <a:pt x="1851" y="315"/>
                  </a:lnTo>
                  <a:lnTo>
                    <a:pt x="1852" y="318"/>
                  </a:lnTo>
                  <a:lnTo>
                    <a:pt x="1854" y="316"/>
                  </a:lnTo>
                  <a:lnTo>
                    <a:pt x="1854" y="320"/>
                  </a:lnTo>
                  <a:lnTo>
                    <a:pt x="1857" y="320"/>
                  </a:lnTo>
                  <a:lnTo>
                    <a:pt x="1862" y="316"/>
                  </a:lnTo>
                  <a:lnTo>
                    <a:pt x="1859" y="318"/>
                  </a:lnTo>
                  <a:lnTo>
                    <a:pt x="1853" y="322"/>
                  </a:lnTo>
                  <a:lnTo>
                    <a:pt x="1851" y="322"/>
                  </a:lnTo>
                  <a:lnTo>
                    <a:pt x="1854" y="321"/>
                  </a:lnTo>
                  <a:lnTo>
                    <a:pt x="1849" y="320"/>
                  </a:lnTo>
                  <a:lnTo>
                    <a:pt x="1847" y="323"/>
                  </a:lnTo>
                  <a:lnTo>
                    <a:pt x="1849" y="322"/>
                  </a:lnTo>
                  <a:lnTo>
                    <a:pt x="1847" y="323"/>
                  </a:lnTo>
                  <a:lnTo>
                    <a:pt x="1844" y="323"/>
                  </a:lnTo>
                  <a:lnTo>
                    <a:pt x="1842" y="325"/>
                  </a:lnTo>
                  <a:lnTo>
                    <a:pt x="1844" y="325"/>
                  </a:lnTo>
                  <a:lnTo>
                    <a:pt x="1840" y="326"/>
                  </a:lnTo>
                  <a:lnTo>
                    <a:pt x="1842" y="327"/>
                  </a:lnTo>
                  <a:lnTo>
                    <a:pt x="1844" y="326"/>
                  </a:lnTo>
                  <a:lnTo>
                    <a:pt x="1850" y="324"/>
                  </a:lnTo>
                  <a:lnTo>
                    <a:pt x="1852" y="324"/>
                  </a:lnTo>
                  <a:lnTo>
                    <a:pt x="1849" y="324"/>
                  </a:lnTo>
                  <a:lnTo>
                    <a:pt x="1847" y="325"/>
                  </a:lnTo>
                  <a:lnTo>
                    <a:pt x="1844" y="327"/>
                  </a:lnTo>
                  <a:lnTo>
                    <a:pt x="1847" y="327"/>
                  </a:lnTo>
                  <a:lnTo>
                    <a:pt x="1841" y="330"/>
                  </a:lnTo>
                  <a:lnTo>
                    <a:pt x="1842" y="332"/>
                  </a:lnTo>
                  <a:lnTo>
                    <a:pt x="1845" y="332"/>
                  </a:lnTo>
                  <a:lnTo>
                    <a:pt x="1843" y="335"/>
                  </a:lnTo>
                  <a:lnTo>
                    <a:pt x="1844" y="335"/>
                  </a:lnTo>
                  <a:lnTo>
                    <a:pt x="1843" y="335"/>
                  </a:lnTo>
                  <a:lnTo>
                    <a:pt x="1840" y="338"/>
                  </a:lnTo>
                  <a:lnTo>
                    <a:pt x="1838" y="334"/>
                  </a:lnTo>
                  <a:lnTo>
                    <a:pt x="1832" y="334"/>
                  </a:lnTo>
                  <a:lnTo>
                    <a:pt x="1833" y="337"/>
                  </a:lnTo>
                  <a:lnTo>
                    <a:pt x="1831" y="337"/>
                  </a:lnTo>
                  <a:lnTo>
                    <a:pt x="1827" y="339"/>
                  </a:lnTo>
                  <a:lnTo>
                    <a:pt x="1827" y="341"/>
                  </a:lnTo>
                  <a:lnTo>
                    <a:pt x="1824" y="341"/>
                  </a:lnTo>
                  <a:lnTo>
                    <a:pt x="1823" y="344"/>
                  </a:lnTo>
                  <a:lnTo>
                    <a:pt x="1822" y="347"/>
                  </a:lnTo>
                  <a:lnTo>
                    <a:pt x="1824" y="346"/>
                  </a:lnTo>
                  <a:lnTo>
                    <a:pt x="1822" y="347"/>
                  </a:lnTo>
                  <a:lnTo>
                    <a:pt x="1822" y="348"/>
                  </a:lnTo>
                  <a:lnTo>
                    <a:pt x="1824" y="347"/>
                  </a:lnTo>
                  <a:lnTo>
                    <a:pt x="1816" y="350"/>
                  </a:lnTo>
                  <a:lnTo>
                    <a:pt x="1819" y="350"/>
                  </a:lnTo>
                  <a:lnTo>
                    <a:pt x="1816" y="352"/>
                  </a:lnTo>
                  <a:lnTo>
                    <a:pt x="1822" y="351"/>
                  </a:lnTo>
                  <a:lnTo>
                    <a:pt x="1822" y="351"/>
                  </a:lnTo>
                  <a:lnTo>
                    <a:pt x="1819" y="353"/>
                  </a:lnTo>
                  <a:lnTo>
                    <a:pt x="1822" y="357"/>
                  </a:lnTo>
                  <a:lnTo>
                    <a:pt x="1828" y="355"/>
                  </a:lnTo>
                  <a:lnTo>
                    <a:pt x="1831" y="352"/>
                  </a:lnTo>
                  <a:lnTo>
                    <a:pt x="1834" y="351"/>
                  </a:lnTo>
                  <a:lnTo>
                    <a:pt x="1836" y="349"/>
                  </a:lnTo>
                  <a:lnTo>
                    <a:pt x="1834" y="348"/>
                  </a:lnTo>
                  <a:lnTo>
                    <a:pt x="1832" y="349"/>
                  </a:lnTo>
                  <a:lnTo>
                    <a:pt x="1840" y="344"/>
                  </a:lnTo>
                  <a:lnTo>
                    <a:pt x="1843" y="344"/>
                  </a:lnTo>
                  <a:lnTo>
                    <a:pt x="1842" y="346"/>
                  </a:lnTo>
                  <a:lnTo>
                    <a:pt x="1840" y="346"/>
                  </a:lnTo>
                  <a:lnTo>
                    <a:pt x="1838" y="349"/>
                  </a:lnTo>
                  <a:lnTo>
                    <a:pt x="1840" y="350"/>
                  </a:lnTo>
                  <a:lnTo>
                    <a:pt x="1838" y="351"/>
                  </a:lnTo>
                  <a:lnTo>
                    <a:pt x="1834" y="352"/>
                  </a:lnTo>
                  <a:lnTo>
                    <a:pt x="1832" y="355"/>
                  </a:lnTo>
                  <a:lnTo>
                    <a:pt x="1835" y="355"/>
                  </a:lnTo>
                  <a:lnTo>
                    <a:pt x="1834" y="357"/>
                  </a:lnTo>
                  <a:lnTo>
                    <a:pt x="1824" y="357"/>
                  </a:lnTo>
                  <a:lnTo>
                    <a:pt x="1824" y="360"/>
                  </a:lnTo>
                  <a:lnTo>
                    <a:pt x="1822" y="359"/>
                  </a:lnTo>
                  <a:lnTo>
                    <a:pt x="1819" y="360"/>
                  </a:lnTo>
                  <a:lnTo>
                    <a:pt x="1822" y="358"/>
                  </a:lnTo>
                  <a:lnTo>
                    <a:pt x="1822" y="357"/>
                  </a:lnTo>
                  <a:lnTo>
                    <a:pt x="1817" y="353"/>
                  </a:lnTo>
                  <a:lnTo>
                    <a:pt x="1815" y="356"/>
                  </a:lnTo>
                  <a:lnTo>
                    <a:pt x="1811" y="357"/>
                  </a:lnTo>
                  <a:lnTo>
                    <a:pt x="1815" y="357"/>
                  </a:lnTo>
                  <a:lnTo>
                    <a:pt x="1811" y="359"/>
                  </a:lnTo>
                  <a:lnTo>
                    <a:pt x="1815" y="359"/>
                  </a:lnTo>
                  <a:lnTo>
                    <a:pt x="1811" y="359"/>
                  </a:lnTo>
                  <a:lnTo>
                    <a:pt x="1809" y="361"/>
                  </a:lnTo>
                  <a:lnTo>
                    <a:pt x="1810" y="358"/>
                  </a:lnTo>
                  <a:lnTo>
                    <a:pt x="1805" y="358"/>
                  </a:lnTo>
                  <a:lnTo>
                    <a:pt x="1804" y="360"/>
                  </a:lnTo>
                  <a:lnTo>
                    <a:pt x="1804" y="363"/>
                  </a:lnTo>
                  <a:lnTo>
                    <a:pt x="1806" y="363"/>
                  </a:lnTo>
                  <a:lnTo>
                    <a:pt x="1801" y="364"/>
                  </a:lnTo>
                  <a:lnTo>
                    <a:pt x="1797" y="365"/>
                  </a:lnTo>
                  <a:lnTo>
                    <a:pt x="1800" y="366"/>
                  </a:lnTo>
                  <a:lnTo>
                    <a:pt x="1802" y="366"/>
                  </a:lnTo>
                  <a:lnTo>
                    <a:pt x="1801" y="369"/>
                  </a:lnTo>
                  <a:lnTo>
                    <a:pt x="1805" y="370"/>
                  </a:lnTo>
                  <a:lnTo>
                    <a:pt x="1801" y="369"/>
                  </a:lnTo>
                  <a:lnTo>
                    <a:pt x="1799" y="367"/>
                  </a:lnTo>
                  <a:lnTo>
                    <a:pt x="1797" y="365"/>
                  </a:lnTo>
                  <a:lnTo>
                    <a:pt x="1794" y="365"/>
                  </a:lnTo>
                  <a:lnTo>
                    <a:pt x="1798" y="370"/>
                  </a:lnTo>
                  <a:lnTo>
                    <a:pt x="1800" y="372"/>
                  </a:lnTo>
                  <a:lnTo>
                    <a:pt x="1801" y="373"/>
                  </a:lnTo>
                  <a:lnTo>
                    <a:pt x="1802" y="373"/>
                  </a:lnTo>
                  <a:lnTo>
                    <a:pt x="1802" y="374"/>
                  </a:lnTo>
                  <a:lnTo>
                    <a:pt x="1801" y="373"/>
                  </a:lnTo>
                  <a:lnTo>
                    <a:pt x="1797" y="370"/>
                  </a:lnTo>
                  <a:lnTo>
                    <a:pt x="1794" y="367"/>
                  </a:lnTo>
                  <a:lnTo>
                    <a:pt x="1792" y="368"/>
                  </a:lnTo>
                  <a:lnTo>
                    <a:pt x="1788" y="367"/>
                  </a:lnTo>
                  <a:lnTo>
                    <a:pt x="1787" y="367"/>
                  </a:lnTo>
                  <a:lnTo>
                    <a:pt x="1784" y="367"/>
                  </a:lnTo>
                  <a:lnTo>
                    <a:pt x="1781" y="368"/>
                  </a:lnTo>
                  <a:lnTo>
                    <a:pt x="1784" y="370"/>
                  </a:lnTo>
                  <a:lnTo>
                    <a:pt x="1781" y="370"/>
                  </a:lnTo>
                  <a:lnTo>
                    <a:pt x="1784" y="373"/>
                  </a:lnTo>
                  <a:lnTo>
                    <a:pt x="1789" y="372"/>
                  </a:lnTo>
                  <a:lnTo>
                    <a:pt x="1787" y="373"/>
                  </a:lnTo>
                  <a:lnTo>
                    <a:pt x="1790" y="373"/>
                  </a:lnTo>
                  <a:lnTo>
                    <a:pt x="1794" y="372"/>
                  </a:lnTo>
                  <a:lnTo>
                    <a:pt x="1789" y="374"/>
                  </a:lnTo>
                  <a:lnTo>
                    <a:pt x="1791" y="376"/>
                  </a:lnTo>
                  <a:lnTo>
                    <a:pt x="1791" y="376"/>
                  </a:lnTo>
                  <a:lnTo>
                    <a:pt x="1788" y="376"/>
                  </a:lnTo>
                  <a:lnTo>
                    <a:pt x="1785" y="375"/>
                  </a:lnTo>
                  <a:lnTo>
                    <a:pt x="1782" y="375"/>
                  </a:lnTo>
                  <a:lnTo>
                    <a:pt x="1780" y="375"/>
                  </a:lnTo>
                  <a:lnTo>
                    <a:pt x="1776" y="375"/>
                  </a:lnTo>
                  <a:lnTo>
                    <a:pt x="1771" y="375"/>
                  </a:lnTo>
                  <a:lnTo>
                    <a:pt x="1774" y="376"/>
                  </a:lnTo>
                  <a:lnTo>
                    <a:pt x="1771" y="378"/>
                  </a:lnTo>
                  <a:lnTo>
                    <a:pt x="1775" y="378"/>
                  </a:lnTo>
                  <a:lnTo>
                    <a:pt x="1777" y="378"/>
                  </a:lnTo>
                  <a:lnTo>
                    <a:pt x="1780" y="380"/>
                  </a:lnTo>
                  <a:lnTo>
                    <a:pt x="1782" y="382"/>
                  </a:lnTo>
                  <a:lnTo>
                    <a:pt x="1785" y="382"/>
                  </a:lnTo>
                  <a:lnTo>
                    <a:pt x="1782" y="382"/>
                  </a:lnTo>
                  <a:lnTo>
                    <a:pt x="1781" y="385"/>
                  </a:lnTo>
                  <a:lnTo>
                    <a:pt x="1784" y="385"/>
                  </a:lnTo>
                  <a:lnTo>
                    <a:pt x="1781" y="386"/>
                  </a:lnTo>
                  <a:lnTo>
                    <a:pt x="1781" y="385"/>
                  </a:lnTo>
                  <a:lnTo>
                    <a:pt x="1781" y="383"/>
                  </a:lnTo>
                  <a:lnTo>
                    <a:pt x="1780" y="381"/>
                  </a:lnTo>
                  <a:lnTo>
                    <a:pt x="1777" y="378"/>
                  </a:lnTo>
                  <a:lnTo>
                    <a:pt x="1774" y="380"/>
                  </a:lnTo>
                  <a:lnTo>
                    <a:pt x="1774" y="382"/>
                  </a:lnTo>
                  <a:lnTo>
                    <a:pt x="1775" y="384"/>
                  </a:lnTo>
                  <a:lnTo>
                    <a:pt x="1773" y="381"/>
                  </a:lnTo>
                  <a:lnTo>
                    <a:pt x="1770" y="381"/>
                  </a:lnTo>
                  <a:lnTo>
                    <a:pt x="1767" y="383"/>
                  </a:lnTo>
                  <a:lnTo>
                    <a:pt x="1768" y="385"/>
                  </a:lnTo>
                  <a:lnTo>
                    <a:pt x="1772" y="386"/>
                  </a:lnTo>
                  <a:lnTo>
                    <a:pt x="1766" y="386"/>
                  </a:lnTo>
                  <a:lnTo>
                    <a:pt x="1765" y="384"/>
                  </a:lnTo>
                  <a:lnTo>
                    <a:pt x="1759" y="385"/>
                  </a:lnTo>
                  <a:lnTo>
                    <a:pt x="1760" y="387"/>
                  </a:lnTo>
                  <a:lnTo>
                    <a:pt x="1758" y="385"/>
                  </a:lnTo>
                  <a:lnTo>
                    <a:pt x="1756" y="386"/>
                  </a:lnTo>
                  <a:lnTo>
                    <a:pt x="1758" y="387"/>
                  </a:lnTo>
                  <a:lnTo>
                    <a:pt x="1756" y="390"/>
                  </a:lnTo>
                  <a:lnTo>
                    <a:pt x="1758" y="390"/>
                  </a:lnTo>
                  <a:lnTo>
                    <a:pt x="1764" y="390"/>
                  </a:lnTo>
                  <a:lnTo>
                    <a:pt x="1770" y="391"/>
                  </a:lnTo>
                  <a:lnTo>
                    <a:pt x="1775" y="391"/>
                  </a:lnTo>
                  <a:lnTo>
                    <a:pt x="1777" y="391"/>
                  </a:lnTo>
                  <a:lnTo>
                    <a:pt x="1775" y="392"/>
                  </a:lnTo>
                  <a:lnTo>
                    <a:pt x="1772" y="392"/>
                  </a:lnTo>
                  <a:lnTo>
                    <a:pt x="1766" y="393"/>
                  </a:lnTo>
                  <a:lnTo>
                    <a:pt x="1764" y="392"/>
                  </a:lnTo>
                  <a:lnTo>
                    <a:pt x="1760" y="390"/>
                  </a:lnTo>
                  <a:lnTo>
                    <a:pt x="1758" y="391"/>
                  </a:lnTo>
                  <a:lnTo>
                    <a:pt x="1756" y="392"/>
                  </a:lnTo>
                  <a:lnTo>
                    <a:pt x="1754" y="395"/>
                  </a:lnTo>
                  <a:lnTo>
                    <a:pt x="1756" y="397"/>
                  </a:lnTo>
                  <a:lnTo>
                    <a:pt x="1759" y="395"/>
                  </a:lnTo>
                  <a:lnTo>
                    <a:pt x="1754" y="397"/>
                  </a:lnTo>
                  <a:lnTo>
                    <a:pt x="1756" y="397"/>
                  </a:lnTo>
                  <a:lnTo>
                    <a:pt x="1759" y="397"/>
                  </a:lnTo>
                  <a:lnTo>
                    <a:pt x="1756" y="397"/>
                  </a:lnTo>
                  <a:lnTo>
                    <a:pt x="1759" y="398"/>
                  </a:lnTo>
                  <a:lnTo>
                    <a:pt x="1757" y="399"/>
                  </a:lnTo>
                  <a:lnTo>
                    <a:pt x="1762" y="400"/>
                  </a:lnTo>
                  <a:lnTo>
                    <a:pt x="1765" y="400"/>
                  </a:lnTo>
                  <a:lnTo>
                    <a:pt x="1762" y="400"/>
                  </a:lnTo>
                  <a:lnTo>
                    <a:pt x="1759" y="399"/>
                  </a:lnTo>
                  <a:lnTo>
                    <a:pt x="1754" y="401"/>
                  </a:lnTo>
                  <a:lnTo>
                    <a:pt x="1756" y="401"/>
                  </a:lnTo>
                  <a:lnTo>
                    <a:pt x="1762" y="401"/>
                  </a:lnTo>
                  <a:lnTo>
                    <a:pt x="1757" y="402"/>
                  </a:lnTo>
                  <a:lnTo>
                    <a:pt x="1754" y="403"/>
                  </a:lnTo>
                  <a:lnTo>
                    <a:pt x="1756" y="404"/>
                  </a:lnTo>
                  <a:lnTo>
                    <a:pt x="1759" y="408"/>
                  </a:lnTo>
                  <a:lnTo>
                    <a:pt x="1765" y="404"/>
                  </a:lnTo>
                  <a:lnTo>
                    <a:pt x="1771" y="404"/>
                  </a:lnTo>
                  <a:lnTo>
                    <a:pt x="1773" y="407"/>
                  </a:lnTo>
                  <a:lnTo>
                    <a:pt x="1776" y="402"/>
                  </a:lnTo>
                  <a:lnTo>
                    <a:pt x="1775" y="404"/>
                  </a:lnTo>
                  <a:lnTo>
                    <a:pt x="1776" y="404"/>
                  </a:lnTo>
                  <a:lnTo>
                    <a:pt x="1782" y="404"/>
                  </a:lnTo>
                  <a:lnTo>
                    <a:pt x="1780" y="406"/>
                  </a:lnTo>
                  <a:lnTo>
                    <a:pt x="1783" y="406"/>
                  </a:lnTo>
                  <a:lnTo>
                    <a:pt x="1785" y="406"/>
                  </a:lnTo>
                  <a:lnTo>
                    <a:pt x="1784" y="403"/>
                  </a:lnTo>
                  <a:lnTo>
                    <a:pt x="1787" y="401"/>
                  </a:lnTo>
                  <a:lnTo>
                    <a:pt x="1785" y="403"/>
                  </a:lnTo>
                  <a:lnTo>
                    <a:pt x="1787" y="404"/>
                  </a:lnTo>
                  <a:lnTo>
                    <a:pt x="1788" y="404"/>
                  </a:lnTo>
                  <a:lnTo>
                    <a:pt x="1790" y="404"/>
                  </a:lnTo>
                  <a:lnTo>
                    <a:pt x="1788" y="407"/>
                  </a:lnTo>
                  <a:lnTo>
                    <a:pt x="1784" y="406"/>
                  </a:lnTo>
                  <a:lnTo>
                    <a:pt x="1781" y="408"/>
                  </a:lnTo>
                  <a:lnTo>
                    <a:pt x="1782" y="410"/>
                  </a:lnTo>
                  <a:lnTo>
                    <a:pt x="1780" y="410"/>
                  </a:lnTo>
                  <a:lnTo>
                    <a:pt x="1780" y="408"/>
                  </a:lnTo>
                  <a:lnTo>
                    <a:pt x="1777" y="406"/>
                  </a:lnTo>
                  <a:lnTo>
                    <a:pt x="1774" y="407"/>
                  </a:lnTo>
                  <a:lnTo>
                    <a:pt x="1764" y="407"/>
                  </a:lnTo>
                  <a:lnTo>
                    <a:pt x="1756" y="409"/>
                  </a:lnTo>
                  <a:lnTo>
                    <a:pt x="1755" y="412"/>
                  </a:lnTo>
                  <a:lnTo>
                    <a:pt x="1757" y="412"/>
                  </a:lnTo>
                  <a:lnTo>
                    <a:pt x="1760" y="412"/>
                  </a:lnTo>
                  <a:lnTo>
                    <a:pt x="1758" y="414"/>
                  </a:lnTo>
                  <a:lnTo>
                    <a:pt x="1759" y="416"/>
                  </a:lnTo>
                  <a:lnTo>
                    <a:pt x="1757" y="415"/>
                  </a:lnTo>
                  <a:lnTo>
                    <a:pt x="1754" y="414"/>
                  </a:lnTo>
                  <a:lnTo>
                    <a:pt x="1756" y="416"/>
                  </a:lnTo>
                  <a:lnTo>
                    <a:pt x="1757" y="418"/>
                  </a:lnTo>
                  <a:lnTo>
                    <a:pt x="1762" y="416"/>
                  </a:lnTo>
                  <a:lnTo>
                    <a:pt x="1764" y="416"/>
                  </a:lnTo>
                  <a:lnTo>
                    <a:pt x="1764" y="418"/>
                  </a:lnTo>
                  <a:lnTo>
                    <a:pt x="1763" y="419"/>
                  </a:lnTo>
                  <a:lnTo>
                    <a:pt x="1763" y="419"/>
                  </a:lnTo>
                  <a:lnTo>
                    <a:pt x="1762" y="420"/>
                  </a:lnTo>
                  <a:lnTo>
                    <a:pt x="1762" y="420"/>
                  </a:lnTo>
                  <a:lnTo>
                    <a:pt x="1762" y="420"/>
                  </a:lnTo>
                  <a:lnTo>
                    <a:pt x="1758" y="419"/>
                  </a:lnTo>
                  <a:lnTo>
                    <a:pt x="1756" y="421"/>
                  </a:lnTo>
                  <a:lnTo>
                    <a:pt x="1757" y="425"/>
                  </a:lnTo>
                  <a:lnTo>
                    <a:pt x="1759" y="426"/>
                  </a:lnTo>
                  <a:lnTo>
                    <a:pt x="1762" y="424"/>
                  </a:lnTo>
                  <a:lnTo>
                    <a:pt x="1762" y="426"/>
                  </a:lnTo>
                  <a:lnTo>
                    <a:pt x="1764" y="426"/>
                  </a:lnTo>
                  <a:lnTo>
                    <a:pt x="1764" y="429"/>
                  </a:lnTo>
                  <a:lnTo>
                    <a:pt x="1765" y="429"/>
                  </a:lnTo>
                  <a:lnTo>
                    <a:pt x="1767" y="425"/>
                  </a:lnTo>
                  <a:lnTo>
                    <a:pt x="1770" y="424"/>
                  </a:lnTo>
                  <a:lnTo>
                    <a:pt x="1772" y="421"/>
                  </a:lnTo>
                  <a:lnTo>
                    <a:pt x="1774" y="420"/>
                  </a:lnTo>
                  <a:lnTo>
                    <a:pt x="1780" y="420"/>
                  </a:lnTo>
                  <a:lnTo>
                    <a:pt x="1777" y="421"/>
                  </a:lnTo>
                  <a:lnTo>
                    <a:pt x="1775" y="426"/>
                  </a:lnTo>
                  <a:lnTo>
                    <a:pt x="1775" y="424"/>
                  </a:lnTo>
                  <a:lnTo>
                    <a:pt x="1775" y="421"/>
                  </a:lnTo>
                  <a:lnTo>
                    <a:pt x="1773" y="423"/>
                  </a:lnTo>
                  <a:lnTo>
                    <a:pt x="1770" y="425"/>
                  </a:lnTo>
                  <a:lnTo>
                    <a:pt x="1770" y="427"/>
                  </a:lnTo>
                  <a:lnTo>
                    <a:pt x="1766" y="429"/>
                  </a:lnTo>
                  <a:lnTo>
                    <a:pt x="1767" y="430"/>
                  </a:lnTo>
                  <a:lnTo>
                    <a:pt x="1764" y="432"/>
                  </a:lnTo>
                  <a:lnTo>
                    <a:pt x="1763" y="433"/>
                  </a:lnTo>
                  <a:lnTo>
                    <a:pt x="1766" y="434"/>
                  </a:lnTo>
                  <a:lnTo>
                    <a:pt x="1768" y="435"/>
                  </a:lnTo>
                  <a:lnTo>
                    <a:pt x="1771" y="433"/>
                  </a:lnTo>
                  <a:lnTo>
                    <a:pt x="1768" y="435"/>
                  </a:lnTo>
                  <a:lnTo>
                    <a:pt x="1766" y="435"/>
                  </a:lnTo>
                  <a:lnTo>
                    <a:pt x="1765" y="437"/>
                  </a:lnTo>
                  <a:lnTo>
                    <a:pt x="1762" y="436"/>
                  </a:lnTo>
                  <a:lnTo>
                    <a:pt x="1762" y="438"/>
                  </a:lnTo>
                  <a:lnTo>
                    <a:pt x="1758" y="440"/>
                  </a:lnTo>
                  <a:lnTo>
                    <a:pt x="1760" y="437"/>
                  </a:lnTo>
                  <a:lnTo>
                    <a:pt x="1758" y="437"/>
                  </a:lnTo>
                  <a:lnTo>
                    <a:pt x="1757" y="440"/>
                  </a:lnTo>
                  <a:lnTo>
                    <a:pt x="1758" y="443"/>
                  </a:lnTo>
                  <a:lnTo>
                    <a:pt x="1759" y="444"/>
                  </a:lnTo>
                  <a:lnTo>
                    <a:pt x="1762" y="442"/>
                  </a:lnTo>
                  <a:lnTo>
                    <a:pt x="1763" y="444"/>
                  </a:lnTo>
                  <a:lnTo>
                    <a:pt x="1765" y="443"/>
                  </a:lnTo>
                  <a:lnTo>
                    <a:pt x="1764" y="441"/>
                  </a:lnTo>
                  <a:lnTo>
                    <a:pt x="1770" y="441"/>
                  </a:lnTo>
                  <a:lnTo>
                    <a:pt x="1766" y="441"/>
                  </a:lnTo>
                  <a:lnTo>
                    <a:pt x="1770" y="442"/>
                  </a:lnTo>
                  <a:lnTo>
                    <a:pt x="1771" y="440"/>
                  </a:lnTo>
                  <a:lnTo>
                    <a:pt x="1771" y="437"/>
                  </a:lnTo>
                  <a:lnTo>
                    <a:pt x="1774" y="438"/>
                  </a:lnTo>
                  <a:lnTo>
                    <a:pt x="1771" y="440"/>
                  </a:lnTo>
                  <a:lnTo>
                    <a:pt x="1770" y="442"/>
                  </a:lnTo>
                  <a:lnTo>
                    <a:pt x="1768" y="442"/>
                  </a:lnTo>
                  <a:lnTo>
                    <a:pt x="1771" y="443"/>
                  </a:lnTo>
                  <a:lnTo>
                    <a:pt x="1770" y="444"/>
                  </a:lnTo>
                  <a:lnTo>
                    <a:pt x="1772" y="444"/>
                  </a:lnTo>
                  <a:lnTo>
                    <a:pt x="1770" y="445"/>
                  </a:lnTo>
                  <a:lnTo>
                    <a:pt x="1766" y="447"/>
                  </a:lnTo>
                  <a:lnTo>
                    <a:pt x="1767" y="450"/>
                  </a:lnTo>
                  <a:lnTo>
                    <a:pt x="1768" y="452"/>
                  </a:lnTo>
                  <a:lnTo>
                    <a:pt x="1771" y="450"/>
                  </a:lnTo>
                  <a:lnTo>
                    <a:pt x="1774" y="449"/>
                  </a:lnTo>
                  <a:lnTo>
                    <a:pt x="1771" y="450"/>
                  </a:lnTo>
                  <a:lnTo>
                    <a:pt x="1770" y="453"/>
                  </a:lnTo>
                  <a:lnTo>
                    <a:pt x="1767" y="452"/>
                  </a:lnTo>
                  <a:lnTo>
                    <a:pt x="1765" y="452"/>
                  </a:lnTo>
                  <a:lnTo>
                    <a:pt x="1763" y="450"/>
                  </a:lnTo>
                  <a:lnTo>
                    <a:pt x="1762" y="452"/>
                  </a:lnTo>
                  <a:lnTo>
                    <a:pt x="1760" y="455"/>
                  </a:lnTo>
                  <a:lnTo>
                    <a:pt x="1760" y="457"/>
                  </a:lnTo>
                  <a:lnTo>
                    <a:pt x="1763" y="460"/>
                  </a:lnTo>
                  <a:lnTo>
                    <a:pt x="1766" y="461"/>
                  </a:lnTo>
                  <a:lnTo>
                    <a:pt x="1768" y="463"/>
                  </a:lnTo>
                  <a:lnTo>
                    <a:pt x="1772" y="463"/>
                  </a:lnTo>
                  <a:lnTo>
                    <a:pt x="1772" y="464"/>
                  </a:lnTo>
                  <a:lnTo>
                    <a:pt x="1779" y="466"/>
                  </a:lnTo>
                  <a:lnTo>
                    <a:pt x="1780" y="464"/>
                  </a:lnTo>
                  <a:lnTo>
                    <a:pt x="1777" y="466"/>
                  </a:lnTo>
                  <a:lnTo>
                    <a:pt x="1775" y="469"/>
                  </a:lnTo>
                  <a:lnTo>
                    <a:pt x="1781" y="468"/>
                  </a:lnTo>
                  <a:lnTo>
                    <a:pt x="1784" y="469"/>
                  </a:lnTo>
                  <a:lnTo>
                    <a:pt x="1788" y="470"/>
                  </a:lnTo>
                  <a:lnTo>
                    <a:pt x="1789" y="470"/>
                  </a:lnTo>
                  <a:lnTo>
                    <a:pt x="1794" y="468"/>
                  </a:lnTo>
                  <a:lnTo>
                    <a:pt x="1796" y="467"/>
                  </a:lnTo>
                  <a:lnTo>
                    <a:pt x="1797" y="467"/>
                  </a:lnTo>
                  <a:lnTo>
                    <a:pt x="1802" y="464"/>
                  </a:lnTo>
                  <a:lnTo>
                    <a:pt x="1805" y="461"/>
                  </a:lnTo>
                  <a:lnTo>
                    <a:pt x="1814" y="454"/>
                  </a:lnTo>
                  <a:lnTo>
                    <a:pt x="1815" y="452"/>
                  </a:lnTo>
                  <a:lnTo>
                    <a:pt x="1817" y="451"/>
                  </a:lnTo>
                  <a:lnTo>
                    <a:pt x="1817" y="449"/>
                  </a:lnTo>
                  <a:lnTo>
                    <a:pt x="1817" y="447"/>
                  </a:lnTo>
                  <a:lnTo>
                    <a:pt x="1817" y="449"/>
                  </a:lnTo>
                  <a:lnTo>
                    <a:pt x="1819" y="450"/>
                  </a:lnTo>
                  <a:lnTo>
                    <a:pt x="1822" y="451"/>
                  </a:lnTo>
                  <a:lnTo>
                    <a:pt x="1823" y="449"/>
                  </a:lnTo>
                  <a:lnTo>
                    <a:pt x="1825" y="447"/>
                  </a:lnTo>
                  <a:lnTo>
                    <a:pt x="1827" y="445"/>
                  </a:lnTo>
                  <a:lnTo>
                    <a:pt x="1828" y="442"/>
                  </a:lnTo>
                  <a:lnTo>
                    <a:pt x="1826" y="440"/>
                  </a:lnTo>
                  <a:lnTo>
                    <a:pt x="1827" y="437"/>
                  </a:lnTo>
                  <a:lnTo>
                    <a:pt x="1831" y="438"/>
                  </a:lnTo>
                  <a:lnTo>
                    <a:pt x="1830" y="436"/>
                  </a:lnTo>
                  <a:lnTo>
                    <a:pt x="1828" y="434"/>
                  </a:lnTo>
                  <a:lnTo>
                    <a:pt x="1831" y="432"/>
                  </a:lnTo>
                  <a:lnTo>
                    <a:pt x="1833" y="433"/>
                  </a:lnTo>
                  <a:lnTo>
                    <a:pt x="1831" y="436"/>
                  </a:lnTo>
                  <a:lnTo>
                    <a:pt x="1832" y="440"/>
                  </a:lnTo>
                  <a:lnTo>
                    <a:pt x="1832" y="443"/>
                  </a:lnTo>
                  <a:lnTo>
                    <a:pt x="1832" y="445"/>
                  </a:lnTo>
                  <a:lnTo>
                    <a:pt x="1834" y="445"/>
                  </a:lnTo>
                  <a:lnTo>
                    <a:pt x="1838" y="446"/>
                  </a:lnTo>
                  <a:lnTo>
                    <a:pt x="1839" y="449"/>
                  </a:lnTo>
                  <a:lnTo>
                    <a:pt x="1838" y="451"/>
                  </a:lnTo>
                  <a:lnTo>
                    <a:pt x="1839" y="453"/>
                  </a:lnTo>
                  <a:lnTo>
                    <a:pt x="1839" y="457"/>
                  </a:lnTo>
                  <a:lnTo>
                    <a:pt x="1840" y="461"/>
                  </a:lnTo>
                  <a:lnTo>
                    <a:pt x="1842" y="464"/>
                  </a:lnTo>
                  <a:lnTo>
                    <a:pt x="1843" y="461"/>
                  </a:lnTo>
                  <a:lnTo>
                    <a:pt x="1843" y="464"/>
                  </a:lnTo>
                  <a:lnTo>
                    <a:pt x="1845" y="463"/>
                  </a:lnTo>
                  <a:lnTo>
                    <a:pt x="1847" y="466"/>
                  </a:lnTo>
                  <a:lnTo>
                    <a:pt x="1847" y="466"/>
                  </a:lnTo>
                  <a:lnTo>
                    <a:pt x="1847" y="466"/>
                  </a:lnTo>
                  <a:lnTo>
                    <a:pt x="1848" y="467"/>
                  </a:lnTo>
                  <a:lnTo>
                    <a:pt x="1847" y="469"/>
                  </a:lnTo>
                  <a:lnTo>
                    <a:pt x="1845" y="474"/>
                  </a:lnTo>
                  <a:lnTo>
                    <a:pt x="1848" y="474"/>
                  </a:lnTo>
                  <a:lnTo>
                    <a:pt x="1848" y="477"/>
                  </a:lnTo>
                  <a:lnTo>
                    <a:pt x="1849" y="478"/>
                  </a:lnTo>
                  <a:lnTo>
                    <a:pt x="1848" y="481"/>
                  </a:lnTo>
                  <a:lnTo>
                    <a:pt x="1851" y="481"/>
                  </a:lnTo>
                  <a:lnTo>
                    <a:pt x="1852" y="487"/>
                  </a:lnTo>
                  <a:lnTo>
                    <a:pt x="1853" y="489"/>
                  </a:lnTo>
                  <a:lnTo>
                    <a:pt x="1856" y="492"/>
                  </a:lnTo>
                  <a:lnTo>
                    <a:pt x="1856" y="492"/>
                  </a:lnTo>
                  <a:lnTo>
                    <a:pt x="1857" y="493"/>
                  </a:lnTo>
                  <a:lnTo>
                    <a:pt x="1859" y="496"/>
                  </a:lnTo>
                  <a:lnTo>
                    <a:pt x="1861" y="496"/>
                  </a:lnTo>
                  <a:lnTo>
                    <a:pt x="1862" y="498"/>
                  </a:lnTo>
                  <a:lnTo>
                    <a:pt x="1861" y="501"/>
                  </a:lnTo>
                  <a:lnTo>
                    <a:pt x="1859" y="500"/>
                  </a:lnTo>
                  <a:lnTo>
                    <a:pt x="1860" y="505"/>
                  </a:lnTo>
                  <a:lnTo>
                    <a:pt x="1858" y="504"/>
                  </a:lnTo>
                  <a:lnTo>
                    <a:pt x="1858" y="506"/>
                  </a:lnTo>
                  <a:lnTo>
                    <a:pt x="1859" y="509"/>
                  </a:lnTo>
                  <a:lnTo>
                    <a:pt x="1861" y="514"/>
                  </a:lnTo>
                  <a:lnTo>
                    <a:pt x="1862" y="517"/>
                  </a:lnTo>
                  <a:lnTo>
                    <a:pt x="1862" y="519"/>
                  </a:lnTo>
                  <a:lnTo>
                    <a:pt x="1865" y="521"/>
                  </a:lnTo>
                  <a:lnTo>
                    <a:pt x="1868" y="522"/>
                  </a:lnTo>
                  <a:lnTo>
                    <a:pt x="1874" y="520"/>
                  </a:lnTo>
                  <a:lnTo>
                    <a:pt x="1879" y="521"/>
                  </a:lnTo>
                  <a:lnTo>
                    <a:pt x="1882" y="518"/>
                  </a:lnTo>
                  <a:lnTo>
                    <a:pt x="1879" y="515"/>
                  </a:lnTo>
                  <a:lnTo>
                    <a:pt x="1879" y="512"/>
                  </a:lnTo>
                  <a:lnTo>
                    <a:pt x="1882" y="511"/>
                  </a:lnTo>
                  <a:lnTo>
                    <a:pt x="1884" y="509"/>
                  </a:lnTo>
                  <a:lnTo>
                    <a:pt x="1886" y="510"/>
                  </a:lnTo>
                  <a:lnTo>
                    <a:pt x="1886" y="506"/>
                  </a:lnTo>
                  <a:lnTo>
                    <a:pt x="1890" y="506"/>
                  </a:lnTo>
                  <a:lnTo>
                    <a:pt x="1895" y="506"/>
                  </a:lnTo>
                  <a:lnTo>
                    <a:pt x="1899" y="505"/>
                  </a:lnTo>
                  <a:lnTo>
                    <a:pt x="1900" y="505"/>
                  </a:lnTo>
                  <a:lnTo>
                    <a:pt x="1902" y="508"/>
                  </a:lnTo>
                  <a:lnTo>
                    <a:pt x="1904" y="505"/>
                  </a:lnTo>
                  <a:lnTo>
                    <a:pt x="1905" y="501"/>
                  </a:lnTo>
                  <a:lnTo>
                    <a:pt x="1909" y="496"/>
                  </a:lnTo>
                  <a:lnTo>
                    <a:pt x="1910" y="491"/>
                  </a:lnTo>
                  <a:lnTo>
                    <a:pt x="1910" y="491"/>
                  </a:lnTo>
                  <a:lnTo>
                    <a:pt x="1911" y="487"/>
                  </a:lnTo>
                  <a:lnTo>
                    <a:pt x="1911" y="487"/>
                  </a:lnTo>
                  <a:lnTo>
                    <a:pt x="1910" y="485"/>
                  </a:lnTo>
                  <a:lnTo>
                    <a:pt x="1912" y="483"/>
                  </a:lnTo>
                  <a:lnTo>
                    <a:pt x="1913" y="475"/>
                  </a:lnTo>
                  <a:lnTo>
                    <a:pt x="1911" y="472"/>
                  </a:lnTo>
                  <a:lnTo>
                    <a:pt x="1915" y="472"/>
                  </a:lnTo>
                  <a:lnTo>
                    <a:pt x="1913" y="470"/>
                  </a:lnTo>
                  <a:lnTo>
                    <a:pt x="1915" y="462"/>
                  </a:lnTo>
                  <a:lnTo>
                    <a:pt x="1910" y="461"/>
                  </a:lnTo>
                  <a:lnTo>
                    <a:pt x="1912" y="461"/>
                  </a:lnTo>
                  <a:lnTo>
                    <a:pt x="1916" y="461"/>
                  </a:lnTo>
                  <a:lnTo>
                    <a:pt x="1915" y="459"/>
                  </a:lnTo>
                  <a:lnTo>
                    <a:pt x="1912" y="458"/>
                  </a:lnTo>
                  <a:lnTo>
                    <a:pt x="1912" y="458"/>
                  </a:lnTo>
                  <a:lnTo>
                    <a:pt x="1918" y="458"/>
                  </a:lnTo>
                  <a:lnTo>
                    <a:pt x="1919" y="455"/>
                  </a:lnTo>
                  <a:lnTo>
                    <a:pt x="1921" y="455"/>
                  </a:lnTo>
                  <a:lnTo>
                    <a:pt x="1925" y="454"/>
                  </a:lnTo>
                  <a:lnTo>
                    <a:pt x="1927" y="452"/>
                  </a:lnTo>
                  <a:lnTo>
                    <a:pt x="1926" y="451"/>
                  </a:lnTo>
                  <a:lnTo>
                    <a:pt x="1927" y="449"/>
                  </a:lnTo>
                  <a:lnTo>
                    <a:pt x="1929" y="454"/>
                  </a:lnTo>
                  <a:lnTo>
                    <a:pt x="1930" y="451"/>
                  </a:lnTo>
                  <a:lnTo>
                    <a:pt x="1935" y="447"/>
                  </a:lnTo>
                  <a:lnTo>
                    <a:pt x="1937" y="447"/>
                  </a:lnTo>
                  <a:lnTo>
                    <a:pt x="1936" y="444"/>
                  </a:lnTo>
                  <a:lnTo>
                    <a:pt x="1938" y="446"/>
                  </a:lnTo>
                  <a:lnTo>
                    <a:pt x="1939" y="445"/>
                  </a:lnTo>
                  <a:lnTo>
                    <a:pt x="1938" y="443"/>
                  </a:lnTo>
                  <a:lnTo>
                    <a:pt x="1936" y="443"/>
                  </a:lnTo>
                  <a:lnTo>
                    <a:pt x="1934" y="444"/>
                  </a:lnTo>
                  <a:lnTo>
                    <a:pt x="1933" y="441"/>
                  </a:lnTo>
                  <a:lnTo>
                    <a:pt x="1936" y="443"/>
                  </a:lnTo>
                  <a:lnTo>
                    <a:pt x="1938" y="440"/>
                  </a:lnTo>
                  <a:lnTo>
                    <a:pt x="1941" y="438"/>
                  </a:lnTo>
                  <a:lnTo>
                    <a:pt x="1942" y="436"/>
                  </a:lnTo>
                  <a:lnTo>
                    <a:pt x="1944" y="435"/>
                  </a:lnTo>
                  <a:lnTo>
                    <a:pt x="1945" y="433"/>
                  </a:lnTo>
                  <a:lnTo>
                    <a:pt x="1943" y="429"/>
                  </a:lnTo>
                  <a:lnTo>
                    <a:pt x="1941" y="427"/>
                  </a:lnTo>
                  <a:lnTo>
                    <a:pt x="1939" y="427"/>
                  </a:lnTo>
                  <a:lnTo>
                    <a:pt x="1938" y="426"/>
                  </a:lnTo>
                  <a:lnTo>
                    <a:pt x="1937" y="423"/>
                  </a:lnTo>
                  <a:lnTo>
                    <a:pt x="1935" y="423"/>
                  </a:lnTo>
                  <a:lnTo>
                    <a:pt x="1929" y="418"/>
                  </a:lnTo>
                  <a:lnTo>
                    <a:pt x="1927" y="418"/>
                  </a:lnTo>
                  <a:lnTo>
                    <a:pt x="1924" y="417"/>
                  </a:lnTo>
                  <a:lnTo>
                    <a:pt x="1920" y="416"/>
                  </a:lnTo>
                  <a:lnTo>
                    <a:pt x="1921" y="414"/>
                  </a:lnTo>
                  <a:lnTo>
                    <a:pt x="1919" y="410"/>
                  </a:lnTo>
                  <a:lnTo>
                    <a:pt x="1920" y="408"/>
                  </a:lnTo>
                  <a:lnTo>
                    <a:pt x="1920" y="403"/>
                  </a:lnTo>
                  <a:lnTo>
                    <a:pt x="1919" y="401"/>
                  </a:lnTo>
                  <a:lnTo>
                    <a:pt x="1920" y="398"/>
                  </a:lnTo>
                  <a:lnTo>
                    <a:pt x="1921" y="397"/>
                  </a:lnTo>
                  <a:lnTo>
                    <a:pt x="1920" y="394"/>
                  </a:lnTo>
                  <a:lnTo>
                    <a:pt x="1922" y="393"/>
                  </a:lnTo>
                  <a:lnTo>
                    <a:pt x="1922" y="391"/>
                  </a:lnTo>
                  <a:lnTo>
                    <a:pt x="1926" y="383"/>
                  </a:lnTo>
                  <a:lnTo>
                    <a:pt x="1924" y="382"/>
                  </a:lnTo>
                  <a:lnTo>
                    <a:pt x="1924" y="377"/>
                  </a:lnTo>
                  <a:lnTo>
                    <a:pt x="1925" y="378"/>
                  </a:lnTo>
                  <a:lnTo>
                    <a:pt x="1927" y="377"/>
                  </a:lnTo>
                  <a:lnTo>
                    <a:pt x="1930" y="376"/>
                  </a:lnTo>
                  <a:lnTo>
                    <a:pt x="1932" y="373"/>
                  </a:lnTo>
                  <a:lnTo>
                    <a:pt x="1929" y="369"/>
                  </a:lnTo>
                  <a:lnTo>
                    <a:pt x="1928" y="368"/>
                  </a:lnTo>
                  <a:lnTo>
                    <a:pt x="1928" y="365"/>
                  </a:lnTo>
                  <a:lnTo>
                    <a:pt x="1930" y="369"/>
                  </a:lnTo>
                  <a:lnTo>
                    <a:pt x="1933" y="370"/>
                  </a:lnTo>
                  <a:lnTo>
                    <a:pt x="1937" y="368"/>
                  </a:lnTo>
                  <a:lnTo>
                    <a:pt x="1937" y="366"/>
                  </a:lnTo>
                  <a:lnTo>
                    <a:pt x="1939" y="365"/>
                  </a:lnTo>
                  <a:lnTo>
                    <a:pt x="1941" y="361"/>
                  </a:lnTo>
                  <a:lnTo>
                    <a:pt x="1944" y="361"/>
                  </a:lnTo>
                  <a:lnTo>
                    <a:pt x="1943" y="360"/>
                  </a:lnTo>
                  <a:lnTo>
                    <a:pt x="1946" y="361"/>
                  </a:lnTo>
                  <a:lnTo>
                    <a:pt x="1949" y="359"/>
                  </a:lnTo>
                  <a:lnTo>
                    <a:pt x="1950" y="357"/>
                  </a:lnTo>
                  <a:lnTo>
                    <a:pt x="1951" y="357"/>
                  </a:lnTo>
                  <a:lnTo>
                    <a:pt x="1953" y="356"/>
                  </a:lnTo>
                  <a:lnTo>
                    <a:pt x="1955" y="356"/>
                  </a:lnTo>
                  <a:lnTo>
                    <a:pt x="1961" y="352"/>
                  </a:lnTo>
                  <a:lnTo>
                    <a:pt x="1963" y="350"/>
                  </a:lnTo>
                  <a:lnTo>
                    <a:pt x="1967" y="350"/>
                  </a:lnTo>
                  <a:lnTo>
                    <a:pt x="1969" y="349"/>
                  </a:lnTo>
                  <a:lnTo>
                    <a:pt x="1972" y="343"/>
                  </a:lnTo>
                  <a:lnTo>
                    <a:pt x="1975" y="341"/>
                  </a:lnTo>
                  <a:lnTo>
                    <a:pt x="1979" y="337"/>
                  </a:lnTo>
                  <a:lnTo>
                    <a:pt x="1980" y="333"/>
                  </a:lnTo>
                  <a:lnTo>
                    <a:pt x="1978" y="332"/>
                  </a:lnTo>
                  <a:lnTo>
                    <a:pt x="1975" y="330"/>
                  </a:lnTo>
                  <a:lnTo>
                    <a:pt x="1977" y="331"/>
                  </a:lnTo>
                  <a:lnTo>
                    <a:pt x="1976" y="327"/>
                  </a:lnTo>
                  <a:lnTo>
                    <a:pt x="1973" y="326"/>
                  </a:lnTo>
                  <a:lnTo>
                    <a:pt x="1976" y="326"/>
                  </a:lnTo>
                  <a:lnTo>
                    <a:pt x="1978" y="323"/>
                  </a:lnTo>
                  <a:lnTo>
                    <a:pt x="1980" y="322"/>
                  </a:lnTo>
                  <a:lnTo>
                    <a:pt x="1980" y="318"/>
                  </a:lnTo>
                  <a:lnTo>
                    <a:pt x="1982" y="316"/>
                  </a:lnTo>
                  <a:lnTo>
                    <a:pt x="1979" y="316"/>
                  </a:lnTo>
                  <a:lnTo>
                    <a:pt x="1980" y="314"/>
                  </a:lnTo>
                  <a:lnTo>
                    <a:pt x="1984" y="314"/>
                  </a:lnTo>
                  <a:lnTo>
                    <a:pt x="1986" y="314"/>
                  </a:lnTo>
                  <a:lnTo>
                    <a:pt x="1985" y="312"/>
                  </a:lnTo>
                  <a:lnTo>
                    <a:pt x="1987" y="310"/>
                  </a:lnTo>
                  <a:lnTo>
                    <a:pt x="1989" y="310"/>
                  </a:lnTo>
                  <a:lnTo>
                    <a:pt x="1992" y="309"/>
                  </a:lnTo>
                  <a:lnTo>
                    <a:pt x="1990" y="305"/>
                  </a:lnTo>
                  <a:lnTo>
                    <a:pt x="1996" y="306"/>
                  </a:lnTo>
                  <a:lnTo>
                    <a:pt x="1996" y="304"/>
                  </a:lnTo>
                  <a:lnTo>
                    <a:pt x="1998" y="306"/>
                  </a:lnTo>
                  <a:lnTo>
                    <a:pt x="2002" y="307"/>
                  </a:lnTo>
                  <a:lnTo>
                    <a:pt x="2004" y="307"/>
                  </a:lnTo>
                  <a:lnTo>
                    <a:pt x="2002" y="305"/>
                  </a:lnTo>
                  <a:lnTo>
                    <a:pt x="2005" y="306"/>
                  </a:lnTo>
                  <a:lnTo>
                    <a:pt x="2011" y="305"/>
                  </a:lnTo>
                  <a:lnTo>
                    <a:pt x="2015" y="305"/>
                  </a:lnTo>
                  <a:lnTo>
                    <a:pt x="2016" y="306"/>
                  </a:lnTo>
                  <a:lnTo>
                    <a:pt x="2021" y="306"/>
                  </a:lnTo>
                  <a:lnTo>
                    <a:pt x="2021" y="306"/>
                  </a:lnTo>
                  <a:lnTo>
                    <a:pt x="2022" y="307"/>
                  </a:lnTo>
                  <a:lnTo>
                    <a:pt x="2024" y="309"/>
                  </a:lnTo>
                  <a:lnTo>
                    <a:pt x="2027" y="309"/>
                  </a:lnTo>
                  <a:lnTo>
                    <a:pt x="2031" y="314"/>
                  </a:lnTo>
                  <a:lnTo>
                    <a:pt x="2031" y="316"/>
                  </a:lnTo>
                  <a:lnTo>
                    <a:pt x="2031" y="318"/>
                  </a:lnTo>
                  <a:lnTo>
                    <a:pt x="2030" y="321"/>
                  </a:lnTo>
                  <a:lnTo>
                    <a:pt x="2033" y="323"/>
                  </a:lnTo>
                  <a:lnTo>
                    <a:pt x="2033" y="323"/>
                  </a:lnTo>
                  <a:lnTo>
                    <a:pt x="2032" y="324"/>
                  </a:lnTo>
                  <a:lnTo>
                    <a:pt x="2030" y="324"/>
                  </a:lnTo>
                  <a:lnTo>
                    <a:pt x="2032" y="326"/>
                  </a:lnTo>
                  <a:lnTo>
                    <a:pt x="2030" y="325"/>
                  </a:lnTo>
                  <a:lnTo>
                    <a:pt x="2027" y="325"/>
                  </a:lnTo>
                  <a:lnTo>
                    <a:pt x="2023" y="326"/>
                  </a:lnTo>
                  <a:lnTo>
                    <a:pt x="2021" y="329"/>
                  </a:lnTo>
                  <a:lnTo>
                    <a:pt x="2016" y="335"/>
                  </a:lnTo>
                  <a:lnTo>
                    <a:pt x="2014" y="337"/>
                  </a:lnTo>
                  <a:lnTo>
                    <a:pt x="2013" y="340"/>
                  </a:lnTo>
                  <a:lnTo>
                    <a:pt x="2010" y="341"/>
                  </a:lnTo>
                  <a:lnTo>
                    <a:pt x="2007" y="344"/>
                  </a:lnTo>
                  <a:lnTo>
                    <a:pt x="2005" y="344"/>
                  </a:lnTo>
                  <a:lnTo>
                    <a:pt x="2005" y="347"/>
                  </a:lnTo>
                  <a:lnTo>
                    <a:pt x="2002" y="348"/>
                  </a:lnTo>
                  <a:lnTo>
                    <a:pt x="2002" y="348"/>
                  </a:lnTo>
                  <a:lnTo>
                    <a:pt x="1998" y="353"/>
                  </a:lnTo>
                  <a:lnTo>
                    <a:pt x="1995" y="351"/>
                  </a:lnTo>
                  <a:lnTo>
                    <a:pt x="1993" y="355"/>
                  </a:lnTo>
                  <a:lnTo>
                    <a:pt x="1992" y="357"/>
                  </a:lnTo>
                  <a:lnTo>
                    <a:pt x="1992" y="360"/>
                  </a:lnTo>
                  <a:lnTo>
                    <a:pt x="1992" y="361"/>
                  </a:lnTo>
                  <a:lnTo>
                    <a:pt x="1986" y="363"/>
                  </a:lnTo>
                  <a:lnTo>
                    <a:pt x="1986" y="361"/>
                  </a:lnTo>
                  <a:lnTo>
                    <a:pt x="1984" y="363"/>
                  </a:lnTo>
                  <a:lnTo>
                    <a:pt x="1980" y="360"/>
                  </a:lnTo>
                  <a:lnTo>
                    <a:pt x="1980" y="363"/>
                  </a:lnTo>
                  <a:lnTo>
                    <a:pt x="1980" y="365"/>
                  </a:lnTo>
                  <a:lnTo>
                    <a:pt x="1979" y="368"/>
                  </a:lnTo>
                  <a:lnTo>
                    <a:pt x="1976" y="370"/>
                  </a:lnTo>
                  <a:lnTo>
                    <a:pt x="1976" y="373"/>
                  </a:lnTo>
                  <a:lnTo>
                    <a:pt x="1976" y="375"/>
                  </a:lnTo>
                  <a:lnTo>
                    <a:pt x="1975" y="378"/>
                  </a:lnTo>
                  <a:lnTo>
                    <a:pt x="1976" y="381"/>
                  </a:lnTo>
                  <a:lnTo>
                    <a:pt x="1977" y="380"/>
                  </a:lnTo>
                  <a:lnTo>
                    <a:pt x="1978" y="383"/>
                  </a:lnTo>
                  <a:lnTo>
                    <a:pt x="1978" y="385"/>
                  </a:lnTo>
                  <a:lnTo>
                    <a:pt x="1977" y="387"/>
                  </a:lnTo>
                  <a:lnTo>
                    <a:pt x="1977" y="389"/>
                  </a:lnTo>
                  <a:lnTo>
                    <a:pt x="1979" y="392"/>
                  </a:lnTo>
                  <a:lnTo>
                    <a:pt x="1982" y="398"/>
                  </a:lnTo>
                  <a:lnTo>
                    <a:pt x="1980" y="397"/>
                  </a:lnTo>
                  <a:lnTo>
                    <a:pt x="1980" y="402"/>
                  </a:lnTo>
                  <a:lnTo>
                    <a:pt x="1980" y="406"/>
                  </a:lnTo>
                  <a:lnTo>
                    <a:pt x="1978" y="408"/>
                  </a:lnTo>
                  <a:lnTo>
                    <a:pt x="1979" y="410"/>
                  </a:lnTo>
                  <a:lnTo>
                    <a:pt x="1978" y="416"/>
                  </a:lnTo>
                  <a:lnTo>
                    <a:pt x="1980" y="418"/>
                  </a:lnTo>
                  <a:lnTo>
                    <a:pt x="1980" y="418"/>
                  </a:lnTo>
                  <a:lnTo>
                    <a:pt x="1982" y="417"/>
                  </a:lnTo>
                  <a:lnTo>
                    <a:pt x="1984" y="419"/>
                  </a:lnTo>
                  <a:lnTo>
                    <a:pt x="1986" y="419"/>
                  </a:lnTo>
                  <a:lnTo>
                    <a:pt x="1987" y="420"/>
                  </a:lnTo>
                  <a:lnTo>
                    <a:pt x="1989" y="421"/>
                  </a:lnTo>
                  <a:lnTo>
                    <a:pt x="1995" y="421"/>
                  </a:lnTo>
                  <a:lnTo>
                    <a:pt x="1993" y="425"/>
                  </a:lnTo>
                  <a:lnTo>
                    <a:pt x="1997" y="425"/>
                  </a:lnTo>
                  <a:lnTo>
                    <a:pt x="1999" y="423"/>
                  </a:lnTo>
                  <a:lnTo>
                    <a:pt x="1999" y="425"/>
                  </a:lnTo>
                  <a:lnTo>
                    <a:pt x="1998" y="426"/>
                  </a:lnTo>
                  <a:lnTo>
                    <a:pt x="1999" y="428"/>
                  </a:lnTo>
                  <a:lnTo>
                    <a:pt x="2003" y="428"/>
                  </a:lnTo>
                  <a:lnTo>
                    <a:pt x="2003" y="429"/>
                  </a:lnTo>
                  <a:lnTo>
                    <a:pt x="2002" y="429"/>
                  </a:lnTo>
                  <a:lnTo>
                    <a:pt x="2002" y="430"/>
                  </a:lnTo>
                  <a:lnTo>
                    <a:pt x="2004" y="429"/>
                  </a:lnTo>
                  <a:lnTo>
                    <a:pt x="2003" y="432"/>
                  </a:lnTo>
                  <a:lnTo>
                    <a:pt x="2006" y="430"/>
                  </a:lnTo>
                  <a:lnTo>
                    <a:pt x="2006" y="429"/>
                  </a:lnTo>
                  <a:lnTo>
                    <a:pt x="2010" y="430"/>
                  </a:lnTo>
                  <a:lnTo>
                    <a:pt x="2012" y="429"/>
                  </a:lnTo>
                  <a:lnTo>
                    <a:pt x="2018" y="428"/>
                  </a:lnTo>
                  <a:lnTo>
                    <a:pt x="2018" y="429"/>
                  </a:lnTo>
                  <a:lnTo>
                    <a:pt x="2020" y="429"/>
                  </a:lnTo>
                  <a:lnTo>
                    <a:pt x="2022" y="427"/>
                  </a:lnTo>
                  <a:lnTo>
                    <a:pt x="2024" y="427"/>
                  </a:lnTo>
                  <a:lnTo>
                    <a:pt x="2027" y="426"/>
                  </a:lnTo>
                  <a:lnTo>
                    <a:pt x="2030" y="426"/>
                  </a:lnTo>
                  <a:lnTo>
                    <a:pt x="2032" y="425"/>
                  </a:lnTo>
                  <a:lnTo>
                    <a:pt x="2037" y="423"/>
                  </a:lnTo>
                  <a:lnTo>
                    <a:pt x="2038" y="425"/>
                  </a:lnTo>
                  <a:lnTo>
                    <a:pt x="2039" y="423"/>
                  </a:lnTo>
                  <a:lnTo>
                    <a:pt x="2043" y="424"/>
                  </a:lnTo>
                  <a:lnTo>
                    <a:pt x="2041" y="420"/>
                  </a:lnTo>
                  <a:lnTo>
                    <a:pt x="2044" y="421"/>
                  </a:lnTo>
                  <a:lnTo>
                    <a:pt x="2046" y="421"/>
                  </a:lnTo>
                  <a:lnTo>
                    <a:pt x="2047" y="420"/>
                  </a:lnTo>
                  <a:lnTo>
                    <a:pt x="2049" y="420"/>
                  </a:lnTo>
                  <a:lnTo>
                    <a:pt x="2054" y="420"/>
                  </a:lnTo>
                  <a:lnTo>
                    <a:pt x="2057" y="418"/>
                  </a:lnTo>
                  <a:lnTo>
                    <a:pt x="2060" y="419"/>
                  </a:lnTo>
                  <a:lnTo>
                    <a:pt x="2065" y="419"/>
                  </a:lnTo>
                  <a:lnTo>
                    <a:pt x="2065" y="418"/>
                  </a:lnTo>
                  <a:lnTo>
                    <a:pt x="2069" y="419"/>
                  </a:lnTo>
                  <a:lnTo>
                    <a:pt x="2072" y="418"/>
                  </a:lnTo>
                  <a:lnTo>
                    <a:pt x="2078" y="415"/>
                  </a:lnTo>
                  <a:lnTo>
                    <a:pt x="2078" y="416"/>
                  </a:lnTo>
                  <a:lnTo>
                    <a:pt x="2078" y="418"/>
                  </a:lnTo>
                  <a:lnTo>
                    <a:pt x="2078" y="420"/>
                  </a:lnTo>
                  <a:lnTo>
                    <a:pt x="2075" y="419"/>
                  </a:lnTo>
                  <a:lnTo>
                    <a:pt x="2077" y="423"/>
                  </a:lnTo>
                  <a:lnTo>
                    <a:pt x="2082" y="426"/>
                  </a:lnTo>
                  <a:lnTo>
                    <a:pt x="2088" y="426"/>
                  </a:lnTo>
                  <a:lnTo>
                    <a:pt x="2091" y="426"/>
                  </a:lnTo>
                  <a:lnTo>
                    <a:pt x="2093" y="427"/>
                  </a:lnTo>
                  <a:lnTo>
                    <a:pt x="2096" y="429"/>
                  </a:lnTo>
                  <a:lnTo>
                    <a:pt x="2098" y="429"/>
                  </a:lnTo>
                  <a:lnTo>
                    <a:pt x="2098" y="432"/>
                  </a:lnTo>
                  <a:lnTo>
                    <a:pt x="2098" y="433"/>
                  </a:lnTo>
                  <a:lnTo>
                    <a:pt x="2084" y="429"/>
                  </a:lnTo>
                  <a:lnTo>
                    <a:pt x="2082" y="433"/>
                  </a:lnTo>
                  <a:lnTo>
                    <a:pt x="2080" y="434"/>
                  </a:lnTo>
                  <a:lnTo>
                    <a:pt x="2077" y="434"/>
                  </a:lnTo>
                  <a:lnTo>
                    <a:pt x="2074" y="434"/>
                  </a:lnTo>
                  <a:lnTo>
                    <a:pt x="2073" y="436"/>
                  </a:lnTo>
                  <a:lnTo>
                    <a:pt x="2071" y="435"/>
                  </a:lnTo>
                  <a:lnTo>
                    <a:pt x="2069" y="435"/>
                  </a:lnTo>
                  <a:lnTo>
                    <a:pt x="2069" y="437"/>
                  </a:lnTo>
                  <a:lnTo>
                    <a:pt x="2069" y="441"/>
                  </a:lnTo>
                  <a:lnTo>
                    <a:pt x="2066" y="442"/>
                  </a:lnTo>
                  <a:lnTo>
                    <a:pt x="2053" y="441"/>
                  </a:lnTo>
                  <a:lnTo>
                    <a:pt x="2050" y="440"/>
                  </a:lnTo>
                  <a:lnTo>
                    <a:pt x="2047" y="440"/>
                  </a:lnTo>
                  <a:lnTo>
                    <a:pt x="2045" y="438"/>
                  </a:lnTo>
                  <a:lnTo>
                    <a:pt x="2039" y="437"/>
                  </a:lnTo>
                  <a:lnTo>
                    <a:pt x="2037" y="438"/>
                  </a:lnTo>
                  <a:lnTo>
                    <a:pt x="2033" y="437"/>
                  </a:lnTo>
                  <a:lnTo>
                    <a:pt x="2032" y="441"/>
                  </a:lnTo>
                  <a:lnTo>
                    <a:pt x="2030" y="440"/>
                  </a:lnTo>
                  <a:lnTo>
                    <a:pt x="2024" y="440"/>
                  </a:lnTo>
                  <a:lnTo>
                    <a:pt x="2022" y="441"/>
                  </a:lnTo>
                  <a:lnTo>
                    <a:pt x="2019" y="441"/>
                  </a:lnTo>
                  <a:lnTo>
                    <a:pt x="2016" y="443"/>
                  </a:lnTo>
                  <a:lnTo>
                    <a:pt x="2014" y="442"/>
                  </a:lnTo>
                  <a:lnTo>
                    <a:pt x="2014" y="444"/>
                  </a:lnTo>
                  <a:lnTo>
                    <a:pt x="2010" y="445"/>
                  </a:lnTo>
                  <a:lnTo>
                    <a:pt x="2006" y="447"/>
                  </a:lnTo>
                  <a:lnTo>
                    <a:pt x="2005" y="450"/>
                  </a:lnTo>
                  <a:lnTo>
                    <a:pt x="2009" y="451"/>
                  </a:lnTo>
                  <a:lnTo>
                    <a:pt x="2005" y="452"/>
                  </a:lnTo>
                  <a:lnTo>
                    <a:pt x="2007" y="454"/>
                  </a:lnTo>
                  <a:lnTo>
                    <a:pt x="2010" y="455"/>
                  </a:lnTo>
                  <a:lnTo>
                    <a:pt x="2007" y="455"/>
                  </a:lnTo>
                  <a:lnTo>
                    <a:pt x="2006" y="459"/>
                  </a:lnTo>
                  <a:lnTo>
                    <a:pt x="2009" y="461"/>
                  </a:lnTo>
                  <a:lnTo>
                    <a:pt x="2010" y="463"/>
                  </a:lnTo>
                  <a:lnTo>
                    <a:pt x="2013" y="463"/>
                  </a:lnTo>
                  <a:lnTo>
                    <a:pt x="2015" y="464"/>
                  </a:lnTo>
                  <a:lnTo>
                    <a:pt x="2018" y="462"/>
                  </a:lnTo>
                  <a:lnTo>
                    <a:pt x="2021" y="464"/>
                  </a:lnTo>
                  <a:lnTo>
                    <a:pt x="2018" y="474"/>
                  </a:lnTo>
                  <a:lnTo>
                    <a:pt x="2018" y="476"/>
                  </a:lnTo>
                  <a:lnTo>
                    <a:pt x="2019" y="484"/>
                  </a:lnTo>
                  <a:lnTo>
                    <a:pt x="2016" y="487"/>
                  </a:lnTo>
                  <a:lnTo>
                    <a:pt x="2014" y="488"/>
                  </a:lnTo>
                  <a:lnTo>
                    <a:pt x="2011" y="491"/>
                  </a:lnTo>
                  <a:lnTo>
                    <a:pt x="2009" y="491"/>
                  </a:lnTo>
                  <a:lnTo>
                    <a:pt x="2003" y="487"/>
                  </a:lnTo>
                  <a:lnTo>
                    <a:pt x="2002" y="485"/>
                  </a:lnTo>
                  <a:lnTo>
                    <a:pt x="1997" y="479"/>
                  </a:lnTo>
                  <a:lnTo>
                    <a:pt x="1995" y="478"/>
                  </a:lnTo>
                  <a:lnTo>
                    <a:pt x="1993" y="475"/>
                  </a:lnTo>
                  <a:lnTo>
                    <a:pt x="1986" y="478"/>
                  </a:lnTo>
                  <a:lnTo>
                    <a:pt x="1984" y="478"/>
                  </a:lnTo>
                  <a:lnTo>
                    <a:pt x="1980" y="480"/>
                  </a:lnTo>
                  <a:lnTo>
                    <a:pt x="1979" y="484"/>
                  </a:lnTo>
                  <a:lnTo>
                    <a:pt x="1978" y="486"/>
                  </a:lnTo>
                  <a:lnTo>
                    <a:pt x="1978" y="488"/>
                  </a:lnTo>
                  <a:lnTo>
                    <a:pt x="1976" y="492"/>
                  </a:lnTo>
                  <a:lnTo>
                    <a:pt x="1973" y="494"/>
                  </a:lnTo>
                  <a:lnTo>
                    <a:pt x="1972" y="500"/>
                  </a:lnTo>
                  <a:lnTo>
                    <a:pt x="1972" y="505"/>
                  </a:lnTo>
                  <a:lnTo>
                    <a:pt x="1973" y="508"/>
                  </a:lnTo>
                  <a:lnTo>
                    <a:pt x="1973" y="512"/>
                  </a:lnTo>
                  <a:lnTo>
                    <a:pt x="1973" y="514"/>
                  </a:lnTo>
                  <a:lnTo>
                    <a:pt x="1975" y="515"/>
                  </a:lnTo>
                  <a:lnTo>
                    <a:pt x="1975" y="517"/>
                  </a:lnTo>
                  <a:lnTo>
                    <a:pt x="1975" y="517"/>
                  </a:lnTo>
                  <a:lnTo>
                    <a:pt x="1976" y="519"/>
                  </a:lnTo>
                  <a:lnTo>
                    <a:pt x="1976" y="522"/>
                  </a:lnTo>
                  <a:lnTo>
                    <a:pt x="1976" y="523"/>
                  </a:lnTo>
                  <a:lnTo>
                    <a:pt x="1975" y="526"/>
                  </a:lnTo>
                  <a:lnTo>
                    <a:pt x="1976" y="528"/>
                  </a:lnTo>
                  <a:lnTo>
                    <a:pt x="1972" y="530"/>
                  </a:lnTo>
                  <a:lnTo>
                    <a:pt x="1967" y="530"/>
                  </a:lnTo>
                  <a:lnTo>
                    <a:pt x="1967" y="530"/>
                  </a:lnTo>
                  <a:lnTo>
                    <a:pt x="1962" y="529"/>
                  </a:lnTo>
                  <a:lnTo>
                    <a:pt x="1962" y="529"/>
                  </a:lnTo>
                  <a:lnTo>
                    <a:pt x="1961" y="529"/>
                  </a:lnTo>
                  <a:lnTo>
                    <a:pt x="1959" y="529"/>
                  </a:lnTo>
                  <a:lnTo>
                    <a:pt x="1958" y="530"/>
                  </a:lnTo>
                  <a:lnTo>
                    <a:pt x="1959" y="532"/>
                  </a:lnTo>
                  <a:lnTo>
                    <a:pt x="1956" y="536"/>
                  </a:lnTo>
                  <a:lnTo>
                    <a:pt x="1953" y="538"/>
                  </a:lnTo>
                  <a:lnTo>
                    <a:pt x="1951" y="540"/>
                  </a:lnTo>
                  <a:lnTo>
                    <a:pt x="1945" y="540"/>
                  </a:lnTo>
                  <a:lnTo>
                    <a:pt x="1942" y="540"/>
                  </a:lnTo>
                  <a:lnTo>
                    <a:pt x="1941" y="539"/>
                  </a:lnTo>
                  <a:lnTo>
                    <a:pt x="1937" y="532"/>
                  </a:lnTo>
                  <a:lnTo>
                    <a:pt x="1937" y="532"/>
                  </a:lnTo>
                  <a:lnTo>
                    <a:pt x="1935" y="531"/>
                  </a:lnTo>
                  <a:lnTo>
                    <a:pt x="1929" y="531"/>
                  </a:lnTo>
                  <a:lnTo>
                    <a:pt x="1921" y="534"/>
                  </a:lnTo>
                  <a:lnTo>
                    <a:pt x="1916" y="536"/>
                  </a:lnTo>
                  <a:lnTo>
                    <a:pt x="1911" y="537"/>
                  </a:lnTo>
                  <a:lnTo>
                    <a:pt x="1910" y="538"/>
                  </a:lnTo>
                  <a:lnTo>
                    <a:pt x="1907" y="543"/>
                  </a:lnTo>
                  <a:lnTo>
                    <a:pt x="1895" y="544"/>
                  </a:lnTo>
                  <a:lnTo>
                    <a:pt x="1881" y="548"/>
                  </a:lnTo>
                  <a:lnTo>
                    <a:pt x="1879" y="548"/>
                  </a:lnTo>
                  <a:lnTo>
                    <a:pt x="1876" y="546"/>
                  </a:lnTo>
                  <a:lnTo>
                    <a:pt x="1875" y="549"/>
                  </a:lnTo>
                  <a:lnTo>
                    <a:pt x="1874" y="551"/>
                  </a:lnTo>
                  <a:lnTo>
                    <a:pt x="1877" y="549"/>
                  </a:lnTo>
                  <a:lnTo>
                    <a:pt x="1879" y="549"/>
                  </a:lnTo>
                  <a:lnTo>
                    <a:pt x="1881" y="551"/>
                  </a:lnTo>
                  <a:lnTo>
                    <a:pt x="1882" y="549"/>
                  </a:lnTo>
                  <a:lnTo>
                    <a:pt x="1882" y="549"/>
                  </a:lnTo>
                  <a:lnTo>
                    <a:pt x="1885" y="551"/>
                  </a:lnTo>
                  <a:lnTo>
                    <a:pt x="1884" y="553"/>
                  </a:lnTo>
                  <a:lnTo>
                    <a:pt x="1884" y="555"/>
                  </a:lnTo>
                  <a:lnTo>
                    <a:pt x="1882" y="553"/>
                  </a:lnTo>
                  <a:lnTo>
                    <a:pt x="1881" y="553"/>
                  </a:lnTo>
                  <a:lnTo>
                    <a:pt x="1875" y="551"/>
                  </a:lnTo>
                  <a:lnTo>
                    <a:pt x="1874" y="551"/>
                  </a:lnTo>
                  <a:lnTo>
                    <a:pt x="1874" y="549"/>
                  </a:lnTo>
                  <a:lnTo>
                    <a:pt x="1873" y="544"/>
                  </a:lnTo>
                  <a:lnTo>
                    <a:pt x="1870" y="545"/>
                  </a:lnTo>
                  <a:lnTo>
                    <a:pt x="1869" y="546"/>
                  </a:lnTo>
                  <a:lnTo>
                    <a:pt x="1865" y="541"/>
                  </a:lnTo>
                  <a:lnTo>
                    <a:pt x="1865" y="541"/>
                  </a:lnTo>
                  <a:lnTo>
                    <a:pt x="1861" y="540"/>
                  </a:lnTo>
                  <a:lnTo>
                    <a:pt x="1859" y="540"/>
                  </a:lnTo>
                  <a:lnTo>
                    <a:pt x="1856" y="541"/>
                  </a:lnTo>
                  <a:lnTo>
                    <a:pt x="1856" y="540"/>
                  </a:lnTo>
                  <a:lnTo>
                    <a:pt x="1858" y="539"/>
                  </a:lnTo>
                  <a:lnTo>
                    <a:pt x="1861" y="539"/>
                  </a:lnTo>
                  <a:lnTo>
                    <a:pt x="1856" y="538"/>
                  </a:lnTo>
                  <a:lnTo>
                    <a:pt x="1854" y="541"/>
                  </a:lnTo>
                  <a:lnTo>
                    <a:pt x="1851" y="543"/>
                  </a:lnTo>
                  <a:lnTo>
                    <a:pt x="1850" y="545"/>
                  </a:lnTo>
                  <a:lnTo>
                    <a:pt x="1850" y="544"/>
                  </a:lnTo>
                  <a:lnTo>
                    <a:pt x="1848" y="544"/>
                  </a:lnTo>
                  <a:lnTo>
                    <a:pt x="1844" y="544"/>
                  </a:lnTo>
                  <a:lnTo>
                    <a:pt x="1842" y="547"/>
                  </a:lnTo>
                  <a:lnTo>
                    <a:pt x="1841" y="549"/>
                  </a:lnTo>
                  <a:lnTo>
                    <a:pt x="1839" y="548"/>
                  </a:lnTo>
                  <a:lnTo>
                    <a:pt x="1836" y="547"/>
                  </a:lnTo>
                  <a:lnTo>
                    <a:pt x="1834" y="548"/>
                  </a:lnTo>
                  <a:lnTo>
                    <a:pt x="1834" y="545"/>
                  </a:lnTo>
                  <a:lnTo>
                    <a:pt x="1836" y="543"/>
                  </a:lnTo>
                  <a:lnTo>
                    <a:pt x="1836" y="540"/>
                  </a:lnTo>
                  <a:lnTo>
                    <a:pt x="1834" y="540"/>
                  </a:lnTo>
                  <a:lnTo>
                    <a:pt x="1832" y="541"/>
                  </a:lnTo>
                  <a:lnTo>
                    <a:pt x="1826" y="539"/>
                  </a:lnTo>
                  <a:lnTo>
                    <a:pt x="1824" y="540"/>
                  </a:lnTo>
                  <a:lnTo>
                    <a:pt x="1822" y="538"/>
                  </a:lnTo>
                  <a:lnTo>
                    <a:pt x="1822" y="535"/>
                  </a:lnTo>
                  <a:lnTo>
                    <a:pt x="1821" y="535"/>
                  </a:lnTo>
                  <a:lnTo>
                    <a:pt x="1822" y="534"/>
                  </a:lnTo>
                  <a:lnTo>
                    <a:pt x="1817" y="531"/>
                  </a:lnTo>
                  <a:lnTo>
                    <a:pt x="1814" y="531"/>
                  </a:lnTo>
                  <a:lnTo>
                    <a:pt x="1816" y="530"/>
                  </a:lnTo>
                  <a:lnTo>
                    <a:pt x="1818" y="530"/>
                  </a:lnTo>
                  <a:lnTo>
                    <a:pt x="1815" y="526"/>
                  </a:lnTo>
                  <a:lnTo>
                    <a:pt x="1817" y="523"/>
                  </a:lnTo>
                  <a:lnTo>
                    <a:pt x="1815" y="519"/>
                  </a:lnTo>
                  <a:lnTo>
                    <a:pt x="1817" y="518"/>
                  </a:lnTo>
                  <a:lnTo>
                    <a:pt x="1819" y="517"/>
                  </a:lnTo>
                  <a:lnTo>
                    <a:pt x="1816" y="514"/>
                  </a:lnTo>
                  <a:lnTo>
                    <a:pt x="1819" y="515"/>
                  </a:lnTo>
                  <a:lnTo>
                    <a:pt x="1822" y="515"/>
                  </a:lnTo>
                  <a:lnTo>
                    <a:pt x="1822" y="512"/>
                  </a:lnTo>
                  <a:lnTo>
                    <a:pt x="1825" y="511"/>
                  </a:lnTo>
                  <a:lnTo>
                    <a:pt x="1825" y="505"/>
                  </a:lnTo>
                  <a:lnTo>
                    <a:pt x="1828" y="505"/>
                  </a:lnTo>
                  <a:lnTo>
                    <a:pt x="1828" y="508"/>
                  </a:lnTo>
                  <a:lnTo>
                    <a:pt x="1831" y="505"/>
                  </a:lnTo>
                  <a:lnTo>
                    <a:pt x="1833" y="504"/>
                  </a:lnTo>
                  <a:lnTo>
                    <a:pt x="1834" y="502"/>
                  </a:lnTo>
                  <a:lnTo>
                    <a:pt x="1832" y="498"/>
                  </a:lnTo>
                  <a:lnTo>
                    <a:pt x="1830" y="500"/>
                  </a:lnTo>
                  <a:lnTo>
                    <a:pt x="1827" y="498"/>
                  </a:lnTo>
                  <a:lnTo>
                    <a:pt x="1824" y="501"/>
                  </a:lnTo>
                  <a:lnTo>
                    <a:pt x="1826" y="497"/>
                  </a:lnTo>
                  <a:lnTo>
                    <a:pt x="1823" y="495"/>
                  </a:lnTo>
                  <a:lnTo>
                    <a:pt x="1822" y="496"/>
                  </a:lnTo>
                  <a:lnTo>
                    <a:pt x="1819" y="496"/>
                  </a:lnTo>
                  <a:lnTo>
                    <a:pt x="1823" y="495"/>
                  </a:lnTo>
                  <a:lnTo>
                    <a:pt x="1826" y="495"/>
                  </a:lnTo>
                  <a:lnTo>
                    <a:pt x="1825" y="493"/>
                  </a:lnTo>
                  <a:lnTo>
                    <a:pt x="1824" y="491"/>
                  </a:lnTo>
                  <a:lnTo>
                    <a:pt x="1822" y="488"/>
                  </a:lnTo>
                  <a:lnTo>
                    <a:pt x="1821" y="488"/>
                  </a:lnTo>
                  <a:lnTo>
                    <a:pt x="1811" y="489"/>
                  </a:lnTo>
                  <a:lnTo>
                    <a:pt x="1810" y="493"/>
                  </a:lnTo>
                  <a:lnTo>
                    <a:pt x="1813" y="496"/>
                  </a:lnTo>
                  <a:lnTo>
                    <a:pt x="1811" y="498"/>
                  </a:lnTo>
                  <a:lnTo>
                    <a:pt x="1809" y="496"/>
                  </a:lnTo>
                  <a:lnTo>
                    <a:pt x="1808" y="494"/>
                  </a:lnTo>
                  <a:lnTo>
                    <a:pt x="1806" y="496"/>
                  </a:lnTo>
                  <a:lnTo>
                    <a:pt x="1805" y="498"/>
                  </a:lnTo>
                  <a:lnTo>
                    <a:pt x="1798" y="498"/>
                  </a:lnTo>
                  <a:lnTo>
                    <a:pt x="1797" y="496"/>
                  </a:lnTo>
                  <a:lnTo>
                    <a:pt x="1796" y="498"/>
                  </a:lnTo>
                  <a:lnTo>
                    <a:pt x="1796" y="510"/>
                  </a:lnTo>
                  <a:lnTo>
                    <a:pt x="1798" y="509"/>
                  </a:lnTo>
                  <a:lnTo>
                    <a:pt x="1800" y="511"/>
                  </a:lnTo>
                  <a:lnTo>
                    <a:pt x="1799" y="512"/>
                  </a:lnTo>
                  <a:lnTo>
                    <a:pt x="1797" y="510"/>
                  </a:lnTo>
                  <a:lnTo>
                    <a:pt x="1797" y="515"/>
                  </a:lnTo>
                  <a:lnTo>
                    <a:pt x="1796" y="518"/>
                  </a:lnTo>
                  <a:lnTo>
                    <a:pt x="1799" y="518"/>
                  </a:lnTo>
                  <a:lnTo>
                    <a:pt x="1800" y="520"/>
                  </a:lnTo>
                  <a:lnTo>
                    <a:pt x="1804" y="522"/>
                  </a:lnTo>
                  <a:lnTo>
                    <a:pt x="1804" y="524"/>
                  </a:lnTo>
                  <a:lnTo>
                    <a:pt x="1802" y="526"/>
                  </a:lnTo>
                  <a:lnTo>
                    <a:pt x="1804" y="530"/>
                  </a:lnTo>
                  <a:lnTo>
                    <a:pt x="1802" y="530"/>
                  </a:lnTo>
                  <a:lnTo>
                    <a:pt x="1800" y="528"/>
                  </a:lnTo>
                  <a:lnTo>
                    <a:pt x="1799" y="528"/>
                  </a:lnTo>
                  <a:lnTo>
                    <a:pt x="1800" y="531"/>
                  </a:lnTo>
                  <a:lnTo>
                    <a:pt x="1804" y="531"/>
                  </a:lnTo>
                  <a:lnTo>
                    <a:pt x="1804" y="531"/>
                  </a:lnTo>
                  <a:lnTo>
                    <a:pt x="1808" y="537"/>
                  </a:lnTo>
                  <a:lnTo>
                    <a:pt x="1807" y="538"/>
                  </a:lnTo>
                  <a:lnTo>
                    <a:pt x="1805" y="539"/>
                  </a:lnTo>
                  <a:lnTo>
                    <a:pt x="1804" y="543"/>
                  </a:lnTo>
                  <a:lnTo>
                    <a:pt x="1806" y="541"/>
                  </a:lnTo>
                  <a:lnTo>
                    <a:pt x="1807" y="545"/>
                  </a:lnTo>
                  <a:lnTo>
                    <a:pt x="1806" y="547"/>
                  </a:lnTo>
                  <a:lnTo>
                    <a:pt x="1809" y="549"/>
                  </a:lnTo>
                  <a:lnTo>
                    <a:pt x="1813" y="549"/>
                  </a:lnTo>
                  <a:lnTo>
                    <a:pt x="1817" y="555"/>
                  </a:lnTo>
                  <a:lnTo>
                    <a:pt x="1819" y="556"/>
                  </a:lnTo>
                  <a:lnTo>
                    <a:pt x="1819" y="556"/>
                  </a:lnTo>
                  <a:lnTo>
                    <a:pt x="1816" y="555"/>
                  </a:lnTo>
                  <a:lnTo>
                    <a:pt x="1814" y="553"/>
                  </a:lnTo>
                  <a:lnTo>
                    <a:pt x="1810" y="549"/>
                  </a:lnTo>
                  <a:lnTo>
                    <a:pt x="1808" y="551"/>
                  </a:lnTo>
                  <a:lnTo>
                    <a:pt x="1806" y="551"/>
                  </a:lnTo>
                  <a:lnTo>
                    <a:pt x="1805" y="549"/>
                  </a:lnTo>
                  <a:lnTo>
                    <a:pt x="1801" y="551"/>
                  </a:lnTo>
                  <a:lnTo>
                    <a:pt x="1801" y="553"/>
                  </a:lnTo>
                  <a:lnTo>
                    <a:pt x="1801" y="556"/>
                  </a:lnTo>
                  <a:lnTo>
                    <a:pt x="1801" y="560"/>
                  </a:lnTo>
                  <a:lnTo>
                    <a:pt x="1800" y="555"/>
                  </a:lnTo>
                  <a:lnTo>
                    <a:pt x="1798" y="555"/>
                  </a:lnTo>
                  <a:lnTo>
                    <a:pt x="1798" y="557"/>
                  </a:lnTo>
                  <a:lnTo>
                    <a:pt x="1796" y="557"/>
                  </a:lnTo>
                  <a:lnTo>
                    <a:pt x="1796" y="555"/>
                  </a:lnTo>
                  <a:lnTo>
                    <a:pt x="1793" y="553"/>
                  </a:lnTo>
                  <a:lnTo>
                    <a:pt x="1789" y="553"/>
                  </a:lnTo>
                  <a:lnTo>
                    <a:pt x="1788" y="553"/>
                  </a:lnTo>
                  <a:lnTo>
                    <a:pt x="1785" y="553"/>
                  </a:lnTo>
                  <a:lnTo>
                    <a:pt x="1783" y="554"/>
                  </a:lnTo>
                  <a:lnTo>
                    <a:pt x="1781" y="556"/>
                  </a:lnTo>
                  <a:lnTo>
                    <a:pt x="1781" y="560"/>
                  </a:lnTo>
                  <a:lnTo>
                    <a:pt x="1784" y="560"/>
                  </a:lnTo>
                  <a:lnTo>
                    <a:pt x="1785" y="561"/>
                  </a:lnTo>
                  <a:lnTo>
                    <a:pt x="1783" y="562"/>
                  </a:lnTo>
                  <a:lnTo>
                    <a:pt x="1780" y="560"/>
                  </a:lnTo>
                  <a:lnTo>
                    <a:pt x="1777" y="557"/>
                  </a:lnTo>
                  <a:lnTo>
                    <a:pt x="1772" y="558"/>
                  </a:lnTo>
                  <a:lnTo>
                    <a:pt x="1766" y="558"/>
                  </a:lnTo>
                  <a:lnTo>
                    <a:pt x="1762" y="561"/>
                  </a:lnTo>
                  <a:lnTo>
                    <a:pt x="1758" y="563"/>
                  </a:lnTo>
                  <a:lnTo>
                    <a:pt x="1758" y="564"/>
                  </a:lnTo>
                  <a:lnTo>
                    <a:pt x="1756" y="566"/>
                  </a:lnTo>
                  <a:lnTo>
                    <a:pt x="1753" y="568"/>
                  </a:lnTo>
                  <a:lnTo>
                    <a:pt x="1749" y="568"/>
                  </a:lnTo>
                  <a:lnTo>
                    <a:pt x="1748" y="570"/>
                  </a:lnTo>
                  <a:lnTo>
                    <a:pt x="1748" y="575"/>
                  </a:lnTo>
                  <a:lnTo>
                    <a:pt x="1746" y="579"/>
                  </a:lnTo>
                  <a:lnTo>
                    <a:pt x="1741" y="585"/>
                  </a:lnTo>
                  <a:lnTo>
                    <a:pt x="1740" y="585"/>
                  </a:lnTo>
                  <a:lnTo>
                    <a:pt x="1740" y="588"/>
                  </a:lnTo>
                  <a:lnTo>
                    <a:pt x="1745" y="589"/>
                  </a:lnTo>
                  <a:lnTo>
                    <a:pt x="1748" y="589"/>
                  </a:lnTo>
                  <a:lnTo>
                    <a:pt x="1750" y="588"/>
                  </a:lnTo>
                  <a:lnTo>
                    <a:pt x="1750" y="590"/>
                  </a:lnTo>
                  <a:lnTo>
                    <a:pt x="1748" y="589"/>
                  </a:lnTo>
                  <a:lnTo>
                    <a:pt x="1748" y="589"/>
                  </a:lnTo>
                  <a:lnTo>
                    <a:pt x="1745" y="590"/>
                  </a:lnTo>
                  <a:lnTo>
                    <a:pt x="1742" y="591"/>
                  </a:lnTo>
                  <a:lnTo>
                    <a:pt x="1741" y="591"/>
                  </a:lnTo>
                  <a:lnTo>
                    <a:pt x="1742" y="592"/>
                  </a:lnTo>
                  <a:lnTo>
                    <a:pt x="1740" y="592"/>
                  </a:lnTo>
                  <a:lnTo>
                    <a:pt x="1742" y="594"/>
                  </a:lnTo>
                  <a:lnTo>
                    <a:pt x="1743" y="595"/>
                  </a:lnTo>
                  <a:lnTo>
                    <a:pt x="1740" y="594"/>
                  </a:lnTo>
                  <a:lnTo>
                    <a:pt x="1738" y="591"/>
                  </a:lnTo>
                  <a:lnTo>
                    <a:pt x="1733" y="592"/>
                  </a:lnTo>
                  <a:lnTo>
                    <a:pt x="1734" y="595"/>
                  </a:lnTo>
                  <a:lnTo>
                    <a:pt x="1737" y="596"/>
                  </a:lnTo>
                  <a:lnTo>
                    <a:pt x="1740" y="595"/>
                  </a:lnTo>
                  <a:lnTo>
                    <a:pt x="1742" y="596"/>
                  </a:lnTo>
                  <a:lnTo>
                    <a:pt x="1743" y="598"/>
                  </a:lnTo>
                  <a:lnTo>
                    <a:pt x="1742" y="596"/>
                  </a:lnTo>
                  <a:lnTo>
                    <a:pt x="1739" y="596"/>
                  </a:lnTo>
                  <a:lnTo>
                    <a:pt x="1736" y="597"/>
                  </a:lnTo>
                  <a:lnTo>
                    <a:pt x="1733" y="596"/>
                  </a:lnTo>
                  <a:lnTo>
                    <a:pt x="1728" y="597"/>
                  </a:lnTo>
                  <a:lnTo>
                    <a:pt x="1719" y="601"/>
                  </a:lnTo>
                  <a:lnTo>
                    <a:pt x="1710" y="604"/>
                  </a:lnTo>
                  <a:lnTo>
                    <a:pt x="1706" y="606"/>
                  </a:lnTo>
                  <a:lnTo>
                    <a:pt x="1706" y="608"/>
                  </a:lnTo>
                  <a:lnTo>
                    <a:pt x="1706" y="614"/>
                  </a:lnTo>
                  <a:lnTo>
                    <a:pt x="1706" y="614"/>
                  </a:lnTo>
                  <a:lnTo>
                    <a:pt x="1707" y="617"/>
                  </a:lnTo>
                  <a:lnTo>
                    <a:pt x="1706" y="616"/>
                  </a:lnTo>
                  <a:lnTo>
                    <a:pt x="1704" y="620"/>
                  </a:lnTo>
                  <a:lnTo>
                    <a:pt x="1700" y="622"/>
                  </a:lnTo>
                  <a:lnTo>
                    <a:pt x="1695" y="623"/>
                  </a:lnTo>
                  <a:lnTo>
                    <a:pt x="1689" y="625"/>
                  </a:lnTo>
                  <a:lnTo>
                    <a:pt x="1687" y="628"/>
                  </a:lnTo>
                  <a:lnTo>
                    <a:pt x="1688" y="630"/>
                  </a:lnTo>
                  <a:lnTo>
                    <a:pt x="1691" y="630"/>
                  </a:lnTo>
                  <a:lnTo>
                    <a:pt x="1691" y="630"/>
                  </a:lnTo>
                  <a:lnTo>
                    <a:pt x="1688" y="631"/>
                  </a:lnTo>
                  <a:lnTo>
                    <a:pt x="1682" y="633"/>
                  </a:lnTo>
                  <a:lnTo>
                    <a:pt x="1678" y="632"/>
                  </a:lnTo>
                  <a:lnTo>
                    <a:pt x="1674" y="632"/>
                  </a:lnTo>
                  <a:lnTo>
                    <a:pt x="1672" y="631"/>
                  </a:lnTo>
                  <a:lnTo>
                    <a:pt x="1669" y="632"/>
                  </a:lnTo>
                  <a:lnTo>
                    <a:pt x="1666" y="629"/>
                  </a:lnTo>
                  <a:lnTo>
                    <a:pt x="1666" y="626"/>
                  </a:lnTo>
                  <a:lnTo>
                    <a:pt x="1662" y="626"/>
                  </a:lnTo>
                  <a:lnTo>
                    <a:pt x="1657" y="626"/>
                  </a:lnTo>
                  <a:lnTo>
                    <a:pt x="1660" y="631"/>
                  </a:lnTo>
                  <a:lnTo>
                    <a:pt x="1662" y="634"/>
                  </a:lnTo>
                  <a:lnTo>
                    <a:pt x="1663" y="640"/>
                  </a:lnTo>
                  <a:lnTo>
                    <a:pt x="1663" y="642"/>
                  </a:lnTo>
                  <a:lnTo>
                    <a:pt x="1665" y="645"/>
                  </a:lnTo>
                  <a:lnTo>
                    <a:pt x="1657" y="646"/>
                  </a:lnTo>
                  <a:lnTo>
                    <a:pt x="1657" y="647"/>
                  </a:lnTo>
                  <a:lnTo>
                    <a:pt x="1657" y="647"/>
                  </a:lnTo>
                  <a:lnTo>
                    <a:pt x="1657" y="646"/>
                  </a:lnTo>
                  <a:lnTo>
                    <a:pt x="1653" y="643"/>
                  </a:lnTo>
                  <a:lnTo>
                    <a:pt x="1649" y="646"/>
                  </a:lnTo>
                  <a:lnTo>
                    <a:pt x="1647" y="646"/>
                  </a:lnTo>
                  <a:lnTo>
                    <a:pt x="1643" y="640"/>
                  </a:lnTo>
                  <a:lnTo>
                    <a:pt x="1639" y="641"/>
                  </a:lnTo>
                  <a:lnTo>
                    <a:pt x="1637" y="641"/>
                  </a:lnTo>
                  <a:lnTo>
                    <a:pt x="1635" y="645"/>
                  </a:lnTo>
                  <a:lnTo>
                    <a:pt x="1630" y="643"/>
                  </a:lnTo>
                  <a:lnTo>
                    <a:pt x="1625" y="645"/>
                  </a:lnTo>
                  <a:lnTo>
                    <a:pt x="1622" y="646"/>
                  </a:lnTo>
                  <a:lnTo>
                    <a:pt x="1619" y="648"/>
                  </a:lnTo>
                  <a:lnTo>
                    <a:pt x="1620" y="650"/>
                  </a:lnTo>
                  <a:lnTo>
                    <a:pt x="1625" y="649"/>
                  </a:lnTo>
                  <a:lnTo>
                    <a:pt x="1626" y="651"/>
                  </a:lnTo>
                  <a:lnTo>
                    <a:pt x="1622" y="650"/>
                  </a:lnTo>
                  <a:lnTo>
                    <a:pt x="1622" y="652"/>
                  </a:lnTo>
                  <a:lnTo>
                    <a:pt x="1626" y="654"/>
                  </a:lnTo>
                  <a:lnTo>
                    <a:pt x="1620" y="655"/>
                  </a:lnTo>
                  <a:lnTo>
                    <a:pt x="1621" y="656"/>
                  </a:lnTo>
                  <a:lnTo>
                    <a:pt x="1625" y="657"/>
                  </a:lnTo>
                  <a:lnTo>
                    <a:pt x="1627" y="659"/>
                  </a:lnTo>
                  <a:lnTo>
                    <a:pt x="1629" y="658"/>
                  </a:lnTo>
                  <a:lnTo>
                    <a:pt x="1638" y="660"/>
                  </a:lnTo>
                  <a:lnTo>
                    <a:pt x="1640" y="663"/>
                  </a:lnTo>
                  <a:lnTo>
                    <a:pt x="1643" y="665"/>
                  </a:lnTo>
                  <a:lnTo>
                    <a:pt x="1644" y="663"/>
                  </a:lnTo>
                  <a:lnTo>
                    <a:pt x="1647" y="665"/>
                  </a:lnTo>
                  <a:lnTo>
                    <a:pt x="1653" y="665"/>
                  </a:lnTo>
                  <a:lnTo>
                    <a:pt x="1651" y="666"/>
                  </a:lnTo>
                  <a:lnTo>
                    <a:pt x="1652" y="668"/>
                  </a:lnTo>
                  <a:lnTo>
                    <a:pt x="1655" y="668"/>
                  </a:lnTo>
                  <a:lnTo>
                    <a:pt x="1659" y="668"/>
                  </a:lnTo>
                  <a:lnTo>
                    <a:pt x="1661" y="669"/>
                  </a:lnTo>
                  <a:lnTo>
                    <a:pt x="1657" y="668"/>
                  </a:lnTo>
                  <a:lnTo>
                    <a:pt x="1655" y="668"/>
                  </a:lnTo>
                  <a:lnTo>
                    <a:pt x="1655" y="671"/>
                  </a:lnTo>
                  <a:lnTo>
                    <a:pt x="1657" y="673"/>
                  </a:lnTo>
                  <a:lnTo>
                    <a:pt x="1655" y="676"/>
                  </a:lnTo>
                  <a:lnTo>
                    <a:pt x="1659" y="678"/>
                  </a:lnTo>
                  <a:lnTo>
                    <a:pt x="1661" y="682"/>
                  </a:lnTo>
                  <a:lnTo>
                    <a:pt x="1662" y="683"/>
                  </a:lnTo>
                  <a:lnTo>
                    <a:pt x="1664" y="683"/>
                  </a:lnTo>
                  <a:lnTo>
                    <a:pt x="1666" y="685"/>
                  </a:lnTo>
                  <a:lnTo>
                    <a:pt x="1670" y="685"/>
                  </a:lnTo>
                  <a:lnTo>
                    <a:pt x="1669" y="686"/>
                  </a:lnTo>
                  <a:lnTo>
                    <a:pt x="1670" y="692"/>
                  </a:lnTo>
                  <a:lnTo>
                    <a:pt x="1670" y="694"/>
                  </a:lnTo>
                  <a:lnTo>
                    <a:pt x="1668" y="695"/>
                  </a:lnTo>
                  <a:lnTo>
                    <a:pt x="1669" y="695"/>
                  </a:lnTo>
                  <a:lnTo>
                    <a:pt x="1671" y="697"/>
                  </a:lnTo>
                  <a:lnTo>
                    <a:pt x="1673" y="699"/>
                  </a:lnTo>
                  <a:lnTo>
                    <a:pt x="1676" y="702"/>
                  </a:lnTo>
                  <a:lnTo>
                    <a:pt x="1676" y="705"/>
                  </a:lnTo>
                  <a:lnTo>
                    <a:pt x="1677" y="708"/>
                  </a:lnTo>
                  <a:lnTo>
                    <a:pt x="1678" y="709"/>
                  </a:lnTo>
                  <a:lnTo>
                    <a:pt x="1677" y="708"/>
                  </a:lnTo>
                  <a:lnTo>
                    <a:pt x="1674" y="706"/>
                  </a:lnTo>
                  <a:lnTo>
                    <a:pt x="1674" y="702"/>
                  </a:lnTo>
                  <a:lnTo>
                    <a:pt x="1672" y="700"/>
                  </a:lnTo>
                  <a:lnTo>
                    <a:pt x="1669" y="699"/>
                  </a:lnTo>
                  <a:lnTo>
                    <a:pt x="1668" y="711"/>
                  </a:lnTo>
                  <a:lnTo>
                    <a:pt x="1668" y="714"/>
                  </a:lnTo>
                  <a:lnTo>
                    <a:pt x="1668" y="718"/>
                  </a:lnTo>
                  <a:lnTo>
                    <a:pt x="1665" y="727"/>
                  </a:lnTo>
                  <a:lnTo>
                    <a:pt x="1663" y="734"/>
                  </a:lnTo>
                  <a:lnTo>
                    <a:pt x="1661" y="735"/>
                  </a:lnTo>
                  <a:lnTo>
                    <a:pt x="1657" y="736"/>
                  </a:lnTo>
                  <a:lnTo>
                    <a:pt x="1654" y="736"/>
                  </a:lnTo>
                  <a:lnTo>
                    <a:pt x="1652" y="736"/>
                  </a:lnTo>
                  <a:lnTo>
                    <a:pt x="1647" y="733"/>
                  </a:lnTo>
                  <a:lnTo>
                    <a:pt x="1645" y="734"/>
                  </a:lnTo>
                  <a:lnTo>
                    <a:pt x="1644" y="735"/>
                  </a:lnTo>
                  <a:lnTo>
                    <a:pt x="1642" y="735"/>
                  </a:lnTo>
                  <a:lnTo>
                    <a:pt x="1637" y="733"/>
                  </a:lnTo>
                  <a:lnTo>
                    <a:pt x="1635" y="733"/>
                  </a:lnTo>
                  <a:lnTo>
                    <a:pt x="1632" y="733"/>
                  </a:lnTo>
                  <a:lnTo>
                    <a:pt x="1629" y="734"/>
                  </a:lnTo>
                  <a:lnTo>
                    <a:pt x="1629" y="734"/>
                  </a:lnTo>
                  <a:lnTo>
                    <a:pt x="1627" y="734"/>
                  </a:lnTo>
                  <a:lnTo>
                    <a:pt x="1621" y="734"/>
                  </a:lnTo>
                  <a:lnTo>
                    <a:pt x="1615" y="733"/>
                  </a:lnTo>
                  <a:lnTo>
                    <a:pt x="1612" y="732"/>
                  </a:lnTo>
                  <a:lnTo>
                    <a:pt x="1606" y="732"/>
                  </a:lnTo>
                  <a:lnTo>
                    <a:pt x="1604" y="731"/>
                  </a:lnTo>
                  <a:lnTo>
                    <a:pt x="1602" y="732"/>
                  </a:lnTo>
                  <a:lnTo>
                    <a:pt x="1593" y="732"/>
                  </a:lnTo>
                  <a:lnTo>
                    <a:pt x="1591" y="732"/>
                  </a:lnTo>
                  <a:lnTo>
                    <a:pt x="1588" y="733"/>
                  </a:lnTo>
                  <a:lnTo>
                    <a:pt x="1587" y="732"/>
                  </a:lnTo>
                  <a:lnTo>
                    <a:pt x="1585" y="731"/>
                  </a:lnTo>
                  <a:lnTo>
                    <a:pt x="1582" y="729"/>
                  </a:lnTo>
                  <a:lnTo>
                    <a:pt x="1576" y="728"/>
                  </a:lnTo>
                  <a:lnTo>
                    <a:pt x="1574" y="731"/>
                  </a:lnTo>
                  <a:lnTo>
                    <a:pt x="1572" y="733"/>
                  </a:lnTo>
                  <a:lnTo>
                    <a:pt x="1572" y="733"/>
                  </a:lnTo>
                  <a:lnTo>
                    <a:pt x="1572" y="734"/>
                  </a:lnTo>
                  <a:lnTo>
                    <a:pt x="1569" y="735"/>
                  </a:lnTo>
                  <a:lnTo>
                    <a:pt x="1567" y="736"/>
                  </a:lnTo>
                  <a:lnTo>
                    <a:pt x="1563" y="736"/>
                  </a:lnTo>
                  <a:lnTo>
                    <a:pt x="1558" y="740"/>
                  </a:lnTo>
                  <a:lnTo>
                    <a:pt x="1560" y="743"/>
                  </a:lnTo>
                  <a:lnTo>
                    <a:pt x="1560" y="743"/>
                  </a:lnTo>
                  <a:lnTo>
                    <a:pt x="1561" y="744"/>
                  </a:lnTo>
                  <a:lnTo>
                    <a:pt x="1563" y="744"/>
                  </a:lnTo>
                  <a:lnTo>
                    <a:pt x="1562" y="744"/>
                  </a:lnTo>
                  <a:lnTo>
                    <a:pt x="1562" y="748"/>
                  </a:lnTo>
                  <a:lnTo>
                    <a:pt x="1566" y="746"/>
                  </a:lnTo>
                  <a:lnTo>
                    <a:pt x="1563" y="749"/>
                  </a:lnTo>
                  <a:lnTo>
                    <a:pt x="1563" y="751"/>
                  </a:lnTo>
                  <a:lnTo>
                    <a:pt x="1567" y="751"/>
                  </a:lnTo>
                  <a:lnTo>
                    <a:pt x="1563" y="753"/>
                  </a:lnTo>
                  <a:lnTo>
                    <a:pt x="1566" y="753"/>
                  </a:lnTo>
                  <a:lnTo>
                    <a:pt x="1567" y="752"/>
                  </a:lnTo>
                  <a:lnTo>
                    <a:pt x="1567" y="753"/>
                  </a:lnTo>
                  <a:lnTo>
                    <a:pt x="1563" y="756"/>
                  </a:lnTo>
                  <a:lnTo>
                    <a:pt x="1565" y="758"/>
                  </a:lnTo>
                  <a:lnTo>
                    <a:pt x="1563" y="760"/>
                  </a:lnTo>
                  <a:lnTo>
                    <a:pt x="1563" y="762"/>
                  </a:lnTo>
                  <a:lnTo>
                    <a:pt x="1566" y="770"/>
                  </a:lnTo>
                  <a:lnTo>
                    <a:pt x="1567" y="771"/>
                  </a:lnTo>
                  <a:lnTo>
                    <a:pt x="1566" y="779"/>
                  </a:lnTo>
                  <a:lnTo>
                    <a:pt x="1567" y="776"/>
                  </a:lnTo>
                  <a:lnTo>
                    <a:pt x="1567" y="779"/>
                  </a:lnTo>
                  <a:lnTo>
                    <a:pt x="1565" y="782"/>
                  </a:lnTo>
                  <a:lnTo>
                    <a:pt x="1563" y="788"/>
                  </a:lnTo>
                  <a:lnTo>
                    <a:pt x="1560" y="796"/>
                  </a:lnTo>
                  <a:lnTo>
                    <a:pt x="1557" y="801"/>
                  </a:lnTo>
                  <a:lnTo>
                    <a:pt x="1557" y="803"/>
                  </a:lnTo>
                  <a:lnTo>
                    <a:pt x="1555" y="805"/>
                  </a:lnTo>
                  <a:lnTo>
                    <a:pt x="1555" y="809"/>
                  </a:lnTo>
                  <a:lnTo>
                    <a:pt x="1557" y="811"/>
                  </a:lnTo>
                  <a:lnTo>
                    <a:pt x="1559" y="811"/>
                  </a:lnTo>
                  <a:lnTo>
                    <a:pt x="1560" y="810"/>
                  </a:lnTo>
                  <a:lnTo>
                    <a:pt x="1562" y="806"/>
                  </a:lnTo>
                  <a:lnTo>
                    <a:pt x="1562" y="810"/>
                  </a:lnTo>
                  <a:lnTo>
                    <a:pt x="1560" y="812"/>
                  </a:lnTo>
                  <a:lnTo>
                    <a:pt x="1559" y="811"/>
                  </a:lnTo>
                  <a:lnTo>
                    <a:pt x="1559" y="814"/>
                  </a:lnTo>
                  <a:lnTo>
                    <a:pt x="1565" y="814"/>
                  </a:lnTo>
                  <a:lnTo>
                    <a:pt x="1566" y="813"/>
                  </a:lnTo>
                  <a:lnTo>
                    <a:pt x="1565" y="816"/>
                  </a:lnTo>
                  <a:lnTo>
                    <a:pt x="1565" y="819"/>
                  </a:lnTo>
                  <a:lnTo>
                    <a:pt x="1563" y="822"/>
                  </a:lnTo>
                  <a:lnTo>
                    <a:pt x="1565" y="827"/>
                  </a:lnTo>
                  <a:lnTo>
                    <a:pt x="1565" y="828"/>
                  </a:lnTo>
                  <a:lnTo>
                    <a:pt x="1565" y="831"/>
                  </a:lnTo>
                  <a:lnTo>
                    <a:pt x="1562" y="835"/>
                  </a:lnTo>
                  <a:lnTo>
                    <a:pt x="1562" y="838"/>
                  </a:lnTo>
                  <a:lnTo>
                    <a:pt x="1568" y="836"/>
                  </a:lnTo>
                  <a:lnTo>
                    <a:pt x="1570" y="836"/>
                  </a:lnTo>
                  <a:lnTo>
                    <a:pt x="1572" y="836"/>
                  </a:lnTo>
                  <a:lnTo>
                    <a:pt x="1575" y="837"/>
                  </a:lnTo>
                  <a:lnTo>
                    <a:pt x="1578" y="837"/>
                  </a:lnTo>
                  <a:lnTo>
                    <a:pt x="1583" y="835"/>
                  </a:lnTo>
                  <a:lnTo>
                    <a:pt x="1583" y="834"/>
                  </a:lnTo>
                  <a:lnTo>
                    <a:pt x="1584" y="835"/>
                  </a:lnTo>
                  <a:lnTo>
                    <a:pt x="1584" y="835"/>
                  </a:lnTo>
                  <a:lnTo>
                    <a:pt x="1589" y="834"/>
                  </a:lnTo>
                  <a:lnTo>
                    <a:pt x="1591" y="834"/>
                  </a:lnTo>
                  <a:lnTo>
                    <a:pt x="1589" y="835"/>
                  </a:lnTo>
                  <a:lnTo>
                    <a:pt x="1595" y="838"/>
                  </a:lnTo>
                  <a:lnTo>
                    <a:pt x="1600" y="839"/>
                  </a:lnTo>
                  <a:lnTo>
                    <a:pt x="1596" y="843"/>
                  </a:lnTo>
                  <a:lnTo>
                    <a:pt x="1600" y="845"/>
                  </a:lnTo>
                  <a:lnTo>
                    <a:pt x="1600" y="845"/>
                  </a:lnTo>
                  <a:lnTo>
                    <a:pt x="1600" y="847"/>
                  </a:lnTo>
                  <a:lnTo>
                    <a:pt x="1602" y="851"/>
                  </a:lnTo>
                  <a:lnTo>
                    <a:pt x="1608" y="854"/>
                  </a:lnTo>
                  <a:lnTo>
                    <a:pt x="1612" y="852"/>
                  </a:lnTo>
                  <a:lnTo>
                    <a:pt x="1613" y="847"/>
                  </a:lnTo>
                  <a:lnTo>
                    <a:pt x="1617" y="846"/>
                  </a:lnTo>
                  <a:lnTo>
                    <a:pt x="1619" y="846"/>
                  </a:lnTo>
                  <a:lnTo>
                    <a:pt x="1621" y="846"/>
                  </a:lnTo>
                  <a:lnTo>
                    <a:pt x="1623" y="843"/>
                  </a:lnTo>
                  <a:lnTo>
                    <a:pt x="1625" y="843"/>
                  </a:lnTo>
                  <a:lnTo>
                    <a:pt x="1636" y="843"/>
                  </a:lnTo>
                  <a:lnTo>
                    <a:pt x="1642" y="842"/>
                  </a:lnTo>
                  <a:lnTo>
                    <a:pt x="1646" y="843"/>
                  </a:lnTo>
                  <a:lnTo>
                    <a:pt x="1648" y="843"/>
                  </a:lnTo>
                  <a:lnTo>
                    <a:pt x="1651" y="840"/>
                  </a:lnTo>
                  <a:lnTo>
                    <a:pt x="1653" y="840"/>
                  </a:lnTo>
                  <a:lnTo>
                    <a:pt x="1656" y="842"/>
                  </a:lnTo>
                  <a:lnTo>
                    <a:pt x="1657" y="839"/>
                  </a:lnTo>
                  <a:lnTo>
                    <a:pt x="1660" y="836"/>
                  </a:lnTo>
                  <a:lnTo>
                    <a:pt x="1660" y="834"/>
                  </a:lnTo>
                  <a:lnTo>
                    <a:pt x="1665" y="830"/>
                  </a:lnTo>
                  <a:lnTo>
                    <a:pt x="1668" y="829"/>
                  </a:lnTo>
                  <a:lnTo>
                    <a:pt x="1671" y="829"/>
                  </a:lnTo>
                  <a:lnTo>
                    <a:pt x="1673" y="827"/>
                  </a:lnTo>
                  <a:lnTo>
                    <a:pt x="1676" y="823"/>
                  </a:lnTo>
                  <a:lnTo>
                    <a:pt x="1676" y="820"/>
                  </a:lnTo>
                  <a:lnTo>
                    <a:pt x="1679" y="816"/>
                  </a:lnTo>
                  <a:lnTo>
                    <a:pt x="1685" y="812"/>
                  </a:lnTo>
                  <a:lnTo>
                    <a:pt x="1688" y="811"/>
                  </a:lnTo>
                  <a:lnTo>
                    <a:pt x="1682" y="806"/>
                  </a:lnTo>
                  <a:lnTo>
                    <a:pt x="1681" y="804"/>
                  </a:lnTo>
                  <a:lnTo>
                    <a:pt x="1680" y="800"/>
                  </a:lnTo>
                  <a:lnTo>
                    <a:pt x="1682" y="794"/>
                  </a:lnTo>
                  <a:lnTo>
                    <a:pt x="1685" y="792"/>
                  </a:lnTo>
                  <a:lnTo>
                    <a:pt x="1686" y="789"/>
                  </a:lnTo>
                  <a:lnTo>
                    <a:pt x="1690" y="784"/>
                  </a:lnTo>
                  <a:lnTo>
                    <a:pt x="1691" y="782"/>
                  </a:lnTo>
                  <a:lnTo>
                    <a:pt x="1694" y="780"/>
                  </a:lnTo>
                  <a:lnTo>
                    <a:pt x="1697" y="779"/>
                  </a:lnTo>
                  <a:lnTo>
                    <a:pt x="1697" y="778"/>
                  </a:lnTo>
                  <a:lnTo>
                    <a:pt x="1695" y="777"/>
                  </a:lnTo>
                  <a:lnTo>
                    <a:pt x="1697" y="775"/>
                  </a:lnTo>
                  <a:lnTo>
                    <a:pt x="1702" y="772"/>
                  </a:lnTo>
                  <a:lnTo>
                    <a:pt x="1714" y="769"/>
                  </a:lnTo>
                  <a:lnTo>
                    <a:pt x="1715" y="768"/>
                  </a:lnTo>
                  <a:lnTo>
                    <a:pt x="1717" y="766"/>
                  </a:lnTo>
                  <a:lnTo>
                    <a:pt x="1725" y="762"/>
                  </a:lnTo>
                  <a:lnTo>
                    <a:pt x="1728" y="760"/>
                  </a:lnTo>
                  <a:lnTo>
                    <a:pt x="1729" y="757"/>
                  </a:lnTo>
                  <a:lnTo>
                    <a:pt x="1728" y="754"/>
                  </a:lnTo>
                  <a:lnTo>
                    <a:pt x="1730" y="753"/>
                  </a:lnTo>
                  <a:lnTo>
                    <a:pt x="1726" y="746"/>
                  </a:lnTo>
                  <a:lnTo>
                    <a:pt x="1726" y="744"/>
                  </a:lnTo>
                  <a:lnTo>
                    <a:pt x="1725" y="743"/>
                  </a:lnTo>
                  <a:lnTo>
                    <a:pt x="1726" y="743"/>
                  </a:lnTo>
                  <a:lnTo>
                    <a:pt x="1726" y="740"/>
                  </a:lnTo>
                  <a:lnTo>
                    <a:pt x="1730" y="737"/>
                  </a:lnTo>
                  <a:lnTo>
                    <a:pt x="1732" y="736"/>
                  </a:lnTo>
                  <a:lnTo>
                    <a:pt x="1738" y="733"/>
                  </a:lnTo>
                  <a:lnTo>
                    <a:pt x="1740" y="732"/>
                  </a:lnTo>
                  <a:lnTo>
                    <a:pt x="1742" y="733"/>
                  </a:lnTo>
                  <a:lnTo>
                    <a:pt x="1745" y="733"/>
                  </a:lnTo>
                  <a:lnTo>
                    <a:pt x="1747" y="735"/>
                  </a:lnTo>
                  <a:lnTo>
                    <a:pt x="1750" y="734"/>
                  </a:lnTo>
                  <a:lnTo>
                    <a:pt x="1749" y="732"/>
                  </a:lnTo>
                  <a:lnTo>
                    <a:pt x="1750" y="734"/>
                  </a:lnTo>
                  <a:lnTo>
                    <a:pt x="1754" y="734"/>
                  </a:lnTo>
                  <a:lnTo>
                    <a:pt x="1754" y="734"/>
                  </a:lnTo>
                  <a:lnTo>
                    <a:pt x="1755" y="735"/>
                  </a:lnTo>
                  <a:lnTo>
                    <a:pt x="1757" y="735"/>
                  </a:lnTo>
                  <a:lnTo>
                    <a:pt x="1759" y="737"/>
                  </a:lnTo>
                  <a:lnTo>
                    <a:pt x="1763" y="737"/>
                  </a:lnTo>
                  <a:lnTo>
                    <a:pt x="1763" y="739"/>
                  </a:lnTo>
                  <a:lnTo>
                    <a:pt x="1766" y="739"/>
                  </a:lnTo>
                  <a:lnTo>
                    <a:pt x="1768" y="740"/>
                  </a:lnTo>
                  <a:lnTo>
                    <a:pt x="1774" y="739"/>
                  </a:lnTo>
                  <a:lnTo>
                    <a:pt x="1776" y="736"/>
                  </a:lnTo>
                  <a:lnTo>
                    <a:pt x="1777" y="734"/>
                  </a:lnTo>
                  <a:lnTo>
                    <a:pt x="1783" y="729"/>
                  </a:lnTo>
                  <a:lnTo>
                    <a:pt x="1787" y="728"/>
                  </a:lnTo>
                  <a:lnTo>
                    <a:pt x="1790" y="728"/>
                  </a:lnTo>
                  <a:lnTo>
                    <a:pt x="1793" y="727"/>
                  </a:lnTo>
                  <a:lnTo>
                    <a:pt x="1796" y="725"/>
                  </a:lnTo>
                  <a:lnTo>
                    <a:pt x="1801" y="719"/>
                  </a:lnTo>
                  <a:lnTo>
                    <a:pt x="1805" y="717"/>
                  </a:lnTo>
                  <a:lnTo>
                    <a:pt x="1807" y="717"/>
                  </a:lnTo>
                  <a:lnTo>
                    <a:pt x="1813" y="719"/>
                  </a:lnTo>
                  <a:lnTo>
                    <a:pt x="1817" y="723"/>
                  </a:lnTo>
                  <a:lnTo>
                    <a:pt x="1819" y="723"/>
                  </a:lnTo>
                  <a:lnTo>
                    <a:pt x="1821" y="723"/>
                  </a:lnTo>
                  <a:lnTo>
                    <a:pt x="1822" y="724"/>
                  </a:lnTo>
                  <a:lnTo>
                    <a:pt x="1824" y="725"/>
                  </a:lnTo>
                  <a:lnTo>
                    <a:pt x="1825" y="727"/>
                  </a:lnTo>
                  <a:lnTo>
                    <a:pt x="1825" y="732"/>
                  </a:lnTo>
                  <a:lnTo>
                    <a:pt x="1828" y="736"/>
                  </a:lnTo>
                  <a:lnTo>
                    <a:pt x="1828" y="742"/>
                  </a:lnTo>
                  <a:lnTo>
                    <a:pt x="1832" y="742"/>
                  </a:lnTo>
                  <a:lnTo>
                    <a:pt x="1833" y="744"/>
                  </a:lnTo>
                  <a:lnTo>
                    <a:pt x="1836" y="748"/>
                  </a:lnTo>
                  <a:lnTo>
                    <a:pt x="1839" y="751"/>
                  </a:lnTo>
                  <a:lnTo>
                    <a:pt x="1843" y="752"/>
                  </a:lnTo>
                  <a:lnTo>
                    <a:pt x="1845" y="754"/>
                  </a:lnTo>
                  <a:lnTo>
                    <a:pt x="1845" y="757"/>
                  </a:lnTo>
                  <a:lnTo>
                    <a:pt x="1849" y="758"/>
                  </a:lnTo>
                  <a:lnTo>
                    <a:pt x="1851" y="759"/>
                  </a:lnTo>
                  <a:lnTo>
                    <a:pt x="1852" y="762"/>
                  </a:lnTo>
                  <a:lnTo>
                    <a:pt x="1856" y="763"/>
                  </a:lnTo>
                  <a:lnTo>
                    <a:pt x="1857" y="766"/>
                  </a:lnTo>
                  <a:lnTo>
                    <a:pt x="1862" y="769"/>
                  </a:lnTo>
                  <a:lnTo>
                    <a:pt x="1865" y="769"/>
                  </a:lnTo>
                  <a:lnTo>
                    <a:pt x="1868" y="769"/>
                  </a:lnTo>
                  <a:lnTo>
                    <a:pt x="1870" y="770"/>
                  </a:lnTo>
                  <a:lnTo>
                    <a:pt x="1873" y="770"/>
                  </a:lnTo>
                  <a:lnTo>
                    <a:pt x="1875" y="774"/>
                  </a:lnTo>
                  <a:lnTo>
                    <a:pt x="1878" y="777"/>
                  </a:lnTo>
                  <a:lnTo>
                    <a:pt x="1882" y="777"/>
                  </a:lnTo>
                  <a:lnTo>
                    <a:pt x="1883" y="780"/>
                  </a:lnTo>
                  <a:lnTo>
                    <a:pt x="1884" y="780"/>
                  </a:lnTo>
                  <a:lnTo>
                    <a:pt x="1886" y="779"/>
                  </a:lnTo>
                  <a:lnTo>
                    <a:pt x="1888" y="782"/>
                  </a:lnTo>
                  <a:lnTo>
                    <a:pt x="1890" y="784"/>
                  </a:lnTo>
                  <a:lnTo>
                    <a:pt x="1890" y="787"/>
                  </a:lnTo>
                  <a:lnTo>
                    <a:pt x="1892" y="788"/>
                  </a:lnTo>
                  <a:lnTo>
                    <a:pt x="1895" y="791"/>
                  </a:lnTo>
                  <a:lnTo>
                    <a:pt x="1899" y="789"/>
                  </a:lnTo>
                  <a:lnTo>
                    <a:pt x="1901" y="792"/>
                  </a:lnTo>
                  <a:lnTo>
                    <a:pt x="1901" y="795"/>
                  </a:lnTo>
                  <a:lnTo>
                    <a:pt x="1902" y="797"/>
                  </a:lnTo>
                  <a:lnTo>
                    <a:pt x="1904" y="800"/>
                  </a:lnTo>
                  <a:lnTo>
                    <a:pt x="1905" y="805"/>
                  </a:lnTo>
                  <a:lnTo>
                    <a:pt x="1907" y="808"/>
                  </a:lnTo>
                  <a:lnTo>
                    <a:pt x="1905" y="811"/>
                  </a:lnTo>
                  <a:lnTo>
                    <a:pt x="1902" y="811"/>
                  </a:lnTo>
                  <a:lnTo>
                    <a:pt x="1902" y="816"/>
                  </a:lnTo>
                  <a:lnTo>
                    <a:pt x="1899" y="820"/>
                  </a:lnTo>
                  <a:lnTo>
                    <a:pt x="1900" y="823"/>
                  </a:lnTo>
                  <a:lnTo>
                    <a:pt x="1903" y="823"/>
                  </a:lnTo>
                  <a:lnTo>
                    <a:pt x="1905" y="822"/>
                  </a:lnTo>
                  <a:lnTo>
                    <a:pt x="1907" y="820"/>
                  </a:lnTo>
                  <a:lnTo>
                    <a:pt x="1911" y="814"/>
                  </a:lnTo>
                  <a:lnTo>
                    <a:pt x="1911" y="810"/>
                  </a:lnTo>
                  <a:lnTo>
                    <a:pt x="1919" y="805"/>
                  </a:lnTo>
                  <a:lnTo>
                    <a:pt x="1919" y="803"/>
                  </a:lnTo>
                  <a:lnTo>
                    <a:pt x="1918" y="799"/>
                  </a:lnTo>
                  <a:lnTo>
                    <a:pt x="1913" y="796"/>
                  </a:lnTo>
                  <a:lnTo>
                    <a:pt x="1911" y="795"/>
                  </a:lnTo>
                  <a:lnTo>
                    <a:pt x="1911" y="793"/>
                  </a:lnTo>
                  <a:lnTo>
                    <a:pt x="1912" y="791"/>
                  </a:lnTo>
                  <a:lnTo>
                    <a:pt x="1912" y="788"/>
                  </a:lnTo>
                  <a:lnTo>
                    <a:pt x="1915" y="787"/>
                  </a:lnTo>
                  <a:lnTo>
                    <a:pt x="1916" y="784"/>
                  </a:lnTo>
                  <a:lnTo>
                    <a:pt x="1918" y="782"/>
                  </a:lnTo>
                  <a:lnTo>
                    <a:pt x="1921" y="782"/>
                  </a:lnTo>
                  <a:lnTo>
                    <a:pt x="1921" y="783"/>
                  </a:lnTo>
                  <a:lnTo>
                    <a:pt x="1920" y="783"/>
                  </a:lnTo>
                  <a:lnTo>
                    <a:pt x="1922" y="785"/>
                  </a:lnTo>
                  <a:lnTo>
                    <a:pt x="1928" y="785"/>
                  </a:lnTo>
                  <a:lnTo>
                    <a:pt x="1930" y="787"/>
                  </a:lnTo>
                  <a:lnTo>
                    <a:pt x="1932" y="791"/>
                  </a:lnTo>
                  <a:lnTo>
                    <a:pt x="1934" y="793"/>
                  </a:lnTo>
                  <a:lnTo>
                    <a:pt x="1936" y="793"/>
                  </a:lnTo>
                  <a:lnTo>
                    <a:pt x="1938" y="788"/>
                  </a:lnTo>
                  <a:lnTo>
                    <a:pt x="1937" y="786"/>
                  </a:lnTo>
                  <a:lnTo>
                    <a:pt x="1935" y="784"/>
                  </a:lnTo>
                  <a:lnTo>
                    <a:pt x="1932" y="782"/>
                  </a:lnTo>
                  <a:lnTo>
                    <a:pt x="1930" y="779"/>
                  </a:lnTo>
                  <a:lnTo>
                    <a:pt x="1922" y="776"/>
                  </a:lnTo>
                  <a:lnTo>
                    <a:pt x="1920" y="774"/>
                  </a:lnTo>
                  <a:lnTo>
                    <a:pt x="1912" y="770"/>
                  </a:lnTo>
                  <a:lnTo>
                    <a:pt x="1903" y="766"/>
                  </a:lnTo>
                  <a:lnTo>
                    <a:pt x="1903" y="763"/>
                  </a:lnTo>
                  <a:lnTo>
                    <a:pt x="1905" y="761"/>
                  </a:lnTo>
                  <a:lnTo>
                    <a:pt x="1905" y="759"/>
                  </a:lnTo>
                  <a:lnTo>
                    <a:pt x="1892" y="759"/>
                  </a:lnTo>
                  <a:lnTo>
                    <a:pt x="1890" y="758"/>
                  </a:lnTo>
                  <a:lnTo>
                    <a:pt x="1886" y="757"/>
                  </a:lnTo>
                  <a:lnTo>
                    <a:pt x="1876" y="746"/>
                  </a:lnTo>
                  <a:lnTo>
                    <a:pt x="1873" y="736"/>
                  </a:lnTo>
                  <a:lnTo>
                    <a:pt x="1870" y="732"/>
                  </a:lnTo>
                  <a:lnTo>
                    <a:pt x="1868" y="731"/>
                  </a:lnTo>
                  <a:lnTo>
                    <a:pt x="1862" y="726"/>
                  </a:lnTo>
                  <a:lnTo>
                    <a:pt x="1859" y="725"/>
                  </a:lnTo>
                  <a:lnTo>
                    <a:pt x="1854" y="720"/>
                  </a:lnTo>
                  <a:lnTo>
                    <a:pt x="1853" y="717"/>
                  </a:lnTo>
                  <a:lnTo>
                    <a:pt x="1853" y="714"/>
                  </a:lnTo>
                  <a:lnTo>
                    <a:pt x="1852" y="714"/>
                  </a:lnTo>
                  <a:lnTo>
                    <a:pt x="1856" y="710"/>
                  </a:lnTo>
                  <a:lnTo>
                    <a:pt x="1857" y="708"/>
                  </a:lnTo>
                  <a:lnTo>
                    <a:pt x="1856" y="708"/>
                  </a:lnTo>
                  <a:lnTo>
                    <a:pt x="1853" y="705"/>
                  </a:lnTo>
                  <a:lnTo>
                    <a:pt x="1852" y="703"/>
                  </a:lnTo>
                  <a:lnTo>
                    <a:pt x="1852" y="703"/>
                  </a:lnTo>
                  <a:lnTo>
                    <a:pt x="1851" y="702"/>
                  </a:lnTo>
                  <a:lnTo>
                    <a:pt x="1851" y="702"/>
                  </a:lnTo>
                  <a:lnTo>
                    <a:pt x="1852" y="702"/>
                  </a:lnTo>
                  <a:lnTo>
                    <a:pt x="1853" y="700"/>
                  </a:lnTo>
                  <a:lnTo>
                    <a:pt x="1856" y="700"/>
                  </a:lnTo>
                  <a:lnTo>
                    <a:pt x="1859" y="699"/>
                  </a:lnTo>
                  <a:lnTo>
                    <a:pt x="1861" y="697"/>
                  </a:lnTo>
                  <a:lnTo>
                    <a:pt x="1864" y="697"/>
                  </a:lnTo>
                  <a:lnTo>
                    <a:pt x="1864" y="695"/>
                  </a:lnTo>
                  <a:lnTo>
                    <a:pt x="1867" y="694"/>
                  </a:lnTo>
                  <a:lnTo>
                    <a:pt x="1868" y="695"/>
                  </a:lnTo>
                  <a:lnTo>
                    <a:pt x="1868" y="695"/>
                  </a:lnTo>
                  <a:lnTo>
                    <a:pt x="1868" y="695"/>
                  </a:lnTo>
                  <a:lnTo>
                    <a:pt x="1870" y="694"/>
                  </a:lnTo>
                  <a:lnTo>
                    <a:pt x="1871" y="694"/>
                  </a:lnTo>
                  <a:lnTo>
                    <a:pt x="1873" y="698"/>
                  </a:lnTo>
                  <a:lnTo>
                    <a:pt x="1873" y="698"/>
                  </a:lnTo>
                  <a:lnTo>
                    <a:pt x="1871" y="698"/>
                  </a:lnTo>
                  <a:lnTo>
                    <a:pt x="1870" y="699"/>
                  </a:lnTo>
                  <a:lnTo>
                    <a:pt x="1869" y="700"/>
                  </a:lnTo>
                  <a:lnTo>
                    <a:pt x="1870" y="702"/>
                  </a:lnTo>
                  <a:lnTo>
                    <a:pt x="1870" y="702"/>
                  </a:lnTo>
                  <a:lnTo>
                    <a:pt x="1873" y="706"/>
                  </a:lnTo>
                  <a:lnTo>
                    <a:pt x="1873" y="708"/>
                  </a:lnTo>
                  <a:lnTo>
                    <a:pt x="1875" y="711"/>
                  </a:lnTo>
                  <a:lnTo>
                    <a:pt x="1876" y="710"/>
                  </a:lnTo>
                  <a:lnTo>
                    <a:pt x="1877" y="707"/>
                  </a:lnTo>
                  <a:lnTo>
                    <a:pt x="1877" y="708"/>
                  </a:lnTo>
                  <a:lnTo>
                    <a:pt x="1878" y="708"/>
                  </a:lnTo>
                  <a:lnTo>
                    <a:pt x="1881" y="701"/>
                  </a:lnTo>
                  <a:lnTo>
                    <a:pt x="1885" y="703"/>
                  </a:lnTo>
                  <a:lnTo>
                    <a:pt x="1888" y="708"/>
                  </a:lnTo>
                  <a:lnTo>
                    <a:pt x="1888" y="712"/>
                  </a:lnTo>
                  <a:lnTo>
                    <a:pt x="1890" y="715"/>
                  </a:lnTo>
                  <a:lnTo>
                    <a:pt x="1892" y="716"/>
                  </a:lnTo>
                  <a:lnTo>
                    <a:pt x="1894" y="718"/>
                  </a:lnTo>
                  <a:lnTo>
                    <a:pt x="1898" y="720"/>
                  </a:lnTo>
                  <a:lnTo>
                    <a:pt x="1898" y="720"/>
                  </a:lnTo>
                  <a:lnTo>
                    <a:pt x="1899" y="720"/>
                  </a:lnTo>
                  <a:lnTo>
                    <a:pt x="1899" y="722"/>
                  </a:lnTo>
                  <a:lnTo>
                    <a:pt x="1898" y="720"/>
                  </a:lnTo>
                  <a:lnTo>
                    <a:pt x="1894" y="719"/>
                  </a:lnTo>
                  <a:lnTo>
                    <a:pt x="1893" y="722"/>
                  </a:lnTo>
                  <a:lnTo>
                    <a:pt x="1899" y="727"/>
                  </a:lnTo>
                  <a:lnTo>
                    <a:pt x="1903" y="729"/>
                  </a:lnTo>
                  <a:lnTo>
                    <a:pt x="1904" y="733"/>
                  </a:lnTo>
                  <a:lnTo>
                    <a:pt x="1909" y="732"/>
                  </a:lnTo>
                  <a:lnTo>
                    <a:pt x="1913" y="734"/>
                  </a:lnTo>
                  <a:lnTo>
                    <a:pt x="1916" y="734"/>
                  </a:lnTo>
                  <a:lnTo>
                    <a:pt x="1919" y="737"/>
                  </a:lnTo>
                  <a:lnTo>
                    <a:pt x="1924" y="741"/>
                  </a:lnTo>
                  <a:lnTo>
                    <a:pt x="1927" y="743"/>
                  </a:lnTo>
                  <a:lnTo>
                    <a:pt x="1924" y="742"/>
                  </a:lnTo>
                  <a:lnTo>
                    <a:pt x="1921" y="741"/>
                  </a:lnTo>
                  <a:lnTo>
                    <a:pt x="1918" y="741"/>
                  </a:lnTo>
                  <a:lnTo>
                    <a:pt x="1924" y="743"/>
                  </a:lnTo>
                  <a:lnTo>
                    <a:pt x="1929" y="744"/>
                  </a:lnTo>
                  <a:lnTo>
                    <a:pt x="1937" y="750"/>
                  </a:lnTo>
                  <a:lnTo>
                    <a:pt x="1942" y="750"/>
                  </a:lnTo>
                  <a:lnTo>
                    <a:pt x="1942" y="751"/>
                  </a:lnTo>
                  <a:lnTo>
                    <a:pt x="1941" y="750"/>
                  </a:lnTo>
                  <a:lnTo>
                    <a:pt x="1938" y="751"/>
                  </a:lnTo>
                  <a:lnTo>
                    <a:pt x="1942" y="753"/>
                  </a:lnTo>
                  <a:lnTo>
                    <a:pt x="1944" y="754"/>
                  </a:lnTo>
                  <a:lnTo>
                    <a:pt x="1946" y="758"/>
                  </a:lnTo>
                  <a:lnTo>
                    <a:pt x="1950" y="760"/>
                  </a:lnTo>
                  <a:lnTo>
                    <a:pt x="1952" y="760"/>
                  </a:lnTo>
                  <a:lnTo>
                    <a:pt x="1953" y="761"/>
                  </a:lnTo>
                  <a:lnTo>
                    <a:pt x="1953" y="765"/>
                  </a:lnTo>
                  <a:lnTo>
                    <a:pt x="1951" y="768"/>
                  </a:lnTo>
                  <a:lnTo>
                    <a:pt x="1951" y="770"/>
                  </a:lnTo>
                  <a:lnTo>
                    <a:pt x="1951" y="774"/>
                  </a:lnTo>
                  <a:lnTo>
                    <a:pt x="1951" y="776"/>
                  </a:lnTo>
                  <a:lnTo>
                    <a:pt x="1950" y="779"/>
                  </a:lnTo>
                  <a:lnTo>
                    <a:pt x="1951" y="782"/>
                  </a:lnTo>
                  <a:lnTo>
                    <a:pt x="1951" y="782"/>
                  </a:lnTo>
                  <a:lnTo>
                    <a:pt x="1951" y="785"/>
                  </a:lnTo>
                  <a:lnTo>
                    <a:pt x="1951" y="785"/>
                  </a:lnTo>
                  <a:lnTo>
                    <a:pt x="1950" y="784"/>
                  </a:lnTo>
                  <a:lnTo>
                    <a:pt x="1951" y="786"/>
                  </a:lnTo>
                  <a:lnTo>
                    <a:pt x="1956" y="789"/>
                  </a:lnTo>
                  <a:lnTo>
                    <a:pt x="1959" y="793"/>
                  </a:lnTo>
                  <a:lnTo>
                    <a:pt x="1959" y="795"/>
                  </a:lnTo>
                  <a:lnTo>
                    <a:pt x="1961" y="796"/>
                  </a:lnTo>
                  <a:lnTo>
                    <a:pt x="1963" y="801"/>
                  </a:lnTo>
                  <a:lnTo>
                    <a:pt x="1966" y="802"/>
                  </a:lnTo>
                  <a:lnTo>
                    <a:pt x="1969" y="806"/>
                  </a:lnTo>
                  <a:lnTo>
                    <a:pt x="1970" y="804"/>
                  </a:lnTo>
                  <a:lnTo>
                    <a:pt x="1971" y="805"/>
                  </a:lnTo>
                  <a:lnTo>
                    <a:pt x="1973" y="805"/>
                  </a:lnTo>
                  <a:lnTo>
                    <a:pt x="1972" y="808"/>
                  </a:lnTo>
                  <a:lnTo>
                    <a:pt x="1971" y="808"/>
                  </a:lnTo>
                  <a:lnTo>
                    <a:pt x="1969" y="806"/>
                  </a:lnTo>
                  <a:lnTo>
                    <a:pt x="1969" y="810"/>
                  </a:lnTo>
                  <a:lnTo>
                    <a:pt x="1972" y="812"/>
                  </a:lnTo>
                  <a:lnTo>
                    <a:pt x="1975" y="818"/>
                  </a:lnTo>
                  <a:lnTo>
                    <a:pt x="1977" y="816"/>
                  </a:lnTo>
                  <a:lnTo>
                    <a:pt x="1977" y="814"/>
                  </a:lnTo>
                  <a:lnTo>
                    <a:pt x="1979" y="818"/>
                  </a:lnTo>
                  <a:lnTo>
                    <a:pt x="1986" y="816"/>
                  </a:lnTo>
                  <a:lnTo>
                    <a:pt x="1988" y="817"/>
                  </a:lnTo>
                  <a:lnTo>
                    <a:pt x="1992" y="816"/>
                  </a:lnTo>
                  <a:lnTo>
                    <a:pt x="1994" y="818"/>
                  </a:lnTo>
                  <a:lnTo>
                    <a:pt x="1995" y="817"/>
                  </a:lnTo>
                  <a:lnTo>
                    <a:pt x="1997" y="819"/>
                  </a:lnTo>
                  <a:lnTo>
                    <a:pt x="1999" y="819"/>
                  </a:lnTo>
                  <a:lnTo>
                    <a:pt x="2003" y="820"/>
                  </a:lnTo>
                  <a:lnTo>
                    <a:pt x="2002" y="821"/>
                  </a:lnTo>
                  <a:lnTo>
                    <a:pt x="1999" y="822"/>
                  </a:lnTo>
                  <a:lnTo>
                    <a:pt x="1997" y="822"/>
                  </a:lnTo>
                  <a:lnTo>
                    <a:pt x="1994" y="820"/>
                  </a:lnTo>
                  <a:lnTo>
                    <a:pt x="1992" y="820"/>
                  </a:lnTo>
                  <a:lnTo>
                    <a:pt x="1988" y="819"/>
                  </a:lnTo>
                  <a:lnTo>
                    <a:pt x="1985" y="817"/>
                  </a:lnTo>
                  <a:lnTo>
                    <a:pt x="1982" y="818"/>
                  </a:lnTo>
                  <a:lnTo>
                    <a:pt x="1980" y="820"/>
                  </a:lnTo>
                  <a:lnTo>
                    <a:pt x="1977" y="820"/>
                  </a:lnTo>
                  <a:lnTo>
                    <a:pt x="1976" y="822"/>
                  </a:lnTo>
                  <a:lnTo>
                    <a:pt x="1976" y="826"/>
                  </a:lnTo>
                  <a:lnTo>
                    <a:pt x="1978" y="828"/>
                  </a:lnTo>
                  <a:lnTo>
                    <a:pt x="1980" y="829"/>
                  </a:lnTo>
                  <a:lnTo>
                    <a:pt x="1981" y="831"/>
                  </a:lnTo>
                  <a:lnTo>
                    <a:pt x="1980" y="837"/>
                  </a:lnTo>
                  <a:lnTo>
                    <a:pt x="1982" y="840"/>
                  </a:lnTo>
                  <a:lnTo>
                    <a:pt x="1985" y="840"/>
                  </a:lnTo>
                  <a:lnTo>
                    <a:pt x="1987" y="837"/>
                  </a:lnTo>
                  <a:lnTo>
                    <a:pt x="1988" y="839"/>
                  </a:lnTo>
                  <a:lnTo>
                    <a:pt x="1990" y="842"/>
                  </a:lnTo>
                  <a:lnTo>
                    <a:pt x="1993" y="846"/>
                  </a:lnTo>
                  <a:lnTo>
                    <a:pt x="1993" y="846"/>
                  </a:lnTo>
                  <a:lnTo>
                    <a:pt x="1993" y="844"/>
                  </a:lnTo>
                  <a:lnTo>
                    <a:pt x="1995" y="840"/>
                  </a:lnTo>
                  <a:lnTo>
                    <a:pt x="1997" y="843"/>
                  </a:lnTo>
                  <a:lnTo>
                    <a:pt x="1998" y="845"/>
                  </a:lnTo>
                  <a:lnTo>
                    <a:pt x="2002" y="847"/>
                  </a:lnTo>
                  <a:lnTo>
                    <a:pt x="2002" y="845"/>
                  </a:lnTo>
                  <a:lnTo>
                    <a:pt x="2001" y="843"/>
                  </a:lnTo>
                  <a:lnTo>
                    <a:pt x="2001" y="840"/>
                  </a:lnTo>
                  <a:lnTo>
                    <a:pt x="1999" y="837"/>
                  </a:lnTo>
                  <a:lnTo>
                    <a:pt x="1997" y="833"/>
                  </a:lnTo>
                  <a:lnTo>
                    <a:pt x="1996" y="829"/>
                  </a:lnTo>
                  <a:lnTo>
                    <a:pt x="1996" y="829"/>
                  </a:lnTo>
                  <a:lnTo>
                    <a:pt x="1998" y="830"/>
                  </a:lnTo>
                  <a:lnTo>
                    <a:pt x="2001" y="833"/>
                  </a:lnTo>
                  <a:lnTo>
                    <a:pt x="2006" y="831"/>
                  </a:lnTo>
                  <a:lnTo>
                    <a:pt x="2006" y="831"/>
                  </a:lnTo>
                  <a:lnTo>
                    <a:pt x="2005" y="828"/>
                  </a:lnTo>
                  <a:lnTo>
                    <a:pt x="2003" y="829"/>
                  </a:lnTo>
                  <a:lnTo>
                    <a:pt x="2002" y="827"/>
                  </a:lnTo>
                  <a:lnTo>
                    <a:pt x="1999" y="825"/>
                  </a:lnTo>
                  <a:lnTo>
                    <a:pt x="1999" y="823"/>
                  </a:lnTo>
                  <a:lnTo>
                    <a:pt x="2006" y="822"/>
                  </a:lnTo>
                  <a:lnTo>
                    <a:pt x="2009" y="823"/>
                  </a:lnTo>
                  <a:lnTo>
                    <a:pt x="2011" y="825"/>
                  </a:lnTo>
                  <a:lnTo>
                    <a:pt x="2014" y="828"/>
                  </a:lnTo>
                  <a:lnTo>
                    <a:pt x="2014" y="827"/>
                  </a:lnTo>
                  <a:lnTo>
                    <a:pt x="2014" y="825"/>
                  </a:lnTo>
                  <a:lnTo>
                    <a:pt x="2013" y="822"/>
                  </a:lnTo>
                  <a:lnTo>
                    <a:pt x="2013" y="820"/>
                  </a:lnTo>
                  <a:lnTo>
                    <a:pt x="2012" y="818"/>
                  </a:lnTo>
                  <a:lnTo>
                    <a:pt x="2010" y="817"/>
                  </a:lnTo>
                  <a:lnTo>
                    <a:pt x="2007" y="814"/>
                  </a:lnTo>
                  <a:lnTo>
                    <a:pt x="2004" y="814"/>
                  </a:lnTo>
                  <a:lnTo>
                    <a:pt x="2004" y="812"/>
                  </a:lnTo>
                  <a:lnTo>
                    <a:pt x="2002" y="812"/>
                  </a:lnTo>
                  <a:lnTo>
                    <a:pt x="1998" y="810"/>
                  </a:lnTo>
                  <a:lnTo>
                    <a:pt x="1996" y="810"/>
                  </a:lnTo>
                  <a:lnTo>
                    <a:pt x="1994" y="808"/>
                  </a:lnTo>
                  <a:lnTo>
                    <a:pt x="1997" y="808"/>
                  </a:lnTo>
                  <a:lnTo>
                    <a:pt x="1999" y="806"/>
                  </a:lnTo>
                  <a:lnTo>
                    <a:pt x="1997" y="802"/>
                  </a:lnTo>
                  <a:lnTo>
                    <a:pt x="2001" y="801"/>
                  </a:lnTo>
                  <a:lnTo>
                    <a:pt x="2002" y="802"/>
                  </a:lnTo>
                  <a:lnTo>
                    <a:pt x="2001" y="805"/>
                  </a:lnTo>
                  <a:lnTo>
                    <a:pt x="2003" y="804"/>
                  </a:lnTo>
                  <a:lnTo>
                    <a:pt x="2004" y="802"/>
                  </a:lnTo>
                  <a:lnTo>
                    <a:pt x="1998" y="796"/>
                  </a:lnTo>
                  <a:lnTo>
                    <a:pt x="1995" y="791"/>
                  </a:lnTo>
                  <a:lnTo>
                    <a:pt x="1994" y="791"/>
                  </a:lnTo>
                  <a:lnTo>
                    <a:pt x="1994" y="788"/>
                  </a:lnTo>
                  <a:lnTo>
                    <a:pt x="1995" y="785"/>
                  </a:lnTo>
                  <a:lnTo>
                    <a:pt x="1995" y="783"/>
                  </a:lnTo>
                  <a:lnTo>
                    <a:pt x="1995" y="782"/>
                  </a:lnTo>
                  <a:lnTo>
                    <a:pt x="1996" y="782"/>
                  </a:lnTo>
                  <a:lnTo>
                    <a:pt x="1998" y="779"/>
                  </a:lnTo>
                  <a:lnTo>
                    <a:pt x="1997" y="783"/>
                  </a:lnTo>
                  <a:lnTo>
                    <a:pt x="2001" y="785"/>
                  </a:lnTo>
                  <a:lnTo>
                    <a:pt x="2004" y="787"/>
                  </a:lnTo>
                  <a:lnTo>
                    <a:pt x="2005" y="791"/>
                  </a:lnTo>
                  <a:lnTo>
                    <a:pt x="2007" y="791"/>
                  </a:lnTo>
                  <a:lnTo>
                    <a:pt x="2006" y="789"/>
                  </a:lnTo>
                  <a:lnTo>
                    <a:pt x="2004" y="786"/>
                  </a:lnTo>
                  <a:lnTo>
                    <a:pt x="2006" y="786"/>
                  </a:lnTo>
                  <a:lnTo>
                    <a:pt x="2010" y="787"/>
                  </a:lnTo>
                  <a:lnTo>
                    <a:pt x="2012" y="791"/>
                  </a:lnTo>
                  <a:lnTo>
                    <a:pt x="2013" y="791"/>
                  </a:lnTo>
                  <a:lnTo>
                    <a:pt x="2013" y="789"/>
                  </a:lnTo>
                  <a:lnTo>
                    <a:pt x="2012" y="787"/>
                  </a:lnTo>
                  <a:lnTo>
                    <a:pt x="2011" y="787"/>
                  </a:lnTo>
                  <a:lnTo>
                    <a:pt x="2010" y="784"/>
                  </a:lnTo>
                  <a:lnTo>
                    <a:pt x="2013" y="784"/>
                  </a:lnTo>
                  <a:lnTo>
                    <a:pt x="2015" y="785"/>
                  </a:lnTo>
                  <a:lnTo>
                    <a:pt x="2018" y="788"/>
                  </a:lnTo>
                  <a:lnTo>
                    <a:pt x="2019" y="787"/>
                  </a:lnTo>
                  <a:lnTo>
                    <a:pt x="2016" y="785"/>
                  </a:lnTo>
                  <a:lnTo>
                    <a:pt x="2014" y="783"/>
                  </a:lnTo>
                  <a:lnTo>
                    <a:pt x="2011" y="783"/>
                  </a:lnTo>
                  <a:lnTo>
                    <a:pt x="2010" y="778"/>
                  </a:lnTo>
                  <a:lnTo>
                    <a:pt x="2012" y="777"/>
                  </a:lnTo>
                  <a:lnTo>
                    <a:pt x="2013" y="778"/>
                  </a:lnTo>
                  <a:lnTo>
                    <a:pt x="2016" y="777"/>
                  </a:lnTo>
                  <a:lnTo>
                    <a:pt x="2019" y="775"/>
                  </a:lnTo>
                  <a:lnTo>
                    <a:pt x="2024" y="776"/>
                  </a:lnTo>
                  <a:lnTo>
                    <a:pt x="2027" y="775"/>
                  </a:lnTo>
                  <a:lnTo>
                    <a:pt x="2029" y="774"/>
                  </a:lnTo>
                  <a:lnTo>
                    <a:pt x="2030" y="775"/>
                  </a:lnTo>
                  <a:lnTo>
                    <a:pt x="2039" y="776"/>
                  </a:lnTo>
                  <a:lnTo>
                    <a:pt x="2041" y="778"/>
                  </a:lnTo>
                  <a:lnTo>
                    <a:pt x="2043" y="780"/>
                  </a:lnTo>
                  <a:lnTo>
                    <a:pt x="2046" y="780"/>
                  </a:lnTo>
                  <a:lnTo>
                    <a:pt x="2050" y="779"/>
                  </a:lnTo>
                  <a:lnTo>
                    <a:pt x="2052" y="780"/>
                  </a:lnTo>
                  <a:lnTo>
                    <a:pt x="2044" y="785"/>
                  </a:lnTo>
                  <a:lnTo>
                    <a:pt x="2045" y="786"/>
                  </a:lnTo>
                  <a:lnTo>
                    <a:pt x="2044" y="789"/>
                  </a:lnTo>
                  <a:lnTo>
                    <a:pt x="2046" y="786"/>
                  </a:lnTo>
                  <a:lnTo>
                    <a:pt x="2049" y="785"/>
                  </a:lnTo>
                  <a:lnTo>
                    <a:pt x="2052" y="782"/>
                  </a:lnTo>
                  <a:lnTo>
                    <a:pt x="2054" y="782"/>
                  </a:lnTo>
                  <a:lnTo>
                    <a:pt x="2055" y="780"/>
                  </a:lnTo>
                  <a:lnTo>
                    <a:pt x="2057" y="779"/>
                  </a:lnTo>
                  <a:lnTo>
                    <a:pt x="2063" y="774"/>
                  </a:lnTo>
                  <a:lnTo>
                    <a:pt x="2065" y="774"/>
                  </a:lnTo>
                  <a:lnTo>
                    <a:pt x="2071" y="772"/>
                  </a:lnTo>
                  <a:lnTo>
                    <a:pt x="2075" y="774"/>
                  </a:lnTo>
                  <a:lnTo>
                    <a:pt x="2077" y="774"/>
                  </a:lnTo>
                  <a:lnTo>
                    <a:pt x="2077" y="775"/>
                  </a:lnTo>
                  <a:lnTo>
                    <a:pt x="2080" y="775"/>
                  </a:lnTo>
                  <a:lnTo>
                    <a:pt x="2082" y="772"/>
                  </a:lnTo>
                  <a:lnTo>
                    <a:pt x="2081" y="770"/>
                  </a:lnTo>
                  <a:lnTo>
                    <a:pt x="2073" y="767"/>
                  </a:lnTo>
                  <a:lnTo>
                    <a:pt x="2070" y="765"/>
                  </a:lnTo>
                  <a:lnTo>
                    <a:pt x="2067" y="760"/>
                  </a:lnTo>
                  <a:lnTo>
                    <a:pt x="2069" y="758"/>
                  </a:lnTo>
                  <a:lnTo>
                    <a:pt x="2067" y="756"/>
                  </a:lnTo>
                  <a:lnTo>
                    <a:pt x="2065" y="753"/>
                  </a:lnTo>
                  <a:lnTo>
                    <a:pt x="2063" y="751"/>
                  </a:lnTo>
                  <a:lnTo>
                    <a:pt x="2061" y="750"/>
                  </a:lnTo>
                  <a:lnTo>
                    <a:pt x="2063" y="749"/>
                  </a:lnTo>
                  <a:lnTo>
                    <a:pt x="2064" y="746"/>
                  </a:lnTo>
                  <a:lnTo>
                    <a:pt x="2066" y="744"/>
                  </a:lnTo>
                  <a:lnTo>
                    <a:pt x="2067" y="737"/>
                  </a:lnTo>
                  <a:lnTo>
                    <a:pt x="2069" y="737"/>
                  </a:lnTo>
                  <a:lnTo>
                    <a:pt x="2070" y="734"/>
                  </a:lnTo>
                  <a:lnTo>
                    <a:pt x="2075" y="734"/>
                  </a:lnTo>
                  <a:lnTo>
                    <a:pt x="2077" y="726"/>
                  </a:lnTo>
                  <a:lnTo>
                    <a:pt x="2077" y="720"/>
                  </a:lnTo>
                  <a:lnTo>
                    <a:pt x="2078" y="718"/>
                  </a:lnTo>
                  <a:lnTo>
                    <a:pt x="2082" y="712"/>
                  </a:lnTo>
                  <a:lnTo>
                    <a:pt x="2079" y="714"/>
                  </a:lnTo>
                  <a:lnTo>
                    <a:pt x="2079" y="714"/>
                  </a:lnTo>
                  <a:lnTo>
                    <a:pt x="2081" y="710"/>
                  </a:lnTo>
                  <a:lnTo>
                    <a:pt x="2081" y="708"/>
                  </a:lnTo>
                  <a:lnTo>
                    <a:pt x="2082" y="708"/>
                  </a:lnTo>
                  <a:lnTo>
                    <a:pt x="2082" y="710"/>
                  </a:lnTo>
                  <a:lnTo>
                    <a:pt x="2086" y="711"/>
                  </a:lnTo>
                  <a:lnTo>
                    <a:pt x="2088" y="710"/>
                  </a:lnTo>
                  <a:lnTo>
                    <a:pt x="2090" y="709"/>
                  </a:lnTo>
                  <a:lnTo>
                    <a:pt x="2091" y="708"/>
                  </a:lnTo>
                  <a:lnTo>
                    <a:pt x="2091" y="703"/>
                  </a:lnTo>
                  <a:lnTo>
                    <a:pt x="2091" y="703"/>
                  </a:lnTo>
                  <a:lnTo>
                    <a:pt x="2092" y="701"/>
                  </a:lnTo>
                  <a:lnTo>
                    <a:pt x="2092" y="700"/>
                  </a:lnTo>
                  <a:lnTo>
                    <a:pt x="2090" y="698"/>
                  </a:lnTo>
                  <a:lnTo>
                    <a:pt x="2090" y="695"/>
                  </a:lnTo>
                  <a:lnTo>
                    <a:pt x="2092" y="695"/>
                  </a:lnTo>
                  <a:lnTo>
                    <a:pt x="2096" y="693"/>
                  </a:lnTo>
                  <a:lnTo>
                    <a:pt x="2096" y="694"/>
                  </a:lnTo>
                  <a:lnTo>
                    <a:pt x="2098" y="693"/>
                  </a:lnTo>
                  <a:lnTo>
                    <a:pt x="2101" y="689"/>
                  </a:lnTo>
                  <a:lnTo>
                    <a:pt x="2098" y="684"/>
                  </a:lnTo>
                  <a:lnTo>
                    <a:pt x="2099" y="684"/>
                  </a:lnTo>
                  <a:lnTo>
                    <a:pt x="2101" y="688"/>
                  </a:lnTo>
                  <a:lnTo>
                    <a:pt x="2101" y="689"/>
                  </a:lnTo>
                  <a:lnTo>
                    <a:pt x="2106" y="684"/>
                  </a:lnTo>
                  <a:lnTo>
                    <a:pt x="2106" y="681"/>
                  </a:lnTo>
                  <a:lnTo>
                    <a:pt x="2112" y="680"/>
                  </a:lnTo>
                  <a:lnTo>
                    <a:pt x="2114" y="680"/>
                  </a:lnTo>
                  <a:lnTo>
                    <a:pt x="2115" y="677"/>
                  </a:lnTo>
                  <a:lnTo>
                    <a:pt x="2116" y="680"/>
                  </a:lnTo>
                  <a:lnTo>
                    <a:pt x="2120" y="680"/>
                  </a:lnTo>
                  <a:lnTo>
                    <a:pt x="2121" y="677"/>
                  </a:lnTo>
                  <a:lnTo>
                    <a:pt x="2122" y="674"/>
                  </a:lnTo>
                  <a:lnTo>
                    <a:pt x="2122" y="674"/>
                  </a:lnTo>
                  <a:lnTo>
                    <a:pt x="2120" y="669"/>
                  </a:lnTo>
                  <a:lnTo>
                    <a:pt x="2123" y="674"/>
                  </a:lnTo>
                  <a:lnTo>
                    <a:pt x="2123" y="678"/>
                  </a:lnTo>
                  <a:lnTo>
                    <a:pt x="2124" y="681"/>
                  </a:lnTo>
                  <a:lnTo>
                    <a:pt x="2127" y="681"/>
                  </a:lnTo>
                  <a:lnTo>
                    <a:pt x="2132" y="680"/>
                  </a:lnTo>
                  <a:lnTo>
                    <a:pt x="2129" y="681"/>
                  </a:lnTo>
                  <a:lnTo>
                    <a:pt x="2129" y="682"/>
                  </a:lnTo>
                  <a:lnTo>
                    <a:pt x="2123" y="682"/>
                  </a:lnTo>
                  <a:lnTo>
                    <a:pt x="2118" y="681"/>
                  </a:lnTo>
                  <a:lnTo>
                    <a:pt x="2121" y="682"/>
                  </a:lnTo>
                  <a:lnTo>
                    <a:pt x="2123" y="684"/>
                  </a:lnTo>
                  <a:lnTo>
                    <a:pt x="2120" y="685"/>
                  </a:lnTo>
                  <a:lnTo>
                    <a:pt x="2123" y="686"/>
                  </a:lnTo>
                  <a:lnTo>
                    <a:pt x="2127" y="689"/>
                  </a:lnTo>
                  <a:lnTo>
                    <a:pt x="2130" y="689"/>
                  </a:lnTo>
                  <a:lnTo>
                    <a:pt x="2138" y="689"/>
                  </a:lnTo>
                  <a:lnTo>
                    <a:pt x="2143" y="690"/>
                  </a:lnTo>
                  <a:lnTo>
                    <a:pt x="2146" y="689"/>
                  </a:lnTo>
                  <a:lnTo>
                    <a:pt x="2146" y="688"/>
                  </a:lnTo>
                  <a:lnTo>
                    <a:pt x="2146" y="688"/>
                  </a:lnTo>
                  <a:lnTo>
                    <a:pt x="2146" y="686"/>
                  </a:lnTo>
                  <a:lnTo>
                    <a:pt x="2146" y="686"/>
                  </a:lnTo>
                  <a:lnTo>
                    <a:pt x="2148" y="686"/>
                  </a:lnTo>
                  <a:lnTo>
                    <a:pt x="2151" y="688"/>
                  </a:lnTo>
                  <a:lnTo>
                    <a:pt x="2154" y="686"/>
                  </a:lnTo>
                  <a:lnTo>
                    <a:pt x="2156" y="689"/>
                  </a:lnTo>
                  <a:lnTo>
                    <a:pt x="2157" y="691"/>
                  </a:lnTo>
                  <a:lnTo>
                    <a:pt x="2160" y="690"/>
                  </a:lnTo>
                  <a:lnTo>
                    <a:pt x="2163" y="695"/>
                  </a:lnTo>
                  <a:lnTo>
                    <a:pt x="2164" y="695"/>
                  </a:lnTo>
                  <a:lnTo>
                    <a:pt x="2164" y="694"/>
                  </a:lnTo>
                  <a:lnTo>
                    <a:pt x="2163" y="692"/>
                  </a:lnTo>
                  <a:lnTo>
                    <a:pt x="2161" y="690"/>
                  </a:lnTo>
                  <a:lnTo>
                    <a:pt x="2161" y="688"/>
                  </a:lnTo>
                  <a:lnTo>
                    <a:pt x="2166" y="685"/>
                  </a:lnTo>
                  <a:lnTo>
                    <a:pt x="2167" y="683"/>
                  </a:lnTo>
                  <a:lnTo>
                    <a:pt x="2168" y="685"/>
                  </a:lnTo>
                  <a:lnTo>
                    <a:pt x="2164" y="689"/>
                  </a:lnTo>
                  <a:lnTo>
                    <a:pt x="2164" y="689"/>
                  </a:lnTo>
                  <a:lnTo>
                    <a:pt x="2167" y="688"/>
                  </a:lnTo>
                  <a:lnTo>
                    <a:pt x="2171" y="683"/>
                  </a:lnTo>
                  <a:lnTo>
                    <a:pt x="2173" y="682"/>
                  </a:lnTo>
                  <a:lnTo>
                    <a:pt x="2175" y="680"/>
                  </a:lnTo>
                  <a:lnTo>
                    <a:pt x="2178" y="678"/>
                  </a:lnTo>
                  <a:lnTo>
                    <a:pt x="2181" y="680"/>
                  </a:lnTo>
                  <a:lnTo>
                    <a:pt x="2184" y="678"/>
                  </a:lnTo>
                  <a:lnTo>
                    <a:pt x="2186" y="677"/>
                  </a:lnTo>
                  <a:lnTo>
                    <a:pt x="2189" y="678"/>
                  </a:lnTo>
                  <a:lnTo>
                    <a:pt x="2192" y="675"/>
                  </a:lnTo>
                  <a:lnTo>
                    <a:pt x="2198" y="674"/>
                  </a:lnTo>
                  <a:lnTo>
                    <a:pt x="2199" y="673"/>
                  </a:lnTo>
                  <a:lnTo>
                    <a:pt x="2203" y="672"/>
                  </a:lnTo>
                  <a:lnTo>
                    <a:pt x="2207" y="672"/>
                  </a:lnTo>
                  <a:lnTo>
                    <a:pt x="2208" y="672"/>
                  </a:lnTo>
                  <a:lnTo>
                    <a:pt x="2209" y="671"/>
                  </a:lnTo>
                  <a:lnTo>
                    <a:pt x="2212" y="669"/>
                  </a:lnTo>
                  <a:lnTo>
                    <a:pt x="2215" y="669"/>
                  </a:lnTo>
                  <a:lnTo>
                    <a:pt x="2212" y="671"/>
                  </a:lnTo>
                  <a:lnTo>
                    <a:pt x="2215" y="671"/>
                  </a:lnTo>
                  <a:lnTo>
                    <a:pt x="2217" y="671"/>
                  </a:lnTo>
                  <a:lnTo>
                    <a:pt x="2219" y="668"/>
                  </a:lnTo>
                  <a:lnTo>
                    <a:pt x="2223" y="669"/>
                  </a:lnTo>
                  <a:lnTo>
                    <a:pt x="2223" y="671"/>
                  </a:lnTo>
                  <a:lnTo>
                    <a:pt x="2224" y="672"/>
                  </a:lnTo>
                  <a:lnTo>
                    <a:pt x="2223" y="673"/>
                  </a:lnTo>
                  <a:lnTo>
                    <a:pt x="2219" y="673"/>
                  </a:lnTo>
                  <a:lnTo>
                    <a:pt x="2215" y="675"/>
                  </a:lnTo>
                  <a:lnTo>
                    <a:pt x="2211" y="675"/>
                  </a:lnTo>
                  <a:lnTo>
                    <a:pt x="2210" y="678"/>
                  </a:lnTo>
                  <a:lnTo>
                    <a:pt x="2212" y="680"/>
                  </a:lnTo>
                  <a:lnTo>
                    <a:pt x="2208" y="678"/>
                  </a:lnTo>
                  <a:lnTo>
                    <a:pt x="2202" y="681"/>
                  </a:lnTo>
                  <a:lnTo>
                    <a:pt x="2205" y="683"/>
                  </a:lnTo>
                  <a:lnTo>
                    <a:pt x="2208" y="684"/>
                  </a:lnTo>
                  <a:lnTo>
                    <a:pt x="2212" y="690"/>
                  </a:lnTo>
                  <a:lnTo>
                    <a:pt x="2210" y="689"/>
                  </a:lnTo>
                  <a:lnTo>
                    <a:pt x="2207" y="690"/>
                  </a:lnTo>
                  <a:lnTo>
                    <a:pt x="2206" y="692"/>
                  </a:lnTo>
                  <a:lnTo>
                    <a:pt x="2206" y="690"/>
                  </a:lnTo>
                  <a:lnTo>
                    <a:pt x="2202" y="695"/>
                  </a:lnTo>
                  <a:lnTo>
                    <a:pt x="2200" y="697"/>
                  </a:lnTo>
                  <a:lnTo>
                    <a:pt x="2201" y="699"/>
                  </a:lnTo>
                  <a:lnTo>
                    <a:pt x="2199" y="701"/>
                  </a:lnTo>
                  <a:lnTo>
                    <a:pt x="2197" y="702"/>
                  </a:lnTo>
                  <a:lnTo>
                    <a:pt x="2193" y="702"/>
                  </a:lnTo>
                  <a:lnTo>
                    <a:pt x="2190" y="700"/>
                  </a:lnTo>
                  <a:lnTo>
                    <a:pt x="2186" y="701"/>
                  </a:lnTo>
                  <a:lnTo>
                    <a:pt x="2190" y="703"/>
                  </a:lnTo>
                  <a:lnTo>
                    <a:pt x="2188" y="705"/>
                  </a:lnTo>
                  <a:lnTo>
                    <a:pt x="2188" y="706"/>
                  </a:lnTo>
                  <a:lnTo>
                    <a:pt x="2193" y="708"/>
                  </a:lnTo>
                  <a:lnTo>
                    <a:pt x="2198" y="712"/>
                  </a:lnTo>
                  <a:lnTo>
                    <a:pt x="2201" y="714"/>
                  </a:lnTo>
                  <a:lnTo>
                    <a:pt x="2203" y="712"/>
                  </a:lnTo>
                  <a:lnTo>
                    <a:pt x="2208" y="718"/>
                  </a:lnTo>
                  <a:lnTo>
                    <a:pt x="2214" y="719"/>
                  </a:lnTo>
                  <a:lnTo>
                    <a:pt x="2219" y="723"/>
                  </a:lnTo>
                  <a:lnTo>
                    <a:pt x="2225" y="727"/>
                  </a:lnTo>
                  <a:lnTo>
                    <a:pt x="2227" y="731"/>
                  </a:lnTo>
                  <a:lnTo>
                    <a:pt x="2232" y="734"/>
                  </a:lnTo>
                  <a:lnTo>
                    <a:pt x="2233" y="735"/>
                  </a:lnTo>
                  <a:lnTo>
                    <a:pt x="2236" y="736"/>
                  </a:lnTo>
                  <a:lnTo>
                    <a:pt x="2238" y="739"/>
                  </a:lnTo>
                  <a:lnTo>
                    <a:pt x="2244" y="740"/>
                  </a:lnTo>
                  <a:lnTo>
                    <a:pt x="2246" y="742"/>
                  </a:lnTo>
                  <a:lnTo>
                    <a:pt x="2250" y="744"/>
                  </a:lnTo>
                  <a:lnTo>
                    <a:pt x="2252" y="745"/>
                  </a:lnTo>
                  <a:lnTo>
                    <a:pt x="2253" y="749"/>
                  </a:lnTo>
                  <a:lnTo>
                    <a:pt x="2253" y="751"/>
                  </a:lnTo>
                  <a:lnTo>
                    <a:pt x="2255" y="754"/>
                  </a:lnTo>
                  <a:lnTo>
                    <a:pt x="2257" y="759"/>
                  </a:lnTo>
                  <a:lnTo>
                    <a:pt x="2257" y="761"/>
                  </a:lnTo>
                  <a:lnTo>
                    <a:pt x="2253" y="766"/>
                  </a:lnTo>
                  <a:lnTo>
                    <a:pt x="2251" y="768"/>
                  </a:lnTo>
                  <a:lnTo>
                    <a:pt x="2246" y="770"/>
                  </a:lnTo>
                  <a:lnTo>
                    <a:pt x="2244" y="770"/>
                  </a:lnTo>
                  <a:lnTo>
                    <a:pt x="2242" y="772"/>
                  </a:lnTo>
                  <a:lnTo>
                    <a:pt x="2234" y="775"/>
                  </a:lnTo>
                  <a:lnTo>
                    <a:pt x="2233" y="775"/>
                  </a:lnTo>
                  <a:lnTo>
                    <a:pt x="2227" y="774"/>
                  </a:lnTo>
                  <a:lnTo>
                    <a:pt x="2224" y="772"/>
                  </a:lnTo>
                  <a:lnTo>
                    <a:pt x="2217" y="774"/>
                  </a:lnTo>
                  <a:lnTo>
                    <a:pt x="2215" y="775"/>
                  </a:lnTo>
                  <a:lnTo>
                    <a:pt x="2209" y="775"/>
                  </a:lnTo>
                  <a:lnTo>
                    <a:pt x="2202" y="774"/>
                  </a:lnTo>
                  <a:lnTo>
                    <a:pt x="2201" y="771"/>
                  </a:lnTo>
                  <a:lnTo>
                    <a:pt x="2199" y="774"/>
                  </a:lnTo>
                  <a:lnTo>
                    <a:pt x="2197" y="772"/>
                  </a:lnTo>
                  <a:lnTo>
                    <a:pt x="2193" y="771"/>
                  </a:lnTo>
                  <a:lnTo>
                    <a:pt x="2192" y="770"/>
                  </a:lnTo>
                  <a:lnTo>
                    <a:pt x="2189" y="768"/>
                  </a:lnTo>
                  <a:lnTo>
                    <a:pt x="2186" y="768"/>
                  </a:lnTo>
                  <a:lnTo>
                    <a:pt x="2184" y="770"/>
                  </a:lnTo>
                  <a:lnTo>
                    <a:pt x="2182" y="769"/>
                  </a:lnTo>
                  <a:lnTo>
                    <a:pt x="2180" y="766"/>
                  </a:lnTo>
                  <a:lnTo>
                    <a:pt x="2180" y="763"/>
                  </a:lnTo>
                  <a:lnTo>
                    <a:pt x="2176" y="763"/>
                  </a:lnTo>
                  <a:lnTo>
                    <a:pt x="2176" y="762"/>
                  </a:lnTo>
                  <a:lnTo>
                    <a:pt x="2171" y="763"/>
                  </a:lnTo>
                  <a:lnTo>
                    <a:pt x="2168" y="762"/>
                  </a:lnTo>
                  <a:lnTo>
                    <a:pt x="2166" y="760"/>
                  </a:lnTo>
                  <a:lnTo>
                    <a:pt x="2165" y="757"/>
                  </a:lnTo>
                  <a:lnTo>
                    <a:pt x="2164" y="757"/>
                  </a:lnTo>
                  <a:lnTo>
                    <a:pt x="2161" y="758"/>
                  </a:lnTo>
                  <a:lnTo>
                    <a:pt x="2158" y="759"/>
                  </a:lnTo>
                  <a:lnTo>
                    <a:pt x="2141" y="758"/>
                  </a:lnTo>
                  <a:lnTo>
                    <a:pt x="2135" y="759"/>
                  </a:lnTo>
                  <a:lnTo>
                    <a:pt x="2126" y="762"/>
                  </a:lnTo>
                  <a:lnTo>
                    <a:pt x="2123" y="765"/>
                  </a:lnTo>
                  <a:lnTo>
                    <a:pt x="2115" y="769"/>
                  </a:lnTo>
                  <a:lnTo>
                    <a:pt x="2114" y="772"/>
                  </a:lnTo>
                  <a:lnTo>
                    <a:pt x="2107" y="772"/>
                  </a:lnTo>
                  <a:lnTo>
                    <a:pt x="2100" y="770"/>
                  </a:lnTo>
                  <a:lnTo>
                    <a:pt x="2098" y="771"/>
                  </a:lnTo>
                  <a:lnTo>
                    <a:pt x="2093" y="771"/>
                  </a:lnTo>
                  <a:lnTo>
                    <a:pt x="2084" y="770"/>
                  </a:lnTo>
                  <a:lnTo>
                    <a:pt x="2082" y="772"/>
                  </a:lnTo>
                  <a:lnTo>
                    <a:pt x="2083" y="775"/>
                  </a:lnTo>
                  <a:lnTo>
                    <a:pt x="2087" y="777"/>
                  </a:lnTo>
                  <a:lnTo>
                    <a:pt x="2088" y="777"/>
                  </a:lnTo>
                  <a:lnTo>
                    <a:pt x="2090" y="777"/>
                  </a:lnTo>
                  <a:lnTo>
                    <a:pt x="2092" y="778"/>
                  </a:lnTo>
                  <a:lnTo>
                    <a:pt x="2083" y="779"/>
                  </a:lnTo>
                  <a:lnTo>
                    <a:pt x="2080" y="780"/>
                  </a:lnTo>
                  <a:lnTo>
                    <a:pt x="2081" y="783"/>
                  </a:lnTo>
                  <a:lnTo>
                    <a:pt x="2084" y="783"/>
                  </a:lnTo>
                  <a:lnTo>
                    <a:pt x="2080" y="784"/>
                  </a:lnTo>
                  <a:lnTo>
                    <a:pt x="2071" y="784"/>
                  </a:lnTo>
                  <a:lnTo>
                    <a:pt x="2067" y="784"/>
                  </a:lnTo>
                  <a:lnTo>
                    <a:pt x="2066" y="782"/>
                  </a:lnTo>
                  <a:lnTo>
                    <a:pt x="2064" y="783"/>
                  </a:lnTo>
                  <a:lnTo>
                    <a:pt x="2064" y="785"/>
                  </a:lnTo>
                  <a:lnTo>
                    <a:pt x="2062" y="785"/>
                  </a:lnTo>
                  <a:lnTo>
                    <a:pt x="2057" y="783"/>
                  </a:lnTo>
                  <a:lnTo>
                    <a:pt x="2054" y="784"/>
                  </a:lnTo>
                  <a:lnTo>
                    <a:pt x="2052" y="784"/>
                  </a:lnTo>
                  <a:lnTo>
                    <a:pt x="2046" y="787"/>
                  </a:lnTo>
                  <a:lnTo>
                    <a:pt x="2045" y="791"/>
                  </a:lnTo>
                  <a:lnTo>
                    <a:pt x="2043" y="791"/>
                  </a:lnTo>
                  <a:lnTo>
                    <a:pt x="2043" y="796"/>
                  </a:lnTo>
                  <a:lnTo>
                    <a:pt x="2041" y="799"/>
                  </a:lnTo>
                  <a:lnTo>
                    <a:pt x="2043" y="799"/>
                  </a:lnTo>
                  <a:lnTo>
                    <a:pt x="2050" y="797"/>
                  </a:lnTo>
                  <a:lnTo>
                    <a:pt x="2054" y="797"/>
                  </a:lnTo>
                  <a:lnTo>
                    <a:pt x="2052" y="800"/>
                  </a:lnTo>
                  <a:lnTo>
                    <a:pt x="2049" y="802"/>
                  </a:lnTo>
                  <a:lnTo>
                    <a:pt x="2053" y="804"/>
                  </a:lnTo>
                  <a:lnTo>
                    <a:pt x="2052" y="806"/>
                  </a:lnTo>
                  <a:lnTo>
                    <a:pt x="2055" y="808"/>
                  </a:lnTo>
                  <a:lnTo>
                    <a:pt x="2054" y="810"/>
                  </a:lnTo>
                  <a:lnTo>
                    <a:pt x="2050" y="810"/>
                  </a:lnTo>
                  <a:lnTo>
                    <a:pt x="2053" y="814"/>
                  </a:lnTo>
                  <a:lnTo>
                    <a:pt x="2056" y="814"/>
                  </a:lnTo>
                  <a:lnTo>
                    <a:pt x="2055" y="816"/>
                  </a:lnTo>
                  <a:lnTo>
                    <a:pt x="2050" y="818"/>
                  </a:lnTo>
                  <a:lnTo>
                    <a:pt x="2049" y="817"/>
                  </a:lnTo>
                  <a:lnTo>
                    <a:pt x="2049" y="814"/>
                  </a:lnTo>
                  <a:lnTo>
                    <a:pt x="2047" y="811"/>
                  </a:lnTo>
                  <a:lnTo>
                    <a:pt x="2046" y="811"/>
                  </a:lnTo>
                  <a:lnTo>
                    <a:pt x="2046" y="813"/>
                  </a:lnTo>
                  <a:lnTo>
                    <a:pt x="2047" y="816"/>
                  </a:lnTo>
                  <a:lnTo>
                    <a:pt x="2047" y="817"/>
                  </a:lnTo>
                  <a:lnTo>
                    <a:pt x="2044" y="818"/>
                  </a:lnTo>
                  <a:lnTo>
                    <a:pt x="2049" y="820"/>
                  </a:lnTo>
                  <a:lnTo>
                    <a:pt x="2050" y="819"/>
                  </a:lnTo>
                  <a:lnTo>
                    <a:pt x="2054" y="821"/>
                  </a:lnTo>
                  <a:lnTo>
                    <a:pt x="2058" y="822"/>
                  </a:lnTo>
                  <a:lnTo>
                    <a:pt x="2057" y="827"/>
                  </a:lnTo>
                  <a:lnTo>
                    <a:pt x="2055" y="827"/>
                  </a:lnTo>
                  <a:lnTo>
                    <a:pt x="2054" y="828"/>
                  </a:lnTo>
                  <a:lnTo>
                    <a:pt x="2057" y="829"/>
                  </a:lnTo>
                  <a:lnTo>
                    <a:pt x="2057" y="833"/>
                  </a:lnTo>
                  <a:lnTo>
                    <a:pt x="2060" y="833"/>
                  </a:lnTo>
                  <a:lnTo>
                    <a:pt x="2062" y="834"/>
                  </a:lnTo>
                  <a:lnTo>
                    <a:pt x="2063" y="834"/>
                  </a:lnTo>
                  <a:lnTo>
                    <a:pt x="2061" y="837"/>
                  </a:lnTo>
                  <a:lnTo>
                    <a:pt x="2058" y="836"/>
                  </a:lnTo>
                  <a:lnTo>
                    <a:pt x="2058" y="838"/>
                  </a:lnTo>
                  <a:lnTo>
                    <a:pt x="2069" y="837"/>
                  </a:lnTo>
                  <a:lnTo>
                    <a:pt x="2071" y="839"/>
                  </a:lnTo>
                  <a:lnTo>
                    <a:pt x="2069" y="842"/>
                  </a:lnTo>
                  <a:lnTo>
                    <a:pt x="2065" y="840"/>
                  </a:lnTo>
                  <a:lnTo>
                    <a:pt x="2062" y="842"/>
                  </a:lnTo>
                  <a:lnTo>
                    <a:pt x="2060" y="843"/>
                  </a:lnTo>
                  <a:lnTo>
                    <a:pt x="2060" y="843"/>
                  </a:lnTo>
                  <a:lnTo>
                    <a:pt x="2060" y="844"/>
                  </a:lnTo>
                  <a:lnTo>
                    <a:pt x="2064" y="844"/>
                  </a:lnTo>
                  <a:lnTo>
                    <a:pt x="2065" y="842"/>
                  </a:lnTo>
                  <a:lnTo>
                    <a:pt x="2067" y="842"/>
                  </a:lnTo>
                  <a:lnTo>
                    <a:pt x="2070" y="842"/>
                  </a:lnTo>
                  <a:lnTo>
                    <a:pt x="2069" y="844"/>
                  </a:lnTo>
                  <a:lnTo>
                    <a:pt x="2067" y="845"/>
                  </a:lnTo>
                  <a:lnTo>
                    <a:pt x="2069" y="845"/>
                  </a:lnTo>
                  <a:lnTo>
                    <a:pt x="2072" y="843"/>
                  </a:lnTo>
                  <a:lnTo>
                    <a:pt x="2074" y="840"/>
                  </a:lnTo>
                  <a:lnTo>
                    <a:pt x="2077" y="840"/>
                  </a:lnTo>
                  <a:lnTo>
                    <a:pt x="2077" y="843"/>
                  </a:lnTo>
                  <a:lnTo>
                    <a:pt x="2078" y="843"/>
                  </a:lnTo>
                  <a:lnTo>
                    <a:pt x="2078" y="843"/>
                  </a:lnTo>
                  <a:lnTo>
                    <a:pt x="2079" y="843"/>
                  </a:lnTo>
                  <a:lnTo>
                    <a:pt x="2081" y="843"/>
                  </a:lnTo>
                  <a:lnTo>
                    <a:pt x="2082" y="845"/>
                  </a:lnTo>
                  <a:lnTo>
                    <a:pt x="2083" y="847"/>
                  </a:lnTo>
                  <a:lnTo>
                    <a:pt x="2084" y="848"/>
                  </a:lnTo>
                  <a:lnTo>
                    <a:pt x="2088" y="849"/>
                  </a:lnTo>
                  <a:lnTo>
                    <a:pt x="2092" y="851"/>
                  </a:lnTo>
                  <a:lnTo>
                    <a:pt x="2098" y="849"/>
                  </a:lnTo>
                  <a:lnTo>
                    <a:pt x="2101" y="851"/>
                  </a:lnTo>
                  <a:lnTo>
                    <a:pt x="2104" y="845"/>
                  </a:lnTo>
                  <a:lnTo>
                    <a:pt x="2104" y="843"/>
                  </a:lnTo>
                  <a:lnTo>
                    <a:pt x="2106" y="840"/>
                  </a:lnTo>
                  <a:lnTo>
                    <a:pt x="2110" y="840"/>
                  </a:lnTo>
                  <a:lnTo>
                    <a:pt x="2113" y="840"/>
                  </a:lnTo>
                  <a:lnTo>
                    <a:pt x="2118" y="844"/>
                  </a:lnTo>
                  <a:lnTo>
                    <a:pt x="2123" y="845"/>
                  </a:lnTo>
                  <a:lnTo>
                    <a:pt x="2125" y="847"/>
                  </a:lnTo>
                  <a:lnTo>
                    <a:pt x="2127" y="851"/>
                  </a:lnTo>
                  <a:lnTo>
                    <a:pt x="2131" y="853"/>
                  </a:lnTo>
                  <a:lnTo>
                    <a:pt x="2134" y="853"/>
                  </a:lnTo>
                  <a:lnTo>
                    <a:pt x="2137" y="852"/>
                  </a:lnTo>
                  <a:lnTo>
                    <a:pt x="2146" y="851"/>
                  </a:lnTo>
                  <a:lnTo>
                    <a:pt x="2148" y="849"/>
                  </a:lnTo>
                  <a:lnTo>
                    <a:pt x="2151" y="849"/>
                  </a:lnTo>
                  <a:lnTo>
                    <a:pt x="2152" y="847"/>
                  </a:lnTo>
                  <a:lnTo>
                    <a:pt x="2155" y="844"/>
                  </a:lnTo>
                  <a:lnTo>
                    <a:pt x="2159" y="840"/>
                  </a:lnTo>
                  <a:lnTo>
                    <a:pt x="2163" y="842"/>
                  </a:lnTo>
                  <a:lnTo>
                    <a:pt x="2163" y="843"/>
                  </a:lnTo>
                  <a:lnTo>
                    <a:pt x="2164" y="843"/>
                  </a:lnTo>
                  <a:lnTo>
                    <a:pt x="2167" y="844"/>
                  </a:lnTo>
                  <a:lnTo>
                    <a:pt x="2169" y="845"/>
                  </a:lnTo>
                  <a:lnTo>
                    <a:pt x="2172" y="845"/>
                  </a:lnTo>
                  <a:lnTo>
                    <a:pt x="2172" y="843"/>
                  </a:lnTo>
                  <a:lnTo>
                    <a:pt x="2174" y="842"/>
                  </a:lnTo>
                  <a:lnTo>
                    <a:pt x="2176" y="840"/>
                  </a:lnTo>
                  <a:lnTo>
                    <a:pt x="2180" y="840"/>
                  </a:lnTo>
                  <a:lnTo>
                    <a:pt x="2181" y="843"/>
                  </a:lnTo>
                  <a:lnTo>
                    <a:pt x="2178" y="845"/>
                  </a:lnTo>
                  <a:lnTo>
                    <a:pt x="2176" y="847"/>
                  </a:lnTo>
                  <a:lnTo>
                    <a:pt x="2175" y="851"/>
                  </a:lnTo>
                  <a:lnTo>
                    <a:pt x="2177" y="854"/>
                  </a:lnTo>
                  <a:lnTo>
                    <a:pt x="2175" y="857"/>
                  </a:lnTo>
                  <a:lnTo>
                    <a:pt x="2175" y="860"/>
                  </a:lnTo>
                  <a:lnTo>
                    <a:pt x="2176" y="862"/>
                  </a:lnTo>
                  <a:lnTo>
                    <a:pt x="2176" y="866"/>
                  </a:lnTo>
                  <a:lnTo>
                    <a:pt x="2176" y="870"/>
                  </a:lnTo>
                  <a:lnTo>
                    <a:pt x="2177" y="874"/>
                  </a:lnTo>
                  <a:lnTo>
                    <a:pt x="2177" y="877"/>
                  </a:lnTo>
                  <a:lnTo>
                    <a:pt x="2175" y="879"/>
                  </a:lnTo>
                  <a:lnTo>
                    <a:pt x="2173" y="880"/>
                  </a:lnTo>
                  <a:lnTo>
                    <a:pt x="2172" y="886"/>
                  </a:lnTo>
                  <a:lnTo>
                    <a:pt x="2171" y="887"/>
                  </a:lnTo>
                  <a:lnTo>
                    <a:pt x="2169" y="891"/>
                  </a:lnTo>
                  <a:lnTo>
                    <a:pt x="2167" y="896"/>
                  </a:lnTo>
                  <a:lnTo>
                    <a:pt x="2167" y="897"/>
                  </a:lnTo>
                  <a:lnTo>
                    <a:pt x="2165" y="898"/>
                  </a:lnTo>
                  <a:lnTo>
                    <a:pt x="2165" y="902"/>
                  </a:lnTo>
                  <a:lnTo>
                    <a:pt x="2164" y="903"/>
                  </a:lnTo>
                  <a:lnTo>
                    <a:pt x="2163" y="905"/>
                  </a:lnTo>
                  <a:lnTo>
                    <a:pt x="2161" y="911"/>
                  </a:lnTo>
                  <a:lnTo>
                    <a:pt x="2159" y="917"/>
                  </a:lnTo>
                  <a:lnTo>
                    <a:pt x="2157" y="921"/>
                  </a:lnTo>
                  <a:lnTo>
                    <a:pt x="2154" y="925"/>
                  </a:lnTo>
                  <a:lnTo>
                    <a:pt x="2151" y="926"/>
                  </a:lnTo>
                  <a:lnTo>
                    <a:pt x="2148" y="928"/>
                  </a:lnTo>
                  <a:lnTo>
                    <a:pt x="2144" y="929"/>
                  </a:lnTo>
                  <a:lnTo>
                    <a:pt x="2142" y="928"/>
                  </a:lnTo>
                  <a:lnTo>
                    <a:pt x="2141" y="929"/>
                  </a:lnTo>
                  <a:lnTo>
                    <a:pt x="2139" y="930"/>
                  </a:lnTo>
                  <a:lnTo>
                    <a:pt x="2137" y="929"/>
                  </a:lnTo>
                  <a:lnTo>
                    <a:pt x="2137" y="930"/>
                  </a:lnTo>
                  <a:lnTo>
                    <a:pt x="2135" y="929"/>
                  </a:lnTo>
                  <a:lnTo>
                    <a:pt x="2133" y="930"/>
                  </a:lnTo>
                  <a:lnTo>
                    <a:pt x="2135" y="929"/>
                  </a:lnTo>
                  <a:lnTo>
                    <a:pt x="2131" y="930"/>
                  </a:lnTo>
                  <a:lnTo>
                    <a:pt x="2129" y="928"/>
                  </a:lnTo>
                  <a:lnTo>
                    <a:pt x="2127" y="926"/>
                  </a:lnTo>
                  <a:lnTo>
                    <a:pt x="2126" y="929"/>
                  </a:lnTo>
                  <a:lnTo>
                    <a:pt x="2125" y="929"/>
                  </a:lnTo>
                  <a:lnTo>
                    <a:pt x="2124" y="929"/>
                  </a:lnTo>
                  <a:lnTo>
                    <a:pt x="2124" y="930"/>
                  </a:lnTo>
                  <a:lnTo>
                    <a:pt x="2123" y="929"/>
                  </a:lnTo>
                  <a:lnTo>
                    <a:pt x="2123" y="928"/>
                  </a:lnTo>
                  <a:lnTo>
                    <a:pt x="2120" y="926"/>
                  </a:lnTo>
                  <a:lnTo>
                    <a:pt x="2122" y="924"/>
                  </a:lnTo>
                  <a:lnTo>
                    <a:pt x="2124" y="925"/>
                  </a:lnTo>
                  <a:lnTo>
                    <a:pt x="2122" y="922"/>
                  </a:lnTo>
                  <a:lnTo>
                    <a:pt x="2121" y="922"/>
                  </a:lnTo>
                  <a:lnTo>
                    <a:pt x="2117" y="923"/>
                  </a:lnTo>
                  <a:lnTo>
                    <a:pt x="2112" y="922"/>
                  </a:lnTo>
                  <a:lnTo>
                    <a:pt x="2109" y="922"/>
                  </a:lnTo>
                  <a:lnTo>
                    <a:pt x="2110" y="922"/>
                  </a:lnTo>
                  <a:lnTo>
                    <a:pt x="2108" y="924"/>
                  </a:lnTo>
                  <a:lnTo>
                    <a:pt x="2106" y="923"/>
                  </a:lnTo>
                  <a:lnTo>
                    <a:pt x="2104" y="924"/>
                  </a:lnTo>
                  <a:lnTo>
                    <a:pt x="2106" y="922"/>
                  </a:lnTo>
                  <a:lnTo>
                    <a:pt x="2104" y="923"/>
                  </a:lnTo>
                  <a:lnTo>
                    <a:pt x="2101" y="923"/>
                  </a:lnTo>
                  <a:lnTo>
                    <a:pt x="2098" y="926"/>
                  </a:lnTo>
                  <a:lnTo>
                    <a:pt x="2099" y="926"/>
                  </a:lnTo>
                  <a:lnTo>
                    <a:pt x="2098" y="926"/>
                  </a:lnTo>
                  <a:lnTo>
                    <a:pt x="2097" y="925"/>
                  </a:lnTo>
                  <a:lnTo>
                    <a:pt x="2090" y="930"/>
                  </a:lnTo>
                  <a:lnTo>
                    <a:pt x="2084" y="932"/>
                  </a:lnTo>
                  <a:lnTo>
                    <a:pt x="2082" y="933"/>
                  </a:lnTo>
                  <a:lnTo>
                    <a:pt x="2080" y="931"/>
                  </a:lnTo>
                  <a:lnTo>
                    <a:pt x="2074" y="929"/>
                  </a:lnTo>
                  <a:lnTo>
                    <a:pt x="2069" y="929"/>
                  </a:lnTo>
                  <a:lnTo>
                    <a:pt x="2066" y="926"/>
                  </a:lnTo>
                  <a:lnTo>
                    <a:pt x="2063" y="928"/>
                  </a:lnTo>
                  <a:lnTo>
                    <a:pt x="2061" y="926"/>
                  </a:lnTo>
                  <a:lnTo>
                    <a:pt x="2058" y="924"/>
                  </a:lnTo>
                  <a:lnTo>
                    <a:pt x="2041" y="921"/>
                  </a:lnTo>
                  <a:lnTo>
                    <a:pt x="2039" y="921"/>
                  </a:lnTo>
                  <a:lnTo>
                    <a:pt x="2033" y="923"/>
                  </a:lnTo>
                  <a:lnTo>
                    <a:pt x="2030" y="923"/>
                  </a:lnTo>
                  <a:lnTo>
                    <a:pt x="2029" y="922"/>
                  </a:lnTo>
                  <a:lnTo>
                    <a:pt x="2029" y="921"/>
                  </a:lnTo>
                  <a:lnTo>
                    <a:pt x="2027" y="916"/>
                  </a:lnTo>
                  <a:lnTo>
                    <a:pt x="2024" y="915"/>
                  </a:lnTo>
                  <a:lnTo>
                    <a:pt x="2016" y="915"/>
                  </a:lnTo>
                  <a:lnTo>
                    <a:pt x="2013" y="914"/>
                  </a:lnTo>
                  <a:lnTo>
                    <a:pt x="2011" y="913"/>
                  </a:lnTo>
                  <a:lnTo>
                    <a:pt x="2003" y="912"/>
                  </a:lnTo>
                  <a:lnTo>
                    <a:pt x="2001" y="910"/>
                  </a:lnTo>
                  <a:lnTo>
                    <a:pt x="2001" y="906"/>
                  </a:lnTo>
                  <a:lnTo>
                    <a:pt x="1998" y="905"/>
                  </a:lnTo>
                  <a:lnTo>
                    <a:pt x="1993" y="903"/>
                  </a:lnTo>
                  <a:lnTo>
                    <a:pt x="1989" y="902"/>
                  </a:lnTo>
                  <a:lnTo>
                    <a:pt x="1986" y="902"/>
                  </a:lnTo>
                  <a:lnTo>
                    <a:pt x="1982" y="902"/>
                  </a:lnTo>
                  <a:lnTo>
                    <a:pt x="1980" y="902"/>
                  </a:lnTo>
                  <a:lnTo>
                    <a:pt x="1977" y="904"/>
                  </a:lnTo>
                  <a:lnTo>
                    <a:pt x="1972" y="904"/>
                  </a:lnTo>
                  <a:lnTo>
                    <a:pt x="1969" y="905"/>
                  </a:lnTo>
                  <a:lnTo>
                    <a:pt x="1967" y="906"/>
                  </a:lnTo>
                  <a:lnTo>
                    <a:pt x="1961" y="911"/>
                  </a:lnTo>
                  <a:lnTo>
                    <a:pt x="1959" y="914"/>
                  </a:lnTo>
                  <a:lnTo>
                    <a:pt x="1958" y="917"/>
                  </a:lnTo>
                  <a:lnTo>
                    <a:pt x="1958" y="921"/>
                  </a:lnTo>
                  <a:lnTo>
                    <a:pt x="1959" y="923"/>
                  </a:lnTo>
                  <a:lnTo>
                    <a:pt x="1961" y="928"/>
                  </a:lnTo>
                  <a:lnTo>
                    <a:pt x="1960" y="930"/>
                  </a:lnTo>
                  <a:lnTo>
                    <a:pt x="1959" y="933"/>
                  </a:lnTo>
                  <a:lnTo>
                    <a:pt x="1954" y="939"/>
                  </a:lnTo>
                  <a:lnTo>
                    <a:pt x="1949" y="941"/>
                  </a:lnTo>
                  <a:lnTo>
                    <a:pt x="1945" y="941"/>
                  </a:lnTo>
                  <a:lnTo>
                    <a:pt x="1939" y="938"/>
                  </a:lnTo>
                  <a:lnTo>
                    <a:pt x="1933" y="933"/>
                  </a:lnTo>
                  <a:lnTo>
                    <a:pt x="1921" y="929"/>
                  </a:lnTo>
                  <a:lnTo>
                    <a:pt x="1913" y="926"/>
                  </a:lnTo>
                  <a:lnTo>
                    <a:pt x="1910" y="928"/>
                  </a:lnTo>
                  <a:lnTo>
                    <a:pt x="1905" y="926"/>
                  </a:lnTo>
                  <a:lnTo>
                    <a:pt x="1900" y="924"/>
                  </a:lnTo>
                  <a:lnTo>
                    <a:pt x="1898" y="922"/>
                  </a:lnTo>
                  <a:lnTo>
                    <a:pt x="1896" y="920"/>
                  </a:lnTo>
                  <a:lnTo>
                    <a:pt x="1895" y="916"/>
                  </a:lnTo>
                  <a:lnTo>
                    <a:pt x="1894" y="911"/>
                  </a:lnTo>
                  <a:lnTo>
                    <a:pt x="1892" y="910"/>
                  </a:lnTo>
                  <a:lnTo>
                    <a:pt x="1887" y="908"/>
                  </a:lnTo>
                  <a:lnTo>
                    <a:pt x="1883" y="907"/>
                  </a:lnTo>
                  <a:lnTo>
                    <a:pt x="1879" y="905"/>
                  </a:lnTo>
                  <a:lnTo>
                    <a:pt x="1875" y="904"/>
                  </a:lnTo>
                  <a:lnTo>
                    <a:pt x="1870" y="903"/>
                  </a:lnTo>
                  <a:lnTo>
                    <a:pt x="1867" y="902"/>
                  </a:lnTo>
                  <a:lnTo>
                    <a:pt x="1859" y="903"/>
                  </a:lnTo>
                  <a:lnTo>
                    <a:pt x="1853" y="903"/>
                  </a:lnTo>
                  <a:lnTo>
                    <a:pt x="1847" y="899"/>
                  </a:lnTo>
                  <a:lnTo>
                    <a:pt x="1844" y="898"/>
                  </a:lnTo>
                  <a:lnTo>
                    <a:pt x="1840" y="896"/>
                  </a:lnTo>
                  <a:lnTo>
                    <a:pt x="1838" y="896"/>
                  </a:lnTo>
                  <a:lnTo>
                    <a:pt x="1836" y="893"/>
                  </a:lnTo>
                  <a:lnTo>
                    <a:pt x="1835" y="890"/>
                  </a:lnTo>
                  <a:lnTo>
                    <a:pt x="1834" y="890"/>
                  </a:lnTo>
                  <a:lnTo>
                    <a:pt x="1832" y="893"/>
                  </a:lnTo>
                  <a:lnTo>
                    <a:pt x="1832" y="890"/>
                  </a:lnTo>
                  <a:lnTo>
                    <a:pt x="1828" y="890"/>
                  </a:lnTo>
                  <a:lnTo>
                    <a:pt x="1825" y="888"/>
                  </a:lnTo>
                  <a:lnTo>
                    <a:pt x="1823" y="886"/>
                  </a:lnTo>
                  <a:lnTo>
                    <a:pt x="1822" y="883"/>
                  </a:lnTo>
                  <a:lnTo>
                    <a:pt x="1822" y="882"/>
                  </a:lnTo>
                  <a:lnTo>
                    <a:pt x="1824" y="879"/>
                  </a:lnTo>
                  <a:lnTo>
                    <a:pt x="1830" y="877"/>
                  </a:lnTo>
                  <a:lnTo>
                    <a:pt x="1834" y="871"/>
                  </a:lnTo>
                  <a:lnTo>
                    <a:pt x="1836" y="865"/>
                  </a:lnTo>
                  <a:lnTo>
                    <a:pt x="1835" y="861"/>
                  </a:lnTo>
                  <a:lnTo>
                    <a:pt x="1833" y="857"/>
                  </a:lnTo>
                  <a:lnTo>
                    <a:pt x="1831" y="857"/>
                  </a:lnTo>
                  <a:lnTo>
                    <a:pt x="1828" y="854"/>
                  </a:lnTo>
                  <a:lnTo>
                    <a:pt x="1827" y="851"/>
                  </a:lnTo>
                  <a:lnTo>
                    <a:pt x="1828" y="848"/>
                  </a:lnTo>
                  <a:lnTo>
                    <a:pt x="1832" y="846"/>
                  </a:lnTo>
                  <a:lnTo>
                    <a:pt x="1835" y="842"/>
                  </a:lnTo>
                  <a:lnTo>
                    <a:pt x="1836" y="838"/>
                  </a:lnTo>
                  <a:lnTo>
                    <a:pt x="1834" y="838"/>
                  </a:lnTo>
                  <a:lnTo>
                    <a:pt x="1827" y="843"/>
                  </a:lnTo>
                  <a:lnTo>
                    <a:pt x="1825" y="842"/>
                  </a:lnTo>
                  <a:lnTo>
                    <a:pt x="1825" y="840"/>
                  </a:lnTo>
                  <a:lnTo>
                    <a:pt x="1825" y="842"/>
                  </a:lnTo>
                  <a:lnTo>
                    <a:pt x="1826" y="839"/>
                  </a:lnTo>
                  <a:lnTo>
                    <a:pt x="1825" y="839"/>
                  </a:lnTo>
                  <a:lnTo>
                    <a:pt x="1824" y="836"/>
                  </a:lnTo>
                  <a:lnTo>
                    <a:pt x="1824" y="836"/>
                  </a:lnTo>
                  <a:lnTo>
                    <a:pt x="1822" y="834"/>
                  </a:lnTo>
                  <a:lnTo>
                    <a:pt x="1819" y="834"/>
                  </a:lnTo>
                  <a:lnTo>
                    <a:pt x="1819" y="834"/>
                  </a:lnTo>
                  <a:lnTo>
                    <a:pt x="1817" y="833"/>
                  </a:lnTo>
                  <a:lnTo>
                    <a:pt x="1809" y="836"/>
                  </a:lnTo>
                  <a:lnTo>
                    <a:pt x="1807" y="837"/>
                  </a:lnTo>
                  <a:lnTo>
                    <a:pt x="1802" y="839"/>
                  </a:lnTo>
                  <a:lnTo>
                    <a:pt x="1800" y="839"/>
                  </a:lnTo>
                  <a:lnTo>
                    <a:pt x="1797" y="838"/>
                  </a:lnTo>
                  <a:lnTo>
                    <a:pt x="1794" y="840"/>
                  </a:lnTo>
                  <a:lnTo>
                    <a:pt x="1792" y="840"/>
                  </a:lnTo>
                  <a:lnTo>
                    <a:pt x="1785" y="837"/>
                  </a:lnTo>
                  <a:lnTo>
                    <a:pt x="1784" y="837"/>
                  </a:lnTo>
                  <a:lnTo>
                    <a:pt x="1781" y="839"/>
                  </a:lnTo>
                  <a:lnTo>
                    <a:pt x="1779" y="839"/>
                  </a:lnTo>
                  <a:lnTo>
                    <a:pt x="1776" y="838"/>
                  </a:lnTo>
                  <a:lnTo>
                    <a:pt x="1773" y="836"/>
                  </a:lnTo>
                  <a:lnTo>
                    <a:pt x="1771" y="837"/>
                  </a:lnTo>
                  <a:lnTo>
                    <a:pt x="1771" y="839"/>
                  </a:lnTo>
                  <a:lnTo>
                    <a:pt x="1767" y="840"/>
                  </a:lnTo>
                  <a:lnTo>
                    <a:pt x="1763" y="842"/>
                  </a:lnTo>
                  <a:lnTo>
                    <a:pt x="1759" y="844"/>
                  </a:lnTo>
                  <a:lnTo>
                    <a:pt x="1756" y="844"/>
                  </a:lnTo>
                  <a:lnTo>
                    <a:pt x="1754" y="843"/>
                  </a:lnTo>
                  <a:lnTo>
                    <a:pt x="1754" y="840"/>
                  </a:lnTo>
                  <a:lnTo>
                    <a:pt x="1750" y="839"/>
                  </a:lnTo>
                  <a:lnTo>
                    <a:pt x="1737" y="839"/>
                  </a:lnTo>
                  <a:lnTo>
                    <a:pt x="1732" y="842"/>
                  </a:lnTo>
                  <a:lnTo>
                    <a:pt x="1729" y="840"/>
                  </a:lnTo>
                  <a:lnTo>
                    <a:pt x="1728" y="842"/>
                  </a:lnTo>
                  <a:lnTo>
                    <a:pt x="1725" y="840"/>
                  </a:lnTo>
                  <a:lnTo>
                    <a:pt x="1720" y="845"/>
                  </a:lnTo>
                  <a:lnTo>
                    <a:pt x="1717" y="844"/>
                  </a:lnTo>
                  <a:lnTo>
                    <a:pt x="1700" y="846"/>
                  </a:lnTo>
                  <a:lnTo>
                    <a:pt x="1689" y="851"/>
                  </a:lnTo>
                  <a:lnTo>
                    <a:pt x="1687" y="853"/>
                  </a:lnTo>
                  <a:lnTo>
                    <a:pt x="1685" y="856"/>
                  </a:lnTo>
                  <a:lnTo>
                    <a:pt x="1683" y="857"/>
                  </a:lnTo>
                  <a:lnTo>
                    <a:pt x="1680" y="855"/>
                  </a:lnTo>
                  <a:lnTo>
                    <a:pt x="1676" y="857"/>
                  </a:lnTo>
                  <a:lnTo>
                    <a:pt x="1672" y="857"/>
                  </a:lnTo>
                  <a:lnTo>
                    <a:pt x="1670" y="860"/>
                  </a:lnTo>
                  <a:lnTo>
                    <a:pt x="1668" y="862"/>
                  </a:lnTo>
                  <a:lnTo>
                    <a:pt x="1666" y="864"/>
                  </a:lnTo>
                  <a:lnTo>
                    <a:pt x="1663" y="865"/>
                  </a:lnTo>
                  <a:lnTo>
                    <a:pt x="1661" y="868"/>
                  </a:lnTo>
                  <a:lnTo>
                    <a:pt x="1656" y="868"/>
                  </a:lnTo>
                  <a:lnTo>
                    <a:pt x="1654" y="868"/>
                  </a:lnTo>
                  <a:lnTo>
                    <a:pt x="1653" y="868"/>
                  </a:lnTo>
                  <a:lnTo>
                    <a:pt x="1649" y="868"/>
                  </a:lnTo>
                  <a:lnTo>
                    <a:pt x="1647" y="868"/>
                  </a:lnTo>
                  <a:lnTo>
                    <a:pt x="1645" y="865"/>
                  </a:lnTo>
                  <a:lnTo>
                    <a:pt x="1645" y="864"/>
                  </a:lnTo>
                  <a:lnTo>
                    <a:pt x="1639" y="866"/>
                  </a:lnTo>
                  <a:lnTo>
                    <a:pt x="1634" y="865"/>
                  </a:lnTo>
                  <a:lnTo>
                    <a:pt x="1632" y="866"/>
                  </a:lnTo>
                  <a:lnTo>
                    <a:pt x="1630" y="865"/>
                  </a:lnTo>
                  <a:lnTo>
                    <a:pt x="1625" y="866"/>
                  </a:lnTo>
                  <a:lnTo>
                    <a:pt x="1620" y="866"/>
                  </a:lnTo>
                  <a:lnTo>
                    <a:pt x="1618" y="864"/>
                  </a:lnTo>
                  <a:lnTo>
                    <a:pt x="1612" y="860"/>
                  </a:lnTo>
                  <a:lnTo>
                    <a:pt x="1611" y="856"/>
                  </a:lnTo>
                  <a:lnTo>
                    <a:pt x="1612" y="855"/>
                  </a:lnTo>
                  <a:lnTo>
                    <a:pt x="1611" y="855"/>
                  </a:lnTo>
                  <a:lnTo>
                    <a:pt x="1606" y="856"/>
                  </a:lnTo>
                  <a:lnTo>
                    <a:pt x="1604" y="856"/>
                  </a:lnTo>
                  <a:lnTo>
                    <a:pt x="1603" y="860"/>
                  </a:lnTo>
                  <a:lnTo>
                    <a:pt x="1598" y="872"/>
                  </a:lnTo>
                  <a:lnTo>
                    <a:pt x="1592" y="883"/>
                  </a:lnTo>
                  <a:lnTo>
                    <a:pt x="1588" y="887"/>
                  </a:lnTo>
                  <a:lnTo>
                    <a:pt x="1584" y="889"/>
                  </a:lnTo>
                  <a:lnTo>
                    <a:pt x="1568" y="896"/>
                  </a:lnTo>
                  <a:lnTo>
                    <a:pt x="1563" y="902"/>
                  </a:lnTo>
                  <a:lnTo>
                    <a:pt x="1558" y="906"/>
                  </a:lnTo>
                  <a:lnTo>
                    <a:pt x="1558" y="912"/>
                  </a:lnTo>
                  <a:lnTo>
                    <a:pt x="1557" y="914"/>
                  </a:lnTo>
                  <a:lnTo>
                    <a:pt x="1553" y="919"/>
                  </a:lnTo>
                  <a:lnTo>
                    <a:pt x="1550" y="924"/>
                  </a:lnTo>
                  <a:lnTo>
                    <a:pt x="1550" y="932"/>
                  </a:lnTo>
                  <a:lnTo>
                    <a:pt x="1550" y="934"/>
                  </a:lnTo>
                  <a:lnTo>
                    <a:pt x="1552" y="938"/>
                  </a:lnTo>
                  <a:lnTo>
                    <a:pt x="1553" y="940"/>
                  </a:lnTo>
                  <a:lnTo>
                    <a:pt x="1553" y="942"/>
                  </a:lnTo>
                  <a:lnTo>
                    <a:pt x="1551" y="948"/>
                  </a:lnTo>
                  <a:lnTo>
                    <a:pt x="1548" y="950"/>
                  </a:lnTo>
                  <a:lnTo>
                    <a:pt x="1544" y="956"/>
                  </a:lnTo>
                  <a:lnTo>
                    <a:pt x="1542" y="958"/>
                  </a:lnTo>
                  <a:lnTo>
                    <a:pt x="1540" y="960"/>
                  </a:lnTo>
                  <a:lnTo>
                    <a:pt x="1534" y="964"/>
                  </a:lnTo>
                  <a:lnTo>
                    <a:pt x="1529" y="967"/>
                  </a:lnTo>
                  <a:lnTo>
                    <a:pt x="1527" y="971"/>
                  </a:lnTo>
                  <a:lnTo>
                    <a:pt x="1519" y="974"/>
                  </a:lnTo>
                  <a:lnTo>
                    <a:pt x="1509" y="975"/>
                  </a:lnTo>
                  <a:lnTo>
                    <a:pt x="1507" y="979"/>
                  </a:lnTo>
                  <a:lnTo>
                    <a:pt x="1504" y="980"/>
                  </a:lnTo>
                  <a:lnTo>
                    <a:pt x="1503" y="983"/>
                  </a:lnTo>
                  <a:lnTo>
                    <a:pt x="1501" y="987"/>
                  </a:lnTo>
                  <a:lnTo>
                    <a:pt x="1501" y="990"/>
                  </a:lnTo>
                  <a:lnTo>
                    <a:pt x="1500" y="992"/>
                  </a:lnTo>
                  <a:lnTo>
                    <a:pt x="1498" y="994"/>
                  </a:lnTo>
                  <a:lnTo>
                    <a:pt x="1487" y="1001"/>
                  </a:lnTo>
                  <a:lnTo>
                    <a:pt x="1486" y="1005"/>
                  </a:lnTo>
                  <a:lnTo>
                    <a:pt x="1482" y="1013"/>
                  </a:lnTo>
                  <a:lnTo>
                    <a:pt x="1481" y="1022"/>
                  </a:lnTo>
                  <a:lnTo>
                    <a:pt x="1480" y="1025"/>
                  </a:lnTo>
                  <a:lnTo>
                    <a:pt x="1476" y="1027"/>
                  </a:lnTo>
                  <a:lnTo>
                    <a:pt x="1472" y="1032"/>
                  </a:lnTo>
                  <a:lnTo>
                    <a:pt x="1467" y="1036"/>
                  </a:lnTo>
                  <a:lnTo>
                    <a:pt x="1466" y="1039"/>
                  </a:lnTo>
                  <a:lnTo>
                    <a:pt x="1468" y="1036"/>
                  </a:lnTo>
                  <a:lnTo>
                    <a:pt x="1467" y="1039"/>
                  </a:lnTo>
                  <a:lnTo>
                    <a:pt x="1463" y="1047"/>
                  </a:lnTo>
                  <a:lnTo>
                    <a:pt x="1463" y="1049"/>
                  </a:lnTo>
                  <a:lnTo>
                    <a:pt x="1461" y="1052"/>
                  </a:lnTo>
                  <a:lnTo>
                    <a:pt x="1460" y="1054"/>
                  </a:lnTo>
                  <a:lnTo>
                    <a:pt x="1459" y="1058"/>
                  </a:lnTo>
                  <a:lnTo>
                    <a:pt x="1457" y="1058"/>
                  </a:lnTo>
                  <a:lnTo>
                    <a:pt x="1455" y="1061"/>
                  </a:lnTo>
                  <a:lnTo>
                    <a:pt x="1454" y="1064"/>
                  </a:lnTo>
                  <a:lnTo>
                    <a:pt x="1450" y="1077"/>
                  </a:lnTo>
                  <a:lnTo>
                    <a:pt x="1451" y="1081"/>
                  </a:lnTo>
                  <a:lnTo>
                    <a:pt x="1452" y="1077"/>
                  </a:lnTo>
                  <a:lnTo>
                    <a:pt x="1452" y="1075"/>
                  </a:lnTo>
                  <a:lnTo>
                    <a:pt x="1454" y="1076"/>
                  </a:lnTo>
                  <a:lnTo>
                    <a:pt x="1457" y="1082"/>
                  </a:lnTo>
                  <a:lnTo>
                    <a:pt x="1459" y="1081"/>
                  </a:lnTo>
                  <a:lnTo>
                    <a:pt x="1463" y="1088"/>
                  </a:lnTo>
                  <a:lnTo>
                    <a:pt x="1463" y="1094"/>
                  </a:lnTo>
                  <a:lnTo>
                    <a:pt x="1459" y="1100"/>
                  </a:lnTo>
                  <a:lnTo>
                    <a:pt x="1459" y="1102"/>
                  </a:lnTo>
                  <a:lnTo>
                    <a:pt x="1461" y="1103"/>
                  </a:lnTo>
                  <a:lnTo>
                    <a:pt x="1465" y="1113"/>
                  </a:lnTo>
                  <a:lnTo>
                    <a:pt x="1465" y="1119"/>
                  </a:lnTo>
                  <a:lnTo>
                    <a:pt x="1465" y="1124"/>
                  </a:lnTo>
                  <a:lnTo>
                    <a:pt x="1465" y="1127"/>
                  </a:lnTo>
                  <a:lnTo>
                    <a:pt x="1459" y="1141"/>
                  </a:lnTo>
                  <a:lnTo>
                    <a:pt x="1458" y="1145"/>
                  </a:lnTo>
                  <a:lnTo>
                    <a:pt x="1458" y="1151"/>
                  </a:lnTo>
                  <a:lnTo>
                    <a:pt x="1454" y="1158"/>
                  </a:lnTo>
                  <a:lnTo>
                    <a:pt x="1451" y="1162"/>
                  </a:lnTo>
                  <a:lnTo>
                    <a:pt x="1449" y="1163"/>
                  </a:lnTo>
                  <a:lnTo>
                    <a:pt x="1447" y="1164"/>
                  </a:lnTo>
                  <a:lnTo>
                    <a:pt x="1448" y="1165"/>
                  </a:lnTo>
                  <a:lnTo>
                    <a:pt x="1450" y="1167"/>
                  </a:lnTo>
                  <a:lnTo>
                    <a:pt x="1452" y="1170"/>
                  </a:lnTo>
                  <a:lnTo>
                    <a:pt x="1455" y="1174"/>
                  </a:lnTo>
                  <a:lnTo>
                    <a:pt x="1455" y="1177"/>
                  </a:lnTo>
                  <a:lnTo>
                    <a:pt x="1459" y="1173"/>
                  </a:lnTo>
                  <a:lnTo>
                    <a:pt x="1459" y="1173"/>
                  </a:lnTo>
                  <a:lnTo>
                    <a:pt x="1460" y="1173"/>
                  </a:lnTo>
                  <a:lnTo>
                    <a:pt x="1459" y="1173"/>
                  </a:lnTo>
                  <a:lnTo>
                    <a:pt x="1456" y="1179"/>
                  </a:lnTo>
                  <a:lnTo>
                    <a:pt x="1458" y="1178"/>
                  </a:lnTo>
                  <a:lnTo>
                    <a:pt x="1459" y="1176"/>
                  </a:lnTo>
                  <a:lnTo>
                    <a:pt x="1459" y="1179"/>
                  </a:lnTo>
                  <a:lnTo>
                    <a:pt x="1458" y="1181"/>
                  </a:lnTo>
                  <a:lnTo>
                    <a:pt x="1458" y="1182"/>
                  </a:lnTo>
                  <a:lnTo>
                    <a:pt x="1460" y="1185"/>
                  </a:lnTo>
                  <a:lnTo>
                    <a:pt x="1464" y="1184"/>
                  </a:lnTo>
                  <a:lnTo>
                    <a:pt x="1468" y="1184"/>
                  </a:lnTo>
                  <a:lnTo>
                    <a:pt x="1472" y="1182"/>
                  </a:lnTo>
                  <a:lnTo>
                    <a:pt x="1473" y="1182"/>
                  </a:lnTo>
                  <a:lnTo>
                    <a:pt x="1475" y="1182"/>
                  </a:lnTo>
                  <a:lnTo>
                    <a:pt x="1474" y="1184"/>
                  </a:lnTo>
                  <a:lnTo>
                    <a:pt x="1473" y="1182"/>
                  </a:lnTo>
                  <a:lnTo>
                    <a:pt x="1472" y="1182"/>
                  </a:lnTo>
                  <a:lnTo>
                    <a:pt x="1469" y="1184"/>
                  </a:lnTo>
                  <a:lnTo>
                    <a:pt x="1464" y="1184"/>
                  </a:lnTo>
                  <a:lnTo>
                    <a:pt x="1464" y="1186"/>
                  </a:lnTo>
                  <a:lnTo>
                    <a:pt x="1458" y="1186"/>
                  </a:lnTo>
                  <a:lnTo>
                    <a:pt x="1457" y="1184"/>
                  </a:lnTo>
                  <a:lnTo>
                    <a:pt x="1455" y="1185"/>
                  </a:lnTo>
                  <a:lnTo>
                    <a:pt x="1455" y="1187"/>
                  </a:lnTo>
                  <a:lnTo>
                    <a:pt x="1456" y="1189"/>
                  </a:lnTo>
                  <a:lnTo>
                    <a:pt x="1455" y="1191"/>
                  </a:lnTo>
                  <a:lnTo>
                    <a:pt x="1456" y="1193"/>
                  </a:lnTo>
                  <a:lnTo>
                    <a:pt x="1458" y="1193"/>
                  </a:lnTo>
                  <a:lnTo>
                    <a:pt x="1459" y="1195"/>
                  </a:lnTo>
                  <a:lnTo>
                    <a:pt x="1457" y="1195"/>
                  </a:lnTo>
                  <a:lnTo>
                    <a:pt x="1455" y="1198"/>
                  </a:lnTo>
                  <a:lnTo>
                    <a:pt x="1456" y="1199"/>
                  </a:lnTo>
                  <a:lnTo>
                    <a:pt x="1460" y="1201"/>
                  </a:lnTo>
                  <a:lnTo>
                    <a:pt x="1461" y="1199"/>
                  </a:lnTo>
                  <a:lnTo>
                    <a:pt x="1465" y="1198"/>
                  </a:lnTo>
                  <a:lnTo>
                    <a:pt x="1461" y="1201"/>
                  </a:lnTo>
                  <a:lnTo>
                    <a:pt x="1461" y="1204"/>
                  </a:lnTo>
                  <a:lnTo>
                    <a:pt x="1464" y="1205"/>
                  </a:lnTo>
                  <a:lnTo>
                    <a:pt x="1466" y="1204"/>
                  </a:lnTo>
                  <a:lnTo>
                    <a:pt x="1469" y="1204"/>
                  </a:lnTo>
                  <a:lnTo>
                    <a:pt x="1467" y="1204"/>
                  </a:lnTo>
                  <a:lnTo>
                    <a:pt x="1467" y="1207"/>
                  </a:lnTo>
                  <a:lnTo>
                    <a:pt x="1470" y="1206"/>
                  </a:lnTo>
                  <a:lnTo>
                    <a:pt x="1472" y="1205"/>
                  </a:lnTo>
                  <a:lnTo>
                    <a:pt x="1480" y="1204"/>
                  </a:lnTo>
                  <a:lnTo>
                    <a:pt x="1480" y="1206"/>
                  </a:lnTo>
                  <a:lnTo>
                    <a:pt x="1481" y="1206"/>
                  </a:lnTo>
                  <a:lnTo>
                    <a:pt x="1480" y="1206"/>
                  </a:lnTo>
                  <a:lnTo>
                    <a:pt x="1476" y="1206"/>
                  </a:lnTo>
                  <a:lnTo>
                    <a:pt x="1474" y="1206"/>
                  </a:lnTo>
                  <a:lnTo>
                    <a:pt x="1473" y="1208"/>
                  </a:lnTo>
                  <a:lnTo>
                    <a:pt x="1477" y="1207"/>
                  </a:lnTo>
                  <a:lnTo>
                    <a:pt x="1475" y="1210"/>
                  </a:lnTo>
                  <a:lnTo>
                    <a:pt x="1473" y="1212"/>
                  </a:lnTo>
                  <a:lnTo>
                    <a:pt x="1475" y="1212"/>
                  </a:lnTo>
                  <a:lnTo>
                    <a:pt x="1475" y="1214"/>
                  </a:lnTo>
                  <a:lnTo>
                    <a:pt x="1476" y="1216"/>
                  </a:lnTo>
                  <a:lnTo>
                    <a:pt x="1480" y="1215"/>
                  </a:lnTo>
                  <a:lnTo>
                    <a:pt x="1480" y="1218"/>
                  </a:lnTo>
                  <a:lnTo>
                    <a:pt x="1484" y="1218"/>
                  </a:lnTo>
                  <a:lnTo>
                    <a:pt x="1482" y="1220"/>
                  </a:lnTo>
                  <a:lnTo>
                    <a:pt x="1484" y="1222"/>
                  </a:lnTo>
                  <a:lnTo>
                    <a:pt x="1484" y="1222"/>
                  </a:lnTo>
                  <a:lnTo>
                    <a:pt x="1486" y="1227"/>
                  </a:lnTo>
                  <a:lnTo>
                    <a:pt x="1490" y="1229"/>
                  </a:lnTo>
                  <a:lnTo>
                    <a:pt x="1492" y="1229"/>
                  </a:lnTo>
                  <a:lnTo>
                    <a:pt x="1492" y="1231"/>
                  </a:lnTo>
                  <a:lnTo>
                    <a:pt x="1495" y="1233"/>
                  </a:lnTo>
                  <a:lnTo>
                    <a:pt x="1497" y="1232"/>
                  </a:lnTo>
                  <a:lnTo>
                    <a:pt x="1498" y="1232"/>
                  </a:lnTo>
                  <a:lnTo>
                    <a:pt x="1497" y="1235"/>
                  </a:lnTo>
                  <a:lnTo>
                    <a:pt x="1498" y="1233"/>
                  </a:lnTo>
                  <a:lnTo>
                    <a:pt x="1498" y="1237"/>
                  </a:lnTo>
                  <a:lnTo>
                    <a:pt x="1500" y="1237"/>
                  </a:lnTo>
                  <a:lnTo>
                    <a:pt x="1502" y="1242"/>
                  </a:lnTo>
                  <a:lnTo>
                    <a:pt x="1502" y="1245"/>
                  </a:lnTo>
                  <a:lnTo>
                    <a:pt x="1506" y="1246"/>
                  </a:lnTo>
                  <a:lnTo>
                    <a:pt x="1507" y="1247"/>
                  </a:lnTo>
                  <a:lnTo>
                    <a:pt x="1504" y="1247"/>
                  </a:lnTo>
                  <a:lnTo>
                    <a:pt x="1503" y="1249"/>
                  </a:lnTo>
                  <a:lnTo>
                    <a:pt x="1506" y="1249"/>
                  </a:lnTo>
                  <a:lnTo>
                    <a:pt x="1506" y="1250"/>
                  </a:lnTo>
                  <a:lnTo>
                    <a:pt x="1509" y="1252"/>
                  </a:lnTo>
                  <a:lnTo>
                    <a:pt x="1506" y="1253"/>
                  </a:lnTo>
                  <a:lnTo>
                    <a:pt x="1506" y="1253"/>
                  </a:lnTo>
                  <a:lnTo>
                    <a:pt x="1506" y="1254"/>
                  </a:lnTo>
                  <a:lnTo>
                    <a:pt x="1503" y="1253"/>
                  </a:lnTo>
                  <a:lnTo>
                    <a:pt x="1504" y="1255"/>
                  </a:lnTo>
                  <a:lnTo>
                    <a:pt x="1507" y="1255"/>
                  </a:lnTo>
                  <a:lnTo>
                    <a:pt x="1508" y="1258"/>
                  </a:lnTo>
                  <a:lnTo>
                    <a:pt x="1507" y="1261"/>
                  </a:lnTo>
                  <a:lnTo>
                    <a:pt x="1512" y="1263"/>
                  </a:lnTo>
                  <a:lnTo>
                    <a:pt x="1514" y="1263"/>
                  </a:lnTo>
                  <a:lnTo>
                    <a:pt x="1516" y="1265"/>
                  </a:lnTo>
                  <a:lnTo>
                    <a:pt x="1518" y="1264"/>
                  </a:lnTo>
                  <a:lnTo>
                    <a:pt x="1515" y="1265"/>
                  </a:lnTo>
                  <a:lnTo>
                    <a:pt x="1516" y="1267"/>
                  </a:lnTo>
                  <a:lnTo>
                    <a:pt x="1518" y="1268"/>
                  </a:lnTo>
                  <a:lnTo>
                    <a:pt x="1526" y="1273"/>
                  </a:lnTo>
                  <a:lnTo>
                    <a:pt x="1526" y="1273"/>
                  </a:lnTo>
                  <a:lnTo>
                    <a:pt x="1528" y="1274"/>
                  </a:lnTo>
                  <a:lnTo>
                    <a:pt x="1529" y="1276"/>
                  </a:lnTo>
                  <a:lnTo>
                    <a:pt x="1533" y="1279"/>
                  </a:lnTo>
                  <a:lnTo>
                    <a:pt x="1536" y="1281"/>
                  </a:lnTo>
                  <a:lnTo>
                    <a:pt x="1537" y="1281"/>
                  </a:lnTo>
                  <a:lnTo>
                    <a:pt x="1536" y="1282"/>
                  </a:lnTo>
                  <a:lnTo>
                    <a:pt x="1540" y="1283"/>
                  </a:lnTo>
                  <a:lnTo>
                    <a:pt x="1543" y="1284"/>
                  </a:lnTo>
                  <a:lnTo>
                    <a:pt x="1546" y="1288"/>
                  </a:lnTo>
                  <a:lnTo>
                    <a:pt x="1548" y="1289"/>
                  </a:lnTo>
                  <a:lnTo>
                    <a:pt x="1553" y="1293"/>
                  </a:lnTo>
                  <a:lnTo>
                    <a:pt x="1555" y="1297"/>
                  </a:lnTo>
                  <a:lnTo>
                    <a:pt x="1561" y="1300"/>
                  </a:lnTo>
                  <a:lnTo>
                    <a:pt x="1579" y="1309"/>
                  </a:lnTo>
                  <a:lnTo>
                    <a:pt x="1582" y="1309"/>
                  </a:lnTo>
                  <a:lnTo>
                    <a:pt x="1582" y="1309"/>
                  </a:lnTo>
                  <a:lnTo>
                    <a:pt x="1584" y="1308"/>
                  </a:lnTo>
                  <a:lnTo>
                    <a:pt x="1586" y="1307"/>
                  </a:lnTo>
                  <a:lnTo>
                    <a:pt x="1604" y="1300"/>
                  </a:lnTo>
                  <a:lnTo>
                    <a:pt x="1610" y="1299"/>
                  </a:lnTo>
                  <a:lnTo>
                    <a:pt x="1617" y="1298"/>
                  </a:lnTo>
                  <a:lnTo>
                    <a:pt x="1613" y="1297"/>
                  </a:lnTo>
                  <a:lnTo>
                    <a:pt x="1611" y="1298"/>
                  </a:lnTo>
                  <a:lnTo>
                    <a:pt x="1612" y="1297"/>
                  </a:lnTo>
                  <a:lnTo>
                    <a:pt x="1617" y="1297"/>
                  </a:lnTo>
                  <a:lnTo>
                    <a:pt x="1617" y="1298"/>
                  </a:lnTo>
                  <a:lnTo>
                    <a:pt x="1619" y="1298"/>
                  </a:lnTo>
                  <a:lnTo>
                    <a:pt x="1630" y="1297"/>
                  </a:lnTo>
                  <a:lnTo>
                    <a:pt x="1629" y="1297"/>
                  </a:lnTo>
                  <a:lnTo>
                    <a:pt x="1623" y="1297"/>
                  </a:lnTo>
                  <a:lnTo>
                    <a:pt x="1621" y="1297"/>
                  </a:lnTo>
                  <a:lnTo>
                    <a:pt x="1619" y="1298"/>
                  </a:lnTo>
                  <a:lnTo>
                    <a:pt x="1619" y="1297"/>
                  </a:lnTo>
                  <a:lnTo>
                    <a:pt x="1626" y="1296"/>
                  </a:lnTo>
                  <a:lnTo>
                    <a:pt x="1629" y="1297"/>
                  </a:lnTo>
                  <a:lnTo>
                    <a:pt x="1630" y="1297"/>
                  </a:lnTo>
                  <a:lnTo>
                    <a:pt x="1630" y="1296"/>
                  </a:lnTo>
                  <a:lnTo>
                    <a:pt x="1632" y="1297"/>
                  </a:lnTo>
                  <a:lnTo>
                    <a:pt x="1632" y="1297"/>
                  </a:lnTo>
                  <a:lnTo>
                    <a:pt x="1630" y="1297"/>
                  </a:lnTo>
                  <a:lnTo>
                    <a:pt x="1634" y="1298"/>
                  </a:lnTo>
                  <a:lnTo>
                    <a:pt x="1634" y="1297"/>
                  </a:lnTo>
                  <a:lnTo>
                    <a:pt x="1636" y="1298"/>
                  </a:lnTo>
                  <a:lnTo>
                    <a:pt x="1639" y="1298"/>
                  </a:lnTo>
                  <a:lnTo>
                    <a:pt x="1640" y="1296"/>
                  </a:lnTo>
                  <a:lnTo>
                    <a:pt x="1640" y="1296"/>
                  </a:lnTo>
                  <a:lnTo>
                    <a:pt x="1642" y="1298"/>
                  </a:lnTo>
                  <a:lnTo>
                    <a:pt x="1645" y="1299"/>
                  </a:lnTo>
                  <a:lnTo>
                    <a:pt x="1643" y="1299"/>
                  </a:lnTo>
                  <a:lnTo>
                    <a:pt x="1653" y="1301"/>
                  </a:lnTo>
                  <a:lnTo>
                    <a:pt x="1656" y="1304"/>
                  </a:lnTo>
                  <a:lnTo>
                    <a:pt x="1662" y="1301"/>
                  </a:lnTo>
                  <a:lnTo>
                    <a:pt x="1662" y="1300"/>
                  </a:lnTo>
                  <a:lnTo>
                    <a:pt x="1671" y="1297"/>
                  </a:lnTo>
                  <a:lnTo>
                    <a:pt x="1674" y="1297"/>
                  </a:lnTo>
                  <a:lnTo>
                    <a:pt x="1680" y="1293"/>
                  </a:lnTo>
                  <a:lnTo>
                    <a:pt x="1685" y="1292"/>
                  </a:lnTo>
                  <a:lnTo>
                    <a:pt x="1687" y="1290"/>
                  </a:lnTo>
                  <a:lnTo>
                    <a:pt x="1693" y="1290"/>
                  </a:lnTo>
                  <a:lnTo>
                    <a:pt x="1694" y="1289"/>
                  </a:lnTo>
                  <a:lnTo>
                    <a:pt x="1691" y="1285"/>
                  </a:lnTo>
                  <a:lnTo>
                    <a:pt x="1689" y="1285"/>
                  </a:lnTo>
                  <a:lnTo>
                    <a:pt x="1688" y="1285"/>
                  </a:lnTo>
                  <a:lnTo>
                    <a:pt x="1691" y="1285"/>
                  </a:lnTo>
                  <a:lnTo>
                    <a:pt x="1693" y="1287"/>
                  </a:lnTo>
                  <a:lnTo>
                    <a:pt x="1694" y="1289"/>
                  </a:lnTo>
                  <a:lnTo>
                    <a:pt x="1697" y="1290"/>
                  </a:lnTo>
                  <a:lnTo>
                    <a:pt x="1699" y="1287"/>
                  </a:lnTo>
                  <a:lnTo>
                    <a:pt x="1702" y="1285"/>
                  </a:lnTo>
                  <a:lnTo>
                    <a:pt x="1704" y="1284"/>
                  </a:lnTo>
                  <a:lnTo>
                    <a:pt x="1707" y="1283"/>
                  </a:lnTo>
                  <a:lnTo>
                    <a:pt x="1711" y="1282"/>
                  </a:lnTo>
                  <a:lnTo>
                    <a:pt x="1719" y="1282"/>
                  </a:lnTo>
                  <a:lnTo>
                    <a:pt x="1730" y="1281"/>
                  </a:lnTo>
                  <a:lnTo>
                    <a:pt x="1731" y="1280"/>
                  </a:lnTo>
                  <a:lnTo>
                    <a:pt x="1736" y="1278"/>
                  </a:lnTo>
                  <a:lnTo>
                    <a:pt x="1733" y="1280"/>
                  </a:lnTo>
                  <a:lnTo>
                    <a:pt x="1731" y="1280"/>
                  </a:lnTo>
                  <a:lnTo>
                    <a:pt x="1733" y="1281"/>
                  </a:lnTo>
                  <a:lnTo>
                    <a:pt x="1737" y="1280"/>
                  </a:lnTo>
                  <a:lnTo>
                    <a:pt x="1743" y="1281"/>
                  </a:lnTo>
                  <a:lnTo>
                    <a:pt x="1749" y="1284"/>
                  </a:lnTo>
                  <a:lnTo>
                    <a:pt x="1754" y="1289"/>
                  </a:lnTo>
                  <a:lnTo>
                    <a:pt x="1755" y="1289"/>
                  </a:lnTo>
                  <a:lnTo>
                    <a:pt x="1757" y="1288"/>
                  </a:lnTo>
                  <a:lnTo>
                    <a:pt x="1755" y="1289"/>
                  </a:lnTo>
                  <a:lnTo>
                    <a:pt x="1755" y="1292"/>
                  </a:lnTo>
                  <a:lnTo>
                    <a:pt x="1758" y="1290"/>
                  </a:lnTo>
                  <a:lnTo>
                    <a:pt x="1757" y="1291"/>
                  </a:lnTo>
                  <a:lnTo>
                    <a:pt x="1760" y="1292"/>
                  </a:lnTo>
                  <a:lnTo>
                    <a:pt x="1757" y="1292"/>
                  </a:lnTo>
                  <a:lnTo>
                    <a:pt x="1758" y="1295"/>
                  </a:lnTo>
                  <a:lnTo>
                    <a:pt x="1762" y="1293"/>
                  </a:lnTo>
                  <a:lnTo>
                    <a:pt x="1762" y="1295"/>
                  </a:lnTo>
                  <a:lnTo>
                    <a:pt x="1759" y="1296"/>
                  </a:lnTo>
                  <a:lnTo>
                    <a:pt x="1759" y="1301"/>
                  </a:lnTo>
                  <a:lnTo>
                    <a:pt x="1763" y="1307"/>
                  </a:lnTo>
                  <a:lnTo>
                    <a:pt x="1766" y="1308"/>
                  </a:lnTo>
                  <a:lnTo>
                    <a:pt x="1767" y="1308"/>
                  </a:lnTo>
                  <a:lnTo>
                    <a:pt x="1768" y="1310"/>
                  </a:lnTo>
                  <a:lnTo>
                    <a:pt x="1771" y="1307"/>
                  </a:lnTo>
                  <a:lnTo>
                    <a:pt x="1771" y="1310"/>
                  </a:lnTo>
                  <a:lnTo>
                    <a:pt x="1773" y="1309"/>
                  </a:lnTo>
                  <a:lnTo>
                    <a:pt x="1774" y="1307"/>
                  </a:lnTo>
                  <a:lnTo>
                    <a:pt x="1776" y="1306"/>
                  </a:lnTo>
                  <a:lnTo>
                    <a:pt x="1776" y="1306"/>
                  </a:lnTo>
                  <a:lnTo>
                    <a:pt x="1776" y="1308"/>
                  </a:lnTo>
                  <a:lnTo>
                    <a:pt x="1777" y="1309"/>
                  </a:lnTo>
                  <a:lnTo>
                    <a:pt x="1777" y="1302"/>
                  </a:lnTo>
                  <a:lnTo>
                    <a:pt x="1779" y="1308"/>
                  </a:lnTo>
                  <a:lnTo>
                    <a:pt x="1780" y="1307"/>
                  </a:lnTo>
                  <a:lnTo>
                    <a:pt x="1780" y="1305"/>
                  </a:lnTo>
                  <a:lnTo>
                    <a:pt x="1781" y="1305"/>
                  </a:lnTo>
                  <a:lnTo>
                    <a:pt x="1781" y="1307"/>
                  </a:lnTo>
                  <a:lnTo>
                    <a:pt x="1782" y="1305"/>
                  </a:lnTo>
                  <a:lnTo>
                    <a:pt x="1784" y="1306"/>
                  </a:lnTo>
                  <a:lnTo>
                    <a:pt x="1785" y="1306"/>
                  </a:lnTo>
                  <a:lnTo>
                    <a:pt x="1788" y="1306"/>
                  </a:lnTo>
                  <a:lnTo>
                    <a:pt x="1788" y="1304"/>
                  </a:lnTo>
                  <a:lnTo>
                    <a:pt x="1789" y="1306"/>
                  </a:lnTo>
                  <a:lnTo>
                    <a:pt x="1791" y="1307"/>
                  </a:lnTo>
                  <a:lnTo>
                    <a:pt x="1797" y="1306"/>
                  </a:lnTo>
                  <a:lnTo>
                    <a:pt x="1799" y="1306"/>
                  </a:lnTo>
                  <a:lnTo>
                    <a:pt x="1797" y="1300"/>
                  </a:lnTo>
                  <a:lnTo>
                    <a:pt x="1799" y="1302"/>
                  </a:lnTo>
                  <a:lnTo>
                    <a:pt x="1800" y="1302"/>
                  </a:lnTo>
                  <a:lnTo>
                    <a:pt x="1802" y="1302"/>
                  </a:lnTo>
                  <a:lnTo>
                    <a:pt x="1801" y="1306"/>
                  </a:lnTo>
                  <a:lnTo>
                    <a:pt x="1804" y="1307"/>
                  </a:lnTo>
                  <a:lnTo>
                    <a:pt x="1804" y="1305"/>
                  </a:lnTo>
                  <a:lnTo>
                    <a:pt x="1806" y="1306"/>
                  </a:lnTo>
                  <a:lnTo>
                    <a:pt x="1806" y="1305"/>
                  </a:lnTo>
                  <a:lnTo>
                    <a:pt x="1807" y="1310"/>
                  </a:lnTo>
                  <a:lnTo>
                    <a:pt x="1809" y="1314"/>
                  </a:lnTo>
                  <a:lnTo>
                    <a:pt x="1813" y="1314"/>
                  </a:lnTo>
                  <a:lnTo>
                    <a:pt x="1813" y="1315"/>
                  </a:lnTo>
                  <a:lnTo>
                    <a:pt x="1814" y="1314"/>
                  </a:lnTo>
                  <a:lnTo>
                    <a:pt x="1815" y="1314"/>
                  </a:lnTo>
                  <a:lnTo>
                    <a:pt x="1815" y="1314"/>
                  </a:lnTo>
                  <a:lnTo>
                    <a:pt x="1814" y="1313"/>
                  </a:lnTo>
                  <a:lnTo>
                    <a:pt x="1817" y="1313"/>
                  </a:lnTo>
                  <a:lnTo>
                    <a:pt x="1817" y="1313"/>
                  </a:lnTo>
                  <a:lnTo>
                    <a:pt x="1817" y="1313"/>
                  </a:lnTo>
                  <a:lnTo>
                    <a:pt x="1818" y="1316"/>
                  </a:lnTo>
                  <a:lnTo>
                    <a:pt x="1817" y="1316"/>
                  </a:lnTo>
                  <a:lnTo>
                    <a:pt x="1817" y="1319"/>
                  </a:lnTo>
                  <a:lnTo>
                    <a:pt x="1819" y="1319"/>
                  </a:lnTo>
                  <a:lnTo>
                    <a:pt x="1818" y="1322"/>
                  </a:lnTo>
                  <a:lnTo>
                    <a:pt x="1821" y="1324"/>
                  </a:lnTo>
                  <a:lnTo>
                    <a:pt x="1822" y="1326"/>
                  </a:lnTo>
                  <a:lnTo>
                    <a:pt x="1819" y="1330"/>
                  </a:lnTo>
                  <a:lnTo>
                    <a:pt x="1818" y="1340"/>
                  </a:lnTo>
                  <a:lnTo>
                    <a:pt x="1819" y="1342"/>
                  </a:lnTo>
                  <a:lnTo>
                    <a:pt x="1817" y="1347"/>
                  </a:lnTo>
                  <a:lnTo>
                    <a:pt x="1818" y="1347"/>
                  </a:lnTo>
                  <a:lnTo>
                    <a:pt x="1816" y="1347"/>
                  </a:lnTo>
                  <a:lnTo>
                    <a:pt x="1814" y="1350"/>
                  </a:lnTo>
                  <a:lnTo>
                    <a:pt x="1813" y="1352"/>
                  </a:lnTo>
                  <a:lnTo>
                    <a:pt x="1816" y="1353"/>
                  </a:lnTo>
                  <a:lnTo>
                    <a:pt x="1818" y="1353"/>
                  </a:lnTo>
                  <a:lnTo>
                    <a:pt x="1819" y="1355"/>
                  </a:lnTo>
                  <a:lnTo>
                    <a:pt x="1816" y="1355"/>
                  </a:lnTo>
                  <a:lnTo>
                    <a:pt x="1816" y="1360"/>
                  </a:lnTo>
                  <a:lnTo>
                    <a:pt x="1814" y="1359"/>
                  </a:lnTo>
                  <a:lnTo>
                    <a:pt x="1814" y="1362"/>
                  </a:lnTo>
                  <a:lnTo>
                    <a:pt x="1816" y="1365"/>
                  </a:lnTo>
                  <a:lnTo>
                    <a:pt x="1819" y="1366"/>
                  </a:lnTo>
                  <a:lnTo>
                    <a:pt x="1822" y="1366"/>
                  </a:lnTo>
                  <a:lnTo>
                    <a:pt x="1816" y="1367"/>
                  </a:lnTo>
                  <a:lnTo>
                    <a:pt x="1814" y="1366"/>
                  </a:lnTo>
                  <a:lnTo>
                    <a:pt x="1813" y="1373"/>
                  </a:lnTo>
                  <a:lnTo>
                    <a:pt x="1809" y="1378"/>
                  </a:lnTo>
                  <a:lnTo>
                    <a:pt x="1808" y="1381"/>
                  </a:lnTo>
                  <a:lnTo>
                    <a:pt x="1807" y="1378"/>
                  </a:lnTo>
                  <a:lnTo>
                    <a:pt x="1807" y="1378"/>
                  </a:lnTo>
                  <a:lnTo>
                    <a:pt x="1806" y="1378"/>
                  </a:lnTo>
                  <a:lnTo>
                    <a:pt x="1806" y="1381"/>
                  </a:lnTo>
                  <a:lnTo>
                    <a:pt x="1807" y="1382"/>
                  </a:lnTo>
                  <a:lnTo>
                    <a:pt x="1807" y="1383"/>
                  </a:lnTo>
                  <a:lnTo>
                    <a:pt x="1808" y="1386"/>
                  </a:lnTo>
                  <a:lnTo>
                    <a:pt x="1810" y="1387"/>
                  </a:lnTo>
                  <a:lnTo>
                    <a:pt x="1813" y="1390"/>
                  </a:lnTo>
                  <a:lnTo>
                    <a:pt x="1816" y="1391"/>
                  </a:lnTo>
                  <a:lnTo>
                    <a:pt x="1813" y="1391"/>
                  </a:lnTo>
                  <a:lnTo>
                    <a:pt x="1810" y="1389"/>
                  </a:lnTo>
                  <a:lnTo>
                    <a:pt x="1808" y="1386"/>
                  </a:lnTo>
                  <a:lnTo>
                    <a:pt x="1811" y="1392"/>
                  </a:lnTo>
                  <a:lnTo>
                    <a:pt x="1813" y="1394"/>
                  </a:lnTo>
                  <a:lnTo>
                    <a:pt x="1815" y="1395"/>
                  </a:lnTo>
                  <a:lnTo>
                    <a:pt x="1815" y="1395"/>
                  </a:lnTo>
                  <a:lnTo>
                    <a:pt x="1816" y="1401"/>
                  </a:lnTo>
                  <a:lnTo>
                    <a:pt x="1819" y="1402"/>
                  </a:lnTo>
                  <a:lnTo>
                    <a:pt x="1822" y="1403"/>
                  </a:lnTo>
                  <a:lnTo>
                    <a:pt x="1822" y="1404"/>
                  </a:lnTo>
                  <a:lnTo>
                    <a:pt x="1819" y="1403"/>
                  </a:lnTo>
                  <a:lnTo>
                    <a:pt x="1821" y="1406"/>
                  </a:lnTo>
                  <a:lnTo>
                    <a:pt x="1831" y="1413"/>
                  </a:lnTo>
                  <a:lnTo>
                    <a:pt x="1831" y="1415"/>
                  </a:lnTo>
                  <a:lnTo>
                    <a:pt x="1838" y="1422"/>
                  </a:lnTo>
                  <a:lnTo>
                    <a:pt x="1844" y="1429"/>
                  </a:lnTo>
                  <a:lnTo>
                    <a:pt x="1845" y="1433"/>
                  </a:lnTo>
                  <a:lnTo>
                    <a:pt x="1849" y="1437"/>
                  </a:lnTo>
                  <a:lnTo>
                    <a:pt x="1851" y="1437"/>
                  </a:lnTo>
                  <a:lnTo>
                    <a:pt x="1850" y="1439"/>
                  </a:lnTo>
                  <a:lnTo>
                    <a:pt x="1851" y="1442"/>
                  </a:lnTo>
                  <a:lnTo>
                    <a:pt x="1851" y="1445"/>
                  </a:lnTo>
                  <a:lnTo>
                    <a:pt x="1852" y="1447"/>
                  </a:lnTo>
                  <a:lnTo>
                    <a:pt x="1853" y="1450"/>
                  </a:lnTo>
                  <a:lnTo>
                    <a:pt x="1856" y="1451"/>
                  </a:lnTo>
                  <a:lnTo>
                    <a:pt x="1858" y="1451"/>
                  </a:lnTo>
                  <a:lnTo>
                    <a:pt x="1861" y="1449"/>
                  </a:lnTo>
                  <a:lnTo>
                    <a:pt x="1865" y="1449"/>
                  </a:lnTo>
                  <a:lnTo>
                    <a:pt x="1864" y="1450"/>
                  </a:lnTo>
                  <a:lnTo>
                    <a:pt x="1861" y="1451"/>
                  </a:lnTo>
                  <a:lnTo>
                    <a:pt x="1858" y="1451"/>
                  </a:lnTo>
                  <a:lnTo>
                    <a:pt x="1853" y="1453"/>
                  </a:lnTo>
                  <a:lnTo>
                    <a:pt x="1854" y="1455"/>
                  </a:lnTo>
                  <a:lnTo>
                    <a:pt x="1858" y="1461"/>
                  </a:lnTo>
                  <a:lnTo>
                    <a:pt x="1860" y="1463"/>
                  </a:lnTo>
                  <a:lnTo>
                    <a:pt x="1860" y="1466"/>
                  </a:lnTo>
                  <a:lnTo>
                    <a:pt x="1860" y="1467"/>
                  </a:lnTo>
                  <a:lnTo>
                    <a:pt x="1862" y="1472"/>
                  </a:lnTo>
                  <a:lnTo>
                    <a:pt x="1868" y="1483"/>
                  </a:lnTo>
                  <a:lnTo>
                    <a:pt x="1868" y="1486"/>
                  </a:lnTo>
                  <a:lnTo>
                    <a:pt x="1867" y="1489"/>
                  </a:lnTo>
                  <a:lnTo>
                    <a:pt x="1862" y="1493"/>
                  </a:lnTo>
                  <a:lnTo>
                    <a:pt x="1864" y="1495"/>
                  </a:lnTo>
                  <a:lnTo>
                    <a:pt x="1865" y="1497"/>
                  </a:lnTo>
                  <a:lnTo>
                    <a:pt x="1866" y="1500"/>
                  </a:lnTo>
                  <a:lnTo>
                    <a:pt x="1866" y="1502"/>
                  </a:lnTo>
                  <a:lnTo>
                    <a:pt x="1870" y="1512"/>
                  </a:lnTo>
                  <a:lnTo>
                    <a:pt x="1873" y="1515"/>
                  </a:lnTo>
                  <a:lnTo>
                    <a:pt x="1875" y="1521"/>
                  </a:lnTo>
                  <a:lnTo>
                    <a:pt x="1873" y="1532"/>
                  </a:lnTo>
                  <a:lnTo>
                    <a:pt x="1870" y="1538"/>
                  </a:lnTo>
                  <a:lnTo>
                    <a:pt x="1869" y="1540"/>
                  </a:lnTo>
                  <a:lnTo>
                    <a:pt x="1867" y="1541"/>
                  </a:lnTo>
                  <a:lnTo>
                    <a:pt x="1864" y="1544"/>
                  </a:lnTo>
                  <a:lnTo>
                    <a:pt x="1860" y="1549"/>
                  </a:lnTo>
                  <a:lnTo>
                    <a:pt x="1858" y="1552"/>
                  </a:lnTo>
                  <a:lnTo>
                    <a:pt x="1856" y="1554"/>
                  </a:lnTo>
                  <a:lnTo>
                    <a:pt x="1856" y="1558"/>
                  </a:lnTo>
                  <a:lnTo>
                    <a:pt x="1854" y="1561"/>
                  </a:lnTo>
                  <a:lnTo>
                    <a:pt x="1853" y="1572"/>
                  </a:lnTo>
                  <a:lnTo>
                    <a:pt x="1850" y="1579"/>
                  </a:lnTo>
                  <a:lnTo>
                    <a:pt x="1850" y="1581"/>
                  </a:lnTo>
                  <a:lnTo>
                    <a:pt x="1850" y="1583"/>
                  </a:lnTo>
                  <a:lnTo>
                    <a:pt x="1845" y="1588"/>
                  </a:lnTo>
                  <a:lnTo>
                    <a:pt x="1847" y="1599"/>
                  </a:lnTo>
                  <a:lnTo>
                    <a:pt x="1845" y="1610"/>
                  </a:lnTo>
                  <a:lnTo>
                    <a:pt x="1845" y="1615"/>
                  </a:lnTo>
                  <a:lnTo>
                    <a:pt x="1845" y="1618"/>
                  </a:lnTo>
                  <a:lnTo>
                    <a:pt x="1848" y="1621"/>
                  </a:lnTo>
                  <a:lnTo>
                    <a:pt x="1849" y="1623"/>
                  </a:lnTo>
                  <a:lnTo>
                    <a:pt x="1853" y="1629"/>
                  </a:lnTo>
                  <a:lnTo>
                    <a:pt x="1857" y="1633"/>
                  </a:lnTo>
                  <a:lnTo>
                    <a:pt x="1864" y="1646"/>
                  </a:lnTo>
                  <a:lnTo>
                    <a:pt x="1865" y="1649"/>
                  </a:lnTo>
                  <a:lnTo>
                    <a:pt x="1868" y="1657"/>
                  </a:lnTo>
                  <a:lnTo>
                    <a:pt x="1870" y="1663"/>
                  </a:lnTo>
                  <a:lnTo>
                    <a:pt x="1873" y="1666"/>
                  </a:lnTo>
                  <a:lnTo>
                    <a:pt x="1877" y="1673"/>
                  </a:lnTo>
                  <a:lnTo>
                    <a:pt x="1879" y="1676"/>
                  </a:lnTo>
                  <a:lnTo>
                    <a:pt x="1883" y="1682"/>
                  </a:lnTo>
                  <a:lnTo>
                    <a:pt x="1884" y="1684"/>
                  </a:lnTo>
                  <a:lnTo>
                    <a:pt x="1884" y="1687"/>
                  </a:lnTo>
                  <a:lnTo>
                    <a:pt x="1882" y="1690"/>
                  </a:lnTo>
                  <a:lnTo>
                    <a:pt x="1883" y="1694"/>
                  </a:lnTo>
                  <a:lnTo>
                    <a:pt x="1883" y="1697"/>
                  </a:lnTo>
                  <a:lnTo>
                    <a:pt x="1884" y="1702"/>
                  </a:lnTo>
                  <a:lnTo>
                    <a:pt x="1883" y="1704"/>
                  </a:lnTo>
                  <a:lnTo>
                    <a:pt x="1885" y="1710"/>
                  </a:lnTo>
                  <a:lnTo>
                    <a:pt x="1885" y="1712"/>
                  </a:lnTo>
                  <a:lnTo>
                    <a:pt x="1887" y="1716"/>
                  </a:lnTo>
                  <a:lnTo>
                    <a:pt x="1887" y="1718"/>
                  </a:lnTo>
                  <a:lnTo>
                    <a:pt x="1887" y="1724"/>
                  </a:lnTo>
                  <a:lnTo>
                    <a:pt x="1888" y="1726"/>
                  </a:lnTo>
                  <a:lnTo>
                    <a:pt x="1887" y="1728"/>
                  </a:lnTo>
                  <a:lnTo>
                    <a:pt x="1890" y="1734"/>
                  </a:lnTo>
                  <a:lnTo>
                    <a:pt x="1890" y="1737"/>
                  </a:lnTo>
                  <a:lnTo>
                    <a:pt x="1892" y="1738"/>
                  </a:lnTo>
                  <a:lnTo>
                    <a:pt x="1892" y="1742"/>
                  </a:lnTo>
                  <a:lnTo>
                    <a:pt x="1892" y="1744"/>
                  </a:lnTo>
                  <a:lnTo>
                    <a:pt x="1893" y="1746"/>
                  </a:lnTo>
                  <a:lnTo>
                    <a:pt x="1894" y="1752"/>
                  </a:lnTo>
                  <a:lnTo>
                    <a:pt x="1899" y="1760"/>
                  </a:lnTo>
                  <a:lnTo>
                    <a:pt x="1901" y="1763"/>
                  </a:lnTo>
                  <a:lnTo>
                    <a:pt x="1910" y="1771"/>
                  </a:lnTo>
                  <a:lnTo>
                    <a:pt x="1910" y="1771"/>
                  </a:lnTo>
                  <a:lnTo>
                    <a:pt x="1911" y="1774"/>
                  </a:lnTo>
                  <a:lnTo>
                    <a:pt x="1915" y="1779"/>
                  </a:lnTo>
                  <a:lnTo>
                    <a:pt x="1918" y="1787"/>
                  </a:lnTo>
                  <a:lnTo>
                    <a:pt x="1919" y="1789"/>
                  </a:lnTo>
                  <a:lnTo>
                    <a:pt x="1921" y="1797"/>
                  </a:lnTo>
                  <a:lnTo>
                    <a:pt x="1926" y="1805"/>
                  </a:lnTo>
                  <a:lnTo>
                    <a:pt x="1929" y="1812"/>
                  </a:lnTo>
                  <a:lnTo>
                    <a:pt x="1934" y="1818"/>
                  </a:lnTo>
                  <a:lnTo>
                    <a:pt x="1935" y="1820"/>
                  </a:lnTo>
                  <a:lnTo>
                    <a:pt x="1936" y="1827"/>
                  </a:lnTo>
                  <a:lnTo>
                    <a:pt x="1936" y="1829"/>
                  </a:lnTo>
                  <a:lnTo>
                    <a:pt x="1935" y="1832"/>
                  </a:lnTo>
                  <a:lnTo>
                    <a:pt x="1933" y="1834"/>
                  </a:lnTo>
                  <a:lnTo>
                    <a:pt x="1930" y="1834"/>
                  </a:lnTo>
                  <a:lnTo>
                    <a:pt x="1929" y="1836"/>
                  </a:lnTo>
                  <a:lnTo>
                    <a:pt x="1932" y="1837"/>
                  </a:lnTo>
                  <a:lnTo>
                    <a:pt x="1933" y="1840"/>
                  </a:lnTo>
                  <a:lnTo>
                    <a:pt x="1933" y="1841"/>
                  </a:lnTo>
                  <a:lnTo>
                    <a:pt x="1935" y="1844"/>
                  </a:lnTo>
                  <a:lnTo>
                    <a:pt x="1937" y="1848"/>
                  </a:lnTo>
                  <a:lnTo>
                    <a:pt x="1936" y="1853"/>
                  </a:lnTo>
                  <a:lnTo>
                    <a:pt x="1936" y="1856"/>
                  </a:lnTo>
                  <a:lnTo>
                    <a:pt x="1938" y="1858"/>
                  </a:lnTo>
                  <a:lnTo>
                    <a:pt x="1937" y="1855"/>
                  </a:lnTo>
                  <a:lnTo>
                    <a:pt x="1938" y="1854"/>
                  </a:lnTo>
                  <a:lnTo>
                    <a:pt x="1941" y="1854"/>
                  </a:lnTo>
                  <a:lnTo>
                    <a:pt x="1943" y="1854"/>
                  </a:lnTo>
                  <a:lnTo>
                    <a:pt x="1943" y="1856"/>
                  </a:lnTo>
                  <a:lnTo>
                    <a:pt x="1944" y="1858"/>
                  </a:lnTo>
                  <a:lnTo>
                    <a:pt x="1946" y="1858"/>
                  </a:lnTo>
                  <a:lnTo>
                    <a:pt x="1949" y="1860"/>
                  </a:lnTo>
                  <a:lnTo>
                    <a:pt x="1950" y="1862"/>
                  </a:lnTo>
                  <a:lnTo>
                    <a:pt x="1951" y="1862"/>
                  </a:lnTo>
                  <a:lnTo>
                    <a:pt x="1953" y="1864"/>
                  </a:lnTo>
                  <a:lnTo>
                    <a:pt x="1955" y="1864"/>
                  </a:lnTo>
                  <a:lnTo>
                    <a:pt x="1959" y="1865"/>
                  </a:lnTo>
                  <a:lnTo>
                    <a:pt x="1967" y="1860"/>
                  </a:lnTo>
                  <a:lnTo>
                    <a:pt x="1970" y="1860"/>
                  </a:lnTo>
                  <a:lnTo>
                    <a:pt x="1970" y="1858"/>
                  </a:lnTo>
                  <a:lnTo>
                    <a:pt x="1972" y="1858"/>
                  </a:lnTo>
                  <a:lnTo>
                    <a:pt x="1976" y="1860"/>
                  </a:lnTo>
                  <a:lnTo>
                    <a:pt x="1984" y="1858"/>
                  </a:lnTo>
                  <a:lnTo>
                    <a:pt x="1989" y="1854"/>
                  </a:lnTo>
                  <a:lnTo>
                    <a:pt x="1992" y="1854"/>
                  </a:lnTo>
                  <a:lnTo>
                    <a:pt x="1993" y="1854"/>
                  </a:lnTo>
                  <a:lnTo>
                    <a:pt x="1995" y="1853"/>
                  </a:lnTo>
                  <a:lnTo>
                    <a:pt x="1996" y="1853"/>
                  </a:lnTo>
                  <a:lnTo>
                    <a:pt x="1996" y="1853"/>
                  </a:lnTo>
                  <a:lnTo>
                    <a:pt x="1997" y="1853"/>
                  </a:lnTo>
                  <a:lnTo>
                    <a:pt x="1999" y="1854"/>
                  </a:lnTo>
                  <a:lnTo>
                    <a:pt x="2001" y="1854"/>
                  </a:lnTo>
                  <a:lnTo>
                    <a:pt x="2003" y="1854"/>
                  </a:lnTo>
                  <a:lnTo>
                    <a:pt x="2005" y="1853"/>
                  </a:lnTo>
                  <a:lnTo>
                    <a:pt x="2009" y="1853"/>
                  </a:lnTo>
                  <a:lnTo>
                    <a:pt x="2024" y="1855"/>
                  </a:lnTo>
                  <a:lnTo>
                    <a:pt x="2026" y="1853"/>
                  </a:lnTo>
                  <a:lnTo>
                    <a:pt x="2027" y="1852"/>
                  </a:lnTo>
                  <a:lnTo>
                    <a:pt x="2030" y="1852"/>
                  </a:lnTo>
                  <a:lnTo>
                    <a:pt x="2032" y="1853"/>
                  </a:lnTo>
                  <a:lnTo>
                    <a:pt x="2036" y="1854"/>
                  </a:lnTo>
                  <a:lnTo>
                    <a:pt x="2037" y="1853"/>
                  </a:lnTo>
                  <a:lnTo>
                    <a:pt x="2036" y="1851"/>
                  </a:lnTo>
                  <a:lnTo>
                    <a:pt x="2038" y="1848"/>
                  </a:lnTo>
                  <a:lnTo>
                    <a:pt x="2041" y="1848"/>
                  </a:lnTo>
                  <a:lnTo>
                    <a:pt x="2047" y="1849"/>
                  </a:lnTo>
                  <a:lnTo>
                    <a:pt x="2055" y="1846"/>
                  </a:lnTo>
                  <a:lnTo>
                    <a:pt x="2066" y="1838"/>
                  </a:lnTo>
                  <a:lnTo>
                    <a:pt x="2069" y="1836"/>
                  </a:lnTo>
                  <a:lnTo>
                    <a:pt x="2070" y="1835"/>
                  </a:lnTo>
                  <a:lnTo>
                    <a:pt x="2073" y="1832"/>
                  </a:lnTo>
                  <a:lnTo>
                    <a:pt x="2079" y="1828"/>
                  </a:lnTo>
                  <a:lnTo>
                    <a:pt x="2089" y="1817"/>
                  </a:lnTo>
                  <a:lnTo>
                    <a:pt x="2096" y="1811"/>
                  </a:lnTo>
                  <a:lnTo>
                    <a:pt x="2100" y="1805"/>
                  </a:lnTo>
                  <a:lnTo>
                    <a:pt x="2104" y="1800"/>
                  </a:lnTo>
                  <a:lnTo>
                    <a:pt x="2106" y="1795"/>
                  </a:lnTo>
                  <a:lnTo>
                    <a:pt x="2110" y="1791"/>
                  </a:lnTo>
                  <a:lnTo>
                    <a:pt x="2110" y="1788"/>
                  </a:lnTo>
                  <a:lnTo>
                    <a:pt x="2114" y="1783"/>
                  </a:lnTo>
                  <a:lnTo>
                    <a:pt x="2120" y="1776"/>
                  </a:lnTo>
                  <a:lnTo>
                    <a:pt x="2121" y="1776"/>
                  </a:lnTo>
                  <a:lnTo>
                    <a:pt x="2123" y="1775"/>
                  </a:lnTo>
                  <a:lnTo>
                    <a:pt x="2123" y="1774"/>
                  </a:lnTo>
                  <a:lnTo>
                    <a:pt x="2125" y="1772"/>
                  </a:lnTo>
                  <a:lnTo>
                    <a:pt x="2127" y="1770"/>
                  </a:lnTo>
                  <a:lnTo>
                    <a:pt x="2129" y="1768"/>
                  </a:lnTo>
                  <a:lnTo>
                    <a:pt x="2130" y="1767"/>
                  </a:lnTo>
                  <a:lnTo>
                    <a:pt x="2131" y="1763"/>
                  </a:lnTo>
                  <a:lnTo>
                    <a:pt x="2132" y="1758"/>
                  </a:lnTo>
                  <a:lnTo>
                    <a:pt x="2134" y="1748"/>
                  </a:lnTo>
                  <a:lnTo>
                    <a:pt x="2137" y="1734"/>
                  </a:lnTo>
                  <a:lnTo>
                    <a:pt x="2134" y="1737"/>
                  </a:lnTo>
                  <a:lnTo>
                    <a:pt x="2132" y="1735"/>
                  </a:lnTo>
                  <a:lnTo>
                    <a:pt x="2131" y="1733"/>
                  </a:lnTo>
                  <a:lnTo>
                    <a:pt x="2130" y="1733"/>
                  </a:lnTo>
                  <a:lnTo>
                    <a:pt x="2132" y="1732"/>
                  </a:lnTo>
                  <a:lnTo>
                    <a:pt x="2134" y="1727"/>
                  </a:lnTo>
                  <a:lnTo>
                    <a:pt x="2137" y="1725"/>
                  </a:lnTo>
                  <a:lnTo>
                    <a:pt x="2139" y="1724"/>
                  </a:lnTo>
                  <a:lnTo>
                    <a:pt x="2140" y="1723"/>
                  </a:lnTo>
                  <a:lnTo>
                    <a:pt x="2159" y="1715"/>
                  </a:lnTo>
                  <a:lnTo>
                    <a:pt x="2165" y="1712"/>
                  </a:lnTo>
                  <a:lnTo>
                    <a:pt x="2169" y="1707"/>
                  </a:lnTo>
                  <a:lnTo>
                    <a:pt x="2172" y="1702"/>
                  </a:lnTo>
                  <a:lnTo>
                    <a:pt x="2168" y="1703"/>
                  </a:lnTo>
                  <a:lnTo>
                    <a:pt x="2171" y="1692"/>
                  </a:lnTo>
                  <a:lnTo>
                    <a:pt x="2172" y="1690"/>
                  </a:lnTo>
                  <a:lnTo>
                    <a:pt x="2173" y="1689"/>
                  </a:lnTo>
                  <a:lnTo>
                    <a:pt x="2171" y="1685"/>
                  </a:lnTo>
                  <a:lnTo>
                    <a:pt x="2172" y="1678"/>
                  </a:lnTo>
                  <a:lnTo>
                    <a:pt x="2171" y="1676"/>
                  </a:lnTo>
                  <a:lnTo>
                    <a:pt x="2169" y="1678"/>
                  </a:lnTo>
                  <a:lnTo>
                    <a:pt x="2169" y="1682"/>
                  </a:lnTo>
                  <a:lnTo>
                    <a:pt x="2168" y="1678"/>
                  </a:lnTo>
                  <a:lnTo>
                    <a:pt x="2168" y="1676"/>
                  </a:lnTo>
                  <a:lnTo>
                    <a:pt x="2167" y="1669"/>
                  </a:lnTo>
                  <a:lnTo>
                    <a:pt x="2166" y="1666"/>
                  </a:lnTo>
                  <a:lnTo>
                    <a:pt x="2165" y="1661"/>
                  </a:lnTo>
                  <a:lnTo>
                    <a:pt x="2166" y="1660"/>
                  </a:lnTo>
                  <a:lnTo>
                    <a:pt x="2164" y="1657"/>
                  </a:lnTo>
                  <a:lnTo>
                    <a:pt x="2159" y="1651"/>
                  </a:lnTo>
                  <a:lnTo>
                    <a:pt x="2160" y="1646"/>
                  </a:lnTo>
                  <a:lnTo>
                    <a:pt x="2160" y="1644"/>
                  </a:lnTo>
                  <a:lnTo>
                    <a:pt x="2159" y="1642"/>
                  </a:lnTo>
                  <a:lnTo>
                    <a:pt x="2158" y="1641"/>
                  </a:lnTo>
                  <a:lnTo>
                    <a:pt x="2160" y="1642"/>
                  </a:lnTo>
                  <a:lnTo>
                    <a:pt x="2161" y="1644"/>
                  </a:lnTo>
                  <a:lnTo>
                    <a:pt x="2164" y="1643"/>
                  </a:lnTo>
                  <a:lnTo>
                    <a:pt x="2169" y="1639"/>
                  </a:lnTo>
                  <a:lnTo>
                    <a:pt x="2174" y="1633"/>
                  </a:lnTo>
                  <a:lnTo>
                    <a:pt x="2176" y="1632"/>
                  </a:lnTo>
                  <a:lnTo>
                    <a:pt x="2180" y="1629"/>
                  </a:lnTo>
                  <a:lnTo>
                    <a:pt x="2181" y="1630"/>
                  </a:lnTo>
                  <a:lnTo>
                    <a:pt x="2181" y="1627"/>
                  </a:lnTo>
                  <a:lnTo>
                    <a:pt x="2184" y="1627"/>
                  </a:lnTo>
                  <a:lnTo>
                    <a:pt x="2184" y="1625"/>
                  </a:lnTo>
                  <a:lnTo>
                    <a:pt x="2189" y="1621"/>
                  </a:lnTo>
                  <a:lnTo>
                    <a:pt x="2190" y="1617"/>
                  </a:lnTo>
                  <a:lnTo>
                    <a:pt x="2189" y="1616"/>
                  </a:lnTo>
                  <a:lnTo>
                    <a:pt x="2192" y="1617"/>
                  </a:lnTo>
                  <a:lnTo>
                    <a:pt x="2194" y="1614"/>
                  </a:lnTo>
                  <a:lnTo>
                    <a:pt x="2198" y="1612"/>
                  </a:lnTo>
                  <a:lnTo>
                    <a:pt x="2199" y="1610"/>
                  </a:lnTo>
                  <a:lnTo>
                    <a:pt x="2210" y="1606"/>
                  </a:lnTo>
                  <a:lnTo>
                    <a:pt x="2212" y="1606"/>
                  </a:lnTo>
                  <a:lnTo>
                    <a:pt x="2215" y="1604"/>
                  </a:lnTo>
                  <a:lnTo>
                    <a:pt x="2217" y="1604"/>
                  </a:lnTo>
                  <a:lnTo>
                    <a:pt x="2219" y="1604"/>
                  </a:lnTo>
                  <a:lnTo>
                    <a:pt x="2224" y="1600"/>
                  </a:lnTo>
                  <a:lnTo>
                    <a:pt x="2228" y="1597"/>
                  </a:lnTo>
                  <a:lnTo>
                    <a:pt x="2229" y="1593"/>
                  </a:lnTo>
                  <a:lnTo>
                    <a:pt x="2233" y="1592"/>
                  </a:lnTo>
                  <a:lnTo>
                    <a:pt x="2238" y="1584"/>
                  </a:lnTo>
                  <a:lnTo>
                    <a:pt x="2241" y="1581"/>
                  </a:lnTo>
                  <a:lnTo>
                    <a:pt x="2242" y="1579"/>
                  </a:lnTo>
                  <a:lnTo>
                    <a:pt x="2241" y="1577"/>
                  </a:lnTo>
                  <a:lnTo>
                    <a:pt x="2244" y="1571"/>
                  </a:lnTo>
                  <a:lnTo>
                    <a:pt x="2244" y="1569"/>
                  </a:lnTo>
                  <a:lnTo>
                    <a:pt x="2242" y="1569"/>
                  </a:lnTo>
                  <a:lnTo>
                    <a:pt x="2241" y="1566"/>
                  </a:lnTo>
                  <a:lnTo>
                    <a:pt x="2240" y="1564"/>
                  </a:lnTo>
                  <a:lnTo>
                    <a:pt x="2241" y="1561"/>
                  </a:lnTo>
                  <a:lnTo>
                    <a:pt x="2241" y="1558"/>
                  </a:lnTo>
                  <a:lnTo>
                    <a:pt x="2241" y="1555"/>
                  </a:lnTo>
                  <a:lnTo>
                    <a:pt x="2240" y="1555"/>
                  </a:lnTo>
                  <a:lnTo>
                    <a:pt x="2241" y="1549"/>
                  </a:lnTo>
                  <a:lnTo>
                    <a:pt x="2238" y="1547"/>
                  </a:lnTo>
                  <a:lnTo>
                    <a:pt x="2241" y="1545"/>
                  </a:lnTo>
                  <a:lnTo>
                    <a:pt x="2240" y="1541"/>
                  </a:lnTo>
                  <a:lnTo>
                    <a:pt x="2241" y="1539"/>
                  </a:lnTo>
                  <a:lnTo>
                    <a:pt x="2240" y="1537"/>
                  </a:lnTo>
                  <a:lnTo>
                    <a:pt x="2240" y="1531"/>
                  </a:lnTo>
                  <a:lnTo>
                    <a:pt x="2238" y="1529"/>
                  </a:lnTo>
                  <a:lnTo>
                    <a:pt x="2238" y="1527"/>
                  </a:lnTo>
                  <a:lnTo>
                    <a:pt x="2237" y="1524"/>
                  </a:lnTo>
                  <a:lnTo>
                    <a:pt x="2240" y="1522"/>
                  </a:lnTo>
                  <a:lnTo>
                    <a:pt x="2240" y="1514"/>
                  </a:lnTo>
                  <a:lnTo>
                    <a:pt x="2238" y="1513"/>
                  </a:lnTo>
                  <a:lnTo>
                    <a:pt x="2236" y="1510"/>
                  </a:lnTo>
                  <a:lnTo>
                    <a:pt x="2233" y="1507"/>
                  </a:lnTo>
                  <a:lnTo>
                    <a:pt x="2232" y="1509"/>
                  </a:lnTo>
                  <a:lnTo>
                    <a:pt x="2231" y="1506"/>
                  </a:lnTo>
                  <a:lnTo>
                    <a:pt x="2228" y="1506"/>
                  </a:lnTo>
                  <a:lnTo>
                    <a:pt x="2229" y="1503"/>
                  </a:lnTo>
                  <a:lnTo>
                    <a:pt x="2228" y="1498"/>
                  </a:lnTo>
                  <a:lnTo>
                    <a:pt x="2227" y="1496"/>
                  </a:lnTo>
                  <a:lnTo>
                    <a:pt x="2224" y="1490"/>
                  </a:lnTo>
                  <a:lnTo>
                    <a:pt x="2223" y="1485"/>
                  </a:lnTo>
                  <a:lnTo>
                    <a:pt x="2223" y="1483"/>
                  </a:lnTo>
                  <a:lnTo>
                    <a:pt x="2225" y="1479"/>
                  </a:lnTo>
                  <a:lnTo>
                    <a:pt x="2225" y="1478"/>
                  </a:lnTo>
                  <a:lnTo>
                    <a:pt x="2224" y="1476"/>
                  </a:lnTo>
                  <a:lnTo>
                    <a:pt x="2223" y="1476"/>
                  </a:lnTo>
                  <a:lnTo>
                    <a:pt x="2223" y="1471"/>
                  </a:lnTo>
                  <a:lnTo>
                    <a:pt x="2224" y="1469"/>
                  </a:lnTo>
                  <a:lnTo>
                    <a:pt x="2226" y="1466"/>
                  </a:lnTo>
                  <a:lnTo>
                    <a:pt x="2226" y="1464"/>
                  </a:lnTo>
                  <a:lnTo>
                    <a:pt x="2224" y="1462"/>
                  </a:lnTo>
                  <a:lnTo>
                    <a:pt x="2223" y="1462"/>
                  </a:lnTo>
                  <a:lnTo>
                    <a:pt x="2221" y="1460"/>
                  </a:lnTo>
                  <a:lnTo>
                    <a:pt x="2217" y="1455"/>
                  </a:lnTo>
                  <a:lnTo>
                    <a:pt x="2217" y="1453"/>
                  </a:lnTo>
                  <a:lnTo>
                    <a:pt x="2216" y="1451"/>
                  </a:lnTo>
                  <a:lnTo>
                    <a:pt x="2217" y="1446"/>
                  </a:lnTo>
                  <a:lnTo>
                    <a:pt x="2219" y="1441"/>
                  </a:lnTo>
                  <a:lnTo>
                    <a:pt x="2220" y="1437"/>
                  </a:lnTo>
                  <a:lnTo>
                    <a:pt x="2221" y="1435"/>
                  </a:lnTo>
                  <a:lnTo>
                    <a:pt x="2221" y="1433"/>
                  </a:lnTo>
                  <a:lnTo>
                    <a:pt x="2225" y="1432"/>
                  </a:lnTo>
                  <a:lnTo>
                    <a:pt x="2226" y="1428"/>
                  </a:lnTo>
                  <a:lnTo>
                    <a:pt x="2227" y="1426"/>
                  </a:lnTo>
                  <a:lnTo>
                    <a:pt x="2227" y="1424"/>
                  </a:lnTo>
                  <a:lnTo>
                    <a:pt x="2228" y="1424"/>
                  </a:lnTo>
                  <a:lnTo>
                    <a:pt x="2228" y="1422"/>
                  </a:lnTo>
                  <a:lnTo>
                    <a:pt x="2231" y="1420"/>
                  </a:lnTo>
                  <a:lnTo>
                    <a:pt x="2231" y="1418"/>
                  </a:lnTo>
                  <a:lnTo>
                    <a:pt x="2232" y="1416"/>
                  </a:lnTo>
                  <a:lnTo>
                    <a:pt x="2233" y="1415"/>
                  </a:lnTo>
                  <a:lnTo>
                    <a:pt x="2234" y="1412"/>
                  </a:lnTo>
                  <a:lnTo>
                    <a:pt x="2234" y="1411"/>
                  </a:lnTo>
                  <a:lnTo>
                    <a:pt x="2235" y="1409"/>
                  </a:lnTo>
                  <a:lnTo>
                    <a:pt x="2235" y="1407"/>
                  </a:lnTo>
                  <a:lnTo>
                    <a:pt x="2237" y="1403"/>
                  </a:lnTo>
                  <a:lnTo>
                    <a:pt x="2240" y="1403"/>
                  </a:lnTo>
                  <a:lnTo>
                    <a:pt x="2242" y="1402"/>
                  </a:lnTo>
                  <a:lnTo>
                    <a:pt x="2244" y="1400"/>
                  </a:lnTo>
                  <a:lnTo>
                    <a:pt x="2244" y="1399"/>
                  </a:lnTo>
                  <a:lnTo>
                    <a:pt x="2246" y="1394"/>
                  </a:lnTo>
                  <a:lnTo>
                    <a:pt x="2249" y="1395"/>
                  </a:lnTo>
                  <a:lnTo>
                    <a:pt x="2252" y="1394"/>
                  </a:lnTo>
                  <a:lnTo>
                    <a:pt x="2254" y="1392"/>
                  </a:lnTo>
                  <a:lnTo>
                    <a:pt x="2255" y="1389"/>
                  </a:lnTo>
                  <a:lnTo>
                    <a:pt x="2258" y="1386"/>
                  </a:lnTo>
                  <a:lnTo>
                    <a:pt x="2258" y="1385"/>
                  </a:lnTo>
                  <a:lnTo>
                    <a:pt x="2259" y="1382"/>
                  </a:lnTo>
                  <a:lnTo>
                    <a:pt x="2259" y="1381"/>
                  </a:lnTo>
                  <a:lnTo>
                    <a:pt x="2261" y="1381"/>
                  </a:lnTo>
                  <a:lnTo>
                    <a:pt x="2263" y="1378"/>
                  </a:lnTo>
                  <a:lnTo>
                    <a:pt x="2268" y="1373"/>
                  </a:lnTo>
                  <a:lnTo>
                    <a:pt x="2269" y="1372"/>
                  </a:lnTo>
                  <a:lnTo>
                    <a:pt x="2272" y="1368"/>
                  </a:lnTo>
                  <a:lnTo>
                    <a:pt x="2280" y="1360"/>
                  </a:lnTo>
                  <a:lnTo>
                    <a:pt x="2287" y="1353"/>
                  </a:lnTo>
                  <a:lnTo>
                    <a:pt x="2293" y="1349"/>
                  </a:lnTo>
                  <a:lnTo>
                    <a:pt x="2296" y="1347"/>
                  </a:lnTo>
                  <a:lnTo>
                    <a:pt x="2299" y="1345"/>
                  </a:lnTo>
                  <a:lnTo>
                    <a:pt x="2301" y="1343"/>
                  </a:lnTo>
                  <a:lnTo>
                    <a:pt x="2303" y="1342"/>
                  </a:lnTo>
                  <a:lnTo>
                    <a:pt x="2305" y="1341"/>
                  </a:lnTo>
                  <a:lnTo>
                    <a:pt x="2314" y="1335"/>
                  </a:lnTo>
                  <a:lnTo>
                    <a:pt x="2317" y="1333"/>
                  </a:lnTo>
                  <a:lnTo>
                    <a:pt x="2319" y="1332"/>
                  </a:lnTo>
                  <a:lnTo>
                    <a:pt x="2321" y="1329"/>
                  </a:lnTo>
                  <a:lnTo>
                    <a:pt x="2322" y="1329"/>
                  </a:lnTo>
                  <a:lnTo>
                    <a:pt x="2325" y="1325"/>
                  </a:lnTo>
                  <a:lnTo>
                    <a:pt x="2328" y="1322"/>
                  </a:lnTo>
                  <a:lnTo>
                    <a:pt x="2330" y="1321"/>
                  </a:lnTo>
                  <a:lnTo>
                    <a:pt x="2330" y="1319"/>
                  </a:lnTo>
                  <a:lnTo>
                    <a:pt x="2334" y="1316"/>
                  </a:lnTo>
                  <a:lnTo>
                    <a:pt x="2335" y="1315"/>
                  </a:lnTo>
                  <a:lnTo>
                    <a:pt x="2337" y="1313"/>
                  </a:lnTo>
                  <a:lnTo>
                    <a:pt x="2342" y="1308"/>
                  </a:lnTo>
                  <a:lnTo>
                    <a:pt x="2343" y="1305"/>
                  </a:lnTo>
                  <a:lnTo>
                    <a:pt x="2344" y="1302"/>
                  </a:lnTo>
                  <a:lnTo>
                    <a:pt x="2346" y="1300"/>
                  </a:lnTo>
                  <a:lnTo>
                    <a:pt x="2348" y="1297"/>
                  </a:lnTo>
                  <a:lnTo>
                    <a:pt x="2349" y="1295"/>
                  </a:lnTo>
                  <a:lnTo>
                    <a:pt x="2352" y="1292"/>
                  </a:lnTo>
                  <a:lnTo>
                    <a:pt x="2354" y="1289"/>
                  </a:lnTo>
                  <a:lnTo>
                    <a:pt x="2356" y="1284"/>
                  </a:lnTo>
                  <a:lnTo>
                    <a:pt x="2357" y="1279"/>
                  </a:lnTo>
                  <a:lnTo>
                    <a:pt x="2359" y="1275"/>
                  </a:lnTo>
                  <a:lnTo>
                    <a:pt x="2360" y="1273"/>
                  </a:lnTo>
                  <a:lnTo>
                    <a:pt x="2364" y="1267"/>
                  </a:lnTo>
                  <a:lnTo>
                    <a:pt x="2366" y="1264"/>
                  </a:lnTo>
                  <a:lnTo>
                    <a:pt x="2368" y="1262"/>
                  </a:lnTo>
                  <a:lnTo>
                    <a:pt x="2366" y="1261"/>
                  </a:lnTo>
                  <a:lnTo>
                    <a:pt x="2368" y="1259"/>
                  </a:lnTo>
                  <a:lnTo>
                    <a:pt x="2370" y="1257"/>
                  </a:lnTo>
                  <a:lnTo>
                    <a:pt x="2371" y="1254"/>
                  </a:lnTo>
                  <a:lnTo>
                    <a:pt x="2372" y="1254"/>
                  </a:lnTo>
                  <a:lnTo>
                    <a:pt x="2373" y="1252"/>
                  </a:lnTo>
                  <a:lnTo>
                    <a:pt x="2374" y="1249"/>
                  </a:lnTo>
                  <a:lnTo>
                    <a:pt x="2376" y="1246"/>
                  </a:lnTo>
                  <a:lnTo>
                    <a:pt x="2378" y="1244"/>
                  </a:lnTo>
                  <a:lnTo>
                    <a:pt x="2379" y="1241"/>
                  </a:lnTo>
                  <a:lnTo>
                    <a:pt x="2381" y="1239"/>
                  </a:lnTo>
                  <a:lnTo>
                    <a:pt x="2380" y="1237"/>
                  </a:lnTo>
                  <a:lnTo>
                    <a:pt x="2381" y="1231"/>
                  </a:lnTo>
                  <a:lnTo>
                    <a:pt x="2381" y="1229"/>
                  </a:lnTo>
                  <a:lnTo>
                    <a:pt x="2382" y="1227"/>
                  </a:lnTo>
                  <a:lnTo>
                    <a:pt x="2386" y="1225"/>
                  </a:lnTo>
                  <a:lnTo>
                    <a:pt x="2388" y="1227"/>
                  </a:lnTo>
                  <a:lnTo>
                    <a:pt x="2386" y="1225"/>
                  </a:lnTo>
                  <a:lnTo>
                    <a:pt x="2383" y="1225"/>
                  </a:lnTo>
                  <a:lnTo>
                    <a:pt x="2385" y="1223"/>
                  </a:lnTo>
                  <a:lnTo>
                    <a:pt x="2385" y="1220"/>
                  </a:lnTo>
                  <a:lnTo>
                    <a:pt x="2385" y="1218"/>
                  </a:lnTo>
                  <a:lnTo>
                    <a:pt x="2385" y="1214"/>
                  </a:lnTo>
                  <a:lnTo>
                    <a:pt x="2385" y="1212"/>
                  </a:lnTo>
                  <a:lnTo>
                    <a:pt x="2387" y="1206"/>
                  </a:lnTo>
                  <a:lnTo>
                    <a:pt x="2383" y="1205"/>
                  </a:lnTo>
                  <a:lnTo>
                    <a:pt x="2381" y="1204"/>
                  </a:lnTo>
                  <a:lnTo>
                    <a:pt x="2378" y="1204"/>
                  </a:lnTo>
                  <a:lnTo>
                    <a:pt x="2376" y="1207"/>
                  </a:lnTo>
                  <a:lnTo>
                    <a:pt x="2371" y="1211"/>
                  </a:lnTo>
                  <a:lnTo>
                    <a:pt x="2369" y="1211"/>
                  </a:lnTo>
                  <a:lnTo>
                    <a:pt x="2368" y="1211"/>
                  </a:lnTo>
                  <a:lnTo>
                    <a:pt x="2365" y="1211"/>
                  </a:lnTo>
                  <a:lnTo>
                    <a:pt x="2355" y="1214"/>
                  </a:lnTo>
                  <a:lnTo>
                    <a:pt x="2354" y="1214"/>
                  </a:lnTo>
                  <a:lnTo>
                    <a:pt x="2352" y="1213"/>
                  </a:lnTo>
                  <a:lnTo>
                    <a:pt x="2348" y="1213"/>
                  </a:lnTo>
                  <a:lnTo>
                    <a:pt x="2344" y="1215"/>
                  </a:lnTo>
                  <a:lnTo>
                    <a:pt x="2340" y="1215"/>
                  </a:lnTo>
                  <a:lnTo>
                    <a:pt x="2338" y="1216"/>
                  </a:lnTo>
                  <a:lnTo>
                    <a:pt x="2335" y="1215"/>
                  </a:lnTo>
                  <a:lnTo>
                    <a:pt x="2333" y="1215"/>
                  </a:lnTo>
                  <a:lnTo>
                    <a:pt x="2328" y="1218"/>
                  </a:lnTo>
                  <a:lnTo>
                    <a:pt x="2327" y="1219"/>
                  </a:lnTo>
                  <a:lnTo>
                    <a:pt x="2325" y="1221"/>
                  </a:lnTo>
                  <a:lnTo>
                    <a:pt x="2321" y="1221"/>
                  </a:lnTo>
                  <a:lnTo>
                    <a:pt x="2319" y="1221"/>
                  </a:lnTo>
                  <a:lnTo>
                    <a:pt x="2313" y="1220"/>
                  </a:lnTo>
                  <a:lnTo>
                    <a:pt x="2310" y="1220"/>
                  </a:lnTo>
                  <a:lnTo>
                    <a:pt x="2308" y="1222"/>
                  </a:lnTo>
                  <a:lnTo>
                    <a:pt x="2304" y="1223"/>
                  </a:lnTo>
                  <a:lnTo>
                    <a:pt x="2302" y="1224"/>
                  </a:lnTo>
                  <a:lnTo>
                    <a:pt x="2301" y="1225"/>
                  </a:lnTo>
                  <a:lnTo>
                    <a:pt x="2299" y="1225"/>
                  </a:lnTo>
                  <a:lnTo>
                    <a:pt x="2295" y="1225"/>
                  </a:lnTo>
                  <a:lnTo>
                    <a:pt x="2292" y="1225"/>
                  </a:lnTo>
                  <a:lnTo>
                    <a:pt x="2291" y="1224"/>
                  </a:lnTo>
                  <a:lnTo>
                    <a:pt x="2289" y="1224"/>
                  </a:lnTo>
                  <a:lnTo>
                    <a:pt x="2288" y="1223"/>
                  </a:lnTo>
                  <a:lnTo>
                    <a:pt x="2283" y="1219"/>
                  </a:lnTo>
                  <a:lnTo>
                    <a:pt x="2279" y="1213"/>
                  </a:lnTo>
                  <a:lnTo>
                    <a:pt x="2275" y="1210"/>
                  </a:lnTo>
                  <a:lnTo>
                    <a:pt x="2271" y="1210"/>
                  </a:lnTo>
                  <a:lnTo>
                    <a:pt x="2270" y="1210"/>
                  </a:lnTo>
                  <a:lnTo>
                    <a:pt x="2268" y="1210"/>
                  </a:lnTo>
                  <a:lnTo>
                    <a:pt x="2270" y="1207"/>
                  </a:lnTo>
                  <a:lnTo>
                    <a:pt x="2274" y="1206"/>
                  </a:lnTo>
                  <a:lnTo>
                    <a:pt x="2275" y="1206"/>
                  </a:lnTo>
                  <a:lnTo>
                    <a:pt x="2276" y="1205"/>
                  </a:lnTo>
                  <a:lnTo>
                    <a:pt x="2279" y="1204"/>
                  </a:lnTo>
                  <a:lnTo>
                    <a:pt x="2279" y="1202"/>
                  </a:lnTo>
                  <a:lnTo>
                    <a:pt x="2278" y="1199"/>
                  </a:lnTo>
                  <a:lnTo>
                    <a:pt x="2277" y="1196"/>
                  </a:lnTo>
                  <a:lnTo>
                    <a:pt x="2275" y="1194"/>
                  </a:lnTo>
                  <a:lnTo>
                    <a:pt x="2271" y="1191"/>
                  </a:lnTo>
                  <a:lnTo>
                    <a:pt x="2270" y="1189"/>
                  </a:lnTo>
                  <a:lnTo>
                    <a:pt x="2265" y="1184"/>
                  </a:lnTo>
                  <a:lnTo>
                    <a:pt x="2263" y="1181"/>
                  </a:lnTo>
                  <a:lnTo>
                    <a:pt x="2262" y="1180"/>
                  </a:lnTo>
                  <a:lnTo>
                    <a:pt x="2260" y="1179"/>
                  </a:lnTo>
                  <a:lnTo>
                    <a:pt x="2258" y="1178"/>
                  </a:lnTo>
                  <a:lnTo>
                    <a:pt x="2254" y="1176"/>
                  </a:lnTo>
                  <a:lnTo>
                    <a:pt x="2251" y="1170"/>
                  </a:lnTo>
                  <a:lnTo>
                    <a:pt x="2250" y="1169"/>
                  </a:lnTo>
                  <a:lnTo>
                    <a:pt x="2250" y="1168"/>
                  </a:lnTo>
                  <a:lnTo>
                    <a:pt x="2246" y="1167"/>
                  </a:lnTo>
                  <a:lnTo>
                    <a:pt x="2244" y="1165"/>
                  </a:lnTo>
                  <a:lnTo>
                    <a:pt x="2242" y="1163"/>
                  </a:lnTo>
                  <a:lnTo>
                    <a:pt x="2240" y="1162"/>
                  </a:lnTo>
                  <a:lnTo>
                    <a:pt x="2238" y="1162"/>
                  </a:lnTo>
                  <a:lnTo>
                    <a:pt x="2236" y="1162"/>
                  </a:lnTo>
                  <a:lnTo>
                    <a:pt x="2234" y="1162"/>
                  </a:lnTo>
                  <a:lnTo>
                    <a:pt x="2233" y="1159"/>
                  </a:lnTo>
                  <a:lnTo>
                    <a:pt x="2233" y="1156"/>
                  </a:lnTo>
                  <a:lnTo>
                    <a:pt x="2229" y="1155"/>
                  </a:lnTo>
                  <a:lnTo>
                    <a:pt x="2229" y="1159"/>
                  </a:lnTo>
                  <a:lnTo>
                    <a:pt x="2229" y="1161"/>
                  </a:lnTo>
                  <a:lnTo>
                    <a:pt x="2228" y="1159"/>
                  </a:lnTo>
                  <a:lnTo>
                    <a:pt x="2227" y="1155"/>
                  </a:lnTo>
                  <a:lnTo>
                    <a:pt x="2225" y="1154"/>
                  </a:lnTo>
                  <a:lnTo>
                    <a:pt x="2225" y="1153"/>
                  </a:lnTo>
                  <a:lnTo>
                    <a:pt x="2225" y="1152"/>
                  </a:lnTo>
                  <a:lnTo>
                    <a:pt x="2224" y="1150"/>
                  </a:lnTo>
                  <a:lnTo>
                    <a:pt x="2223" y="1147"/>
                  </a:lnTo>
                  <a:lnTo>
                    <a:pt x="2221" y="1143"/>
                  </a:lnTo>
                  <a:lnTo>
                    <a:pt x="2221" y="1142"/>
                  </a:lnTo>
                  <a:lnTo>
                    <a:pt x="2220" y="1139"/>
                  </a:lnTo>
                  <a:lnTo>
                    <a:pt x="2220" y="1137"/>
                  </a:lnTo>
                  <a:lnTo>
                    <a:pt x="2218" y="1129"/>
                  </a:lnTo>
                  <a:lnTo>
                    <a:pt x="2217" y="1127"/>
                  </a:lnTo>
                  <a:lnTo>
                    <a:pt x="2216" y="1125"/>
                  </a:lnTo>
                  <a:lnTo>
                    <a:pt x="2215" y="1122"/>
                  </a:lnTo>
                  <a:lnTo>
                    <a:pt x="2214" y="1119"/>
                  </a:lnTo>
                  <a:lnTo>
                    <a:pt x="2212" y="1119"/>
                  </a:lnTo>
                  <a:lnTo>
                    <a:pt x="2209" y="1117"/>
                  </a:lnTo>
                  <a:lnTo>
                    <a:pt x="2207" y="1114"/>
                  </a:lnTo>
                  <a:lnTo>
                    <a:pt x="2203" y="1111"/>
                  </a:lnTo>
                  <a:lnTo>
                    <a:pt x="2201" y="1110"/>
                  </a:lnTo>
                  <a:lnTo>
                    <a:pt x="2199" y="1109"/>
                  </a:lnTo>
                  <a:lnTo>
                    <a:pt x="2198" y="1107"/>
                  </a:lnTo>
                  <a:lnTo>
                    <a:pt x="2195" y="1099"/>
                  </a:lnTo>
                  <a:lnTo>
                    <a:pt x="2195" y="1095"/>
                  </a:lnTo>
                  <a:lnTo>
                    <a:pt x="2193" y="1088"/>
                  </a:lnTo>
                  <a:lnTo>
                    <a:pt x="2193" y="1086"/>
                  </a:lnTo>
                  <a:lnTo>
                    <a:pt x="2194" y="1083"/>
                  </a:lnTo>
                  <a:lnTo>
                    <a:pt x="2193" y="1075"/>
                  </a:lnTo>
                  <a:lnTo>
                    <a:pt x="2195" y="1076"/>
                  </a:lnTo>
                  <a:lnTo>
                    <a:pt x="2193" y="1074"/>
                  </a:lnTo>
                  <a:lnTo>
                    <a:pt x="2191" y="1071"/>
                  </a:lnTo>
                  <a:lnTo>
                    <a:pt x="2190" y="1068"/>
                  </a:lnTo>
                  <a:lnTo>
                    <a:pt x="2190" y="1062"/>
                  </a:lnTo>
                  <a:lnTo>
                    <a:pt x="2189" y="1060"/>
                  </a:lnTo>
                  <a:lnTo>
                    <a:pt x="2183" y="1057"/>
                  </a:lnTo>
                  <a:lnTo>
                    <a:pt x="2181" y="1053"/>
                  </a:lnTo>
                  <a:lnTo>
                    <a:pt x="2178" y="1053"/>
                  </a:lnTo>
                  <a:lnTo>
                    <a:pt x="2175" y="1052"/>
                  </a:lnTo>
                  <a:lnTo>
                    <a:pt x="2174" y="1049"/>
                  </a:lnTo>
                  <a:lnTo>
                    <a:pt x="2173" y="1047"/>
                  </a:lnTo>
                  <a:lnTo>
                    <a:pt x="2172" y="1045"/>
                  </a:lnTo>
                  <a:lnTo>
                    <a:pt x="2172" y="1042"/>
                  </a:lnTo>
                  <a:lnTo>
                    <a:pt x="2172" y="1041"/>
                  </a:lnTo>
                  <a:lnTo>
                    <a:pt x="2171" y="1036"/>
                  </a:lnTo>
                  <a:lnTo>
                    <a:pt x="2172" y="1034"/>
                  </a:lnTo>
                  <a:lnTo>
                    <a:pt x="2174" y="1034"/>
                  </a:lnTo>
                  <a:lnTo>
                    <a:pt x="2172" y="1033"/>
                  </a:lnTo>
                  <a:lnTo>
                    <a:pt x="2169" y="1030"/>
                  </a:lnTo>
                  <a:lnTo>
                    <a:pt x="2167" y="1027"/>
                  </a:lnTo>
                  <a:lnTo>
                    <a:pt x="2166" y="1025"/>
                  </a:lnTo>
                  <a:lnTo>
                    <a:pt x="2164" y="1022"/>
                  </a:lnTo>
                  <a:lnTo>
                    <a:pt x="2163" y="1019"/>
                  </a:lnTo>
                  <a:lnTo>
                    <a:pt x="2161" y="1016"/>
                  </a:lnTo>
                  <a:lnTo>
                    <a:pt x="2160" y="1015"/>
                  </a:lnTo>
                  <a:lnTo>
                    <a:pt x="2159" y="1011"/>
                  </a:lnTo>
                  <a:lnTo>
                    <a:pt x="2158" y="1009"/>
                  </a:lnTo>
                  <a:lnTo>
                    <a:pt x="2156" y="1007"/>
                  </a:lnTo>
                  <a:lnTo>
                    <a:pt x="2155" y="1004"/>
                  </a:lnTo>
                  <a:lnTo>
                    <a:pt x="2154" y="1001"/>
                  </a:lnTo>
                  <a:lnTo>
                    <a:pt x="2150" y="996"/>
                  </a:lnTo>
                  <a:lnTo>
                    <a:pt x="2149" y="993"/>
                  </a:lnTo>
                  <a:lnTo>
                    <a:pt x="2149" y="990"/>
                  </a:lnTo>
                  <a:lnTo>
                    <a:pt x="2148" y="988"/>
                  </a:lnTo>
                  <a:lnTo>
                    <a:pt x="2144" y="982"/>
                  </a:lnTo>
                  <a:lnTo>
                    <a:pt x="2144" y="980"/>
                  </a:lnTo>
                  <a:lnTo>
                    <a:pt x="2144" y="976"/>
                  </a:lnTo>
                  <a:lnTo>
                    <a:pt x="2141" y="973"/>
                  </a:lnTo>
                  <a:lnTo>
                    <a:pt x="2141" y="973"/>
                  </a:lnTo>
                  <a:lnTo>
                    <a:pt x="2140" y="973"/>
                  </a:lnTo>
                  <a:lnTo>
                    <a:pt x="2140" y="973"/>
                  </a:lnTo>
                  <a:lnTo>
                    <a:pt x="2138" y="970"/>
                  </a:lnTo>
                  <a:lnTo>
                    <a:pt x="2138" y="970"/>
                  </a:lnTo>
                  <a:lnTo>
                    <a:pt x="2137" y="968"/>
                  </a:lnTo>
                  <a:lnTo>
                    <a:pt x="2137" y="968"/>
                  </a:lnTo>
                  <a:lnTo>
                    <a:pt x="2137" y="968"/>
                  </a:lnTo>
                  <a:lnTo>
                    <a:pt x="2137" y="968"/>
                  </a:lnTo>
                  <a:lnTo>
                    <a:pt x="2137" y="967"/>
                  </a:lnTo>
                  <a:lnTo>
                    <a:pt x="2135" y="966"/>
                  </a:lnTo>
                  <a:lnTo>
                    <a:pt x="2131" y="960"/>
                  </a:lnTo>
                  <a:lnTo>
                    <a:pt x="2132" y="958"/>
                  </a:lnTo>
                  <a:lnTo>
                    <a:pt x="2131" y="956"/>
                  </a:lnTo>
                  <a:lnTo>
                    <a:pt x="2129" y="954"/>
                  </a:lnTo>
                  <a:lnTo>
                    <a:pt x="2129" y="953"/>
                  </a:lnTo>
                  <a:lnTo>
                    <a:pt x="2127" y="950"/>
                  </a:lnTo>
                  <a:lnTo>
                    <a:pt x="2130" y="947"/>
                  </a:lnTo>
                  <a:lnTo>
                    <a:pt x="2131" y="946"/>
                  </a:lnTo>
                  <a:lnTo>
                    <a:pt x="2131" y="946"/>
                  </a:lnTo>
                  <a:lnTo>
                    <a:pt x="2131" y="947"/>
                  </a:lnTo>
                  <a:lnTo>
                    <a:pt x="2132" y="948"/>
                  </a:lnTo>
                  <a:lnTo>
                    <a:pt x="2132" y="948"/>
                  </a:lnTo>
                  <a:lnTo>
                    <a:pt x="2132" y="949"/>
                  </a:lnTo>
                  <a:lnTo>
                    <a:pt x="2132" y="949"/>
                  </a:lnTo>
                  <a:lnTo>
                    <a:pt x="2132" y="951"/>
                  </a:lnTo>
                  <a:lnTo>
                    <a:pt x="2134" y="956"/>
                  </a:lnTo>
                  <a:lnTo>
                    <a:pt x="2135" y="957"/>
                  </a:lnTo>
                  <a:lnTo>
                    <a:pt x="2138" y="959"/>
                  </a:lnTo>
                  <a:lnTo>
                    <a:pt x="2139" y="960"/>
                  </a:lnTo>
                  <a:lnTo>
                    <a:pt x="2139" y="963"/>
                  </a:lnTo>
                  <a:lnTo>
                    <a:pt x="2140" y="965"/>
                  </a:lnTo>
                  <a:lnTo>
                    <a:pt x="2140" y="966"/>
                  </a:lnTo>
                  <a:lnTo>
                    <a:pt x="2140" y="967"/>
                  </a:lnTo>
                  <a:lnTo>
                    <a:pt x="2143" y="970"/>
                  </a:lnTo>
                  <a:lnTo>
                    <a:pt x="2144" y="971"/>
                  </a:lnTo>
                  <a:lnTo>
                    <a:pt x="2146" y="973"/>
                  </a:lnTo>
                  <a:lnTo>
                    <a:pt x="2149" y="976"/>
                  </a:lnTo>
                  <a:lnTo>
                    <a:pt x="2151" y="979"/>
                  </a:lnTo>
                  <a:lnTo>
                    <a:pt x="2154" y="979"/>
                  </a:lnTo>
                  <a:lnTo>
                    <a:pt x="2154" y="980"/>
                  </a:lnTo>
                  <a:lnTo>
                    <a:pt x="2154" y="979"/>
                  </a:lnTo>
                  <a:lnTo>
                    <a:pt x="2155" y="977"/>
                  </a:lnTo>
                  <a:lnTo>
                    <a:pt x="2155" y="977"/>
                  </a:lnTo>
                  <a:lnTo>
                    <a:pt x="2156" y="974"/>
                  </a:lnTo>
                  <a:lnTo>
                    <a:pt x="2156" y="974"/>
                  </a:lnTo>
                  <a:lnTo>
                    <a:pt x="2156" y="972"/>
                  </a:lnTo>
                  <a:lnTo>
                    <a:pt x="2157" y="970"/>
                  </a:lnTo>
                  <a:lnTo>
                    <a:pt x="2158" y="964"/>
                  </a:lnTo>
                  <a:lnTo>
                    <a:pt x="2159" y="962"/>
                  </a:lnTo>
                  <a:lnTo>
                    <a:pt x="2159" y="959"/>
                  </a:lnTo>
                  <a:lnTo>
                    <a:pt x="2160" y="956"/>
                  </a:lnTo>
                  <a:lnTo>
                    <a:pt x="2160" y="956"/>
                  </a:lnTo>
                  <a:lnTo>
                    <a:pt x="2163" y="954"/>
                  </a:lnTo>
                  <a:lnTo>
                    <a:pt x="2163" y="953"/>
                  </a:lnTo>
                  <a:lnTo>
                    <a:pt x="2164" y="953"/>
                  </a:lnTo>
                  <a:lnTo>
                    <a:pt x="2164" y="953"/>
                  </a:lnTo>
                  <a:lnTo>
                    <a:pt x="2164" y="955"/>
                  </a:lnTo>
                  <a:lnTo>
                    <a:pt x="2163" y="958"/>
                  </a:lnTo>
                  <a:lnTo>
                    <a:pt x="2163" y="960"/>
                  </a:lnTo>
                  <a:lnTo>
                    <a:pt x="2163" y="960"/>
                  </a:lnTo>
                  <a:lnTo>
                    <a:pt x="2161" y="965"/>
                  </a:lnTo>
                  <a:lnTo>
                    <a:pt x="2161" y="966"/>
                  </a:lnTo>
                  <a:lnTo>
                    <a:pt x="2159" y="972"/>
                  </a:lnTo>
                  <a:lnTo>
                    <a:pt x="2158" y="974"/>
                  </a:lnTo>
                  <a:lnTo>
                    <a:pt x="2159" y="975"/>
                  </a:lnTo>
                  <a:lnTo>
                    <a:pt x="2164" y="974"/>
                  </a:lnTo>
                  <a:lnTo>
                    <a:pt x="2167" y="974"/>
                  </a:lnTo>
                  <a:lnTo>
                    <a:pt x="2167" y="975"/>
                  </a:lnTo>
                  <a:lnTo>
                    <a:pt x="2169" y="979"/>
                  </a:lnTo>
                  <a:lnTo>
                    <a:pt x="2172" y="984"/>
                  </a:lnTo>
                  <a:lnTo>
                    <a:pt x="2175" y="987"/>
                  </a:lnTo>
                  <a:lnTo>
                    <a:pt x="2176" y="990"/>
                  </a:lnTo>
                  <a:lnTo>
                    <a:pt x="2181" y="996"/>
                  </a:lnTo>
                  <a:lnTo>
                    <a:pt x="2183" y="999"/>
                  </a:lnTo>
                  <a:lnTo>
                    <a:pt x="2183" y="1000"/>
                  </a:lnTo>
                  <a:lnTo>
                    <a:pt x="2185" y="1004"/>
                  </a:lnTo>
                  <a:lnTo>
                    <a:pt x="2188" y="1006"/>
                  </a:lnTo>
                  <a:lnTo>
                    <a:pt x="2186" y="1006"/>
                  </a:lnTo>
                  <a:lnTo>
                    <a:pt x="2190" y="1009"/>
                  </a:lnTo>
                  <a:lnTo>
                    <a:pt x="2191" y="1011"/>
                  </a:lnTo>
                  <a:lnTo>
                    <a:pt x="2193" y="1015"/>
                  </a:lnTo>
                  <a:lnTo>
                    <a:pt x="2194" y="1017"/>
                  </a:lnTo>
                  <a:lnTo>
                    <a:pt x="2195" y="1019"/>
                  </a:lnTo>
                  <a:lnTo>
                    <a:pt x="2193" y="1022"/>
                  </a:lnTo>
                  <a:lnTo>
                    <a:pt x="2195" y="1025"/>
                  </a:lnTo>
                  <a:lnTo>
                    <a:pt x="2198" y="1028"/>
                  </a:lnTo>
                  <a:lnTo>
                    <a:pt x="2201" y="1030"/>
                  </a:lnTo>
                  <a:lnTo>
                    <a:pt x="2203" y="1032"/>
                  </a:lnTo>
                  <a:lnTo>
                    <a:pt x="2207" y="1034"/>
                  </a:lnTo>
                  <a:lnTo>
                    <a:pt x="2211" y="1036"/>
                  </a:lnTo>
                  <a:lnTo>
                    <a:pt x="2212" y="1040"/>
                  </a:lnTo>
                  <a:lnTo>
                    <a:pt x="2215" y="1042"/>
                  </a:lnTo>
                  <a:lnTo>
                    <a:pt x="2215" y="1045"/>
                  </a:lnTo>
                  <a:lnTo>
                    <a:pt x="2216" y="1048"/>
                  </a:lnTo>
                  <a:lnTo>
                    <a:pt x="2218" y="1050"/>
                  </a:lnTo>
                  <a:lnTo>
                    <a:pt x="2219" y="1053"/>
                  </a:lnTo>
                  <a:lnTo>
                    <a:pt x="2219" y="1054"/>
                  </a:lnTo>
                  <a:lnTo>
                    <a:pt x="2220" y="1058"/>
                  </a:lnTo>
                  <a:lnTo>
                    <a:pt x="2219" y="1060"/>
                  </a:lnTo>
                  <a:lnTo>
                    <a:pt x="2219" y="1062"/>
                  </a:lnTo>
                  <a:lnTo>
                    <a:pt x="2219" y="1066"/>
                  </a:lnTo>
                  <a:lnTo>
                    <a:pt x="2220" y="1068"/>
                  </a:lnTo>
                  <a:lnTo>
                    <a:pt x="2221" y="1071"/>
                  </a:lnTo>
                  <a:lnTo>
                    <a:pt x="2220" y="1074"/>
                  </a:lnTo>
                  <a:lnTo>
                    <a:pt x="2221" y="1076"/>
                  </a:lnTo>
                  <a:lnTo>
                    <a:pt x="2224" y="1079"/>
                  </a:lnTo>
                  <a:lnTo>
                    <a:pt x="2227" y="1084"/>
                  </a:lnTo>
                  <a:lnTo>
                    <a:pt x="2231" y="1086"/>
                  </a:lnTo>
                  <a:lnTo>
                    <a:pt x="2235" y="1088"/>
                  </a:lnTo>
                  <a:lnTo>
                    <a:pt x="2237" y="1091"/>
                  </a:lnTo>
                  <a:lnTo>
                    <a:pt x="2243" y="1096"/>
                  </a:lnTo>
                  <a:lnTo>
                    <a:pt x="2249" y="1104"/>
                  </a:lnTo>
                  <a:lnTo>
                    <a:pt x="2250" y="1110"/>
                  </a:lnTo>
                  <a:lnTo>
                    <a:pt x="2250" y="1111"/>
                  </a:lnTo>
                  <a:lnTo>
                    <a:pt x="2252" y="1113"/>
                  </a:lnTo>
                  <a:lnTo>
                    <a:pt x="2253" y="1117"/>
                  </a:lnTo>
                  <a:lnTo>
                    <a:pt x="2254" y="1118"/>
                  </a:lnTo>
                  <a:lnTo>
                    <a:pt x="2255" y="1120"/>
                  </a:lnTo>
                  <a:lnTo>
                    <a:pt x="2259" y="1122"/>
                  </a:lnTo>
                  <a:lnTo>
                    <a:pt x="2261" y="1125"/>
                  </a:lnTo>
                  <a:lnTo>
                    <a:pt x="2263" y="1127"/>
                  </a:lnTo>
                  <a:lnTo>
                    <a:pt x="2265" y="1133"/>
                  </a:lnTo>
                  <a:lnTo>
                    <a:pt x="2266" y="1133"/>
                  </a:lnTo>
                  <a:lnTo>
                    <a:pt x="2267" y="1136"/>
                  </a:lnTo>
                  <a:lnTo>
                    <a:pt x="2270" y="1138"/>
                  </a:lnTo>
                  <a:lnTo>
                    <a:pt x="2271" y="1147"/>
                  </a:lnTo>
                  <a:lnTo>
                    <a:pt x="2270" y="1150"/>
                  </a:lnTo>
                  <a:lnTo>
                    <a:pt x="2269" y="1153"/>
                  </a:lnTo>
                  <a:lnTo>
                    <a:pt x="2270" y="1155"/>
                  </a:lnTo>
                  <a:lnTo>
                    <a:pt x="2271" y="1159"/>
                  </a:lnTo>
                  <a:lnTo>
                    <a:pt x="2268" y="1159"/>
                  </a:lnTo>
                  <a:lnTo>
                    <a:pt x="2268" y="1159"/>
                  </a:lnTo>
                  <a:lnTo>
                    <a:pt x="2271" y="1160"/>
                  </a:lnTo>
                  <a:lnTo>
                    <a:pt x="2272" y="1162"/>
                  </a:lnTo>
                  <a:lnTo>
                    <a:pt x="2272" y="1164"/>
                  </a:lnTo>
                  <a:lnTo>
                    <a:pt x="2274" y="1167"/>
                  </a:lnTo>
                  <a:lnTo>
                    <a:pt x="2274" y="1170"/>
                  </a:lnTo>
                  <a:lnTo>
                    <a:pt x="2275" y="1172"/>
                  </a:lnTo>
                  <a:lnTo>
                    <a:pt x="2275" y="1176"/>
                  </a:lnTo>
                  <a:lnTo>
                    <a:pt x="2277" y="1178"/>
                  </a:lnTo>
                  <a:lnTo>
                    <a:pt x="2277" y="1180"/>
                  </a:lnTo>
                  <a:lnTo>
                    <a:pt x="2277" y="1181"/>
                  </a:lnTo>
                  <a:lnTo>
                    <a:pt x="2277" y="1184"/>
                  </a:lnTo>
                  <a:lnTo>
                    <a:pt x="2277" y="1187"/>
                  </a:lnTo>
                  <a:lnTo>
                    <a:pt x="2280" y="1193"/>
                  </a:lnTo>
                  <a:lnTo>
                    <a:pt x="2280" y="1194"/>
                  </a:lnTo>
                  <a:lnTo>
                    <a:pt x="2284" y="1194"/>
                  </a:lnTo>
                  <a:lnTo>
                    <a:pt x="2286" y="1195"/>
                  </a:lnTo>
                  <a:lnTo>
                    <a:pt x="2292" y="1195"/>
                  </a:lnTo>
                  <a:lnTo>
                    <a:pt x="2294" y="1193"/>
                  </a:lnTo>
                  <a:lnTo>
                    <a:pt x="2297" y="1193"/>
                  </a:lnTo>
                  <a:lnTo>
                    <a:pt x="2300" y="1194"/>
                  </a:lnTo>
                  <a:lnTo>
                    <a:pt x="2300" y="1193"/>
                  </a:lnTo>
                  <a:lnTo>
                    <a:pt x="2301" y="1193"/>
                  </a:lnTo>
                  <a:lnTo>
                    <a:pt x="2301" y="1191"/>
                  </a:lnTo>
                  <a:lnTo>
                    <a:pt x="2301" y="1193"/>
                  </a:lnTo>
                  <a:lnTo>
                    <a:pt x="2301" y="1193"/>
                  </a:lnTo>
                  <a:lnTo>
                    <a:pt x="2301" y="1193"/>
                  </a:lnTo>
                  <a:lnTo>
                    <a:pt x="2302" y="1190"/>
                  </a:lnTo>
                  <a:lnTo>
                    <a:pt x="2305" y="1189"/>
                  </a:lnTo>
                  <a:lnTo>
                    <a:pt x="2309" y="1187"/>
                  </a:lnTo>
                  <a:lnTo>
                    <a:pt x="2311" y="1185"/>
                  </a:lnTo>
                  <a:lnTo>
                    <a:pt x="2313" y="1185"/>
                  </a:lnTo>
                  <a:lnTo>
                    <a:pt x="2317" y="1185"/>
                  </a:lnTo>
                  <a:lnTo>
                    <a:pt x="2319" y="1184"/>
                  </a:lnTo>
                  <a:lnTo>
                    <a:pt x="2321" y="1184"/>
                  </a:lnTo>
                  <a:lnTo>
                    <a:pt x="2325" y="1184"/>
                  </a:lnTo>
                  <a:lnTo>
                    <a:pt x="2327" y="1182"/>
                  </a:lnTo>
                  <a:lnTo>
                    <a:pt x="2330" y="1181"/>
                  </a:lnTo>
                  <a:lnTo>
                    <a:pt x="2333" y="1181"/>
                  </a:lnTo>
                  <a:lnTo>
                    <a:pt x="2335" y="1180"/>
                  </a:lnTo>
                  <a:lnTo>
                    <a:pt x="2337" y="1178"/>
                  </a:lnTo>
                  <a:lnTo>
                    <a:pt x="2340" y="1177"/>
                  </a:lnTo>
                  <a:lnTo>
                    <a:pt x="2343" y="1176"/>
                  </a:lnTo>
                  <a:lnTo>
                    <a:pt x="2345" y="1176"/>
                  </a:lnTo>
                  <a:lnTo>
                    <a:pt x="2348" y="1176"/>
                  </a:lnTo>
                  <a:lnTo>
                    <a:pt x="2349" y="1176"/>
                  </a:lnTo>
                  <a:lnTo>
                    <a:pt x="2351" y="1176"/>
                  </a:lnTo>
                  <a:lnTo>
                    <a:pt x="2354" y="1173"/>
                  </a:lnTo>
                  <a:lnTo>
                    <a:pt x="2356" y="1170"/>
                  </a:lnTo>
                  <a:lnTo>
                    <a:pt x="2359" y="1168"/>
                  </a:lnTo>
                  <a:lnTo>
                    <a:pt x="2364" y="1165"/>
                  </a:lnTo>
                  <a:lnTo>
                    <a:pt x="2366" y="1164"/>
                  </a:lnTo>
                  <a:lnTo>
                    <a:pt x="2369" y="1164"/>
                  </a:lnTo>
                  <a:lnTo>
                    <a:pt x="2372" y="1164"/>
                  </a:lnTo>
                  <a:lnTo>
                    <a:pt x="2378" y="1161"/>
                  </a:lnTo>
                  <a:lnTo>
                    <a:pt x="2379" y="1161"/>
                  </a:lnTo>
                  <a:lnTo>
                    <a:pt x="2382" y="1160"/>
                  </a:lnTo>
                  <a:lnTo>
                    <a:pt x="2385" y="1160"/>
                  </a:lnTo>
                  <a:lnTo>
                    <a:pt x="2385" y="1160"/>
                  </a:lnTo>
                  <a:lnTo>
                    <a:pt x="2388" y="1159"/>
                  </a:lnTo>
                  <a:lnTo>
                    <a:pt x="2390" y="1158"/>
                  </a:lnTo>
                  <a:lnTo>
                    <a:pt x="2391" y="1156"/>
                  </a:lnTo>
                  <a:lnTo>
                    <a:pt x="2396" y="1154"/>
                  </a:lnTo>
                  <a:lnTo>
                    <a:pt x="2398" y="1154"/>
                  </a:lnTo>
                  <a:lnTo>
                    <a:pt x="2399" y="1152"/>
                  </a:lnTo>
                  <a:lnTo>
                    <a:pt x="2399" y="1148"/>
                  </a:lnTo>
                  <a:lnTo>
                    <a:pt x="2399" y="1146"/>
                  </a:lnTo>
                  <a:lnTo>
                    <a:pt x="2400" y="1145"/>
                  </a:lnTo>
                  <a:lnTo>
                    <a:pt x="2403" y="1142"/>
                  </a:lnTo>
                  <a:lnTo>
                    <a:pt x="2404" y="1142"/>
                  </a:lnTo>
                  <a:lnTo>
                    <a:pt x="2410" y="1139"/>
                  </a:lnTo>
                  <a:lnTo>
                    <a:pt x="2411" y="1139"/>
                  </a:lnTo>
                  <a:lnTo>
                    <a:pt x="2412" y="1139"/>
                  </a:lnTo>
                  <a:lnTo>
                    <a:pt x="2412" y="1138"/>
                  </a:lnTo>
                  <a:lnTo>
                    <a:pt x="2415" y="1137"/>
                  </a:lnTo>
                  <a:lnTo>
                    <a:pt x="2417" y="1137"/>
                  </a:lnTo>
                  <a:lnTo>
                    <a:pt x="2420" y="1136"/>
                  </a:lnTo>
                  <a:lnTo>
                    <a:pt x="2423" y="1135"/>
                  </a:lnTo>
                  <a:lnTo>
                    <a:pt x="2425" y="1134"/>
                  </a:lnTo>
                  <a:lnTo>
                    <a:pt x="2425" y="1134"/>
                  </a:lnTo>
                  <a:lnTo>
                    <a:pt x="2431" y="1133"/>
                  </a:lnTo>
                  <a:lnTo>
                    <a:pt x="2434" y="1134"/>
                  </a:lnTo>
                  <a:lnTo>
                    <a:pt x="2437" y="1134"/>
                  </a:lnTo>
                  <a:lnTo>
                    <a:pt x="2439" y="1133"/>
                  </a:lnTo>
                  <a:lnTo>
                    <a:pt x="2441" y="1131"/>
                  </a:lnTo>
                  <a:lnTo>
                    <a:pt x="2442" y="1128"/>
                  </a:lnTo>
                  <a:lnTo>
                    <a:pt x="2441" y="1126"/>
                  </a:lnTo>
                  <a:lnTo>
                    <a:pt x="2444" y="1124"/>
                  </a:lnTo>
                  <a:lnTo>
                    <a:pt x="2446" y="1121"/>
                  </a:lnTo>
                  <a:lnTo>
                    <a:pt x="2456" y="1120"/>
                  </a:lnTo>
                  <a:lnTo>
                    <a:pt x="2458" y="1118"/>
                  </a:lnTo>
                  <a:lnTo>
                    <a:pt x="2459" y="1116"/>
                  </a:lnTo>
                  <a:lnTo>
                    <a:pt x="2461" y="1112"/>
                  </a:lnTo>
                  <a:lnTo>
                    <a:pt x="2462" y="1110"/>
                  </a:lnTo>
                  <a:lnTo>
                    <a:pt x="2463" y="1109"/>
                  </a:lnTo>
                  <a:lnTo>
                    <a:pt x="2468" y="1107"/>
                  </a:lnTo>
                  <a:lnTo>
                    <a:pt x="2472" y="1107"/>
                  </a:lnTo>
                  <a:lnTo>
                    <a:pt x="2473" y="1107"/>
                  </a:lnTo>
                  <a:lnTo>
                    <a:pt x="2476" y="1105"/>
                  </a:lnTo>
                  <a:lnTo>
                    <a:pt x="2476" y="1103"/>
                  </a:lnTo>
                  <a:lnTo>
                    <a:pt x="2476" y="1101"/>
                  </a:lnTo>
                  <a:lnTo>
                    <a:pt x="2475" y="1097"/>
                  </a:lnTo>
                  <a:lnTo>
                    <a:pt x="2475" y="1096"/>
                  </a:lnTo>
                  <a:lnTo>
                    <a:pt x="2476" y="1093"/>
                  </a:lnTo>
                  <a:lnTo>
                    <a:pt x="2476" y="1091"/>
                  </a:lnTo>
                  <a:lnTo>
                    <a:pt x="2476" y="1088"/>
                  </a:lnTo>
                  <a:lnTo>
                    <a:pt x="2480" y="1083"/>
                  </a:lnTo>
                  <a:lnTo>
                    <a:pt x="2482" y="1086"/>
                  </a:lnTo>
                  <a:lnTo>
                    <a:pt x="2485" y="1086"/>
                  </a:lnTo>
                  <a:lnTo>
                    <a:pt x="2487" y="1083"/>
                  </a:lnTo>
                  <a:lnTo>
                    <a:pt x="2489" y="1081"/>
                  </a:lnTo>
                  <a:lnTo>
                    <a:pt x="2491" y="1075"/>
                  </a:lnTo>
                  <a:lnTo>
                    <a:pt x="2494" y="1073"/>
                  </a:lnTo>
                  <a:lnTo>
                    <a:pt x="2497" y="1071"/>
                  </a:lnTo>
                  <a:lnTo>
                    <a:pt x="2499" y="1068"/>
                  </a:lnTo>
                  <a:lnTo>
                    <a:pt x="2500" y="1066"/>
                  </a:lnTo>
                  <a:lnTo>
                    <a:pt x="2501" y="1062"/>
                  </a:lnTo>
                  <a:lnTo>
                    <a:pt x="2504" y="1060"/>
                  </a:lnTo>
                  <a:lnTo>
                    <a:pt x="2504" y="1059"/>
                  </a:lnTo>
                  <a:lnTo>
                    <a:pt x="2505" y="1057"/>
                  </a:lnTo>
                  <a:lnTo>
                    <a:pt x="2504" y="1054"/>
                  </a:lnTo>
                  <a:lnTo>
                    <a:pt x="2501" y="1054"/>
                  </a:lnTo>
                  <a:lnTo>
                    <a:pt x="2498" y="1053"/>
                  </a:lnTo>
                  <a:lnTo>
                    <a:pt x="2497" y="1050"/>
                  </a:lnTo>
                  <a:lnTo>
                    <a:pt x="2493" y="1048"/>
                  </a:lnTo>
                  <a:lnTo>
                    <a:pt x="2492" y="1045"/>
                  </a:lnTo>
                  <a:lnTo>
                    <a:pt x="2490" y="1042"/>
                  </a:lnTo>
                  <a:lnTo>
                    <a:pt x="2488" y="1040"/>
                  </a:lnTo>
                  <a:lnTo>
                    <a:pt x="2482" y="1039"/>
                  </a:lnTo>
                  <a:lnTo>
                    <a:pt x="2480" y="1037"/>
                  </a:lnTo>
                  <a:lnTo>
                    <a:pt x="2476" y="1037"/>
                  </a:lnTo>
                  <a:lnTo>
                    <a:pt x="2473" y="1036"/>
                  </a:lnTo>
                  <a:lnTo>
                    <a:pt x="2472" y="1036"/>
                  </a:lnTo>
                  <a:lnTo>
                    <a:pt x="2468" y="1035"/>
                  </a:lnTo>
                  <a:lnTo>
                    <a:pt x="2466" y="1034"/>
                  </a:lnTo>
                  <a:lnTo>
                    <a:pt x="2464" y="1031"/>
                  </a:lnTo>
                  <a:lnTo>
                    <a:pt x="2462" y="1028"/>
                  </a:lnTo>
                  <a:lnTo>
                    <a:pt x="2459" y="1026"/>
                  </a:lnTo>
                  <a:lnTo>
                    <a:pt x="2458" y="1023"/>
                  </a:lnTo>
                  <a:lnTo>
                    <a:pt x="2457" y="1020"/>
                  </a:lnTo>
                  <a:lnTo>
                    <a:pt x="2457" y="1019"/>
                  </a:lnTo>
                  <a:lnTo>
                    <a:pt x="2457" y="1019"/>
                  </a:lnTo>
                  <a:lnTo>
                    <a:pt x="2456" y="1018"/>
                  </a:lnTo>
                  <a:lnTo>
                    <a:pt x="2457" y="1015"/>
                  </a:lnTo>
                  <a:lnTo>
                    <a:pt x="2457" y="1015"/>
                  </a:lnTo>
                  <a:lnTo>
                    <a:pt x="2456" y="1010"/>
                  </a:lnTo>
                  <a:lnTo>
                    <a:pt x="2455" y="1010"/>
                  </a:lnTo>
                  <a:lnTo>
                    <a:pt x="2457" y="1005"/>
                  </a:lnTo>
                  <a:lnTo>
                    <a:pt x="2456" y="1001"/>
                  </a:lnTo>
                  <a:lnTo>
                    <a:pt x="2457" y="999"/>
                  </a:lnTo>
                  <a:lnTo>
                    <a:pt x="2456" y="999"/>
                  </a:lnTo>
                  <a:lnTo>
                    <a:pt x="2455" y="1001"/>
                  </a:lnTo>
                  <a:lnTo>
                    <a:pt x="2453" y="1004"/>
                  </a:lnTo>
                  <a:lnTo>
                    <a:pt x="2451" y="1006"/>
                  </a:lnTo>
                  <a:lnTo>
                    <a:pt x="2446" y="1011"/>
                  </a:lnTo>
                  <a:lnTo>
                    <a:pt x="2446" y="1010"/>
                  </a:lnTo>
                  <a:lnTo>
                    <a:pt x="2445" y="1011"/>
                  </a:lnTo>
                  <a:lnTo>
                    <a:pt x="2445" y="1011"/>
                  </a:lnTo>
                  <a:lnTo>
                    <a:pt x="2445" y="1013"/>
                  </a:lnTo>
                  <a:lnTo>
                    <a:pt x="2442" y="1015"/>
                  </a:lnTo>
                  <a:lnTo>
                    <a:pt x="2442" y="1015"/>
                  </a:lnTo>
                  <a:lnTo>
                    <a:pt x="2442" y="1016"/>
                  </a:lnTo>
                  <a:lnTo>
                    <a:pt x="2442" y="1016"/>
                  </a:lnTo>
                  <a:lnTo>
                    <a:pt x="2439" y="1018"/>
                  </a:lnTo>
                  <a:lnTo>
                    <a:pt x="2438" y="1019"/>
                  </a:lnTo>
                  <a:lnTo>
                    <a:pt x="2438" y="1019"/>
                  </a:lnTo>
                  <a:lnTo>
                    <a:pt x="2438" y="1019"/>
                  </a:lnTo>
                  <a:lnTo>
                    <a:pt x="2438" y="1019"/>
                  </a:lnTo>
                  <a:lnTo>
                    <a:pt x="2436" y="1022"/>
                  </a:lnTo>
                  <a:lnTo>
                    <a:pt x="2433" y="1024"/>
                  </a:lnTo>
                  <a:lnTo>
                    <a:pt x="2432" y="1026"/>
                  </a:lnTo>
                  <a:lnTo>
                    <a:pt x="2428" y="1031"/>
                  </a:lnTo>
                  <a:lnTo>
                    <a:pt x="2425" y="1030"/>
                  </a:lnTo>
                  <a:lnTo>
                    <a:pt x="2425" y="1030"/>
                  </a:lnTo>
                  <a:lnTo>
                    <a:pt x="2425" y="1030"/>
                  </a:lnTo>
                  <a:lnTo>
                    <a:pt x="2423" y="1033"/>
                  </a:lnTo>
                  <a:lnTo>
                    <a:pt x="2420" y="1033"/>
                  </a:lnTo>
                  <a:lnTo>
                    <a:pt x="2417" y="1032"/>
                  </a:lnTo>
                  <a:lnTo>
                    <a:pt x="2416" y="1032"/>
                  </a:lnTo>
                  <a:lnTo>
                    <a:pt x="2412" y="1032"/>
                  </a:lnTo>
                  <a:lnTo>
                    <a:pt x="2411" y="1032"/>
                  </a:lnTo>
                  <a:lnTo>
                    <a:pt x="2408" y="1032"/>
                  </a:lnTo>
                  <a:lnTo>
                    <a:pt x="2407" y="1032"/>
                  </a:lnTo>
                  <a:lnTo>
                    <a:pt x="2405" y="1031"/>
                  </a:lnTo>
                  <a:lnTo>
                    <a:pt x="2403" y="1033"/>
                  </a:lnTo>
                  <a:lnTo>
                    <a:pt x="2396" y="1034"/>
                  </a:lnTo>
                  <a:lnTo>
                    <a:pt x="2394" y="1033"/>
                  </a:lnTo>
                  <a:lnTo>
                    <a:pt x="2394" y="1031"/>
                  </a:lnTo>
                  <a:lnTo>
                    <a:pt x="2391" y="1028"/>
                  </a:lnTo>
                  <a:lnTo>
                    <a:pt x="2391" y="1030"/>
                  </a:lnTo>
                  <a:lnTo>
                    <a:pt x="2388" y="1030"/>
                  </a:lnTo>
                  <a:lnTo>
                    <a:pt x="2388" y="1030"/>
                  </a:lnTo>
                  <a:lnTo>
                    <a:pt x="2388" y="1027"/>
                  </a:lnTo>
                  <a:lnTo>
                    <a:pt x="2387" y="1026"/>
                  </a:lnTo>
                  <a:lnTo>
                    <a:pt x="2386" y="1025"/>
                  </a:lnTo>
                  <a:lnTo>
                    <a:pt x="2389" y="1024"/>
                  </a:lnTo>
                  <a:lnTo>
                    <a:pt x="2389" y="1023"/>
                  </a:lnTo>
                  <a:lnTo>
                    <a:pt x="2389" y="1023"/>
                  </a:lnTo>
                  <a:lnTo>
                    <a:pt x="2391" y="1019"/>
                  </a:lnTo>
                  <a:lnTo>
                    <a:pt x="2391" y="1018"/>
                  </a:lnTo>
                  <a:lnTo>
                    <a:pt x="2391" y="1018"/>
                  </a:lnTo>
                  <a:lnTo>
                    <a:pt x="2391" y="1017"/>
                  </a:lnTo>
                  <a:lnTo>
                    <a:pt x="2391" y="1016"/>
                  </a:lnTo>
                  <a:lnTo>
                    <a:pt x="2390" y="1014"/>
                  </a:lnTo>
                  <a:lnTo>
                    <a:pt x="2389" y="1011"/>
                  </a:lnTo>
                  <a:lnTo>
                    <a:pt x="2391" y="1009"/>
                  </a:lnTo>
                  <a:lnTo>
                    <a:pt x="2391" y="1006"/>
                  </a:lnTo>
                  <a:lnTo>
                    <a:pt x="2390" y="1006"/>
                  </a:lnTo>
                  <a:lnTo>
                    <a:pt x="2389" y="1006"/>
                  </a:lnTo>
                  <a:lnTo>
                    <a:pt x="2388" y="1004"/>
                  </a:lnTo>
                  <a:lnTo>
                    <a:pt x="2385" y="1004"/>
                  </a:lnTo>
                  <a:lnTo>
                    <a:pt x="2382" y="1006"/>
                  </a:lnTo>
                  <a:lnTo>
                    <a:pt x="2382" y="1007"/>
                  </a:lnTo>
                  <a:lnTo>
                    <a:pt x="2381" y="1009"/>
                  </a:lnTo>
                  <a:lnTo>
                    <a:pt x="2381" y="1011"/>
                  </a:lnTo>
                  <a:lnTo>
                    <a:pt x="2380" y="1011"/>
                  </a:lnTo>
                  <a:lnTo>
                    <a:pt x="2380" y="1011"/>
                  </a:lnTo>
                  <a:lnTo>
                    <a:pt x="2380" y="1017"/>
                  </a:lnTo>
                  <a:lnTo>
                    <a:pt x="2381" y="1022"/>
                  </a:lnTo>
                  <a:lnTo>
                    <a:pt x="2381" y="1023"/>
                  </a:lnTo>
                  <a:lnTo>
                    <a:pt x="2380" y="1023"/>
                  </a:lnTo>
                  <a:lnTo>
                    <a:pt x="2380" y="1023"/>
                  </a:lnTo>
                  <a:lnTo>
                    <a:pt x="2379" y="1019"/>
                  </a:lnTo>
                  <a:lnTo>
                    <a:pt x="2378" y="1019"/>
                  </a:lnTo>
                  <a:lnTo>
                    <a:pt x="2378" y="1019"/>
                  </a:lnTo>
                  <a:lnTo>
                    <a:pt x="2376" y="1014"/>
                  </a:lnTo>
                  <a:lnTo>
                    <a:pt x="2371" y="1008"/>
                  </a:lnTo>
                  <a:lnTo>
                    <a:pt x="2371" y="1006"/>
                  </a:lnTo>
                  <a:lnTo>
                    <a:pt x="2370" y="1005"/>
                  </a:lnTo>
                  <a:lnTo>
                    <a:pt x="2369" y="1005"/>
                  </a:lnTo>
                  <a:lnTo>
                    <a:pt x="2369" y="1005"/>
                  </a:lnTo>
                  <a:lnTo>
                    <a:pt x="2370" y="1004"/>
                  </a:lnTo>
                  <a:lnTo>
                    <a:pt x="2370" y="1002"/>
                  </a:lnTo>
                  <a:lnTo>
                    <a:pt x="2372" y="1002"/>
                  </a:lnTo>
                  <a:lnTo>
                    <a:pt x="2372" y="1001"/>
                  </a:lnTo>
                  <a:lnTo>
                    <a:pt x="2372" y="1001"/>
                  </a:lnTo>
                  <a:lnTo>
                    <a:pt x="2371" y="998"/>
                  </a:lnTo>
                  <a:lnTo>
                    <a:pt x="2370" y="997"/>
                  </a:lnTo>
                  <a:lnTo>
                    <a:pt x="2370" y="994"/>
                  </a:lnTo>
                  <a:lnTo>
                    <a:pt x="2369" y="994"/>
                  </a:lnTo>
                  <a:lnTo>
                    <a:pt x="2370" y="993"/>
                  </a:lnTo>
                  <a:lnTo>
                    <a:pt x="2370" y="994"/>
                  </a:lnTo>
                  <a:lnTo>
                    <a:pt x="2370" y="994"/>
                  </a:lnTo>
                  <a:lnTo>
                    <a:pt x="2370" y="994"/>
                  </a:lnTo>
                  <a:lnTo>
                    <a:pt x="2371" y="996"/>
                  </a:lnTo>
                  <a:lnTo>
                    <a:pt x="2370" y="993"/>
                  </a:lnTo>
                  <a:lnTo>
                    <a:pt x="2370" y="993"/>
                  </a:lnTo>
                  <a:lnTo>
                    <a:pt x="2370" y="993"/>
                  </a:lnTo>
                  <a:lnTo>
                    <a:pt x="2369" y="992"/>
                  </a:lnTo>
                  <a:lnTo>
                    <a:pt x="2369" y="992"/>
                  </a:lnTo>
                  <a:lnTo>
                    <a:pt x="2369" y="992"/>
                  </a:lnTo>
                  <a:lnTo>
                    <a:pt x="2369" y="992"/>
                  </a:lnTo>
                  <a:lnTo>
                    <a:pt x="2368" y="992"/>
                  </a:lnTo>
                  <a:lnTo>
                    <a:pt x="2364" y="990"/>
                  </a:lnTo>
                  <a:lnTo>
                    <a:pt x="2364" y="990"/>
                  </a:lnTo>
                  <a:lnTo>
                    <a:pt x="2364" y="990"/>
                  </a:lnTo>
                  <a:lnTo>
                    <a:pt x="2363" y="988"/>
                  </a:lnTo>
                  <a:lnTo>
                    <a:pt x="2363" y="988"/>
                  </a:lnTo>
                  <a:lnTo>
                    <a:pt x="2361" y="988"/>
                  </a:lnTo>
                  <a:lnTo>
                    <a:pt x="2361" y="987"/>
                  </a:lnTo>
                  <a:lnTo>
                    <a:pt x="2360" y="987"/>
                  </a:lnTo>
                  <a:lnTo>
                    <a:pt x="2357" y="983"/>
                  </a:lnTo>
                  <a:lnTo>
                    <a:pt x="2357" y="982"/>
                  </a:lnTo>
                  <a:lnTo>
                    <a:pt x="2356" y="982"/>
                  </a:lnTo>
                  <a:lnTo>
                    <a:pt x="2356" y="982"/>
                  </a:lnTo>
                  <a:lnTo>
                    <a:pt x="2356" y="981"/>
                  </a:lnTo>
                  <a:lnTo>
                    <a:pt x="2355" y="981"/>
                  </a:lnTo>
                  <a:lnTo>
                    <a:pt x="2354" y="981"/>
                  </a:lnTo>
                  <a:lnTo>
                    <a:pt x="2354" y="981"/>
                  </a:lnTo>
                  <a:lnTo>
                    <a:pt x="2353" y="981"/>
                  </a:lnTo>
                  <a:lnTo>
                    <a:pt x="2353" y="979"/>
                  </a:lnTo>
                  <a:lnTo>
                    <a:pt x="2354" y="979"/>
                  </a:lnTo>
                  <a:lnTo>
                    <a:pt x="2354" y="979"/>
                  </a:lnTo>
                  <a:lnTo>
                    <a:pt x="2354" y="979"/>
                  </a:lnTo>
                  <a:lnTo>
                    <a:pt x="2354" y="977"/>
                  </a:lnTo>
                  <a:lnTo>
                    <a:pt x="2353" y="976"/>
                  </a:lnTo>
                  <a:lnTo>
                    <a:pt x="2353" y="975"/>
                  </a:lnTo>
                  <a:lnTo>
                    <a:pt x="2352" y="975"/>
                  </a:lnTo>
                  <a:lnTo>
                    <a:pt x="2349" y="970"/>
                  </a:lnTo>
                  <a:lnTo>
                    <a:pt x="2347" y="967"/>
                  </a:lnTo>
                  <a:lnTo>
                    <a:pt x="2347" y="964"/>
                  </a:lnTo>
                  <a:lnTo>
                    <a:pt x="2344" y="959"/>
                  </a:lnTo>
                  <a:lnTo>
                    <a:pt x="2344" y="959"/>
                  </a:lnTo>
                  <a:lnTo>
                    <a:pt x="2344" y="958"/>
                  </a:lnTo>
                  <a:lnTo>
                    <a:pt x="2343" y="956"/>
                  </a:lnTo>
                  <a:lnTo>
                    <a:pt x="2340" y="955"/>
                  </a:lnTo>
                  <a:lnTo>
                    <a:pt x="2339" y="953"/>
                  </a:lnTo>
                  <a:lnTo>
                    <a:pt x="2343" y="951"/>
                  </a:lnTo>
                  <a:lnTo>
                    <a:pt x="2344" y="951"/>
                  </a:lnTo>
                  <a:lnTo>
                    <a:pt x="2342" y="948"/>
                  </a:lnTo>
                  <a:lnTo>
                    <a:pt x="2342" y="947"/>
                  </a:lnTo>
                  <a:lnTo>
                    <a:pt x="2342" y="946"/>
                  </a:lnTo>
                  <a:lnTo>
                    <a:pt x="2342" y="943"/>
                  </a:lnTo>
                  <a:lnTo>
                    <a:pt x="2348" y="947"/>
                  </a:lnTo>
                  <a:lnTo>
                    <a:pt x="2349" y="946"/>
                  </a:lnTo>
                  <a:lnTo>
                    <a:pt x="2349" y="946"/>
                  </a:lnTo>
                  <a:lnTo>
                    <a:pt x="2351" y="946"/>
                  </a:lnTo>
                  <a:lnTo>
                    <a:pt x="2351" y="946"/>
                  </a:lnTo>
                  <a:lnTo>
                    <a:pt x="2351" y="945"/>
                  </a:lnTo>
                  <a:lnTo>
                    <a:pt x="2352" y="945"/>
                  </a:lnTo>
                  <a:lnTo>
                    <a:pt x="2354" y="945"/>
                  </a:lnTo>
                  <a:lnTo>
                    <a:pt x="2355" y="942"/>
                  </a:lnTo>
                  <a:lnTo>
                    <a:pt x="2354" y="940"/>
                  </a:lnTo>
                  <a:lnTo>
                    <a:pt x="2355" y="938"/>
                  </a:lnTo>
                  <a:lnTo>
                    <a:pt x="2356" y="938"/>
                  </a:lnTo>
                  <a:lnTo>
                    <a:pt x="2357" y="938"/>
                  </a:lnTo>
                  <a:lnTo>
                    <a:pt x="2355" y="940"/>
                  </a:lnTo>
                  <a:lnTo>
                    <a:pt x="2359" y="941"/>
                  </a:lnTo>
                  <a:lnTo>
                    <a:pt x="2361" y="943"/>
                  </a:lnTo>
                  <a:lnTo>
                    <a:pt x="2363" y="943"/>
                  </a:lnTo>
                  <a:lnTo>
                    <a:pt x="2363" y="945"/>
                  </a:lnTo>
                  <a:lnTo>
                    <a:pt x="2365" y="945"/>
                  </a:lnTo>
                  <a:lnTo>
                    <a:pt x="2368" y="942"/>
                  </a:lnTo>
                  <a:lnTo>
                    <a:pt x="2370" y="942"/>
                  </a:lnTo>
                  <a:lnTo>
                    <a:pt x="2370" y="942"/>
                  </a:lnTo>
                  <a:lnTo>
                    <a:pt x="2371" y="945"/>
                  </a:lnTo>
                  <a:lnTo>
                    <a:pt x="2371" y="946"/>
                  </a:lnTo>
                  <a:lnTo>
                    <a:pt x="2373" y="948"/>
                  </a:lnTo>
                  <a:lnTo>
                    <a:pt x="2373" y="948"/>
                  </a:lnTo>
                  <a:lnTo>
                    <a:pt x="2376" y="950"/>
                  </a:lnTo>
                  <a:lnTo>
                    <a:pt x="2376" y="951"/>
                  </a:lnTo>
                  <a:lnTo>
                    <a:pt x="2376" y="951"/>
                  </a:lnTo>
                  <a:lnTo>
                    <a:pt x="2379" y="954"/>
                  </a:lnTo>
                  <a:lnTo>
                    <a:pt x="2379" y="957"/>
                  </a:lnTo>
                  <a:lnTo>
                    <a:pt x="2378" y="958"/>
                  </a:lnTo>
                  <a:lnTo>
                    <a:pt x="2380" y="958"/>
                  </a:lnTo>
                  <a:lnTo>
                    <a:pt x="2381" y="960"/>
                  </a:lnTo>
                  <a:lnTo>
                    <a:pt x="2383" y="964"/>
                  </a:lnTo>
                  <a:lnTo>
                    <a:pt x="2385" y="966"/>
                  </a:lnTo>
                  <a:lnTo>
                    <a:pt x="2385" y="967"/>
                  </a:lnTo>
                  <a:lnTo>
                    <a:pt x="2386" y="971"/>
                  </a:lnTo>
                  <a:lnTo>
                    <a:pt x="2387" y="973"/>
                  </a:lnTo>
                  <a:lnTo>
                    <a:pt x="2388" y="975"/>
                  </a:lnTo>
                  <a:lnTo>
                    <a:pt x="2391" y="977"/>
                  </a:lnTo>
                  <a:lnTo>
                    <a:pt x="2394" y="977"/>
                  </a:lnTo>
                  <a:lnTo>
                    <a:pt x="2397" y="977"/>
                  </a:lnTo>
                  <a:lnTo>
                    <a:pt x="2399" y="980"/>
                  </a:lnTo>
                  <a:lnTo>
                    <a:pt x="2402" y="981"/>
                  </a:lnTo>
                  <a:lnTo>
                    <a:pt x="2405" y="982"/>
                  </a:lnTo>
                  <a:lnTo>
                    <a:pt x="2406" y="985"/>
                  </a:lnTo>
                  <a:lnTo>
                    <a:pt x="2408" y="987"/>
                  </a:lnTo>
                  <a:lnTo>
                    <a:pt x="2411" y="989"/>
                  </a:lnTo>
                  <a:lnTo>
                    <a:pt x="2414" y="989"/>
                  </a:lnTo>
                  <a:lnTo>
                    <a:pt x="2416" y="990"/>
                  </a:lnTo>
                  <a:lnTo>
                    <a:pt x="2416" y="991"/>
                  </a:lnTo>
                  <a:lnTo>
                    <a:pt x="2419" y="993"/>
                  </a:lnTo>
                  <a:lnTo>
                    <a:pt x="2422" y="994"/>
                  </a:lnTo>
                  <a:lnTo>
                    <a:pt x="2424" y="993"/>
                  </a:lnTo>
                  <a:lnTo>
                    <a:pt x="2427" y="994"/>
                  </a:lnTo>
                  <a:lnTo>
                    <a:pt x="2430" y="996"/>
                  </a:lnTo>
                  <a:lnTo>
                    <a:pt x="2432" y="997"/>
                  </a:lnTo>
                  <a:lnTo>
                    <a:pt x="2436" y="997"/>
                  </a:lnTo>
                  <a:lnTo>
                    <a:pt x="2438" y="996"/>
                  </a:lnTo>
                  <a:lnTo>
                    <a:pt x="2439" y="996"/>
                  </a:lnTo>
                  <a:lnTo>
                    <a:pt x="2441" y="993"/>
                  </a:lnTo>
                  <a:lnTo>
                    <a:pt x="2444" y="993"/>
                  </a:lnTo>
                  <a:lnTo>
                    <a:pt x="2446" y="991"/>
                  </a:lnTo>
                  <a:lnTo>
                    <a:pt x="2446" y="991"/>
                  </a:lnTo>
                  <a:lnTo>
                    <a:pt x="2448" y="990"/>
                  </a:lnTo>
                  <a:lnTo>
                    <a:pt x="2449" y="990"/>
                  </a:lnTo>
                  <a:lnTo>
                    <a:pt x="2451" y="989"/>
                  </a:lnTo>
                  <a:lnTo>
                    <a:pt x="2454" y="988"/>
                  </a:lnTo>
                  <a:lnTo>
                    <a:pt x="2457" y="988"/>
                  </a:lnTo>
                  <a:lnTo>
                    <a:pt x="2459" y="988"/>
                  </a:lnTo>
                  <a:lnTo>
                    <a:pt x="2463" y="988"/>
                  </a:lnTo>
                  <a:lnTo>
                    <a:pt x="2463" y="989"/>
                  </a:lnTo>
                  <a:lnTo>
                    <a:pt x="2465" y="992"/>
                  </a:lnTo>
                  <a:lnTo>
                    <a:pt x="2466" y="994"/>
                  </a:lnTo>
                  <a:lnTo>
                    <a:pt x="2466" y="997"/>
                  </a:lnTo>
                  <a:lnTo>
                    <a:pt x="2467" y="1000"/>
                  </a:lnTo>
                  <a:lnTo>
                    <a:pt x="2467" y="1002"/>
                  </a:lnTo>
                  <a:lnTo>
                    <a:pt x="2468" y="1006"/>
                  </a:lnTo>
                  <a:lnTo>
                    <a:pt x="2471" y="1008"/>
                  </a:lnTo>
                  <a:lnTo>
                    <a:pt x="2473" y="1008"/>
                  </a:lnTo>
                  <a:lnTo>
                    <a:pt x="2476" y="1010"/>
                  </a:lnTo>
                  <a:lnTo>
                    <a:pt x="2477" y="1009"/>
                  </a:lnTo>
                  <a:lnTo>
                    <a:pt x="2480" y="1011"/>
                  </a:lnTo>
                  <a:lnTo>
                    <a:pt x="2483" y="1011"/>
                  </a:lnTo>
                  <a:lnTo>
                    <a:pt x="2485" y="1010"/>
                  </a:lnTo>
                  <a:lnTo>
                    <a:pt x="2488" y="1011"/>
                  </a:lnTo>
                  <a:lnTo>
                    <a:pt x="2491" y="1011"/>
                  </a:lnTo>
                  <a:lnTo>
                    <a:pt x="2493" y="1014"/>
                  </a:lnTo>
                  <a:lnTo>
                    <a:pt x="2496" y="1013"/>
                  </a:lnTo>
                  <a:lnTo>
                    <a:pt x="2498" y="1013"/>
                  </a:lnTo>
                  <a:lnTo>
                    <a:pt x="2501" y="1014"/>
                  </a:lnTo>
                  <a:lnTo>
                    <a:pt x="2504" y="1014"/>
                  </a:lnTo>
                  <a:lnTo>
                    <a:pt x="2506" y="1014"/>
                  </a:lnTo>
                  <a:lnTo>
                    <a:pt x="2509" y="1014"/>
                  </a:lnTo>
                  <a:lnTo>
                    <a:pt x="2513" y="1015"/>
                  </a:lnTo>
                  <a:lnTo>
                    <a:pt x="2514" y="1013"/>
                  </a:lnTo>
                  <a:lnTo>
                    <a:pt x="2516" y="1015"/>
                  </a:lnTo>
                  <a:lnTo>
                    <a:pt x="2518" y="1016"/>
                  </a:lnTo>
                  <a:lnTo>
                    <a:pt x="2522" y="1016"/>
                  </a:lnTo>
                  <a:lnTo>
                    <a:pt x="2524" y="1018"/>
                  </a:lnTo>
                  <a:lnTo>
                    <a:pt x="2527" y="1016"/>
                  </a:lnTo>
                  <a:lnTo>
                    <a:pt x="2528" y="1016"/>
                  </a:lnTo>
                  <a:lnTo>
                    <a:pt x="2530" y="1016"/>
                  </a:lnTo>
                  <a:lnTo>
                    <a:pt x="2530" y="1018"/>
                  </a:lnTo>
                  <a:lnTo>
                    <a:pt x="2533" y="1017"/>
                  </a:lnTo>
                  <a:lnTo>
                    <a:pt x="2535" y="1016"/>
                  </a:lnTo>
                  <a:lnTo>
                    <a:pt x="2538" y="1017"/>
                  </a:lnTo>
                  <a:lnTo>
                    <a:pt x="2541" y="1016"/>
                  </a:lnTo>
                  <a:lnTo>
                    <a:pt x="2543" y="1015"/>
                  </a:lnTo>
                  <a:lnTo>
                    <a:pt x="2545" y="1016"/>
                  </a:lnTo>
                  <a:lnTo>
                    <a:pt x="2549" y="1016"/>
                  </a:lnTo>
                  <a:lnTo>
                    <a:pt x="2555" y="1016"/>
                  </a:lnTo>
                  <a:lnTo>
                    <a:pt x="2555" y="1014"/>
                  </a:lnTo>
                  <a:lnTo>
                    <a:pt x="2558" y="1014"/>
                  </a:lnTo>
                  <a:lnTo>
                    <a:pt x="2560" y="1015"/>
                  </a:lnTo>
                  <a:lnTo>
                    <a:pt x="2562" y="1013"/>
                  </a:lnTo>
                  <a:lnTo>
                    <a:pt x="2566" y="1015"/>
                  </a:lnTo>
                  <a:lnTo>
                    <a:pt x="2568" y="1015"/>
                  </a:lnTo>
                  <a:lnTo>
                    <a:pt x="2572" y="1015"/>
                  </a:lnTo>
                  <a:lnTo>
                    <a:pt x="2577" y="1015"/>
                  </a:lnTo>
                  <a:lnTo>
                    <a:pt x="2581" y="1014"/>
                  </a:lnTo>
                  <a:lnTo>
                    <a:pt x="2584" y="1015"/>
                  </a:lnTo>
                  <a:lnTo>
                    <a:pt x="2590" y="1013"/>
                  </a:lnTo>
                  <a:lnTo>
                    <a:pt x="2592" y="1013"/>
                  </a:lnTo>
                  <a:lnTo>
                    <a:pt x="2594" y="1013"/>
                  </a:lnTo>
                  <a:lnTo>
                    <a:pt x="2592" y="1011"/>
                  </a:lnTo>
                  <a:lnTo>
                    <a:pt x="2594" y="1010"/>
                  </a:lnTo>
                  <a:lnTo>
                    <a:pt x="2599" y="1016"/>
                  </a:lnTo>
                  <a:lnTo>
                    <a:pt x="2598" y="1019"/>
                  </a:lnTo>
                  <a:lnTo>
                    <a:pt x="2598" y="1020"/>
                  </a:lnTo>
                  <a:lnTo>
                    <a:pt x="2601" y="1022"/>
                  </a:lnTo>
                  <a:lnTo>
                    <a:pt x="2603" y="1023"/>
                  </a:lnTo>
                  <a:lnTo>
                    <a:pt x="2604" y="1025"/>
                  </a:lnTo>
                  <a:lnTo>
                    <a:pt x="2605" y="1027"/>
                  </a:lnTo>
                  <a:lnTo>
                    <a:pt x="2607" y="1032"/>
                  </a:lnTo>
                  <a:lnTo>
                    <a:pt x="2610" y="1033"/>
                  </a:lnTo>
                  <a:lnTo>
                    <a:pt x="2609" y="1034"/>
                  </a:lnTo>
                  <a:lnTo>
                    <a:pt x="2610" y="1035"/>
                  </a:lnTo>
                  <a:lnTo>
                    <a:pt x="2611" y="1035"/>
                  </a:lnTo>
                  <a:lnTo>
                    <a:pt x="2611" y="1036"/>
                  </a:lnTo>
                  <a:lnTo>
                    <a:pt x="2613" y="1035"/>
                  </a:lnTo>
                  <a:lnTo>
                    <a:pt x="2615" y="1035"/>
                  </a:lnTo>
                  <a:lnTo>
                    <a:pt x="2615" y="1035"/>
                  </a:lnTo>
                  <a:lnTo>
                    <a:pt x="2616" y="1035"/>
                  </a:lnTo>
                  <a:lnTo>
                    <a:pt x="2619" y="1037"/>
                  </a:lnTo>
                  <a:lnTo>
                    <a:pt x="2619" y="1040"/>
                  </a:lnTo>
                  <a:lnTo>
                    <a:pt x="2622" y="1037"/>
                  </a:lnTo>
                  <a:lnTo>
                    <a:pt x="2625" y="1036"/>
                  </a:lnTo>
                  <a:lnTo>
                    <a:pt x="2627" y="1036"/>
                  </a:lnTo>
                  <a:lnTo>
                    <a:pt x="2624" y="1037"/>
                  </a:lnTo>
                  <a:lnTo>
                    <a:pt x="2621" y="1040"/>
                  </a:lnTo>
                  <a:lnTo>
                    <a:pt x="2622" y="1042"/>
                  </a:lnTo>
                  <a:lnTo>
                    <a:pt x="2624" y="1044"/>
                  </a:lnTo>
                  <a:lnTo>
                    <a:pt x="2625" y="1045"/>
                  </a:lnTo>
                  <a:lnTo>
                    <a:pt x="2627" y="1048"/>
                  </a:lnTo>
                  <a:lnTo>
                    <a:pt x="2629" y="1049"/>
                  </a:lnTo>
                  <a:lnTo>
                    <a:pt x="2633" y="1050"/>
                  </a:lnTo>
                  <a:lnTo>
                    <a:pt x="2635" y="1051"/>
                  </a:lnTo>
                  <a:lnTo>
                    <a:pt x="2637" y="1052"/>
                  </a:lnTo>
                  <a:lnTo>
                    <a:pt x="2641" y="1050"/>
                  </a:lnTo>
                  <a:lnTo>
                    <a:pt x="2643" y="1050"/>
                  </a:lnTo>
                  <a:lnTo>
                    <a:pt x="2646" y="1049"/>
                  </a:lnTo>
                  <a:lnTo>
                    <a:pt x="2649" y="1049"/>
                  </a:lnTo>
                  <a:lnTo>
                    <a:pt x="2650" y="1047"/>
                  </a:lnTo>
                  <a:lnTo>
                    <a:pt x="2650" y="1049"/>
                  </a:lnTo>
                  <a:lnTo>
                    <a:pt x="2650" y="1049"/>
                  </a:lnTo>
                  <a:lnTo>
                    <a:pt x="2647" y="1051"/>
                  </a:lnTo>
                  <a:lnTo>
                    <a:pt x="2646" y="1054"/>
                  </a:lnTo>
                  <a:lnTo>
                    <a:pt x="2643" y="1054"/>
                  </a:lnTo>
                  <a:lnTo>
                    <a:pt x="2641" y="1057"/>
                  </a:lnTo>
                  <a:lnTo>
                    <a:pt x="2638" y="1058"/>
                  </a:lnTo>
                  <a:lnTo>
                    <a:pt x="2635" y="1058"/>
                  </a:lnTo>
                  <a:lnTo>
                    <a:pt x="2633" y="1059"/>
                  </a:lnTo>
                  <a:lnTo>
                    <a:pt x="2630" y="1056"/>
                  </a:lnTo>
                  <a:lnTo>
                    <a:pt x="2629" y="1058"/>
                  </a:lnTo>
                  <a:lnTo>
                    <a:pt x="2630" y="1060"/>
                  </a:lnTo>
                  <a:lnTo>
                    <a:pt x="2633" y="1062"/>
                  </a:lnTo>
                  <a:lnTo>
                    <a:pt x="2635" y="1066"/>
                  </a:lnTo>
                  <a:lnTo>
                    <a:pt x="2637" y="1068"/>
                  </a:lnTo>
                  <a:lnTo>
                    <a:pt x="2638" y="1068"/>
                  </a:lnTo>
                  <a:lnTo>
                    <a:pt x="2641" y="1070"/>
                  </a:lnTo>
                  <a:lnTo>
                    <a:pt x="2641" y="1071"/>
                  </a:lnTo>
                  <a:lnTo>
                    <a:pt x="2643" y="1074"/>
                  </a:lnTo>
                  <a:lnTo>
                    <a:pt x="2646" y="1076"/>
                  </a:lnTo>
                  <a:lnTo>
                    <a:pt x="2649" y="1078"/>
                  </a:lnTo>
                  <a:lnTo>
                    <a:pt x="2651" y="1079"/>
                  </a:lnTo>
                  <a:lnTo>
                    <a:pt x="2653" y="1081"/>
                  </a:lnTo>
                  <a:lnTo>
                    <a:pt x="2656" y="1081"/>
                  </a:lnTo>
                  <a:lnTo>
                    <a:pt x="2659" y="1081"/>
                  </a:lnTo>
                  <a:lnTo>
                    <a:pt x="2662" y="1079"/>
                  </a:lnTo>
                  <a:lnTo>
                    <a:pt x="2664" y="1077"/>
                  </a:lnTo>
                  <a:lnTo>
                    <a:pt x="2667" y="1076"/>
                  </a:lnTo>
                  <a:lnTo>
                    <a:pt x="2670" y="1075"/>
                  </a:lnTo>
                  <a:lnTo>
                    <a:pt x="2670" y="1075"/>
                  </a:lnTo>
                  <a:lnTo>
                    <a:pt x="2672" y="1073"/>
                  </a:lnTo>
                  <a:lnTo>
                    <a:pt x="2672" y="1071"/>
                  </a:lnTo>
                  <a:lnTo>
                    <a:pt x="2675" y="1069"/>
                  </a:lnTo>
                  <a:lnTo>
                    <a:pt x="2673" y="1066"/>
                  </a:lnTo>
                  <a:lnTo>
                    <a:pt x="2671" y="1065"/>
                  </a:lnTo>
                  <a:lnTo>
                    <a:pt x="2672" y="1062"/>
                  </a:lnTo>
                  <a:lnTo>
                    <a:pt x="2675" y="1061"/>
                  </a:lnTo>
                  <a:lnTo>
                    <a:pt x="2673" y="1059"/>
                  </a:lnTo>
                  <a:lnTo>
                    <a:pt x="2673" y="1059"/>
                  </a:lnTo>
                  <a:lnTo>
                    <a:pt x="2676" y="1058"/>
                  </a:lnTo>
                  <a:lnTo>
                    <a:pt x="2678" y="1059"/>
                  </a:lnTo>
                  <a:lnTo>
                    <a:pt x="2680" y="1059"/>
                  </a:lnTo>
                  <a:lnTo>
                    <a:pt x="2684" y="1059"/>
                  </a:lnTo>
                  <a:lnTo>
                    <a:pt x="2684" y="1059"/>
                  </a:lnTo>
                  <a:lnTo>
                    <a:pt x="2680" y="1060"/>
                  </a:lnTo>
                  <a:lnTo>
                    <a:pt x="2678" y="1061"/>
                  </a:lnTo>
                  <a:lnTo>
                    <a:pt x="2678" y="1064"/>
                  </a:lnTo>
                  <a:lnTo>
                    <a:pt x="2680" y="1062"/>
                  </a:lnTo>
                  <a:lnTo>
                    <a:pt x="2678" y="1066"/>
                  </a:lnTo>
                  <a:lnTo>
                    <a:pt x="2679" y="1067"/>
                  </a:lnTo>
                  <a:lnTo>
                    <a:pt x="2681" y="1067"/>
                  </a:lnTo>
                  <a:lnTo>
                    <a:pt x="2685" y="1067"/>
                  </a:lnTo>
                  <a:lnTo>
                    <a:pt x="2685" y="1067"/>
                  </a:lnTo>
                  <a:lnTo>
                    <a:pt x="2683" y="1068"/>
                  </a:lnTo>
                  <a:lnTo>
                    <a:pt x="2680" y="1069"/>
                  </a:lnTo>
                  <a:lnTo>
                    <a:pt x="2679" y="1073"/>
                  </a:lnTo>
                  <a:lnTo>
                    <a:pt x="2680" y="1075"/>
                  </a:lnTo>
                  <a:lnTo>
                    <a:pt x="2680" y="1076"/>
                  </a:lnTo>
                  <a:lnTo>
                    <a:pt x="2681" y="1075"/>
                  </a:lnTo>
                  <a:lnTo>
                    <a:pt x="2683" y="1078"/>
                  </a:lnTo>
                  <a:lnTo>
                    <a:pt x="2684" y="1081"/>
                  </a:lnTo>
                  <a:lnTo>
                    <a:pt x="2683" y="1083"/>
                  </a:lnTo>
                  <a:lnTo>
                    <a:pt x="2681" y="1086"/>
                  </a:lnTo>
                  <a:lnTo>
                    <a:pt x="2681" y="1087"/>
                  </a:lnTo>
                  <a:lnTo>
                    <a:pt x="2680" y="1087"/>
                  </a:lnTo>
                  <a:lnTo>
                    <a:pt x="2680" y="1090"/>
                  </a:lnTo>
                  <a:lnTo>
                    <a:pt x="2680" y="1091"/>
                  </a:lnTo>
                  <a:lnTo>
                    <a:pt x="2680" y="1093"/>
                  </a:lnTo>
                  <a:lnTo>
                    <a:pt x="2680" y="1095"/>
                  </a:lnTo>
                  <a:lnTo>
                    <a:pt x="2683" y="1097"/>
                  </a:lnTo>
                  <a:lnTo>
                    <a:pt x="2681" y="1097"/>
                  </a:lnTo>
                  <a:lnTo>
                    <a:pt x="2683" y="1101"/>
                  </a:lnTo>
                  <a:lnTo>
                    <a:pt x="2683" y="1101"/>
                  </a:lnTo>
                  <a:lnTo>
                    <a:pt x="2685" y="1102"/>
                  </a:lnTo>
                  <a:lnTo>
                    <a:pt x="2685" y="1102"/>
                  </a:lnTo>
                  <a:lnTo>
                    <a:pt x="2685" y="1102"/>
                  </a:lnTo>
                  <a:lnTo>
                    <a:pt x="2683" y="1101"/>
                  </a:lnTo>
                  <a:lnTo>
                    <a:pt x="2683" y="1101"/>
                  </a:lnTo>
                  <a:lnTo>
                    <a:pt x="2681" y="1103"/>
                  </a:lnTo>
                  <a:lnTo>
                    <a:pt x="2683" y="1105"/>
                  </a:lnTo>
                  <a:lnTo>
                    <a:pt x="2684" y="1104"/>
                  </a:lnTo>
                  <a:lnTo>
                    <a:pt x="2685" y="1104"/>
                  </a:lnTo>
                  <a:lnTo>
                    <a:pt x="2685" y="1105"/>
                  </a:lnTo>
                  <a:lnTo>
                    <a:pt x="2683" y="1108"/>
                  </a:lnTo>
                  <a:lnTo>
                    <a:pt x="2683" y="1109"/>
                  </a:lnTo>
                  <a:lnTo>
                    <a:pt x="2684" y="1112"/>
                  </a:lnTo>
                  <a:lnTo>
                    <a:pt x="2684" y="1114"/>
                  </a:lnTo>
                  <a:lnTo>
                    <a:pt x="2684" y="1118"/>
                  </a:lnTo>
                  <a:lnTo>
                    <a:pt x="2685" y="1120"/>
                  </a:lnTo>
                  <a:lnTo>
                    <a:pt x="2686" y="1122"/>
                  </a:lnTo>
                  <a:lnTo>
                    <a:pt x="2687" y="1126"/>
                  </a:lnTo>
                  <a:lnTo>
                    <a:pt x="2687" y="1128"/>
                  </a:lnTo>
                  <a:lnTo>
                    <a:pt x="2687" y="1129"/>
                  </a:lnTo>
                  <a:lnTo>
                    <a:pt x="2688" y="1133"/>
                  </a:lnTo>
                  <a:lnTo>
                    <a:pt x="2688" y="1135"/>
                  </a:lnTo>
                  <a:lnTo>
                    <a:pt x="2688" y="1137"/>
                  </a:lnTo>
                  <a:lnTo>
                    <a:pt x="2689" y="1139"/>
                  </a:lnTo>
                  <a:lnTo>
                    <a:pt x="2689" y="1142"/>
                  </a:lnTo>
                  <a:lnTo>
                    <a:pt x="2690" y="1145"/>
                  </a:lnTo>
                  <a:lnTo>
                    <a:pt x="2690" y="1147"/>
                  </a:lnTo>
                  <a:lnTo>
                    <a:pt x="2693" y="1151"/>
                  </a:lnTo>
                  <a:lnTo>
                    <a:pt x="2694" y="1152"/>
                  </a:lnTo>
                  <a:lnTo>
                    <a:pt x="2694" y="1152"/>
                  </a:lnTo>
                  <a:lnTo>
                    <a:pt x="2696" y="1154"/>
                  </a:lnTo>
                  <a:lnTo>
                    <a:pt x="2695" y="1155"/>
                  </a:lnTo>
                  <a:lnTo>
                    <a:pt x="2697" y="1159"/>
                  </a:lnTo>
                  <a:lnTo>
                    <a:pt x="2697" y="1161"/>
                  </a:lnTo>
                  <a:lnTo>
                    <a:pt x="2700" y="1163"/>
                  </a:lnTo>
                  <a:lnTo>
                    <a:pt x="2700" y="1164"/>
                  </a:lnTo>
                  <a:lnTo>
                    <a:pt x="2700" y="1164"/>
                  </a:lnTo>
                  <a:lnTo>
                    <a:pt x="2701" y="1165"/>
                  </a:lnTo>
                  <a:lnTo>
                    <a:pt x="2702" y="1167"/>
                  </a:lnTo>
                  <a:lnTo>
                    <a:pt x="2703" y="1169"/>
                  </a:lnTo>
                  <a:lnTo>
                    <a:pt x="2704" y="1172"/>
                  </a:lnTo>
                  <a:lnTo>
                    <a:pt x="2705" y="1172"/>
                  </a:lnTo>
                  <a:lnTo>
                    <a:pt x="2704" y="1172"/>
                  </a:lnTo>
                  <a:lnTo>
                    <a:pt x="2704" y="1172"/>
                  </a:lnTo>
                  <a:lnTo>
                    <a:pt x="2705" y="1176"/>
                  </a:lnTo>
                  <a:lnTo>
                    <a:pt x="2706" y="1178"/>
                  </a:lnTo>
                  <a:lnTo>
                    <a:pt x="2707" y="1180"/>
                  </a:lnTo>
                  <a:lnTo>
                    <a:pt x="2707" y="1180"/>
                  </a:lnTo>
                  <a:lnTo>
                    <a:pt x="2707" y="1181"/>
                  </a:lnTo>
                  <a:lnTo>
                    <a:pt x="2707" y="1184"/>
                  </a:lnTo>
                  <a:lnTo>
                    <a:pt x="2709" y="1187"/>
                  </a:lnTo>
                  <a:lnTo>
                    <a:pt x="2709" y="1189"/>
                  </a:lnTo>
                  <a:lnTo>
                    <a:pt x="2710" y="1191"/>
                  </a:lnTo>
                  <a:lnTo>
                    <a:pt x="2710" y="1193"/>
                  </a:lnTo>
                  <a:lnTo>
                    <a:pt x="2710" y="1193"/>
                  </a:lnTo>
                  <a:lnTo>
                    <a:pt x="2710" y="1193"/>
                  </a:lnTo>
                  <a:lnTo>
                    <a:pt x="2711" y="1195"/>
                  </a:lnTo>
                  <a:lnTo>
                    <a:pt x="2712" y="1197"/>
                  </a:lnTo>
                  <a:lnTo>
                    <a:pt x="2712" y="1198"/>
                  </a:lnTo>
                  <a:lnTo>
                    <a:pt x="2713" y="1201"/>
                  </a:lnTo>
                  <a:lnTo>
                    <a:pt x="2715" y="1203"/>
                  </a:lnTo>
                  <a:lnTo>
                    <a:pt x="2715" y="1204"/>
                  </a:lnTo>
                  <a:lnTo>
                    <a:pt x="2717" y="1204"/>
                  </a:lnTo>
                  <a:lnTo>
                    <a:pt x="2717" y="1204"/>
                  </a:lnTo>
                  <a:lnTo>
                    <a:pt x="2717" y="1205"/>
                  </a:lnTo>
                  <a:lnTo>
                    <a:pt x="2718" y="1206"/>
                  </a:lnTo>
                  <a:lnTo>
                    <a:pt x="2720" y="1208"/>
                  </a:lnTo>
                  <a:lnTo>
                    <a:pt x="2720" y="1210"/>
                  </a:lnTo>
                  <a:lnTo>
                    <a:pt x="2720" y="1210"/>
                  </a:lnTo>
                  <a:lnTo>
                    <a:pt x="2722" y="1213"/>
                  </a:lnTo>
                  <a:lnTo>
                    <a:pt x="2722" y="1215"/>
                  </a:lnTo>
                  <a:lnTo>
                    <a:pt x="2723" y="1218"/>
                  </a:lnTo>
                  <a:lnTo>
                    <a:pt x="2724" y="1221"/>
                  </a:lnTo>
                  <a:lnTo>
                    <a:pt x="2726" y="1223"/>
                  </a:lnTo>
                  <a:lnTo>
                    <a:pt x="2727" y="1225"/>
                  </a:lnTo>
                  <a:lnTo>
                    <a:pt x="2728" y="1229"/>
                  </a:lnTo>
                  <a:lnTo>
                    <a:pt x="2728" y="1231"/>
                  </a:lnTo>
                  <a:lnTo>
                    <a:pt x="2729" y="1231"/>
                  </a:lnTo>
                  <a:lnTo>
                    <a:pt x="2729" y="1232"/>
                  </a:lnTo>
                  <a:lnTo>
                    <a:pt x="2730" y="1233"/>
                  </a:lnTo>
                  <a:lnTo>
                    <a:pt x="2730" y="1236"/>
                  </a:lnTo>
                  <a:lnTo>
                    <a:pt x="2729" y="1233"/>
                  </a:lnTo>
                  <a:lnTo>
                    <a:pt x="2729" y="1232"/>
                  </a:lnTo>
                  <a:lnTo>
                    <a:pt x="2729" y="1232"/>
                  </a:lnTo>
                  <a:lnTo>
                    <a:pt x="2729" y="1233"/>
                  </a:lnTo>
                  <a:lnTo>
                    <a:pt x="2729" y="1236"/>
                  </a:lnTo>
                  <a:lnTo>
                    <a:pt x="2729" y="1238"/>
                  </a:lnTo>
                  <a:lnTo>
                    <a:pt x="2730" y="1240"/>
                  </a:lnTo>
                  <a:lnTo>
                    <a:pt x="2731" y="1244"/>
                  </a:lnTo>
                  <a:lnTo>
                    <a:pt x="2732" y="1246"/>
                  </a:lnTo>
                  <a:lnTo>
                    <a:pt x="2732" y="1246"/>
                  </a:lnTo>
                  <a:lnTo>
                    <a:pt x="2733" y="1247"/>
                  </a:lnTo>
                  <a:lnTo>
                    <a:pt x="2733" y="1247"/>
                  </a:lnTo>
                  <a:lnTo>
                    <a:pt x="2736" y="1249"/>
                  </a:lnTo>
                  <a:lnTo>
                    <a:pt x="2738" y="1253"/>
                  </a:lnTo>
                  <a:lnTo>
                    <a:pt x="2740" y="1255"/>
                  </a:lnTo>
                  <a:lnTo>
                    <a:pt x="2741" y="1255"/>
                  </a:lnTo>
                  <a:lnTo>
                    <a:pt x="2744" y="1257"/>
                  </a:lnTo>
                  <a:lnTo>
                    <a:pt x="2746" y="1258"/>
                  </a:lnTo>
                  <a:lnTo>
                    <a:pt x="2749" y="1256"/>
                  </a:lnTo>
                  <a:lnTo>
                    <a:pt x="2752" y="1255"/>
                  </a:lnTo>
                  <a:lnTo>
                    <a:pt x="2754" y="1253"/>
                  </a:lnTo>
                  <a:lnTo>
                    <a:pt x="2754" y="1249"/>
                  </a:lnTo>
                  <a:lnTo>
                    <a:pt x="2755" y="1248"/>
                  </a:lnTo>
                  <a:lnTo>
                    <a:pt x="2756" y="1245"/>
                  </a:lnTo>
                  <a:lnTo>
                    <a:pt x="2760" y="1244"/>
                  </a:lnTo>
                  <a:lnTo>
                    <a:pt x="2764" y="1241"/>
                  </a:lnTo>
                  <a:lnTo>
                    <a:pt x="2767" y="1241"/>
                  </a:lnTo>
                  <a:lnTo>
                    <a:pt x="2770" y="1241"/>
                  </a:lnTo>
                  <a:lnTo>
                    <a:pt x="2772" y="1244"/>
                  </a:lnTo>
                  <a:lnTo>
                    <a:pt x="2773" y="1244"/>
                  </a:lnTo>
                  <a:lnTo>
                    <a:pt x="2771" y="1241"/>
                  </a:lnTo>
                  <a:lnTo>
                    <a:pt x="2769" y="1241"/>
                  </a:lnTo>
                  <a:lnTo>
                    <a:pt x="2765" y="1239"/>
                  </a:lnTo>
                  <a:lnTo>
                    <a:pt x="2766" y="1237"/>
                  </a:lnTo>
                  <a:lnTo>
                    <a:pt x="2767" y="1233"/>
                  </a:lnTo>
                  <a:lnTo>
                    <a:pt x="2770" y="1231"/>
                  </a:lnTo>
                  <a:lnTo>
                    <a:pt x="2770" y="1230"/>
                  </a:lnTo>
                  <a:lnTo>
                    <a:pt x="2771" y="1228"/>
                  </a:lnTo>
                  <a:lnTo>
                    <a:pt x="2773" y="1227"/>
                  </a:lnTo>
                  <a:lnTo>
                    <a:pt x="2775" y="1227"/>
                  </a:lnTo>
                  <a:lnTo>
                    <a:pt x="2779" y="1225"/>
                  </a:lnTo>
                  <a:lnTo>
                    <a:pt x="2778" y="1223"/>
                  </a:lnTo>
                  <a:lnTo>
                    <a:pt x="2778" y="1215"/>
                  </a:lnTo>
                  <a:lnTo>
                    <a:pt x="2775" y="1213"/>
                  </a:lnTo>
                  <a:lnTo>
                    <a:pt x="2777" y="1213"/>
                  </a:lnTo>
                  <a:lnTo>
                    <a:pt x="2777" y="1211"/>
                  </a:lnTo>
                  <a:lnTo>
                    <a:pt x="2777" y="1207"/>
                  </a:lnTo>
                  <a:lnTo>
                    <a:pt x="2778" y="1207"/>
                  </a:lnTo>
                  <a:lnTo>
                    <a:pt x="2778" y="1206"/>
                  </a:lnTo>
                  <a:lnTo>
                    <a:pt x="2778" y="1206"/>
                  </a:lnTo>
                  <a:lnTo>
                    <a:pt x="2778" y="1206"/>
                  </a:lnTo>
                  <a:lnTo>
                    <a:pt x="2778" y="1204"/>
                  </a:lnTo>
                  <a:lnTo>
                    <a:pt x="2779" y="1204"/>
                  </a:lnTo>
                  <a:lnTo>
                    <a:pt x="2779" y="1203"/>
                  </a:lnTo>
                  <a:lnTo>
                    <a:pt x="2780" y="1201"/>
                  </a:lnTo>
                  <a:lnTo>
                    <a:pt x="2780" y="1201"/>
                  </a:lnTo>
                  <a:lnTo>
                    <a:pt x="2782" y="1197"/>
                  </a:lnTo>
                  <a:lnTo>
                    <a:pt x="2782" y="1197"/>
                  </a:lnTo>
                  <a:lnTo>
                    <a:pt x="2783" y="1195"/>
                  </a:lnTo>
                  <a:lnTo>
                    <a:pt x="2783" y="1191"/>
                  </a:lnTo>
                  <a:lnTo>
                    <a:pt x="2784" y="1189"/>
                  </a:lnTo>
                  <a:lnTo>
                    <a:pt x="2784" y="1186"/>
                  </a:lnTo>
                  <a:lnTo>
                    <a:pt x="2784" y="1184"/>
                  </a:lnTo>
                  <a:lnTo>
                    <a:pt x="2783" y="1184"/>
                  </a:lnTo>
                  <a:lnTo>
                    <a:pt x="2782" y="1182"/>
                  </a:lnTo>
                  <a:lnTo>
                    <a:pt x="2781" y="1182"/>
                  </a:lnTo>
                  <a:lnTo>
                    <a:pt x="2782" y="1181"/>
                  </a:lnTo>
                  <a:lnTo>
                    <a:pt x="2784" y="1182"/>
                  </a:lnTo>
                  <a:lnTo>
                    <a:pt x="2784" y="1182"/>
                  </a:lnTo>
                  <a:lnTo>
                    <a:pt x="2783" y="1180"/>
                  </a:lnTo>
                  <a:lnTo>
                    <a:pt x="2783" y="1177"/>
                  </a:lnTo>
                  <a:lnTo>
                    <a:pt x="2782" y="1174"/>
                  </a:lnTo>
                  <a:lnTo>
                    <a:pt x="2782" y="1171"/>
                  </a:lnTo>
                  <a:lnTo>
                    <a:pt x="2782" y="1169"/>
                  </a:lnTo>
                  <a:lnTo>
                    <a:pt x="2782" y="1168"/>
                  </a:lnTo>
                  <a:lnTo>
                    <a:pt x="2782" y="1167"/>
                  </a:lnTo>
                  <a:lnTo>
                    <a:pt x="2781" y="1164"/>
                  </a:lnTo>
                  <a:lnTo>
                    <a:pt x="2781" y="1162"/>
                  </a:lnTo>
                  <a:lnTo>
                    <a:pt x="2781" y="1159"/>
                  </a:lnTo>
                  <a:lnTo>
                    <a:pt x="2782" y="1156"/>
                  </a:lnTo>
                  <a:lnTo>
                    <a:pt x="2783" y="1154"/>
                  </a:lnTo>
                  <a:lnTo>
                    <a:pt x="2786" y="1151"/>
                  </a:lnTo>
                  <a:lnTo>
                    <a:pt x="2788" y="1150"/>
                  </a:lnTo>
                  <a:lnTo>
                    <a:pt x="2791" y="1150"/>
                  </a:lnTo>
                  <a:lnTo>
                    <a:pt x="2792" y="1147"/>
                  </a:lnTo>
                  <a:lnTo>
                    <a:pt x="2794" y="1150"/>
                  </a:lnTo>
                  <a:lnTo>
                    <a:pt x="2794" y="1151"/>
                  </a:lnTo>
                  <a:lnTo>
                    <a:pt x="2796" y="1148"/>
                  </a:lnTo>
                  <a:lnTo>
                    <a:pt x="2797" y="1145"/>
                  </a:lnTo>
                  <a:lnTo>
                    <a:pt x="2798" y="1143"/>
                  </a:lnTo>
                  <a:lnTo>
                    <a:pt x="2800" y="1143"/>
                  </a:lnTo>
                  <a:lnTo>
                    <a:pt x="2804" y="1143"/>
                  </a:lnTo>
                  <a:lnTo>
                    <a:pt x="2804" y="1143"/>
                  </a:lnTo>
                  <a:lnTo>
                    <a:pt x="2806" y="1143"/>
                  </a:lnTo>
                  <a:lnTo>
                    <a:pt x="2807" y="1142"/>
                  </a:lnTo>
                  <a:lnTo>
                    <a:pt x="2809" y="1141"/>
                  </a:lnTo>
                  <a:lnTo>
                    <a:pt x="2812" y="1139"/>
                  </a:lnTo>
                  <a:lnTo>
                    <a:pt x="2813" y="1136"/>
                  </a:lnTo>
                  <a:lnTo>
                    <a:pt x="2813" y="1133"/>
                  </a:lnTo>
                  <a:lnTo>
                    <a:pt x="2814" y="1131"/>
                  </a:lnTo>
                  <a:lnTo>
                    <a:pt x="2816" y="1129"/>
                  </a:lnTo>
                  <a:lnTo>
                    <a:pt x="2820" y="1128"/>
                  </a:lnTo>
                  <a:lnTo>
                    <a:pt x="2822" y="1127"/>
                  </a:lnTo>
                  <a:lnTo>
                    <a:pt x="2825" y="1125"/>
                  </a:lnTo>
                  <a:lnTo>
                    <a:pt x="2824" y="1124"/>
                  </a:lnTo>
                  <a:lnTo>
                    <a:pt x="2825" y="1124"/>
                  </a:lnTo>
                  <a:lnTo>
                    <a:pt x="2828" y="1121"/>
                  </a:lnTo>
                  <a:lnTo>
                    <a:pt x="2830" y="1119"/>
                  </a:lnTo>
                  <a:lnTo>
                    <a:pt x="2832" y="1118"/>
                  </a:lnTo>
                  <a:lnTo>
                    <a:pt x="2834" y="1117"/>
                  </a:lnTo>
                  <a:lnTo>
                    <a:pt x="2837" y="1114"/>
                  </a:lnTo>
                  <a:lnTo>
                    <a:pt x="2839" y="1112"/>
                  </a:lnTo>
                  <a:lnTo>
                    <a:pt x="2841" y="1110"/>
                  </a:lnTo>
                  <a:lnTo>
                    <a:pt x="2843" y="1107"/>
                  </a:lnTo>
                  <a:lnTo>
                    <a:pt x="2846" y="1104"/>
                  </a:lnTo>
                  <a:lnTo>
                    <a:pt x="2846" y="1104"/>
                  </a:lnTo>
                  <a:lnTo>
                    <a:pt x="2848" y="1101"/>
                  </a:lnTo>
                  <a:lnTo>
                    <a:pt x="2851" y="1099"/>
                  </a:lnTo>
                  <a:lnTo>
                    <a:pt x="2854" y="1097"/>
                  </a:lnTo>
                  <a:lnTo>
                    <a:pt x="2854" y="1096"/>
                  </a:lnTo>
                  <a:lnTo>
                    <a:pt x="2854" y="1096"/>
                  </a:lnTo>
                  <a:lnTo>
                    <a:pt x="2854" y="1096"/>
                  </a:lnTo>
                  <a:lnTo>
                    <a:pt x="2852" y="1096"/>
                  </a:lnTo>
                  <a:lnTo>
                    <a:pt x="2850" y="1099"/>
                  </a:lnTo>
                  <a:lnTo>
                    <a:pt x="2851" y="1095"/>
                  </a:lnTo>
                  <a:lnTo>
                    <a:pt x="2855" y="1093"/>
                  </a:lnTo>
                  <a:lnTo>
                    <a:pt x="2856" y="1095"/>
                  </a:lnTo>
                  <a:lnTo>
                    <a:pt x="2855" y="1095"/>
                  </a:lnTo>
                  <a:lnTo>
                    <a:pt x="2858" y="1095"/>
                  </a:lnTo>
                  <a:lnTo>
                    <a:pt x="2866" y="1093"/>
                  </a:lnTo>
                  <a:lnTo>
                    <a:pt x="2866" y="1091"/>
                  </a:lnTo>
                  <a:lnTo>
                    <a:pt x="2865" y="1090"/>
                  </a:lnTo>
                  <a:lnTo>
                    <a:pt x="2867" y="1091"/>
                  </a:lnTo>
                  <a:lnTo>
                    <a:pt x="2867" y="1091"/>
                  </a:lnTo>
                  <a:lnTo>
                    <a:pt x="2869" y="1088"/>
                  </a:lnTo>
                  <a:lnTo>
                    <a:pt x="2872" y="1087"/>
                  </a:lnTo>
                  <a:lnTo>
                    <a:pt x="2872" y="1087"/>
                  </a:lnTo>
                  <a:lnTo>
                    <a:pt x="2873" y="1084"/>
                  </a:lnTo>
                  <a:lnTo>
                    <a:pt x="2875" y="1083"/>
                  </a:lnTo>
                  <a:lnTo>
                    <a:pt x="2876" y="1082"/>
                  </a:lnTo>
                  <a:lnTo>
                    <a:pt x="2875" y="1082"/>
                  </a:lnTo>
                  <a:lnTo>
                    <a:pt x="2874" y="1081"/>
                  </a:lnTo>
                  <a:lnTo>
                    <a:pt x="2875" y="1077"/>
                  </a:lnTo>
                  <a:lnTo>
                    <a:pt x="2874" y="1075"/>
                  </a:lnTo>
                  <a:lnTo>
                    <a:pt x="2875" y="1073"/>
                  </a:lnTo>
                  <a:lnTo>
                    <a:pt x="2877" y="1069"/>
                  </a:lnTo>
                  <a:lnTo>
                    <a:pt x="2881" y="1069"/>
                  </a:lnTo>
                  <a:lnTo>
                    <a:pt x="2881" y="1069"/>
                  </a:lnTo>
                  <a:lnTo>
                    <a:pt x="2883" y="1068"/>
                  </a:lnTo>
                  <a:lnTo>
                    <a:pt x="2885" y="1068"/>
                  </a:lnTo>
                  <a:lnTo>
                    <a:pt x="2888" y="1066"/>
                  </a:lnTo>
                  <a:lnTo>
                    <a:pt x="2890" y="1064"/>
                  </a:lnTo>
                  <a:lnTo>
                    <a:pt x="2892" y="1061"/>
                  </a:lnTo>
                  <a:lnTo>
                    <a:pt x="2893" y="1062"/>
                  </a:lnTo>
                  <a:lnTo>
                    <a:pt x="2892" y="1065"/>
                  </a:lnTo>
                  <a:lnTo>
                    <a:pt x="2892" y="1067"/>
                  </a:lnTo>
                  <a:lnTo>
                    <a:pt x="2893" y="1068"/>
                  </a:lnTo>
                  <a:lnTo>
                    <a:pt x="2893" y="1068"/>
                  </a:lnTo>
                  <a:lnTo>
                    <a:pt x="2893" y="1069"/>
                  </a:lnTo>
                  <a:lnTo>
                    <a:pt x="2893" y="1068"/>
                  </a:lnTo>
                  <a:lnTo>
                    <a:pt x="2894" y="1067"/>
                  </a:lnTo>
                  <a:lnTo>
                    <a:pt x="2895" y="1067"/>
                  </a:lnTo>
                  <a:lnTo>
                    <a:pt x="2895" y="1068"/>
                  </a:lnTo>
                  <a:lnTo>
                    <a:pt x="2897" y="1066"/>
                  </a:lnTo>
                  <a:lnTo>
                    <a:pt x="2897" y="1065"/>
                  </a:lnTo>
                  <a:lnTo>
                    <a:pt x="2897" y="1067"/>
                  </a:lnTo>
                  <a:lnTo>
                    <a:pt x="2897" y="1068"/>
                  </a:lnTo>
                  <a:lnTo>
                    <a:pt x="2897" y="1068"/>
                  </a:lnTo>
                  <a:lnTo>
                    <a:pt x="2898" y="1069"/>
                  </a:lnTo>
                  <a:lnTo>
                    <a:pt x="2898" y="1069"/>
                  </a:lnTo>
                  <a:lnTo>
                    <a:pt x="2898" y="1068"/>
                  </a:lnTo>
                  <a:lnTo>
                    <a:pt x="2898" y="1066"/>
                  </a:lnTo>
                  <a:lnTo>
                    <a:pt x="2898" y="1064"/>
                  </a:lnTo>
                  <a:lnTo>
                    <a:pt x="2898" y="1061"/>
                  </a:lnTo>
                  <a:lnTo>
                    <a:pt x="2899" y="1060"/>
                  </a:lnTo>
                  <a:lnTo>
                    <a:pt x="2899" y="1060"/>
                  </a:lnTo>
                  <a:lnTo>
                    <a:pt x="2899" y="1062"/>
                  </a:lnTo>
                  <a:lnTo>
                    <a:pt x="2900" y="1061"/>
                  </a:lnTo>
                  <a:lnTo>
                    <a:pt x="2900" y="1062"/>
                  </a:lnTo>
                  <a:lnTo>
                    <a:pt x="2899" y="1065"/>
                  </a:lnTo>
                  <a:lnTo>
                    <a:pt x="2899" y="1067"/>
                  </a:lnTo>
                  <a:lnTo>
                    <a:pt x="2900" y="1068"/>
                  </a:lnTo>
                  <a:lnTo>
                    <a:pt x="2901" y="1067"/>
                  </a:lnTo>
                  <a:lnTo>
                    <a:pt x="2901" y="1067"/>
                  </a:lnTo>
                  <a:lnTo>
                    <a:pt x="2901" y="1066"/>
                  </a:lnTo>
                  <a:lnTo>
                    <a:pt x="2902" y="1068"/>
                  </a:lnTo>
                  <a:lnTo>
                    <a:pt x="2903" y="1065"/>
                  </a:lnTo>
                  <a:lnTo>
                    <a:pt x="2903" y="1065"/>
                  </a:lnTo>
                  <a:lnTo>
                    <a:pt x="2902" y="1064"/>
                  </a:lnTo>
                  <a:lnTo>
                    <a:pt x="2902" y="1062"/>
                  </a:lnTo>
                  <a:lnTo>
                    <a:pt x="2902" y="1062"/>
                  </a:lnTo>
                  <a:lnTo>
                    <a:pt x="2905" y="1060"/>
                  </a:lnTo>
                  <a:lnTo>
                    <a:pt x="2905" y="1061"/>
                  </a:lnTo>
                  <a:lnTo>
                    <a:pt x="2905" y="1064"/>
                  </a:lnTo>
                  <a:lnTo>
                    <a:pt x="2906" y="1066"/>
                  </a:lnTo>
                  <a:lnTo>
                    <a:pt x="2907" y="1066"/>
                  </a:lnTo>
                  <a:lnTo>
                    <a:pt x="2908" y="1064"/>
                  </a:lnTo>
                  <a:lnTo>
                    <a:pt x="2908" y="1062"/>
                  </a:lnTo>
                  <a:lnTo>
                    <a:pt x="2908" y="1066"/>
                  </a:lnTo>
                  <a:lnTo>
                    <a:pt x="2910" y="1065"/>
                  </a:lnTo>
                  <a:lnTo>
                    <a:pt x="2910" y="1061"/>
                  </a:lnTo>
                  <a:lnTo>
                    <a:pt x="2910" y="1059"/>
                  </a:lnTo>
                  <a:lnTo>
                    <a:pt x="2910" y="1058"/>
                  </a:lnTo>
                  <a:lnTo>
                    <a:pt x="2910" y="1061"/>
                  </a:lnTo>
                  <a:lnTo>
                    <a:pt x="2911" y="1062"/>
                  </a:lnTo>
                  <a:lnTo>
                    <a:pt x="2911" y="1060"/>
                  </a:lnTo>
                  <a:lnTo>
                    <a:pt x="2911" y="1058"/>
                  </a:lnTo>
                  <a:lnTo>
                    <a:pt x="2911" y="1060"/>
                  </a:lnTo>
                  <a:lnTo>
                    <a:pt x="2911" y="1064"/>
                  </a:lnTo>
                  <a:lnTo>
                    <a:pt x="2911" y="1064"/>
                  </a:lnTo>
                  <a:lnTo>
                    <a:pt x="2911" y="1065"/>
                  </a:lnTo>
                  <a:lnTo>
                    <a:pt x="2911" y="1066"/>
                  </a:lnTo>
                  <a:lnTo>
                    <a:pt x="2912" y="1064"/>
                  </a:lnTo>
                  <a:lnTo>
                    <a:pt x="2912" y="1064"/>
                  </a:lnTo>
                  <a:lnTo>
                    <a:pt x="2915" y="1065"/>
                  </a:lnTo>
                  <a:lnTo>
                    <a:pt x="2915" y="1061"/>
                  </a:lnTo>
                  <a:lnTo>
                    <a:pt x="2915" y="1059"/>
                  </a:lnTo>
                  <a:lnTo>
                    <a:pt x="2915" y="1057"/>
                  </a:lnTo>
                  <a:lnTo>
                    <a:pt x="2917" y="1056"/>
                  </a:lnTo>
                  <a:lnTo>
                    <a:pt x="2917" y="1056"/>
                  </a:lnTo>
                  <a:lnTo>
                    <a:pt x="2916" y="1058"/>
                  </a:lnTo>
                  <a:lnTo>
                    <a:pt x="2916" y="1060"/>
                  </a:lnTo>
                  <a:lnTo>
                    <a:pt x="2916" y="1062"/>
                  </a:lnTo>
                  <a:lnTo>
                    <a:pt x="2917" y="1062"/>
                  </a:lnTo>
                  <a:lnTo>
                    <a:pt x="2918" y="1060"/>
                  </a:lnTo>
                  <a:lnTo>
                    <a:pt x="2917" y="1062"/>
                  </a:lnTo>
                  <a:lnTo>
                    <a:pt x="2917" y="1062"/>
                  </a:lnTo>
                  <a:lnTo>
                    <a:pt x="2919" y="1061"/>
                  </a:lnTo>
                  <a:lnTo>
                    <a:pt x="2918" y="1062"/>
                  </a:lnTo>
                  <a:lnTo>
                    <a:pt x="2919" y="1064"/>
                  </a:lnTo>
                  <a:lnTo>
                    <a:pt x="2920" y="1065"/>
                  </a:lnTo>
                  <a:lnTo>
                    <a:pt x="2922" y="1062"/>
                  </a:lnTo>
                  <a:lnTo>
                    <a:pt x="2922" y="1062"/>
                  </a:lnTo>
                  <a:lnTo>
                    <a:pt x="2923" y="1061"/>
                  </a:lnTo>
                  <a:lnTo>
                    <a:pt x="2923" y="1059"/>
                  </a:lnTo>
                  <a:lnTo>
                    <a:pt x="2923" y="1061"/>
                  </a:lnTo>
                  <a:lnTo>
                    <a:pt x="2925" y="1059"/>
                  </a:lnTo>
                  <a:lnTo>
                    <a:pt x="2925" y="1057"/>
                  </a:lnTo>
                  <a:lnTo>
                    <a:pt x="2924" y="1056"/>
                  </a:lnTo>
                  <a:lnTo>
                    <a:pt x="2924" y="1053"/>
                  </a:lnTo>
                  <a:lnTo>
                    <a:pt x="2923" y="1052"/>
                  </a:lnTo>
                  <a:lnTo>
                    <a:pt x="2923" y="1052"/>
                  </a:lnTo>
                  <a:lnTo>
                    <a:pt x="2923" y="1051"/>
                  </a:lnTo>
                  <a:lnTo>
                    <a:pt x="2924" y="1049"/>
                  </a:lnTo>
                  <a:lnTo>
                    <a:pt x="2924" y="1048"/>
                  </a:lnTo>
                  <a:lnTo>
                    <a:pt x="2924" y="1048"/>
                  </a:lnTo>
                  <a:lnTo>
                    <a:pt x="2924" y="1048"/>
                  </a:lnTo>
                  <a:lnTo>
                    <a:pt x="2925" y="1044"/>
                  </a:lnTo>
                  <a:lnTo>
                    <a:pt x="2924" y="1044"/>
                  </a:lnTo>
                  <a:lnTo>
                    <a:pt x="2922" y="1042"/>
                  </a:lnTo>
                  <a:lnTo>
                    <a:pt x="2920" y="1042"/>
                  </a:lnTo>
                  <a:lnTo>
                    <a:pt x="2920" y="1042"/>
                  </a:lnTo>
                  <a:lnTo>
                    <a:pt x="2920" y="1042"/>
                  </a:lnTo>
                  <a:lnTo>
                    <a:pt x="2924" y="1042"/>
                  </a:lnTo>
                  <a:lnTo>
                    <a:pt x="2924" y="1040"/>
                  </a:lnTo>
                  <a:lnTo>
                    <a:pt x="2924" y="1040"/>
                  </a:lnTo>
                  <a:lnTo>
                    <a:pt x="2926" y="1040"/>
                  </a:lnTo>
                  <a:lnTo>
                    <a:pt x="2926" y="1041"/>
                  </a:lnTo>
                  <a:lnTo>
                    <a:pt x="2927" y="1041"/>
                  </a:lnTo>
                  <a:lnTo>
                    <a:pt x="2927" y="1041"/>
                  </a:lnTo>
                  <a:lnTo>
                    <a:pt x="2926" y="1043"/>
                  </a:lnTo>
                  <a:lnTo>
                    <a:pt x="2926" y="1045"/>
                  </a:lnTo>
                  <a:lnTo>
                    <a:pt x="2926" y="1048"/>
                  </a:lnTo>
                  <a:lnTo>
                    <a:pt x="2926" y="1048"/>
                  </a:lnTo>
                  <a:lnTo>
                    <a:pt x="2927" y="1049"/>
                  </a:lnTo>
                  <a:lnTo>
                    <a:pt x="2928" y="1051"/>
                  </a:lnTo>
                  <a:lnTo>
                    <a:pt x="2929" y="1054"/>
                  </a:lnTo>
                  <a:lnTo>
                    <a:pt x="2931" y="1054"/>
                  </a:lnTo>
                  <a:lnTo>
                    <a:pt x="2933" y="1051"/>
                  </a:lnTo>
                  <a:lnTo>
                    <a:pt x="2936" y="1051"/>
                  </a:lnTo>
                  <a:lnTo>
                    <a:pt x="2937" y="1050"/>
                  </a:lnTo>
                  <a:lnTo>
                    <a:pt x="2937" y="1052"/>
                  </a:lnTo>
                  <a:lnTo>
                    <a:pt x="2940" y="1054"/>
                  </a:lnTo>
                  <a:lnTo>
                    <a:pt x="2941" y="1058"/>
                  </a:lnTo>
                  <a:lnTo>
                    <a:pt x="2942" y="1058"/>
                  </a:lnTo>
                  <a:lnTo>
                    <a:pt x="2943" y="1058"/>
                  </a:lnTo>
                  <a:lnTo>
                    <a:pt x="2943" y="1058"/>
                  </a:lnTo>
                  <a:lnTo>
                    <a:pt x="2942" y="1058"/>
                  </a:lnTo>
                  <a:lnTo>
                    <a:pt x="2942" y="1061"/>
                  </a:lnTo>
                  <a:lnTo>
                    <a:pt x="2943" y="1062"/>
                  </a:lnTo>
                  <a:lnTo>
                    <a:pt x="2943" y="1064"/>
                  </a:lnTo>
                  <a:lnTo>
                    <a:pt x="2944" y="1067"/>
                  </a:lnTo>
                  <a:lnTo>
                    <a:pt x="2944" y="1069"/>
                  </a:lnTo>
                  <a:lnTo>
                    <a:pt x="2945" y="1071"/>
                  </a:lnTo>
                  <a:lnTo>
                    <a:pt x="2945" y="1075"/>
                  </a:lnTo>
                  <a:lnTo>
                    <a:pt x="2948" y="1077"/>
                  </a:lnTo>
                  <a:lnTo>
                    <a:pt x="2948" y="1078"/>
                  </a:lnTo>
                  <a:lnTo>
                    <a:pt x="2948" y="1076"/>
                  </a:lnTo>
                  <a:lnTo>
                    <a:pt x="2949" y="1079"/>
                  </a:lnTo>
                  <a:lnTo>
                    <a:pt x="2950" y="1082"/>
                  </a:lnTo>
                  <a:lnTo>
                    <a:pt x="2952" y="1084"/>
                  </a:lnTo>
                  <a:lnTo>
                    <a:pt x="2954" y="1087"/>
                  </a:lnTo>
                  <a:lnTo>
                    <a:pt x="2954" y="1084"/>
                  </a:lnTo>
                  <a:lnTo>
                    <a:pt x="2954" y="1083"/>
                  </a:lnTo>
                  <a:lnTo>
                    <a:pt x="2956" y="1085"/>
                  </a:lnTo>
                  <a:lnTo>
                    <a:pt x="2957" y="1086"/>
                  </a:lnTo>
                  <a:lnTo>
                    <a:pt x="2956" y="1087"/>
                  </a:lnTo>
                  <a:lnTo>
                    <a:pt x="2957" y="1088"/>
                  </a:lnTo>
                  <a:lnTo>
                    <a:pt x="2959" y="1086"/>
                  </a:lnTo>
                  <a:lnTo>
                    <a:pt x="2959" y="1084"/>
                  </a:lnTo>
                  <a:lnTo>
                    <a:pt x="2959" y="1084"/>
                  </a:lnTo>
                  <a:lnTo>
                    <a:pt x="2959" y="1084"/>
                  </a:lnTo>
                  <a:lnTo>
                    <a:pt x="2959" y="1084"/>
                  </a:lnTo>
                  <a:lnTo>
                    <a:pt x="2959" y="1086"/>
                  </a:lnTo>
                  <a:lnTo>
                    <a:pt x="2959" y="1086"/>
                  </a:lnTo>
                  <a:lnTo>
                    <a:pt x="2960" y="1086"/>
                  </a:lnTo>
                  <a:lnTo>
                    <a:pt x="2958" y="1088"/>
                  </a:lnTo>
                  <a:lnTo>
                    <a:pt x="2960" y="1088"/>
                  </a:lnTo>
                  <a:lnTo>
                    <a:pt x="2960" y="1088"/>
                  </a:lnTo>
                  <a:lnTo>
                    <a:pt x="2959" y="1091"/>
                  </a:lnTo>
                  <a:lnTo>
                    <a:pt x="2960" y="1094"/>
                  </a:lnTo>
                  <a:lnTo>
                    <a:pt x="2960" y="1091"/>
                  </a:lnTo>
                  <a:lnTo>
                    <a:pt x="2960" y="1091"/>
                  </a:lnTo>
                  <a:lnTo>
                    <a:pt x="2961" y="1091"/>
                  </a:lnTo>
                  <a:lnTo>
                    <a:pt x="2962" y="1091"/>
                  </a:lnTo>
                  <a:lnTo>
                    <a:pt x="2962" y="1090"/>
                  </a:lnTo>
                  <a:lnTo>
                    <a:pt x="2961" y="1087"/>
                  </a:lnTo>
                  <a:lnTo>
                    <a:pt x="2963" y="1090"/>
                  </a:lnTo>
                  <a:lnTo>
                    <a:pt x="2963" y="1090"/>
                  </a:lnTo>
                  <a:lnTo>
                    <a:pt x="2962" y="1090"/>
                  </a:lnTo>
                  <a:lnTo>
                    <a:pt x="2970" y="1102"/>
                  </a:lnTo>
                  <a:lnTo>
                    <a:pt x="2970" y="1102"/>
                  </a:lnTo>
                  <a:lnTo>
                    <a:pt x="2970" y="1102"/>
                  </a:lnTo>
                  <a:lnTo>
                    <a:pt x="2972" y="1101"/>
                  </a:lnTo>
                  <a:lnTo>
                    <a:pt x="2972" y="1101"/>
                  </a:lnTo>
                  <a:lnTo>
                    <a:pt x="2972" y="1103"/>
                  </a:lnTo>
                  <a:lnTo>
                    <a:pt x="2972" y="1105"/>
                  </a:lnTo>
                  <a:lnTo>
                    <a:pt x="2975" y="1109"/>
                  </a:lnTo>
                  <a:lnTo>
                    <a:pt x="2975" y="1110"/>
                  </a:lnTo>
                  <a:lnTo>
                    <a:pt x="2976" y="1113"/>
                  </a:lnTo>
                  <a:lnTo>
                    <a:pt x="2977" y="1116"/>
                  </a:lnTo>
                  <a:lnTo>
                    <a:pt x="2978" y="1117"/>
                  </a:lnTo>
                  <a:lnTo>
                    <a:pt x="2978" y="1119"/>
                  </a:lnTo>
                  <a:lnTo>
                    <a:pt x="2978" y="1122"/>
                  </a:lnTo>
                  <a:lnTo>
                    <a:pt x="2980" y="1125"/>
                  </a:lnTo>
                  <a:lnTo>
                    <a:pt x="2979" y="1127"/>
                  </a:lnTo>
                  <a:lnTo>
                    <a:pt x="2979" y="1130"/>
                  </a:lnTo>
                  <a:lnTo>
                    <a:pt x="2978" y="1131"/>
                  </a:lnTo>
                  <a:lnTo>
                    <a:pt x="2978" y="1134"/>
                  </a:lnTo>
                  <a:lnTo>
                    <a:pt x="2977" y="1136"/>
                  </a:lnTo>
                  <a:lnTo>
                    <a:pt x="2976" y="1139"/>
                  </a:lnTo>
                  <a:lnTo>
                    <a:pt x="2976" y="1142"/>
                  </a:lnTo>
                  <a:lnTo>
                    <a:pt x="2975" y="1145"/>
                  </a:lnTo>
                  <a:lnTo>
                    <a:pt x="2975" y="1147"/>
                  </a:lnTo>
                  <a:lnTo>
                    <a:pt x="2977" y="1147"/>
                  </a:lnTo>
                  <a:lnTo>
                    <a:pt x="2979" y="1144"/>
                  </a:lnTo>
                  <a:lnTo>
                    <a:pt x="2982" y="1142"/>
                  </a:lnTo>
                  <a:lnTo>
                    <a:pt x="2982" y="1141"/>
                  </a:lnTo>
                  <a:lnTo>
                    <a:pt x="2982" y="1141"/>
                  </a:lnTo>
                  <a:lnTo>
                    <a:pt x="2982" y="1141"/>
                  </a:lnTo>
                  <a:lnTo>
                    <a:pt x="2982" y="1143"/>
                  </a:lnTo>
                  <a:lnTo>
                    <a:pt x="2982" y="1145"/>
                  </a:lnTo>
                  <a:lnTo>
                    <a:pt x="2980" y="1147"/>
                  </a:lnTo>
                  <a:lnTo>
                    <a:pt x="2983" y="1145"/>
                  </a:lnTo>
                  <a:lnTo>
                    <a:pt x="2982" y="1148"/>
                  </a:lnTo>
                  <a:lnTo>
                    <a:pt x="2984" y="1145"/>
                  </a:lnTo>
                  <a:lnTo>
                    <a:pt x="2985" y="1144"/>
                  </a:lnTo>
                  <a:lnTo>
                    <a:pt x="2984" y="1147"/>
                  </a:lnTo>
                  <a:lnTo>
                    <a:pt x="2985" y="1147"/>
                  </a:lnTo>
                  <a:lnTo>
                    <a:pt x="2984" y="1150"/>
                  </a:lnTo>
                  <a:lnTo>
                    <a:pt x="2985" y="1151"/>
                  </a:lnTo>
                  <a:lnTo>
                    <a:pt x="2986" y="1148"/>
                  </a:lnTo>
                  <a:lnTo>
                    <a:pt x="2987" y="1145"/>
                  </a:lnTo>
                  <a:lnTo>
                    <a:pt x="2988" y="1146"/>
                  </a:lnTo>
                  <a:lnTo>
                    <a:pt x="2988" y="1146"/>
                  </a:lnTo>
                  <a:lnTo>
                    <a:pt x="2987" y="1147"/>
                  </a:lnTo>
                  <a:lnTo>
                    <a:pt x="2987" y="1150"/>
                  </a:lnTo>
                  <a:lnTo>
                    <a:pt x="2989" y="1147"/>
                  </a:lnTo>
                  <a:lnTo>
                    <a:pt x="2989" y="1146"/>
                  </a:lnTo>
                  <a:lnTo>
                    <a:pt x="2989" y="1146"/>
                  </a:lnTo>
                  <a:lnTo>
                    <a:pt x="2991" y="1145"/>
                  </a:lnTo>
                  <a:lnTo>
                    <a:pt x="2991" y="1148"/>
                  </a:lnTo>
                  <a:lnTo>
                    <a:pt x="2989" y="1151"/>
                  </a:lnTo>
                  <a:lnTo>
                    <a:pt x="2992" y="1151"/>
                  </a:lnTo>
                  <a:lnTo>
                    <a:pt x="2994" y="1148"/>
                  </a:lnTo>
                  <a:lnTo>
                    <a:pt x="2995" y="1146"/>
                  </a:lnTo>
                  <a:lnTo>
                    <a:pt x="2995" y="1145"/>
                  </a:lnTo>
                  <a:lnTo>
                    <a:pt x="2997" y="1144"/>
                  </a:lnTo>
                  <a:lnTo>
                    <a:pt x="3000" y="1143"/>
                  </a:lnTo>
                  <a:lnTo>
                    <a:pt x="3002" y="1143"/>
                  </a:lnTo>
                  <a:lnTo>
                    <a:pt x="3003" y="1141"/>
                  </a:lnTo>
                  <a:lnTo>
                    <a:pt x="3003" y="1139"/>
                  </a:lnTo>
                  <a:lnTo>
                    <a:pt x="3002" y="1137"/>
                  </a:lnTo>
                  <a:lnTo>
                    <a:pt x="3002" y="1137"/>
                  </a:lnTo>
                  <a:lnTo>
                    <a:pt x="3002" y="1137"/>
                  </a:lnTo>
                  <a:lnTo>
                    <a:pt x="3003" y="1136"/>
                  </a:lnTo>
                  <a:lnTo>
                    <a:pt x="3003" y="1136"/>
                  </a:lnTo>
                  <a:lnTo>
                    <a:pt x="3003" y="1138"/>
                  </a:lnTo>
                  <a:lnTo>
                    <a:pt x="3005" y="1141"/>
                  </a:lnTo>
                  <a:lnTo>
                    <a:pt x="3008" y="1139"/>
                  </a:lnTo>
                  <a:lnTo>
                    <a:pt x="3011" y="1137"/>
                  </a:lnTo>
                  <a:lnTo>
                    <a:pt x="3011" y="1135"/>
                  </a:lnTo>
                  <a:lnTo>
                    <a:pt x="3011" y="1133"/>
                  </a:lnTo>
                  <a:lnTo>
                    <a:pt x="3011" y="1131"/>
                  </a:lnTo>
                  <a:lnTo>
                    <a:pt x="3012" y="1129"/>
                  </a:lnTo>
                  <a:lnTo>
                    <a:pt x="3011" y="1127"/>
                  </a:lnTo>
                  <a:lnTo>
                    <a:pt x="3013" y="1130"/>
                  </a:lnTo>
                  <a:lnTo>
                    <a:pt x="3016" y="1131"/>
                  </a:lnTo>
                  <a:lnTo>
                    <a:pt x="3016" y="1135"/>
                  </a:lnTo>
                  <a:lnTo>
                    <a:pt x="3017" y="1136"/>
                  </a:lnTo>
                  <a:lnTo>
                    <a:pt x="3018" y="1139"/>
                  </a:lnTo>
                  <a:lnTo>
                    <a:pt x="3020" y="1141"/>
                  </a:lnTo>
                  <a:lnTo>
                    <a:pt x="3021" y="1141"/>
                  </a:lnTo>
                  <a:lnTo>
                    <a:pt x="3022" y="1139"/>
                  </a:lnTo>
                  <a:lnTo>
                    <a:pt x="3023" y="1139"/>
                  </a:lnTo>
                  <a:lnTo>
                    <a:pt x="3022" y="1141"/>
                  </a:lnTo>
                  <a:lnTo>
                    <a:pt x="3021" y="1142"/>
                  </a:lnTo>
                  <a:lnTo>
                    <a:pt x="3021" y="1145"/>
                  </a:lnTo>
                  <a:lnTo>
                    <a:pt x="3021" y="1146"/>
                  </a:lnTo>
                  <a:lnTo>
                    <a:pt x="3022" y="1150"/>
                  </a:lnTo>
                  <a:lnTo>
                    <a:pt x="3023" y="1152"/>
                  </a:lnTo>
                  <a:lnTo>
                    <a:pt x="3023" y="1153"/>
                  </a:lnTo>
                  <a:lnTo>
                    <a:pt x="3023" y="1155"/>
                  </a:lnTo>
                  <a:lnTo>
                    <a:pt x="3023" y="1159"/>
                  </a:lnTo>
                  <a:lnTo>
                    <a:pt x="3023" y="1161"/>
                  </a:lnTo>
                  <a:lnTo>
                    <a:pt x="3025" y="1162"/>
                  </a:lnTo>
                  <a:lnTo>
                    <a:pt x="3023" y="1163"/>
                  </a:lnTo>
                  <a:lnTo>
                    <a:pt x="3027" y="1165"/>
                  </a:lnTo>
                  <a:lnTo>
                    <a:pt x="3026" y="1168"/>
                  </a:lnTo>
                  <a:lnTo>
                    <a:pt x="3027" y="1171"/>
                  </a:lnTo>
                  <a:lnTo>
                    <a:pt x="3027" y="1172"/>
                  </a:lnTo>
                  <a:lnTo>
                    <a:pt x="3028" y="1176"/>
                  </a:lnTo>
                  <a:lnTo>
                    <a:pt x="3028" y="1178"/>
                  </a:lnTo>
                  <a:lnTo>
                    <a:pt x="3029" y="1180"/>
                  </a:lnTo>
                  <a:lnTo>
                    <a:pt x="3029" y="1178"/>
                  </a:lnTo>
                  <a:lnTo>
                    <a:pt x="3029" y="1176"/>
                  </a:lnTo>
                  <a:lnTo>
                    <a:pt x="3029" y="1174"/>
                  </a:lnTo>
                  <a:lnTo>
                    <a:pt x="3029" y="1176"/>
                  </a:lnTo>
                  <a:lnTo>
                    <a:pt x="3030" y="1178"/>
                  </a:lnTo>
                  <a:lnTo>
                    <a:pt x="3031" y="1180"/>
                  </a:lnTo>
                  <a:lnTo>
                    <a:pt x="3033" y="1184"/>
                  </a:lnTo>
                  <a:lnTo>
                    <a:pt x="3034" y="1186"/>
                  </a:lnTo>
                  <a:lnTo>
                    <a:pt x="3035" y="1188"/>
                  </a:lnTo>
                  <a:lnTo>
                    <a:pt x="3035" y="1191"/>
                  </a:lnTo>
                  <a:lnTo>
                    <a:pt x="3036" y="1194"/>
                  </a:lnTo>
                  <a:lnTo>
                    <a:pt x="3036" y="1194"/>
                  </a:lnTo>
                  <a:lnTo>
                    <a:pt x="3036" y="1195"/>
                  </a:lnTo>
                  <a:lnTo>
                    <a:pt x="3035" y="1197"/>
                  </a:lnTo>
                  <a:lnTo>
                    <a:pt x="3036" y="1198"/>
                  </a:lnTo>
                  <a:lnTo>
                    <a:pt x="3036" y="1199"/>
                  </a:lnTo>
                  <a:lnTo>
                    <a:pt x="3037" y="1201"/>
                  </a:lnTo>
                  <a:lnTo>
                    <a:pt x="3036" y="1202"/>
                  </a:lnTo>
                  <a:lnTo>
                    <a:pt x="3036" y="1205"/>
                  </a:lnTo>
                  <a:lnTo>
                    <a:pt x="3035" y="1207"/>
                  </a:lnTo>
                  <a:lnTo>
                    <a:pt x="3038" y="1206"/>
                  </a:lnTo>
                  <a:lnTo>
                    <a:pt x="3037" y="1208"/>
                  </a:lnTo>
                  <a:lnTo>
                    <a:pt x="3037" y="1211"/>
                  </a:lnTo>
                  <a:lnTo>
                    <a:pt x="3037" y="1214"/>
                  </a:lnTo>
                  <a:lnTo>
                    <a:pt x="3037" y="1216"/>
                  </a:lnTo>
                  <a:lnTo>
                    <a:pt x="3035" y="1219"/>
                  </a:lnTo>
                  <a:lnTo>
                    <a:pt x="3033" y="1221"/>
                  </a:lnTo>
                  <a:lnTo>
                    <a:pt x="3034" y="1224"/>
                  </a:lnTo>
                  <a:lnTo>
                    <a:pt x="3034" y="1225"/>
                  </a:lnTo>
                  <a:lnTo>
                    <a:pt x="3034" y="1229"/>
                  </a:lnTo>
                  <a:lnTo>
                    <a:pt x="3034" y="1231"/>
                  </a:lnTo>
                  <a:lnTo>
                    <a:pt x="3034" y="1231"/>
                  </a:lnTo>
                  <a:lnTo>
                    <a:pt x="3035" y="1231"/>
                  </a:lnTo>
                  <a:lnTo>
                    <a:pt x="3036" y="1229"/>
                  </a:lnTo>
                  <a:lnTo>
                    <a:pt x="3037" y="1227"/>
                  </a:lnTo>
                  <a:lnTo>
                    <a:pt x="3037" y="1227"/>
                  </a:lnTo>
                  <a:lnTo>
                    <a:pt x="3037" y="1227"/>
                  </a:lnTo>
                  <a:lnTo>
                    <a:pt x="3036" y="1229"/>
                  </a:lnTo>
                  <a:lnTo>
                    <a:pt x="3036" y="1230"/>
                  </a:lnTo>
                  <a:lnTo>
                    <a:pt x="3035" y="1231"/>
                  </a:lnTo>
                  <a:lnTo>
                    <a:pt x="3035" y="1231"/>
                  </a:lnTo>
                  <a:lnTo>
                    <a:pt x="3035" y="1231"/>
                  </a:lnTo>
                  <a:lnTo>
                    <a:pt x="3035" y="1231"/>
                  </a:lnTo>
                  <a:lnTo>
                    <a:pt x="3035" y="1232"/>
                  </a:lnTo>
                  <a:lnTo>
                    <a:pt x="3035" y="1233"/>
                  </a:lnTo>
                  <a:lnTo>
                    <a:pt x="3035" y="1235"/>
                  </a:lnTo>
                  <a:lnTo>
                    <a:pt x="3033" y="1238"/>
                  </a:lnTo>
                  <a:lnTo>
                    <a:pt x="3033" y="1238"/>
                  </a:lnTo>
                  <a:lnTo>
                    <a:pt x="3033" y="1238"/>
                  </a:lnTo>
                  <a:lnTo>
                    <a:pt x="3031" y="1241"/>
                  </a:lnTo>
                  <a:lnTo>
                    <a:pt x="3031" y="1244"/>
                  </a:lnTo>
                  <a:lnTo>
                    <a:pt x="3031" y="1244"/>
                  </a:lnTo>
                  <a:lnTo>
                    <a:pt x="3030" y="1247"/>
                  </a:lnTo>
                  <a:lnTo>
                    <a:pt x="3030" y="1248"/>
                  </a:lnTo>
                  <a:lnTo>
                    <a:pt x="3030" y="1249"/>
                  </a:lnTo>
                  <a:lnTo>
                    <a:pt x="3029" y="1250"/>
                  </a:lnTo>
                  <a:lnTo>
                    <a:pt x="3029" y="1253"/>
                  </a:lnTo>
                  <a:lnTo>
                    <a:pt x="3030" y="1255"/>
                  </a:lnTo>
                  <a:lnTo>
                    <a:pt x="3036" y="1254"/>
                  </a:lnTo>
                  <a:lnTo>
                    <a:pt x="3036" y="1256"/>
                  </a:lnTo>
                  <a:lnTo>
                    <a:pt x="3042" y="1261"/>
                  </a:lnTo>
                  <a:lnTo>
                    <a:pt x="3042" y="1263"/>
                  </a:lnTo>
                  <a:lnTo>
                    <a:pt x="3044" y="1264"/>
                  </a:lnTo>
                  <a:lnTo>
                    <a:pt x="3045" y="1266"/>
                  </a:lnTo>
                  <a:lnTo>
                    <a:pt x="3048" y="1268"/>
                  </a:lnTo>
                  <a:lnTo>
                    <a:pt x="3050" y="1271"/>
                  </a:lnTo>
                  <a:lnTo>
                    <a:pt x="3051" y="1271"/>
                  </a:lnTo>
                  <a:lnTo>
                    <a:pt x="3050" y="1273"/>
                  </a:lnTo>
                  <a:lnTo>
                    <a:pt x="3055" y="1281"/>
                  </a:lnTo>
                  <a:lnTo>
                    <a:pt x="3055" y="1281"/>
                  </a:lnTo>
                  <a:lnTo>
                    <a:pt x="3055" y="1281"/>
                  </a:lnTo>
                  <a:lnTo>
                    <a:pt x="3055" y="1281"/>
                  </a:lnTo>
                  <a:lnTo>
                    <a:pt x="3056" y="1283"/>
                  </a:lnTo>
                  <a:lnTo>
                    <a:pt x="3057" y="1284"/>
                  </a:lnTo>
                  <a:lnTo>
                    <a:pt x="3059" y="1287"/>
                  </a:lnTo>
                  <a:lnTo>
                    <a:pt x="3060" y="1290"/>
                  </a:lnTo>
                  <a:lnTo>
                    <a:pt x="3059" y="1292"/>
                  </a:lnTo>
                  <a:lnTo>
                    <a:pt x="3060" y="1293"/>
                  </a:lnTo>
                  <a:lnTo>
                    <a:pt x="3060" y="1296"/>
                  </a:lnTo>
                  <a:lnTo>
                    <a:pt x="3060" y="1298"/>
                  </a:lnTo>
                  <a:lnTo>
                    <a:pt x="3060" y="1301"/>
                  </a:lnTo>
                  <a:lnTo>
                    <a:pt x="3062" y="1304"/>
                  </a:lnTo>
                  <a:lnTo>
                    <a:pt x="3063" y="1306"/>
                  </a:lnTo>
                  <a:lnTo>
                    <a:pt x="3062" y="1309"/>
                  </a:lnTo>
                  <a:lnTo>
                    <a:pt x="3063" y="1312"/>
                  </a:lnTo>
                  <a:lnTo>
                    <a:pt x="3067" y="1314"/>
                  </a:lnTo>
                  <a:lnTo>
                    <a:pt x="3065" y="1316"/>
                  </a:lnTo>
                  <a:lnTo>
                    <a:pt x="3065" y="1317"/>
                  </a:lnTo>
                  <a:lnTo>
                    <a:pt x="3068" y="1319"/>
                  </a:lnTo>
                  <a:lnTo>
                    <a:pt x="3070" y="1322"/>
                  </a:lnTo>
                  <a:lnTo>
                    <a:pt x="3072" y="1324"/>
                  </a:lnTo>
                  <a:lnTo>
                    <a:pt x="3073" y="1327"/>
                  </a:lnTo>
                  <a:lnTo>
                    <a:pt x="3072" y="1330"/>
                  </a:lnTo>
                  <a:lnTo>
                    <a:pt x="3074" y="1332"/>
                  </a:lnTo>
                  <a:lnTo>
                    <a:pt x="3077" y="1333"/>
                  </a:lnTo>
                  <a:lnTo>
                    <a:pt x="3078" y="1333"/>
                  </a:lnTo>
                  <a:lnTo>
                    <a:pt x="3079" y="1333"/>
                  </a:lnTo>
                  <a:lnTo>
                    <a:pt x="3081" y="1336"/>
                  </a:lnTo>
                  <a:lnTo>
                    <a:pt x="3084" y="1339"/>
                  </a:lnTo>
                  <a:lnTo>
                    <a:pt x="3087" y="1340"/>
                  </a:lnTo>
                  <a:lnTo>
                    <a:pt x="3088" y="1340"/>
                  </a:lnTo>
                  <a:lnTo>
                    <a:pt x="3089" y="1341"/>
                  </a:lnTo>
                  <a:lnTo>
                    <a:pt x="3091" y="1343"/>
                  </a:lnTo>
                  <a:lnTo>
                    <a:pt x="3094" y="1344"/>
                  </a:lnTo>
                  <a:lnTo>
                    <a:pt x="3096" y="1345"/>
                  </a:lnTo>
                  <a:lnTo>
                    <a:pt x="3099" y="1347"/>
                  </a:lnTo>
                  <a:lnTo>
                    <a:pt x="3102" y="1350"/>
                  </a:lnTo>
                  <a:lnTo>
                    <a:pt x="3104" y="1350"/>
                  </a:lnTo>
                  <a:lnTo>
                    <a:pt x="3105" y="1349"/>
                  </a:lnTo>
                  <a:lnTo>
                    <a:pt x="3108" y="1349"/>
                  </a:lnTo>
                  <a:lnTo>
                    <a:pt x="3108" y="1347"/>
                  </a:lnTo>
                  <a:lnTo>
                    <a:pt x="3108" y="1345"/>
                  </a:lnTo>
                  <a:lnTo>
                    <a:pt x="3110" y="1349"/>
                  </a:lnTo>
                  <a:lnTo>
                    <a:pt x="3113" y="1350"/>
                  </a:lnTo>
                  <a:lnTo>
                    <a:pt x="3112" y="1347"/>
                  </a:lnTo>
                  <a:lnTo>
                    <a:pt x="3112" y="1344"/>
                  </a:lnTo>
                  <a:lnTo>
                    <a:pt x="3111" y="1341"/>
                  </a:lnTo>
                  <a:lnTo>
                    <a:pt x="3108" y="1339"/>
                  </a:lnTo>
                  <a:lnTo>
                    <a:pt x="3107" y="1336"/>
                  </a:lnTo>
                  <a:lnTo>
                    <a:pt x="3107" y="1335"/>
                  </a:lnTo>
                  <a:lnTo>
                    <a:pt x="3106" y="1333"/>
                  </a:lnTo>
                  <a:lnTo>
                    <a:pt x="3104" y="1332"/>
                  </a:lnTo>
                  <a:lnTo>
                    <a:pt x="3103" y="1332"/>
                  </a:lnTo>
                  <a:lnTo>
                    <a:pt x="3102" y="1329"/>
                  </a:lnTo>
                  <a:lnTo>
                    <a:pt x="3102" y="1324"/>
                  </a:lnTo>
                  <a:lnTo>
                    <a:pt x="3102" y="1321"/>
                  </a:lnTo>
                  <a:lnTo>
                    <a:pt x="3100" y="1319"/>
                  </a:lnTo>
                  <a:lnTo>
                    <a:pt x="3100" y="1317"/>
                  </a:lnTo>
                  <a:lnTo>
                    <a:pt x="3102" y="1314"/>
                  </a:lnTo>
                  <a:lnTo>
                    <a:pt x="3102" y="1312"/>
                  </a:lnTo>
                  <a:lnTo>
                    <a:pt x="3102" y="1312"/>
                  </a:lnTo>
                  <a:lnTo>
                    <a:pt x="3102" y="1309"/>
                  </a:lnTo>
                  <a:lnTo>
                    <a:pt x="3102" y="1306"/>
                  </a:lnTo>
                  <a:lnTo>
                    <a:pt x="3102" y="1304"/>
                  </a:lnTo>
                  <a:lnTo>
                    <a:pt x="3099" y="1300"/>
                  </a:lnTo>
                  <a:lnTo>
                    <a:pt x="3098" y="1298"/>
                  </a:lnTo>
                  <a:lnTo>
                    <a:pt x="3097" y="1296"/>
                  </a:lnTo>
                  <a:lnTo>
                    <a:pt x="3097" y="1296"/>
                  </a:lnTo>
                  <a:lnTo>
                    <a:pt x="3094" y="1292"/>
                  </a:lnTo>
                  <a:lnTo>
                    <a:pt x="3091" y="1291"/>
                  </a:lnTo>
                  <a:lnTo>
                    <a:pt x="3089" y="1289"/>
                  </a:lnTo>
                  <a:lnTo>
                    <a:pt x="3087" y="1285"/>
                  </a:lnTo>
                  <a:lnTo>
                    <a:pt x="3085" y="1283"/>
                  </a:lnTo>
                  <a:lnTo>
                    <a:pt x="3082" y="1283"/>
                  </a:lnTo>
                  <a:lnTo>
                    <a:pt x="3080" y="1281"/>
                  </a:lnTo>
                  <a:lnTo>
                    <a:pt x="3078" y="1279"/>
                  </a:lnTo>
                  <a:lnTo>
                    <a:pt x="3076" y="1275"/>
                  </a:lnTo>
                  <a:lnTo>
                    <a:pt x="3073" y="1274"/>
                  </a:lnTo>
                  <a:lnTo>
                    <a:pt x="3072" y="1274"/>
                  </a:lnTo>
                  <a:lnTo>
                    <a:pt x="3069" y="1274"/>
                  </a:lnTo>
                  <a:lnTo>
                    <a:pt x="3067" y="1273"/>
                  </a:lnTo>
                  <a:lnTo>
                    <a:pt x="3063" y="1272"/>
                  </a:lnTo>
                  <a:lnTo>
                    <a:pt x="3061" y="1271"/>
                  </a:lnTo>
                  <a:lnTo>
                    <a:pt x="3060" y="1268"/>
                  </a:lnTo>
                  <a:lnTo>
                    <a:pt x="3056" y="1266"/>
                  </a:lnTo>
                  <a:lnTo>
                    <a:pt x="3056" y="1263"/>
                  </a:lnTo>
                  <a:lnTo>
                    <a:pt x="3056" y="1262"/>
                  </a:lnTo>
                  <a:lnTo>
                    <a:pt x="3057" y="1265"/>
                  </a:lnTo>
                  <a:lnTo>
                    <a:pt x="3060" y="1267"/>
                  </a:lnTo>
                  <a:lnTo>
                    <a:pt x="3060" y="1267"/>
                  </a:lnTo>
                  <a:lnTo>
                    <a:pt x="3060" y="1267"/>
                  </a:lnTo>
                  <a:lnTo>
                    <a:pt x="3060" y="1265"/>
                  </a:lnTo>
                  <a:lnTo>
                    <a:pt x="3060" y="1262"/>
                  </a:lnTo>
                  <a:lnTo>
                    <a:pt x="3059" y="1261"/>
                  </a:lnTo>
                  <a:lnTo>
                    <a:pt x="3057" y="1256"/>
                  </a:lnTo>
                  <a:lnTo>
                    <a:pt x="3057" y="1254"/>
                  </a:lnTo>
                  <a:lnTo>
                    <a:pt x="3056" y="1252"/>
                  </a:lnTo>
                  <a:lnTo>
                    <a:pt x="3056" y="1253"/>
                  </a:lnTo>
                  <a:lnTo>
                    <a:pt x="3056" y="1252"/>
                  </a:lnTo>
                  <a:lnTo>
                    <a:pt x="3056" y="1254"/>
                  </a:lnTo>
                  <a:lnTo>
                    <a:pt x="3054" y="1252"/>
                  </a:lnTo>
                  <a:lnTo>
                    <a:pt x="3054" y="1250"/>
                  </a:lnTo>
                  <a:lnTo>
                    <a:pt x="3053" y="1247"/>
                  </a:lnTo>
                  <a:lnTo>
                    <a:pt x="3053" y="1246"/>
                  </a:lnTo>
                  <a:lnTo>
                    <a:pt x="3053" y="1244"/>
                  </a:lnTo>
                  <a:lnTo>
                    <a:pt x="3051" y="1241"/>
                  </a:lnTo>
                  <a:lnTo>
                    <a:pt x="3048" y="1241"/>
                  </a:lnTo>
                  <a:lnTo>
                    <a:pt x="3046" y="1242"/>
                  </a:lnTo>
                  <a:lnTo>
                    <a:pt x="3045" y="1240"/>
                  </a:lnTo>
                  <a:lnTo>
                    <a:pt x="3044" y="1239"/>
                  </a:lnTo>
                  <a:lnTo>
                    <a:pt x="3044" y="1237"/>
                  </a:lnTo>
                  <a:lnTo>
                    <a:pt x="3043" y="1235"/>
                  </a:lnTo>
                  <a:lnTo>
                    <a:pt x="3043" y="1231"/>
                  </a:lnTo>
                  <a:lnTo>
                    <a:pt x="3043" y="1231"/>
                  </a:lnTo>
                  <a:lnTo>
                    <a:pt x="3043" y="1229"/>
                  </a:lnTo>
                  <a:lnTo>
                    <a:pt x="3044" y="1227"/>
                  </a:lnTo>
                  <a:lnTo>
                    <a:pt x="3044" y="1225"/>
                  </a:lnTo>
                  <a:lnTo>
                    <a:pt x="3044" y="1223"/>
                  </a:lnTo>
                  <a:lnTo>
                    <a:pt x="3046" y="1221"/>
                  </a:lnTo>
                  <a:lnTo>
                    <a:pt x="3046" y="1221"/>
                  </a:lnTo>
                  <a:lnTo>
                    <a:pt x="3046" y="1221"/>
                  </a:lnTo>
                  <a:lnTo>
                    <a:pt x="3047" y="1218"/>
                  </a:lnTo>
                  <a:lnTo>
                    <a:pt x="3047" y="1218"/>
                  </a:lnTo>
                  <a:lnTo>
                    <a:pt x="3047" y="1216"/>
                  </a:lnTo>
                  <a:lnTo>
                    <a:pt x="3048" y="1213"/>
                  </a:lnTo>
                  <a:lnTo>
                    <a:pt x="3048" y="1212"/>
                  </a:lnTo>
                  <a:lnTo>
                    <a:pt x="3050" y="1210"/>
                  </a:lnTo>
                  <a:lnTo>
                    <a:pt x="3052" y="1207"/>
                  </a:lnTo>
                  <a:lnTo>
                    <a:pt x="3052" y="1206"/>
                  </a:lnTo>
                  <a:lnTo>
                    <a:pt x="3052" y="1206"/>
                  </a:lnTo>
                  <a:lnTo>
                    <a:pt x="3052" y="1204"/>
                  </a:lnTo>
                  <a:lnTo>
                    <a:pt x="3054" y="1202"/>
                  </a:lnTo>
                  <a:lnTo>
                    <a:pt x="3054" y="1202"/>
                  </a:lnTo>
                  <a:lnTo>
                    <a:pt x="3054" y="1202"/>
                  </a:lnTo>
                  <a:lnTo>
                    <a:pt x="3054" y="1198"/>
                  </a:lnTo>
                  <a:lnTo>
                    <a:pt x="3054" y="1195"/>
                  </a:lnTo>
                  <a:lnTo>
                    <a:pt x="3054" y="1195"/>
                  </a:lnTo>
                  <a:lnTo>
                    <a:pt x="3054" y="1194"/>
                  </a:lnTo>
                  <a:lnTo>
                    <a:pt x="3055" y="1189"/>
                  </a:lnTo>
                  <a:lnTo>
                    <a:pt x="3055" y="1189"/>
                  </a:lnTo>
                  <a:lnTo>
                    <a:pt x="3055" y="1189"/>
                  </a:lnTo>
                  <a:lnTo>
                    <a:pt x="3054" y="1187"/>
                  </a:lnTo>
                  <a:lnTo>
                    <a:pt x="3054" y="1186"/>
                  </a:lnTo>
                  <a:lnTo>
                    <a:pt x="3055" y="1184"/>
                  </a:lnTo>
                  <a:lnTo>
                    <a:pt x="3057" y="1182"/>
                  </a:lnTo>
                  <a:lnTo>
                    <a:pt x="3061" y="1184"/>
                  </a:lnTo>
                  <a:lnTo>
                    <a:pt x="3062" y="1181"/>
                  </a:lnTo>
                  <a:lnTo>
                    <a:pt x="3065" y="1184"/>
                  </a:lnTo>
                  <a:lnTo>
                    <a:pt x="3068" y="1184"/>
                  </a:lnTo>
                  <a:lnTo>
                    <a:pt x="3068" y="1184"/>
                  </a:lnTo>
                  <a:lnTo>
                    <a:pt x="3067" y="1185"/>
                  </a:lnTo>
                  <a:lnTo>
                    <a:pt x="3067" y="1186"/>
                  </a:lnTo>
                  <a:lnTo>
                    <a:pt x="3067" y="1189"/>
                  </a:lnTo>
                  <a:lnTo>
                    <a:pt x="3067" y="1190"/>
                  </a:lnTo>
                  <a:lnTo>
                    <a:pt x="3067" y="1191"/>
                  </a:lnTo>
                  <a:lnTo>
                    <a:pt x="3067" y="1193"/>
                  </a:lnTo>
                  <a:lnTo>
                    <a:pt x="3068" y="1195"/>
                  </a:lnTo>
                  <a:lnTo>
                    <a:pt x="3070" y="1195"/>
                  </a:lnTo>
                  <a:lnTo>
                    <a:pt x="3071" y="1195"/>
                  </a:lnTo>
                  <a:lnTo>
                    <a:pt x="3073" y="1195"/>
                  </a:lnTo>
                  <a:lnTo>
                    <a:pt x="3079" y="1194"/>
                  </a:lnTo>
                  <a:lnTo>
                    <a:pt x="3081" y="1196"/>
                  </a:lnTo>
                  <a:lnTo>
                    <a:pt x="3082" y="1197"/>
                  </a:lnTo>
                  <a:lnTo>
                    <a:pt x="3082" y="1197"/>
                  </a:lnTo>
                  <a:lnTo>
                    <a:pt x="3085" y="1199"/>
                  </a:lnTo>
                  <a:lnTo>
                    <a:pt x="3086" y="1198"/>
                  </a:lnTo>
                  <a:lnTo>
                    <a:pt x="3087" y="1202"/>
                  </a:lnTo>
                  <a:lnTo>
                    <a:pt x="3089" y="1201"/>
                  </a:lnTo>
                  <a:lnTo>
                    <a:pt x="3091" y="1203"/>
                  </a:lnTo>
                  <a:lnTo>
                    <a:pt x="3091" y="1203"/>
                  </a:lnTo>
                  <a:lnTo>
                    <a:pt x="3091" y="1204"/>
                  </a:lnTo>
                  <a:lnTo>
                    <a:pt x="3094" y="1206"/>
                  </a:lnTo>
                  <a:lnTo>
                    <a:pt x="3094" y="1206"/>
                  </a:lnTo>
                  <a:lnTo>
                    <a:pt x="3094" y="1207"/>
                  </a:lnTo>
                  <a:lnTo>
                    <a:pt x="3094" y="1208"/>
                  </a:lnTo>
                  <a:lnTo>
                    <a:pt x="3094" y="1206"/>
                  </a:lnTo>
                  <a:lnTo>
                    <a:pt x="3094" y="1206"/>
                  </a:lnTo>
                  <a:lnTo>
                    <a:pt x="3094" y="1208"/>
                  </a:lnTo>
                  <a:lnTo>
                    <a:pt x="3094" y="1206"/>
                  </a:lnTo>
                  <a:lnTo>
                    <a:pt x="3095" y="1208"/>
                  </a:lnTo>
                  <a:lnTo>
                    <a:pt x="3096" y="1208"/>
                  </a:lnTo>
                  <a:lnTo>
                    <a:pt x="3095" y="1210"/>
                  </a:lnTo>
                  <a:lnTo>
                    <a:pt x="3095" y="1210"/>
                  </a:lnTo>
                  <a:lnTo>
                    <a:pt x="3095" y="1210"/>
                  </a:lnTo>
                  <a:lnTo>
                    <a:pt x="3096" y="1210"/>
                  </a:lnTo>
                  <a:lnTo>
                    <a:pt x="3097" y="1211"/>
                  </a:lnTo>
                  <a:lnTo>
                    <a:pt x="3097" y="1215"/>
                  </a:lnTo>
                  <a:lnTo>
                    <a:pt x="3097" y="1216"/>
                  </a:lnTo>
                  <a:lnTo>
                    <a:pt x="3097" y="1218"/>
                  </a:lnTo>
                  <a:lnTo>
                    <a:pt x="3097" y="1219"/>
                  </a:lnTo>
                  <a:lnTo>
                    <a:pt x="3097" y="1220"/>
                  </a:lnTo>
                  <a:lnTo>
                    <a:pt x="3100" y="1220"/>
                  </a:lnTo>
                  <a:lnTo>
                    <a:pt x="3100" y="1219"/>
                  </a:lnTo>
                  <a:lnTo>
                    <a:pt x="3100" y="1219"/>
                  </a:lnTo>
                  <a:lnTo>
                    <a:pt x="3102" y="1216"/>
                  </a:lnTo>
                  <a:lnTo>
                    <a:pt x="3103" y="1215"/>
                  </a:lnTo>
                  <a:lnTo>
                    <a:pt x="3105" y="1218"/>
                  </a:lnTo>
                  <a:lnTo>
                    <a:pt x="3105" y="1219"/>
                  </a:lnTo>
                  <a:lnTo>
                    <a:pt x="3104" y="1221"/>
                  </a:lnTo>
                  <a:lnTo>
                    <a:pt x="3105" y="1221"/>
                  </a:lnTo>
                  <a:lnTo>
                    <a:pt x="3105" y="1221"/>
                  </a:lnTo>
                  <a:lnTo>
                    <a:pt x="3103" y="1222"/>
                  </a:lnTo>
                  <a:lnTo>
                    <a:pt x="3103" y="1222"/>
                  </a:lnTo>
                  <a:lnTo>
                    <a:pt x="3103" y="1222"/>
                  </a:lnTo>
                  <a:lnTo>
                    <a:pt x="3103" y="1223"/>
                  </a:lnTo>
                  <a:lnTo>
                    <a:pt x="3105" y="1224"/>
                  </a:lnTo>
                  <a:lnTo>
                    <a:pt x="3107" y="1223"/>
                  </a:lnTo>
                  <a:lnTo>
                    <a:pt x="3113" y="1225"/>
                  </a:lnTo>
                  <a:lnTo>
                    <a:pt x="3114" y="1224"/>
                  </a:lnTo>
                  <a:lnTo>
                    <a:pt x="3115" y="1227"/>
                  </a:lnTo>
                  <a:lnTo>
                    <a:pt x="3116" y="1225"/>
                  </a:lnTo>
                  <a:lnTo>
                    <a:pt x="3115" y="1227"/>
                  </a:lnTo>
                  <a:lnTo>
                    <a:pt x="3115" y="1227"/>
                  </a:lnTo>
                  <a:lnTo>
                    <a:pt x="3115" y="1227"/>
                  </a:lnTo>
                  <a:lnTo>
                    <a:pt x="3117" y="1229"/>
                  </a:lnTo>
                  <a:lnTo>
                    <a:pt x="3120" y="1229"/>
                  </a:lnTo>
                  <a:lnTo>
                    <a:pt x="3123" y="1231"/>
                  </a:lnTo>
                  <a:lnTo>
                    <a:pt x="3124" y="1233"/>
                  </a:lnTo>
                  <a:lnTo>
                    <a:pt x="3121" y="1233"/>
                  </a:lnTo>
                  <a:lnTo>
                    <a:pt x="3121" y="1233"/>
                  </a:lnTo>
                  <a:lnTo>
                    <a:pt x="3121" y="1233"/>
                  </a:lnTo>
                  <a:lnTo>
                    <a:pt x="3121" y="1237"/>
                  </a:lnTo>
                  <a:lnTo>
                    <a:pt x="3120" y="1238"/>
                  </a:lnTo>
                  <a:lnTo>
                    <a:pt x="3120" y="1238"/>
                  </a:lnTo>
                  <a:lnTo>
                    <a:pt x="3120" y="1238"/>
                  </a:lnTo>
                  <a:lnTo>
                    <a:pt x="3120" y="1240"/>
                  </a:lnTo>
                  <a:lnTo>
                    <a:pt x="3120" y="1248"/>
                  </a:lnTo>
                  <a:lnTo>
                    <a:pt x="3122" y="1248"/>
                  </a:lnTo>
                  <a:lnTo>
                    <a:pt x="3122" y="1249"/>
                  </a:lnTo>
                  <a:lnTo>
                    <a:pt x="3120" y="1250"/>
                  </a:lnTo>
                  <a:lnTo>
                    <a:pt x="3120" y="1250"/>
                  </a:lnTo>
                  <a:lnTo>
                    <a:pt x="3120" y="1250"/>
                  </a:lnTo>
                  <a:lnTo>
                    <a:pt x="3122" y="1252"/>
                  </a:lnTo>
                  <a:lnTo>
                    <a:pt x="3124" y="1249"/>
                  </a:lnTo>
                  <a:lnTo>
                    <a:pt x="3125" y="1249"/>
                  </a:lnTo>
                  <a:lnTo>
                    <a:pt x="3125" y="1249"/>
                  </a:lnTo>
                  <a:lnTo>
                    <a:pt x="3127" y="1248"/>
                  </a:lnTo>
                  <a:lnTo>
                    <a:pt x="3128" y="1246"/>
                  </a:lnTo>
                  <a:lnTo>
                    <a:pt x="3128" y="1246"/>
                  </a:lnTo>
                  <a:lnTo>
                    <a:pt x="3128" y="1246"/>
                  </a:lnTo>
                  <a:lnTo>
                    <a:pt x="3128" y="1245"/>
                  </a:lnTo>
                  <a:lnTo>
                    <a:pt x="3131" y="1244"/>
                  </a:lnTo>
                  <a:lnTo>
                    <a:pt x="3137" y="1241"/>
                  </a:lnTo>
                  <a:lnTo>
                    <a:pt x="3138" y="1240"/>
                  </a:lnTo>
                  <a:lnTo>
                    <a:pt x="3138" y="1239"/>
                  </a:lnTo>
                  <a:lnTo>
                    <a:pt x="3138" y="1239"/>
                  </a:lnTo>
                  <a:lnTo>
                    <a:pt x="3138" y="1237"/>
                  </a:lnTo>
                  <a:lnTo>
                    <a:pt x="3137" y="1235"/>
                  </a:lnTo>
                  <a:lnTo>
                    <a:pt x="3134" y="1232"/>
                  </a:lnTo>
                  <a:lnTo>
                    <a:pt x="3134" y="1232"/>
                  </a:lnTo>
                  <a:lnTo>
                    <a:pt x="3136" y="1233"/>
                  </a:lnTo>
                  <a:lnTo>
                    <a:pt x="3138" y="1236"/>
                  </a:lnTo>
                  <a:lnTo>
                    <a:pt x="3141" y="1238"/>
                  </a:lnTo>
                  <a:lnTo>
                    <a:pt x="3144" y="1237"/>
                  </a:lnTo>
                  <a:lnTo>
                    <a:pt x="3144" y="1237"/>
                  </a:lnTo>
                  <a:lnTo>
                    <a:pt x="3144" y="1237"/>
                  </a:lnTo>
                  <a:lnTo>
                    <a:pt x="3144" y="1235"/>
                  </a:lnTo>
                  <a:lnTo>
                    <a:pt x="3141" y="1231"/>
                  </a:lnTo>
                  <a:lnTo>
                    <a:pt x="3140" y="1231"/>
                  </a:lnTo>
                  <a:lnTo>
                    <a:pt x="3139" y="1230"/>
                  </a:lnTo>
                  <a:lnTo>
                    <a:pt x="3138" y="1229"/>
                  </a:lnTo>
                  <a:lnTo>
                    <a:pt x="3140" y="1230"/>
                  </a:lnTo>
                  <a:lnTo>
                    <a:pt x="3140" y="1231"/>
                  </a:lnTo>
                  <a:lnTo>
                    <a:pt x="3141" y="1231"/>
                  </a:lnTo>
                  <a:lnTo>
                    <a:pt x="3144" y="1233"/>
                  </a:lnTo>
                  <a:lnTo>
                    <a:pt x="3144" y="1233"/>
                  </a:lnTo>
                  <a:lnTo>
                    <a:pt x="3144" y="1233"/>
                  </a:lnTo>
                  <a:lnTo>
                    <a:pt x="3144" y="1231"/>
                  </a:lnTo>
                  <a:lnTo>
                    <a:pt x="3142" y="1231"/>
                  </a:lnTo>
                  <a:lnTo>
                    <a:pt x="3144" y="1231"/>
                  </a:lnTo>
                  <a:lnTo>
                    <a:pt x="3145" y="1231"/>
                  </a:lnTo>
                  <a:lnTo>
                    <a:pt x="3146" y="1230"/>
                  </a:lnTo>
                  <a:lnTo>
                    <a:pt x="3146" y="1230"/>
                  </a:lnTo>
                  <a:lnTo>
                    <a:pt x="3144" y="1228"/>
                  </a:lnTo>
                  <a:lnTo>
                    <a:pt x="3142" y="1228"/>
                  </a:lnTo>
                  <a:lnTo>
                    <a:pt x="3142" y="1228"/>
                  </a:lnTo>
                  <a:lnTo>
                    <a:pt x="3145" y="1228"/>
                  </a:lnTo>
                  <a:lnTo>
                    <a:pt x="3145" y="1228"/>
                  </a:lnTo>
                  <a:lnTo>
                    <a:pt x="3145" y="1228"/>
                  </a:lnTo>
                  <a:lnTo>
                    <a:pt x="3145" y="1224"/>
                  </a:lnTo>
                  <a:lnTo>
                    <a:pt x="3145" y="1224"/>
                  </a:lnTo>
                  <a:lnTo>
                    <a:pt x="3147" y="1222"/>
                  </a:lnTo>
                  <a:lnTo>
                    <a:pt x="3147" y="1222"/>
                  </a:lnTo>
                  <a:lnTo>
                    <a:pt x="3148" y="1222"/>
                  </a:lnTo>
                  <a:lnTo>
                    <a:pt x="3149" y="1222"/>
                  </a:lnTo>
                  <a:lnTo>
                    <a:pt x="3150" y="1224"/>
                  </a:lnTo>
                  <a:lnTo>
                    <a:pt x="3154" y="1225"/>
                  </a:lnTo>
                  <a:lnTo>
                    <a:pt x="3157" y="1224"/>
                  </a:lnTo>
                  <a:lnTo>
                    <a:pt x="3161" y="1222"/>
                  </a:lnTo>
                  <a:lnTo>
                    <a:pt x="3163" y="1222"/>
                  </a:lnTo>
                  <a:lnTo>
                    <a:pt x="3165" y="1220"/>
                  </a:lnTo>
                  <a:lnTo>
                    <a:pt x="3166" y="1219"/>
                  </a:lnTo>
                  <a:lnTo>
                    <a:pt x="3168" y="1218"/>
                  </a:lnTo>
                  <a:lnTo>
                    <a:pt x="3171" y="1215"/>
                  </a:lnTo>
                  <a:lnTo>
                    <a:pt x="3175" y="1213"/>
                  </a:lnTo>
                  <a:lnTo>
                    <a:pt x="3178" y="1211"/>
                  </a:lnTo>
                  <a:lnTo>
                    <a:pt x="3178" y="1211"/>
                  </a:lnTo>
                  <a:lnTo>
                    <a:pt x="3178" y="1211"/>
                  </a:lnTo>
                  <a:lnTo>
                    <a:pt x="3178" y="1210"/>
                  </a:lnTo>
                  <a:lnTo>
                    <a:pt x="3180" y="1207"/>
                  </a:lnTo>
                  <a:lnTo>
                    <a:pt x="3180" y="1207"/>
                  </a:lnTo>
                  <a:lnTo>
                    <a:pt x="3181" y="1207"/>
                  </a:lnTo>
                  <a:lnTo>
                    <a:pt x="3179" y="1206"/>
                  </a:lnTo>
                  <a:lnTo>
                    <a:pt x="3180" y="1204"/>
                  </a:lnTo>
                  <a:lnTo>
                    <a:pt x="3180" y="1204"/>
                  </a:lnTo>
                  <a:lnTo>
                    <a:pt x="3180" y="1204"/>
                  </a:lnTo>
                  <a:lnTo>
                    <a:pt x="3180" y="1203"/>
                  </a:lnTo>
                  <a:lnTo>
                    <a:pt x="3181" y="1201"/>
                  </a:lnTo>
                  <a:lnTo>
                    <a:pt x="3180" y="1201"/>
                  </a:lnTo>
                  <a:lnTo>
                    <a:pt x="3180" y="1201"/>
                  </a:lnTo>
                  <a:lnTo>
                    <a:pt x="3180" y="1201"/>
                  </a:lnTo>
                  <a:lnTo>
                    <a:pt x="3180" y="1199"/>
                  </a:lnTo>
                  <a:lnTo>
                    <a:pt x="3180" y="1199"/>
                  </a:lnTo>
                  <a:lnTo>
                    <a:pt x="3180" y="1197"/>
                  </a:lnTo>
                  <a:lnTo>
                    <a:pt x="3181" y="1197"/>
                  </a:lnTo>
                  <a:lnTo>
                    <a:pt x="3181" y="1197"/>
                  </a:lnTo>
                  <a:lnTo>
                    <a:pt x="3181" y="1197"/>
                  </a:lnTo>
                  <a:lnTo>
                    <a:pt x="3181" y="1195"/>
                  </a:lnTo>
                  <a:lnTo>
                    <a:pt x="3183" y="1195"/>
                  </a:lnTo>
                  <a:lnTo>
                    <a:pt x="3183" y="1195"/>
                  </a:lnTo>
                  <a:lnTo>
                    <a:pt x="3183" y="1195"/>
                  </a:lnTo>
                  <a:lnTo>
                    <a:pt x="3183" y="1191"/>
                  </a:lnTo>
                  <a:lnTo>
                    <a:pt x="3183" y="1191"/>
                  </a:lnTo>
                  <a:lnTo>
                    <a:pt x="3183" y="1191"/>
                  </a:lnTo>
                  <a:lnTo>
                    <a:pt x="3183" y="1191"/>
                  </a:lnTo>
                  <a:lnTo>
                    <a:pt x="3182" y="1189"/>
                  </a:lnTo>
                  <a:lnTo>
                    <a:pt x="3182" y="1189"/>
                  </a:lnTo>
                  <a:lnTo>
                    <a:pt x="3182" y="1186"/>
                  </a:lnTo>
                  <a:lnTo>
                    <a:pt x="3181" y="1184"/>
                  </a:lnTo>
                  <a:lnTo>
                    <a:pt x="3181" y="1177"/>
                  </a:lnTo>
                  <a:lnTo>
                    <a:pt x="3181" y="1174"/>
                  </a:lnTo>
                  <a:lnTo>
                    <a:pt x="3180" y="1172"/>
                  </a:lnTo>
                  <a:lnTo>
                    <a:pt x="3179" y="1169"/>
                  </a:lnTo>
                  <a:lnTo>
                    <a:pt x="3179" y="1167"/>
                  </a:lnTo>
                  <a:lnTo>
                    <a:pt x="3178" y="1164"/>
                  </a:lnTo>
                  <a:lnTo>
                    <a:pt x="3176" y="1162"/>
                  </a:lnTo>
                  <a:lnTo>
                    <a:pt x="3175" y="1160"/>
                  </a:lnTo>
                  <a:lnTo>
                    <a:pt x="3175" y="1158"/>
                  </a:lnTo>
                  <a:lnTo>
                    <a:pt x="3174" y="1158"/>
                  </a:lnTo>
                  <a:lnTo>
                    <a:pt x="3174" y="1156"/>
                  </a:lnTo>
                  <a:lnTo>
                    <a:pt x="3172" y="1155"/>
                  </a:lnTo>
                  <a:lnTo>
                    <a:pt x="3171" y="1153"/>
                  </a:lnTo>
                  <a:lnTo>
                    <a:pt x="3170" y="1150"/>
                  </a:lnTo>
                  <a:lnTo>
                    <a:pt x="3168" y="1150"/>
                  </a:lnTo>
                  <a:lnTo>
                    <a:pt x="3167" y="1147"/>
                  </a:lnTo>
                  <a:lnTo>
                    <a:pt x="3167" y="1147"/>
                  </a:lnTo>
                  <a:lnTo>
                    <a:pt x="3167" y="1147"/>
                  </a:lnTo>
                  <a:lnTo>
                    <a:pt x="3167" y="1147"/>
                  </a:lnTo>
                  <a:lnTo>
                    <a:pt x="3166" y="1146"/>
                  </a:lnTo>
                  <a:lnTo>
                    <a:pt x="3167" y="1147"/>
                  </a:lnTo>
                  <a:lnTo>
                    <a:pt x="3166" y="1147"/>
                  </a:lnTo>
                  <a:lnTo>
                    <a:pt x="3166" y="1147"/>
                  </a:lnTo>
                  <a:lnTo>
                    <a:pt x="3166" y="1147"/>
                  </a:lnTo>
                  <a:lnTo>
                    <a:pt x="3166" y="1147"/>
                  </a:lnTo>
                  <a:lnTo>
                    <a:pt x="3167" y="1147"/>
                  </a:lnTo>
                  <a:lnTo>
                    <a:pt x="3167" y="1147"/>
                  </a:lnTo>
                  <a:lnTo>
                    <a:pt x="3166" y="1145"/>
                  </a:lnTo>
                  <a:lnTo>
                    <a:pt x="3165" y="1145"/>
                  </a:lnTo>
                  <a:lnTo>
                    <a:pt x="3162" y="1144"/>
                  </a:lnTo>
                  <a:lnTo>
                    <a:pt x="3161" y="1141"/>
                  </a:lnTo>
                  <a:lnTo>
                    <a:pt x="3159" y="1141"/>
                  </a:lnTo>
                  <a:lnTo>
                    <a:pt x="3158" y="1141"/>
                  </a:lnTo>
                  <a:lnTo>
                    <a:pt x="3156" y="1138"/>
                  </a:lnTo>
                  <a:lnTo>
                    <a:pt x="3156" y="1139"/>
                  </a:lnTo>
                  <a:lnTo>
                    <a:pt x="3156" y="1139"/>
                  </a:lnTo>
                  <a:lnTo>
                    <a:pt x="3156" y="1138"/>
                  </a:lnTo>
                  <a:lnTo>
                    <a:pt x="3154" y="1136"/>
                  </a:lnTo>
                  <a:lnTo>
                    <a:pt x="3151" y="1136"/>
                  </a:lnTo>
                  <a:lnTo>
                    <a:pt x="3151" y="1133"/>
                  </a:lnTo>
                  <a:lnTo>
                    <a:pt x="3147" y="1129"/>
                  </a:lnTo>
                  <a:lnTo>
                    <a:pt x="3145" y="1127"/>
                  </a:lnTo>
                  <a:lnTo>
                    <a:pt x="3144" y="1125"/>
                  </a:lnTo>
                  <a:lnTo>
                    <a:pt x="3142" y="1124"/>
                  </a:lnTo>
                  <a:lnTo>
                    <a:pt x="3142" y="1124"/>
                  </a:lnTo>
                  <a:lnTo>
                    <a:pt x="3141" y="1124"/>
                  </a:lnTo>
                  <a:lnTo>
                    <a:pt x="3141" y="1124"/>
                  </a:lnTo>
                  <a:lnTo>
                    <a:pt x="3142" y="1124"/>
                  </a:lnTo>
                  <a:lnTo>
                    <a:pt x="3142" y="1121"/>
                  </a:lnTo>
                  <a:lnTo>
                    <a:pt x="3144" y="1120"/>
                  </a:lnTo>
                  <a:lnTo>
                    <a:pt x="3138" y="1117"/>
                  </a:lnTo>
                  <a:lnTo>
                    <a:pt x="3134" y="1113"/>
                  </a:lnTo>
                  <a:lnTo>
                    <a:pt x="3133" y="1110"/>
                  </a:lnTo>
                  <a:lnTo>
                    <a:pt x="3132" y="1110"/>
                  </a:lnTo>
                  <a:lnTo>
                    <a:pt x="3131" y="1105"/>
                  </a:lnTo>
                  <a:lnTo>
                    <a:pt x="3133" y="1102"/>
                  </a:lnTo>
                  <a:lnTo>
                    <a:pt x="3133" y="1096"/>
                  </a:lnTo>
                  <a:lnTo>
                    <a:pt x="3134" y="1095"/>
                  </a:lnTo>
                  <a:lnTo>
                    <a:pt x="3136" y="1092"/>
                  </a:lnTo>
                  <a:lnTo>
                    <a:pt x="3138" y="1092"/>
                  </a:lnTo>
                  <a:lnTo>
                    <a:pt x="3139" y="1092"/>
                  </a:lnTo>
                  <a:lnTo>
                    <a:pt x="3144" y="1087"/>
                  </a:lnTo>
                  <a:lnTo>
                    <a:pt x="3144" y="1087"/>
                  </a:lnTo>
                  <a:lnTo>
                    <a:pt x="3144" y="1087"/>
                  </a:lnTo>
                  <a:lnTo>
                    <a:pt x="3142" y="1087"/>
                  </a:lnTo>
                  <a:lnTo>
                    <a:pt x="3145" y="1084"/>
                  </a:lnTo>
                  <a:lnTo>
                    <a:pt x="3145" y="1082"/>
                  </a:lnTo>
                  <a:lnTo>
                    <a:pt x="3145" y="1082"/>
                  </a:lnTo>
                  <a:lnTo>
                    <a:pt x="3146" y="1082"/>
                  </a:lnTo>
                  <a:lnTo>
                    <a:pt x="3146" y="1082"/>
                  </a:lnTo>
                  <a:lnTo>
                    <a:pt x="3146" y="1082"/>
                  </a:lnTo>
                  <a:lnTo>
                    <a:pt x="3146" y="1079"/>
                  </a:lnTo>
                  <a:lnTo>
                    <a:pt x="3146" y="1079"/>
                  </a:lnTo>
                  <a:lnTo>
                    <a:pt x="3147" y="1078"/>
                  </a:lnTo>
                  <a:lnTo>
                    <a:pt x="3147" y="1078"/>
                  </a:lnTo>
                  <a:lnTo>
                    <a:pt x="3147" y="1078"/>
                  </a:lnTo>
                  <a:lnTo>
                    <a:pt x="3146" y="1077"/>
                  </a:lnTo>
                  <a:lnTo>
                    <a:pt x="3146" y="1077"/>
                  </a:lnTo>
                  <a:lnTo>
                    <a:pt x="3148" y="1078"/>
                  </a:lnTo>
                  <a:lnTo>
                    <a:pt x="3150" y="1077"/>
                  </a:lnTo>
                  <a:lnTo>
                    <a:pt x="3150" y="1078"/>
                  </a:lnTo>
                  <a:lnTo>
                    <a:pt x="3154" y="1077"/>
                  </a:lnTo>
                  <a:lnTo>
                    <a:pt x="3154" y="1077"/>
                  </a:lnTo>
                  <a:lnTo>
                    <a:pt x="3154" y="1077"/>
                  </a:lnTo>
                  <a:lnTo>
                    <a:pt x="3155" y="1075"/>
                  </a:lnTo>
                  <a:lnTo>
                    <a:pt x="3155" y="1074"/>
                  </a:lnTo>
                  <a:lnTo>
                    <a:pt x="3156" y="1074"/>
                  </a:lnTo>
                  <a:lnTo>
                    <a:pt x="3156" y="1074"/>
                  </a:lnTo>
                  <a:lnTo>
                    <a:pt x="3156" y="1074"/>
                  </a:lnTo>
                  <a:lnTo>
                    <a:pt x="3156" y="1074"/>
                  </a:lnTo>
                  <a:lnTo>
                    <a:pt x="3157" y="1073"/>
                  </a:lnTo>
                  <a:lnTo>
                    <a:pt x="3161" y="1071"/>
                  </a:lnTo>
                  <a:lnTo>
                    <a:pt x="3164" y="1070"/>
                  </a:lnTo>
                  <a:lnTo>
                    <a:pt x="3164" y="1070"/>
                  </a:lnTo>
                  <a:lnTo>
                    <a:pt x="3164" y="1070"/>
                  </a:lnTo>
                  <a:lnTo>
                    <a:pt x="3164" y="1070"/>
                  </a:lnTo>
                  <a:lnTo>
                    <a:pt x="3164" y="1069"/>
                  </a:lnTo>
                  <a:lnTo>
                    <a:pt x="3166" y="1069"/>
                  </a:lnTo>
                  <a:lnTo>
                    <a:pt x="3168" y="1067"/>
                  </a:lnTo>
                  <a:lnTo>
                    <a:pt x="3171" y="1069"/>
                  </a:lnTo>
                  <a:lnTo>
                    <a:pt x="3171" y="1066"/>
                  </a:lnTo>
                  <a:lnTo>
                    <a:pt x="3170" y="1065"/>
                  </a:lnTo>
                  <a:lnTo>
                    <a:pt x="3170" y="1064"/>
                  </a:lnTo>
                  <a:lnTo>
                    <a:pt x="3170" y="1065"/>
                  </a:lnTo>
                  <a:lnTo>
                    <a:pt x="3172" y="1065"/>
                  </a:lnTo>
                  <a:lnTo>
                    <a:pt x="3173" y="1067"/>
                  </a:lnTo>
                  <a:lnTo>
                    <a:pt x="3173" y="1068"/>
                  </a:lnTo>
                  <a:lnTo>
                    <a:pt x="3176" y="1066"/>
                  </a:lnTo>
                  <a:lnTo>
                    <a:pt x="3179" y="1068"/>
                  </a:lnTo>
                  <a:lnTo>
                    <a:pt x="3178" y="1070"/>
                  </a:lnTo>
                  <a:lnTo>
                    <a:pt x="3181" y="1070"/>
                  </a:lnTo>
                  <a:lnTo>
                    <a:pt x="3181" y="1070"/>
                  </a:lnTo>
                  <a:lnTo>
                    <a:pt x="3183" y="1070"/>
                  </a:lnTo>
                  <a:lnTo>
                    <a:pt x="3183" y="1067"/>
                  </a:lnTo>
                  <a:lnTo>
                    <a:pt x="3187" y="1068"/>
                  </a:lnTo>
                  <a:lnTo>
                    <a:pt x="3188" y="1070"/>
                  </a:lnTo>
                  <a:lnTo>
                    <a:pt x="3188" y="1068"/>
                  </a:lnTo>
                  <a:lnTo>
                    <a:pt x="3190" y="1070"/>
                  </a:lnTo>
                  <a:lnTo>
                    <a:pt x="3190" y="1071"/>
                  </a:lnTo>
                  <a:lnTo>
                    <a:pt x="3188" y="1074"/>
                  </a:lnTo>
                  <a:lnTo>
                    <a:pt x="3187" y="1076"/>
                  </a:lnTo>
                  <a:lnTo>
                    <a:pt x="3187" y="1077"/>
                  </a:lnTo>
                  <a:lnTo>
                    <a:pt x="3189" y="1083"/>
                  </a:lnTo>
                  <a:lnTo>
                    <a:pt x="3191" y="1085"/>
                  </a:lnTo>
                  <a:lnTo>
                    <a:pt x="3191" y="1087"/>
                  </a:lnTo>
                  <a:lnTo>
                    <a:pt x="3195" y="1087"/>
                  </a:lnTo>
                  <a:lnTo>
                    <a:pt x="3197" y="1086"/>
                  </a:lnTo>
                  <a:lnTo>
                    <a:pt x="3198" y="1084"/>
                  </a:lnTo>
                  <a:lnTo>
                    <a:pt x="3196" y="1081"/>
                  </a:lnTo>
                  <a:lnTo>
                    <a:pt x="3197" y="1081"/>
                  </a:lnTo>
                  <a:lnTo>
                    <a:pt x="3197" y="1079"/>
                  </a:lnTo>
                  <a:lnTo>
                    <a:pt x="3193" y="1079"/>
                  </a:lnTo>
                  <a:lnTo>
                    <a:pt x="3193" y="1076"/>
                  </a:lnTo>
                  <a:lnTo>
                    <a:pt x="3195" y="1075"/>
                  </a:lnTo>
                  <a:lnTo>
                    <a:pt x="3197" y="1074"/>
                  </a:lnTo>
                  <a:lnTo>
                    <a:pt x="3196" y="1071"/>
                  </a:lnTo>
                  <a:lnTo>
                    <a:pt x="3197" y="1074"/>
                  </a:lnTo>
                  <a:lnTo>
                    <a:pt x="3199" y="1074"/>
                  </a:lnTo>
                  <a:lnTo>
                    <a:pt x="3200" y="1071"/>
                  </a:lnTo>
                  <a:lnTo>
                    <a:pt x="3201" y="1070"/>
                  </a:lnTo>
                  <a:lnTo>
                    <a:pt x="3200" y="1071"/>
                  </a:lnTo>
                  <a:lnTo>
                    <a:pt x="3204" y="1071"/>
                  </a:lnTo>
                  <a:lnTo>
                    <a:pt x="3207" y="1070"/>
                  </a:lnTo>
                  <a:lnTo>
                    <a:pt x="3207" y="1070"/>
                  </a:lnTo>
                  <a:lnTo>
                    <a:pt x="3208" y="1070"/>
                  </a:lnTo>
                  <a:lnTo>
                    <a:pt x="3210" y="1069"/>
                  </a:lnTo>
                  <a:lnTo>
                    <a:pt x="3210" y="1069"/>
                  </a:lnTo>
                  <a:lnTo>
                    <a:pt x="3213" y="1069"/>
                  </a:lnTo>
                  <a:lnTo>
                    <a:pt x="3215" y="1067"/>
                  </a:lnTo>
                  <a:lnTo>
                    <a:pt x="3217" y="1067"/>
                  </a:lnTo>
                  <a:lnTo>
                    <a:pt x="3217" y="1066"/>
                  </a:lnTo>
                  <a:lnTo>
                    <a:pt x="3217" y="1065"/>
                  </a:lnTo>
                  <a:lnTo>
                    <a:pt x="3217" y="1065"/>
                  </a:lnTo>
                  <a:lnTo>
                    <a:pt x="3218" y="1065"/>
                  </a:lnTo>
                  <a:lnTo>
                    <a:pt x="3218" y="1065"/>
                  </a:lnTo>
                  <a:lnTo>
                    <a:pt x="3218" y="1065"/>
                  </a:lnTo>
                  <a:lnTo>
                    <a:pt x="3218" y="1065"/>
                  </a:lnTo>
                  <a:lnTo>
                    <a:pt x="3221" y="1067"/>
                  </a:lnTo>
                  <a:lnTo>
                    <a:pt x="3223" y="1067"/>
                  </a:lnTo>
                  <a:lnTo>
                    <a:pt x="3224" y="1065"/>
                  </a:lnTo>
                  <a:lnTo>
                    <a:pt x="3224" y="1064"/>
                  </a:lnTo>
                  <a:lnTo>
                    <a:pt x="3224" y="1065"/>
                  </a:lnTo>
                  <a:lnTo>
                    <a:pt x="3226" y="1066"/>
                  </a:lnTo>
                  <a:lnTo>
                    <a:pt x="3230" y="1064"/>
                  </a:lnTo>
                  <a:lnTo>
                    <a:pt x="3232" y="1064"/>
                  </a:lnTo>
                  <a:lnTo>
                    <a:pt x="3232" y="1061"/>
                  </a:lnTo>
                  <a:lnTo>
                    <a:pt x="3233" y="1059"/>
                  </a:lnTo>
                  <a:lnTo>
                    <a:pt x="3236" y="1060"/>
                  </a:lnTo>
                  <a:lnTo>
                    <a:pt x="3235" y="1058"/>
                  </a:lnTo>
                  <a:lnTo>
                    <a:pt x="3234" y="1054"/>
                  </a:lnTo>
                  <a:lnTo>
                    <a:pt x="3235" y="1057"/>
                  </a:lnTo>
                  <a:lnTo>
                    <a:pt x="3238" y="1059"/>
                  </a:lnTo>
                  <a:lnTo>
                    <a:pt x="3238" y="1060"/>
                  </a:lnTo>
                  <a:lnTo>
                    <a:pt x="3240" y="1060"/>
                  </a:lnTo>
                  <a:lnTo>
                    <a:pt x="3240" y="1054"/>
                  </a:lnTo>
                  <a:lnTo>
                    <a:pt x="3238" y="1052"/>
                  </a:lnTo>
                  <a:lnTo>
                    <a:pt x="3238" y="1052"/>
                  </a:lnTo>
                  <a:lnTo>
                    <a:pt x="3238" y="1052"/>
                  </a:lnTo>
                  <a:lnTo>
                    <a:pt x="3239" y="1051"/>
                  </a:lnTo>
                  <a:lnTo>
                    <a:pt x="3236" y="1050"/>
                  </a:lnTo>
                  <a:lnTo>
                    <a:pt x="3235" y="1050"/>
                  </a:lnTo>
                  <a:lnTo>
                    <a:pt x="3236" y="1050"/>
                  </a:lnTo>
                  <a:lnTo>
                    <a:pt x="3238" y="1049"/>
                  </a:lnTo>
                  <a:lnTo>
                    <a:pt x="3238" y="1048"/>
                  </a:lnTo>
                  <a:lnTo>
                    <a:pt x="3238" y="1047"/>
                  </a:lnTo>
                  <a:lnTo>
                    <a:pt x="3239" y="1048"/>
                  </a:lnTo>
                  <a:lnTo>
                    <a:pt x="3241" y="1047"/>
                  </a:lnTo>
                  <a:lnTo>
                    <a:pt x="3242" y="1047"/>
                  </a:lnTo>
                  <a:lnTo>
                    <a:pt x="3241" y="1047"/>
                  </a:lnTo>
                  <a:lnTo>
                    <a:pt x="3239" y="1048"/>
                  </a:lnTo>
                  <a:lnTo>
                    <a:pt x="3240" y="1048"/>
                  </a:lnTo>
                  <a:lnTo>
                    <a:pt x="3241" y="1048"/>
                  </a:lnTo>
                  <a:lnTo>
                    <a:pt x="3241" y="1049"/>
                  </a:lnTo>
                  <a:lnTo>
                    <a:pt x="3241" y="1052"/>
                  </a:lnTo>
                  <a:lnTo>
                    <a:pt x="3242" y="1052"/>
                  </a:lnTo>
                  <a:lnTo>
                    <a:pt x="3244" y="1056"/>
                  </a:lnTo>
                  <a:lnTo>
                    <a:pt x="3247" y="1056"/>
                  </a:lnTo>
                  <a:lnTo>
                    <a:pt x="3248" y="1058"/>
                  </a:lnTo>
                  <a:lnTo>
                    <a:pt x="3248" y="1058"/>
                  </a:lnTo>
                  <a:lnTo>
                    <a:pt x="3249" y="1058"/>
                  </a:lnTo>
                  <a:lnTo>
                    <a:pt x="3250" y="1059"/>
                  </a:lnTo>
                  <a:lnTo>
                    <a:pt x="3250" y="1056"/>
                  </a:lnTo>
                  <a:lnTo>
                    <a:pt x="3249" y="1054"/>
                  </a:lnTo>
                  <a:lnTo>
                    <a:pt x="3251" y="1054"/>
                  </a:lnTo>
                  <a:lnTo>
                    <a:pt x="3252" y="1054"/>
                  </a:lnTo>
                  <a:lnTo>
                    <a:pt x="3252" y="1056"/>
                  </a:lnTo>
                  <a:lnTo>
                    <a:pt x="3253" y="1053"/>
                  </a:lnTo>
                  <a:lnTo>
                    <a:pt x="3252" y="1053"/>
                  </a:lnTo>
                  <a:lnTo>
                    <a:pt x="3256" y="1051"/>
                  </a:lnTo>
                  <a:lnTo>
                    <a:pt x="3256" y="1053"/>
                  </a:lnTo>
                  <a:lnTo>
                    <a:pt x="3256" y="1054"/>
                  </a:lnTo>
                  <a:lnTo>
                    <a:pt x="3259" y="1053"/>
                  </a:lnTo>
                  <a:lnTo>
                    <a:pt x="3262" y="1051"/>
                  </a:lnTo>
                  <a:lnTo>
                    <a:pt x="3264" y="1051"/>
                  </a:lnTo>
                  <a:lnTo>
                    <a:pt x="3265" y="1052"/>
                  </a:lnTo>
                  <a:lnTo>
                    <a:pt x="3267" y="1053"/>
                  </a:lnTo>
                  <a:lnTo>
                    <a:pt x="3267" y="1053"/>
                  </a:lnTo>
                  <a:lnTo>
                    <a:pt x="3268" y="1050"/>
                  </a:lnTo>
                  <a:lnTo>
                    <a:pt x="3270" y="1051"/>
                  </a:lnTo>
                  <a:lnTo>
                    <a:pt x="3273" y="1050"/>
                  </a:lnTo>
                  <a:lnTo>
                    <a:pt x="3274" y="1050"/>
                  </a:lnTo>
                  <a:lnTo>
                    <a:pt x="3274" y="1049"/>
                  </a:lnTo>
                  <a:lnTo>
                    <a:pt x="3274" y="1050"/>
                  </a:lnTo>
                  <a:lnTo>
                    <a:pt x="3275" y="1050"/>
                  </a:lnTo>
                  <a:lnTo>
                    <a:pt x="3278" y="1049"/>
                  </a:lnTo>
                  <a:lnTo>
                    <a:pt x="3281" y="1049"/>
                  </a:lnTo>
                  <a:lnTo>
                    <a:pt x="3281" y="1047"/>
                  </a:lnTo>
                  <a:lnTo>
                    <a:pt x="3281" y="1045"/>
                  </a:lnTo>
                  <a:lnTo>
                    <a:pt x="3281" y="1045"/>
                  </a:lnTo>
                  <a:lnTo>
                    <a:pt x="3282" y="1045"/>
                  </a:lnTo>
                  <a:lnTo>
                    <a:pt x="3282" y="1043"/>
                  </a:lnTo>
                  <a:lnTo>
                    <a:pt x="3284" y="1042"/>
                  </a:lnTo>
                  <a:lnTo>
                    <a:pt x="3285" y="1042"/>
                  </a:lnTo>
                  <a:lnTo>
                    <a:pt x="3285" y="1039"/>
                  </a:lnTo>
                  <a:lnTo>
                    <a:pt x="3289" y="1040"/>
                  </a:lnTo>
                  <a:lnTo>
                    <a:pt x="3292" y="1036"/>
                  </a:lnTo>
                  <a:lnTo>
                    <a:pt x="3292" y="1036"/>
                  </a:lnTo>
                  <a:lnTo>
                    <a:pt x="3295" y="1035"/>
                  </a:lnTo>
                  <a:lnTo>
                    <a:pt x="3296" y="1033"/>
                  </a:lnTo>
                  <a:lnTo>
                    <a:pt x="3296" y="1033"/>
                  </a:lnTo>
                  <a:lnTo>
                    <a:pt x="3299" y="1033"/>
                  </a:lnTo>
                  <a:lnTo>
                    <a:pt x="3301" y="1031"/>
                  </a:lnTo>
                  <a:lnTo>
                    <a:pt x="3301" y="1027"/>
                  </a:lnTo>
                  <a:lnTo>
                    <a:pt x="3299" y="1027"/>
                  </a:lnTo>
                  <a:lnTo>
                    <a:pt x="3298" y="1027"/>
                  </a:lnTo>
                  <a:lnTo>
                    <a:pt x="3300" y="1027"/>
                  </a:lnTo>
                  <a:lnTo>
                    <a:pt x="3302" y="1026"/>
                  </a:lnTo>
                  <a:lnTo>
                    <a:pt x="3303" y="1025"/>
                  </a:lnTo>
                  <a:lnTo>
                    <a:pt x="3306" y="1025"/>
                  </a:lnTo>
                  <a:lnTo>
                    <a:pt x="3308" y="1025"/>
                  </a:lnTo>
                  <a:lnTo>
                    <a:pt x="3310" y="1025"/>
                  </a:lnTo>
                  <a:lnTo>
                    <a:pt x="3309" y="1023"/>
                  </a:lnTo>
                  <a:lnTo>
                    <a:pt x="3311" y="1020"/>
                  </a:lnTo>
                  <a:lnTo>
                    <a:pt x="3315" y="1019"/>
                  </a:lnTo>
                  <a:lnTo>
                    <a:pt x="3313" y="1017"/>
                  </a:lnTo>
                  <a:lnTo>
                    <a:pt x="3316" y="1017"/>
                  </a:lnTo>
                  <a:lnTo>
                    <a:pt x="3318" y="1017"/>
                  </a:lnTo>
                  <a:lnTo>
                    <a:pt x="3317" y="1014"/>
                  </a:lnTo>
                  <a:lnTo>
                    <a:pt x="3317" y="1013"/>
                  </a:lnTo>
                  <a:lnTo>
                    <a:pt x="3320" y="1011"/>
                  </a:lnTo>
                  <a:lnTo>
                    <a:pt x="3320" y="1014"/>
                  </a:lnTo>
                  <a:lnTo>
                    <a:pt x="3323" y="1011"/>
                  </a:lnTo>
                  <a:lnTo>
                    <a:pt x="3320" y="1010"/>
                  </a:lnTo>
                  <a:lnTo>
                    <a:pt x="3321" y="1009"/>
                  </a:lnTo>
                  <a:lnTo>
                    <a:pt x="3323" y="1006"/>
                  </a:lnTo>
                  <a:lnTo>
                    <a:pt x="3320" y="1005"/>
                  </a:lnTo>
                  <a:lnTo>
                    <a:pt x="3320" y="1005"/>
                  </a:lnTo>
                  <a:lnTo>
                    <a:pt x="3319" y="1006"/>
                  </a:lnTo>
                  <a:lnTo>
                    <a:pt x="3318" y="1005"/>
                  </a:lnTo>
                  <a:lnTo>
                    <a:pt x="3316" y="1002"/>
                  </a:lnTo>
                  <a:lnTo>
                    <a:pt x="3320" y="1005"/>
                  </a:lnTo>
                  <a:lnTo>
                    <a:pt x="3321" y="1002"/>
                  </a:lnTo>
                  <a:lnTo>
                    <a:pt x="3325" y="1000"/>
                  </a:lnTo>
                  <a:lnTo>
                    <a:pt x="3327" y="999"/>
                  </a:lnTo>
                  <a:lnTo>
                    <a:pt x="3325" y="999"/>
                  </a:lnTo>
                  <a:lnTo>
                    <a:pt x="3325" y="997"/>
                  </a:lnTo>
                  <a:lnTo>
                    <a:pt x="3325" y="997"/>
                  </a:lnTo>
                  <a:lnTo>
                    <a:pt x="3323" y="996"/>
                  </a:lnTo>
                  <a:lnTo>
                    <a:pt x="3321" y="993"/>
                  </a:lnTo>
                  <a:lnTo>
                    <a:pt x="3328" y="993"/>
                  </a:lnTo>
                  <a:lnTo>
                    <a:pt x="3328" y="994"/>
                  </a:lnTo>
                  <a:lnTo>
                    <a:pt x="3326" y="997"/>
                  </a:lnTo>
                  <a:lnTo>
                    <a:pt x="3328" y="996"/>
                  </a:lnTo>
                  <a:lnTo>
                    <a:pt x="3329" y="993"/>
                  </a:lnTo>
                  <a:lnTo>
                    <a:pt x="3332" y="989"/>
                  </a:lnTo>
                  <a:lnTo>
                    <a:pt x="3334" y="988"/>
                  </a:lnTo>
                  <a:lnTo>
                    <a:pt x="3330" y="987"/>
                  </a:lnTo>
                  <a:lnTo>
                    <a:pt x="3334" y="988"/>
                  </a:lnTo>
                  <a:lnTo>
                    <a:pt x="3335" y="984"/>
                  </a:lnTo>
                  <a:lnTo>
                    <a:pt x="3336" y="981"/>
                  </a:lnTo>
                  <a:lnTo>
                    <a:pt x="3337" y="981"/>
                  </a:lnTo>
                  <a:lnTo>
                    <a:pt x="3338" y="979"/>
                  </a:lnTo>
                  <a:lnTo>
                    <a:pt x="3337" y="975"/>
                  </a:lnTo>
                  <a:lnTo>
                    <a:pt x="3336" y="974"/>
                  </a:lnTo>
                  <a:lnTo>
                    <a:pt x="3338" y="975"/>
                  </a:lnTo>
                  <a:lnTo>
                    <a:pt x="3341" y="975"/>
                  </a:lnTo>
                  <a:lnTo>
                    <a:pt x="3343" y="973"/>
                  </a:lnTo>
                  <a:lnTo>
                    <a:pt x="3343" y="971"/>
                  </a:lnTo>
                  <a:lnTo>
                    <a:pt x="3344" y="970"/>
                  </a:lnTo>
                  <a:lnTo>
                    <a:pt x="3345" y="972"/>
                  </a:lnTo>
                  <a:lnTo>
                    <a:pt x="3347" y="971"/>
                  </a:lnTo>
                  <a:lnTo>
                    <a:pt x="3349" y="967"/>
                  </a:lnTo>
                  <a:lnTo>
                    <a:pt x="3349" y="965"/>
                  </a:lnTo>
                  <a:lnTo>
                    <a:pt x="3345" y="965"/>
                  </a:lnTo>
                  <a:lnTo>
                    <a:pt x="3344" y="963"/>
                  </a:lnTo>
                  <a:lnTo>
                    <a:pt x="3346" y="965"/>
                  </a:lnTo>
                  <a:lnTo>
                    <a:pt x="3347" y="965"/>
                  </a:lnTo>
                  <a:lnTo>
                    <a:pt x="3351" y="964"/>
                  </a:lnTo>
                  <a:lnTo>
                    <a:pt x="3350" y="959"/>
                  </a:lnTo>
                  <a:lnTo>
                    <a:pt x="3347" y="958"/>
                  </a:lnTo>
                  <a:lnTo>
                    <a:pt x="3350" y="956"/>
                  </a:lnTo>
                  <a:lnTo>
                    <a:pt x="3352" y="957"/>
                  </a:lnTo>
                  <a:lnTo>
                    <a:pt x="3353" y="958"/>
                  </a:lnTo>
                  <a:lnTo>
                    <a:pt x="3354" y="955"/>
                  </a:lnTo>
                  <a:lnTo>
                    <a:pt x="3354" y="953"/>
                  </a:lnTo>
                  <a:lnTo>
                    <a:pt x="3351" y="953"/>
                  </a:lnTo>
                  <a:lnTo>
                    <a:pt x="3349" y="954"/>
                  </a:lnTo>
                  <a:lnTo>
                    <a:pt x="3347" y="954"/>
                  </a:lnTo>
                  <a:lnTo>
                    <a:pt x="3351" y="953"/>
                  </a:lnTo>
                  <a:lnTo>
                    <a:pt x="3352" y="951"/>
                  </a:lnTo>
                  <a:lnTo>
                    <a:pt x="3353" y="949"/>
                  </a:lnTo>
                  <a:lnTo>
                    <a:pt x="3355" y="948"/>
                  </a:lnTo>
                  <a:lnTo>
                    <a:pt x="3353" y="946"/>
                  </a:lnTo>
                  <a:lnTo>
                    <a:pt x="3351" y="946"/>
                  </a:lnTo>
                  <a:lnTo>
                    <a:pt x="3350" y="945"/>
                  </a:lnTo>
                  <a:lnTo>
                    <a:pt x="3350" y="945"/>
                  </a:lnTo>
                  <a:lnTo>
                    <a:pt x="3347" y="942"/>
                  </a:lnTo>
                  <a:lnTo>
                    <a:pt x="3345" y="941"/>
                  </a:lnTo>
                  <a:lnTo>
                    <a:pt x="3343" y="941"/>
                  </a:lnTo>
                  <a:lnTo>
                    <a:pt x="3342" y="942"/>
                  </a:lnTo>
                  <a:lnTo>
                    <a:pt x="3337" y="943"/>
                  </a:lnTo>
                  <a:lnTo>
                    <a:pt x="3338" y="945"/>
                  </a:lnTo>
                  <a:lnTo>
                    <a:pt x="3337" y="943"/>
                  </a:lnTo>
                  <a:lnTo>
                    <a:pt x="3336" y="940"/>
                  </a:lnTo>
                  <a:lnTo>
                    <a:pt x="3334" y="941"/>
                  </a:lnTo>
                  <a:lnTo>
                    <a:pt x="3332" y="941"/>
                  </a:lnTo>
                  <a:lnTo>
                    <a:pt x="3333" y="940"/>
                  </a:lnTo>
                  <a:lnTo>
                    <a:pt x="3336" y="939"/>
                  </a:lnTo>
                  <a:lnTo>
                    <a:pt x="3338" y="940"/>
                  </a:lnTo>
                  <a:lnTo>
                    <a:pt x="3340" y="940"/>
                  </a:lnTo>
                  <a:lnTo>
                    <a:pt x="3341" y="938"/>
                  </a:lnTo>
                  <a:lnTo>
                    <a:pt x="3345" y="936"/>
                  </a:lnTo>
                  <a:lnTo>
                    <a:pt x="3349" y="933"/>
                  </a:lnTo>
                  <a:lnTo>
                    <a:pt x="3353" y="932"/>
                  </a:lnTo>
                  <a:lnTo>
                    <a:pt x="3353" y="930"/>
                  </a:lnTo>
                  <a:lnTo>
                    <a:pt x="3352" y="928"/>
                  </a:lnTo>
                  <a:lnTo>
                    <a:pt x="3350" y="925"/>
                  </a:lnTo>
                  <a:lnTo>
                    <a:pt x="3349" y="924"/>
                  </a:lnTo>
                  <a:lnTo>
                    <a:pt x="3346" y="923"/>
                  </a:lnTo>
                  <a:lnTo>
                    <a:pt x="3343" y="920"/>
                  </a:lnTo>
                  <a:lnTo>
                    <a:pt x="3338" y="919"/>
                  </a:lnTo>
                  <a:lnTo>
                    <a:pt x="3337" y="915"/>
                  </a:lnTo>
                  <a:lnTo>
                    <a:pt x="3335" y="915"/>
                  </a:lnTo>
                  <a:lnTo>
                    <a:pt x="3332" y="916"/>
                  </a:lnTo>
                  <a:lnTo>
                    <a:pt x="3328" y="916"/>
                  </a:lnTo>
                  <a:lnTo>
                    <a:pt x="3328" y="916"/>
                  </a:lnTo>
                  <a:lnTo>
                    <a:pt x="3326" y="914"/>
                  </a:lnTo>
                  <a:lnTo>
                    <a:pt x="3324" y="912"/>
                  </a:lnTo>
                  <a:lnTo>
                    <a:pt x="3323" y="913"/>
                  </a:lnTo>
                  <a:lnTo>
                    <a:pt x="3324" y="911"/>
                  </a:lnTo>
                  <a:lnTo>
                    <a:pt x="3323" y="910"/>
                  </a:lnTo>
                  <a:lnTo>
                    <a:pt x="3325" y="911"/>
                  </a:lnTo>
                  <a:lnTo>
                    <a:pt x="3327" y="913"/>
                  </a:lnTo>
                  <a:lnTo>
                    <a:pt x="3328" y="915"/>
                  </a:lnTo>
                  <a:lnTo>
                    <a:pt x="3330" y="916"/>
                  </a:lnTo>
                  <a:lnTo>
                    <a:pt x="3330" y="916"/>
                  </a:lnTo>
                  <a:lnTo>
                    <a:pt x="3334" y="914"/>
                  </a:lnTo>
                  <a:lnTo>
                    <a:pt x="3334" y="914"/>
                  </a:lnTo>
                  <a:lnTo>
                    <a:pt x="3337" y="914"/>
                  </a:lnTo>
                  <a:lnTo>
                    <a:pt x="3340" y="915"/>
                  </a:lnTo>
                  <a:lnTo>
                    <a:pt x="3341" y="917"/>
                  </a:lnTo>
                  <a:lnTo>
                    <a:pt x="3343" y="917"/>
                  </a:lnTo>
                  <a:lnTo>
                    <a:pt x="3346" y="917"/>
                  </a:lnTo>
                  <a:lnTo>
                    <a:pt x="3349" y="917"/>
                  </a:lnTo>
                  <a:lnTo>
                    <a:pt x="3351" y="919"/>
                  </a:lnTo>
                  <a:lnTo>
                    <a:pt x="3353" y="920"/>
                  </a:lnTo>
                  <a:lnTo>
                    <a:pt x="3353" y="917"/>
                  </a:lnTo>
                  <a:lnTo>
                    <a:pt x="3351" y="914"/>
                  </a:lnTo>
                  <a:lnTo>
                    <a:pt x="3351" y="914"/>
                  </a:lnTo>
                  <a:lnTo>
                    <a:pt x="3347" y="913"/>
                  </a:lnTo>
                  <a:lnTo>
                    <a:pt x="3347" y="910"/>
                  </a:lnTo>
                  <a:lnTo>
                    <a:pt x="3344" y="908"/>
                  </a:lnTo>
                  <a:lnTo>
                    <a:pt x="3342" y="906"/>
                  </a:lnTo>
                  <a:lnTo>
                    <a:pt x="3340" y="906"/>
                  </a:lnTo>
                  <a:lnTo>
                    <a:pt x="3340" y="903"/>
                  </a:lnTo>
                  <a:lnTo>
                    <a:pt x="3341" y="900"/>
                  </a:lnTo>
                  <a:lnTo>
                    <a:pt x="3338" y="898"/>
                  </a:lnTo>
                  <a:lnTo>
                    <a:pt x="3337" y="895"/>
                  </a:lnTo>
                  <a:lnTo>
                    <a:pt x="3336" y="893"/>
                  </a:lnTo>
                  <a:lnTo>
                    <a:pt x="3335" y="890"/>
                  </a:lnTo>
                  <a:lnTo>
                    <a:pt x="3333" y="885"/>
                  </a:lnTo>
                  <a:lnTo>
                    <a:pt x="3333" y="883"/>
                  </a:lnTo>
                  <a:lnTo>
                    <a:pt x="3332" y="880"/>
                  </a:lnTo>
                  <a:lnTo>
                    <a:pt x="3328" y="878"/>
                  </a:lnTo>
                  <a:lnTo>
                    <a:pt x="3325" y="878"/>
                  </a:lnTo>
                  <a:lnTo>
                    <a:pt x="3325" y="877"/>
                  </a:lnTo>
                  <a:lnTo>
                    <a:pt x="3323" y="876"/>
                  </a:lnTo>
                  <a:lnTo>
                    <a:pt x="3319" y="873"/>
                  </a:lnTo>
                  <a:lnTo>
                    <a:pt x="3317" y="873"/>
                  </a:lnTo>
                  <a:lnTo>
                    <a:pt x="3317" y="871"/>
                  </a:lnTo>
                  <a:lnTo>
                    <a:pt x="3317" y="869"/>
                  </a:lnTo>
                  <a:lnTo>
                    <a:pt x="3318" y="868"/>
                  </a:lnTo>
                  <a:lnTo>
                    <a:pt x="3319" y="866"/>
                  </a:lnTo>
                  <a:lnTo>
                    <a:pt x="3321" y="863"/>
                  </a:lnTo>
                  <a:lnTo>
                    <a:pt x="3324" y="860"/>
                  </a:lnTo>
                  <a:lnTo>
                    <a:pt x="3326" y="860"/>
                  </a:lnTo>
                  <a:lnTo>
                    <a:pt x="3328" y="857"/>
                  </a:lnTo>
                  <a:lnTo>
                    <a:pt x="3329" y="855"/>
                  </a:lnTo>
                  <a:lnTo>
                    <a:pt x="3330" y="855"/>
                  </a:lnTo>
                  <a:lnTo>
                    <a:pt x="3330" y="853"/>
                  </a:lnTo>
                  <a:lnTo>
                    <a:pt x="3329" y="852"/>
                  </a:lnTo>
                  <a:lnTo>
                    <a:pt x="3329" y="851"/>
                  </a:lnTo>
                  <a:lnTo>
                    <a:pt x="3333" y="849"/>
                  </a:lnTo>
                  <a:lnTo>
                    <a:pt x="3333" y="852"/>
                  </a:lnTo>
                  <a:lnTo>
                    <a:pt x="3335" y="853"/>
                  </a:lnTo>
                  <a:lnTo>
                    <a:pt x="3337" y="852"/>
                  </a:lnTo>
                  <a:lnTo>
                    <a:pt x="3337" y="848"/>
                  </a:lnTo>
                  <a:lnTo>
                    <a:pt x="3340" y="847"/>
                  </a:lnTo>
                  <a:lnTo>
                    <a:pt x="3340" y="844"/>
                  </a:lnTo>
                  <a:lnTo>
                    <a:pt x="3338" y="845"/>
                  </a:lnTo>
                  <a:lnTo>
                    <a:pt x="3340" y="844"/>
                  </a:lnTo>
                  <a:lnTo>
                    <a:pt x="3341" y="845"/>
                  </a:lnTo>
                  <a:lnTo>
                    <a:pt x="3346" y="843"/>
                  </a:lnTo>
                  <a:lnTo>
                    <a:pt x="3349" y="842"/>
                  </a:lnTo>
                  <a:lnTo>
                    <a:pt x="3351" y="840"/>
                  </a:lnTo>
                  <a:lnTo>
                    <a:pt x="3353" y="839"/>
                  </a:lnTo>
                  <a:lnTo>
                    <a:pt x="3355" y="839"/>
                  </a:lnTo>
                  <a:lnTo>
                    <a:pt x="3358" y="838"/>
                  </a:lnTo>
                  <a:lnTo>
                    <a:pt x="3358" y="840"/>
                  </a:lnTo>
                  <a:lnTo>
                    <a:pt x="3361" y="840"/>
                  </a:lnTo>
                  <a:lnTo>
                    <a:pt x="3362" y="838"/>
                  </a:lnTo>
                  <a:lnTo>
                    <a:pt x="3363" y="836"/>
                  </a:lnTo>
                  <a:lnTo>
                    <a:pt x="3363" y="833"/>
                  </a:lnTo>
                  <a:lnTo>
                    <a:pt x="3360" y="831"/>
                  </a:lnTo>
                  <a:lnTo>
                    <a:pt x="3360" y="831"/>
                  </a:lnTo>
                  <a:lnTo>
                    <a:pt x="3356" y="829"/>
                  </a:lnTo>
                  <a:lnTo>
                    <a:pt x="3355" y="831"/>
                  </a:lnTo>
                  <a:lnTo>
                    <a:pt x="3354" y="830"/>
                  </a:lnTo>
                  <a:lnTo>
                    <a:pt x="3349" y="831"/>
                  </a:lnTo>
                  <a:lnTo>
                    <a:pt x="3346" y="828"/>
                  </a:lnTo>
                  <a:lnTo>
                    <a:pt x="3344" y="829"/>
                  </a:lnTo>
                  <a:lnTo>
                    <a:pt x="3342" y="826"/>
                  </a:lnTo>
                  <a:lnTo>
                    <a:pt x="3338" y="825"/>
                  </a:lnTo>
                  <a:lnTo>
                    <a:pt x="3336" y="826"/>
                  </a:lnTo>
                  <a:lnTo>
                    <a:pt x="3333" y="827"/>
                  </a:lnTo>
                  <a:lnTo>
                    <a:pt x="3330" y="830"/>
                  </a:lnTo>
                  <a:lnTo>
                    <a:pt x="3328" y="831"/>
                  </a:lnTo>
                  <a:lnTo>
                    <a:pt x="3326" y="834"/>
                  </a:lnTo>
                  <a:lnTo>
                    <a:pt x="3324" y="836"/>
                  </a:lnTo>
                  <a:lnTo>
                    <a:pt x="3323" y="836"/>
                  </a:lnTo>
                  <a:lnTo>
                    <a:pt x="3319" y="836"/>
                  </a:lnTo>
                  <a:lnTo>
                    <a:pt x="3317" y="836"/>
                  </a:lnTo>
                  <a:lnTo>
                    <a:pt x="3313" y="834"/>
                  </a:lnTo>
                  <a:lnTo>
                    <a:pt x="3313" y="833"/>
                  </a:lnTo>
                  <a:lnTo>
                    <a:pt x="3313" y="830"/>
                  </a:lnTo>
                  <a:lnTo>
                    <a:pt x="3315" y="827"/>
                  </a:lnTo>
                  <a:lnTo>
                    <a:pt x="3316" y="825"/>
                  </a:lnTo>
                  <a:lnTo>
                    <a:pt x="3313" y="822"/>
                  </a:lnTo>
                  <a:lnTo>
                    <a:pt x="3311" y="819"/>
                  </a:lnTo>
                  <a:lnTo>
                    <a:pt x="3310" y="820"/>
                  </a:lnTo>
                  <a:lnTo>
                    <a:pt x="3309" y="822"/>
                  </a:lnTo>
                  <a:lnTo>
                    <a:pt x="3306" y="820"/>
                  </a:lnTo>
                  <a:lnTo>
                    <a:pt x="3303" y="820"/>
                  </a:lnTo>
                  <a:lnTo>
                    <a:pt x="3301" y="820"/>
                  </a:lnTo>
                  <a:lnTo>
                    <a:pt x="3299" y="818"/>
                  </a:lnTo>
                  <a:lnTo>
                    <a:pt x="3299" y="818"/>
                  </a:lnTo>
                  <a:lnTo>
                    <a:pt x="3295" y="816"/>
                  </a:lnTo>
                  <a:lnTo>
                    <a:pt x="3294" y="812"/>
                  </a:lnTo>
                  <a:lnTo>
                    <a:pt x="3294" y="810"/>
                  </a:lnTo>
                  <a:lnTo>
                    <a:pt x="3296" y="808"/>
                  </a:lnTo>
                  <a:lnTo>
                    <a:pt x="3296" y="806"/>
                  </a:lnTo>
                  <a:lnTo>
                    <a:pt x="3298" y="804"/>
                  </a:lnTo>
                  <a:lnTo>
                    <a:pt x="3301" y="803"/>
                  </a:lnTo>
                  <a:lnTo>
                    <a:pt x="3307" y="805"/>
                  </a:lnTo>
                  <a:lnTo>
                    <a:pt x="3309" y="803"/>
                  </a:lnTo>
                  <a:lnTo>
                    <a:pt x="3311" y="804"/>
                  </a:lnTo>
                  <a:lnTo>
                    <a:pt x="3315" y="803"/>
                  </a:lnTo>
                  <a:lnTo>
                    <a:pt x="3318" y="800"/>
                  </a:lnTo>
                  <a:lnTo>
                    <a:pt x="3318" y="797"/>
                  </a:lnTo>
                  <a:lnTo>
                    <a:pt x="3319" y="794"/>
                  </a:lnTo>
                  <a:lnTo>
                    <a:pt x="3323" y="792"/>
                  </a:lnTo>
                  <a:lnTo>
                    <a:pt x="3325" y="791"/>
                  </a:lnTo>
                  <a:lnTo>
                    <a:pt x="3326" y="791"/>
                  </a:lnTo>
                  <a:lnTo>
                    <a:pt x="3327" y="791"/>
                  </a:lnTo>
                  <a:lnTo>
                    <a:pt x="3328" y="789"/>
                  </a:lnTo>
                  <a:lnTo>
                    <a:pt x="3332" y="787"/>
                  </a:lnTo>
                  <a:lnTo>
                    <a:pt x="3336" y="785"/>
                  </a:lnTo>
                  <a:lnTo>
                    <a:pt x="3337" y="782"/>
                  </a:lnTo>
                  <a:lnTo>
                    <a:pt x="3340" y="779"/>
                  </a:lnTo>
                  <a:lnTo>
                    <a:pt x="3342" y="779"/>
                  </a:lnTo>
                  <a:lnTo>
                    <a:pt x="3343" y="776"/>
                  </a:lnTo>
                  <a:lnTo>
                    <a:pt x="3344" y="775"/>
                  </a:lnTo>
                  <a:lnTo>
                    <a:pt x="3346" y="775"/>
                  </a:lnTo>
                  <a:lnTo>
                    <a:pt x="3350" y="777"/>
                  </a:lnTo>
                  <a:lnTo>
                    <a:pt x="3351" y="777"/>
                  </a:lnTo>
                  <a:lnTo>
                    <a:pt x="3353" y="774"/>
                  </a:lnTo>
                  <a:lnTo>
                    <a:pt x="3353" y="775"/>
                  </a:lnTo>
                  <a:lnTo>
                    <a:pt x="3355" y="778"/>
                  </a:lnTo>
                  <a:lnTo>
                    <a:pt x="3358" y="779"/>
                  </a:lnTo>
                  <a:lnTo>
                    <a:pt x="3358" y="780"/>
                  </a:lnTo>
                  <a:lnTo>
                    <a:pt x="3359" y="783"/>
                  </a:lnTo>
                  <a:lnTo>
                    <a:pt x="3356" y="785"/>
                  </a:lnTo>
                  <a:lnTo>
                    <a:pt x="3355" y="788"/>
                  </a:lnTo>
                  <a:lnTo>
                    <a:pt x="3354" y="791"/>
                  </a:lnTo>
                  <a:lnTo>
                    <a:pt x="3353" y="791"/>
                  </a:lnTo>
                  <a:lnTo>
                    <a:pt x="3351" y="792"/>
                  </a:lnTo>
                  <a:lnTo>
                    <a:pt x="3349" y="794"/>
                  </a:lnTo>
                  <a:lnTo>
                    <a:pt x="3349" y="796"/>
                  </a:lnTo>
                  <a:lnTo>
                    <a:pt x="3347" y="796"/>
                  </a:lnTo>
                  <a:lnTo>
                    <a:pt x="3345" y="797"/>
                  </a:lnTo>
                  <a:lnTo>
                    <a:pt x="3347" y="797"/>
                  </a:lnTo>
                  <a:lnTo>
                    <a:pt x="3349" y="801"/>
                  </a:lnTo>
                  <a:lnTo>
                    <a:pt x="3354" y="800"/>
                  </a:lnTo>
                  <a:lnTo>
                    <a:pt x="3353" y="801"/>
                  </a:lnTo>
                  <a:lnTo>
                    <a:pt x="3350" y="803"/>
                  </a:lnTo>
                  <a:lnTo>
                    <a:pt x="3349" y="805"/>
                  </a:lnTo>
                  <a:lnTo>
                    <a:pt x="3346" y="806"/>
                  </a:lnTo>
                  <a:lnTo>
                    <a:pt x="3344" y="808"/>
                  </a:lnTo>
                  <a:lnTo>
                    <a:pt x="3344" y="811"/>
                  </a:lnTo>
                  <a:lnTo>
                    <a:pt x="3347" y="810"/>
                  </a:lnTo>
                  <a:lnTo>
                    <a:pt x="3350" y="808"/>
                  </a:lnTo>
                  <a:lnTo>
                    <a:pt x="3355" y="805"/>
                  </a:lnTo>
                  <a:lnTo>
                    <a:pt x="3358" y="803"/>
                  </a:lnTo>
                  <a:lnTo>
                    <a:pt x="3360" y="801"/>
                  </a:lnTo>
                  <a:lnTo>
                    <a:pt x="3362" y="799"/>
                  </a:lnTo>
                  <a:lnTo>
                    <a:pt x="3366" y="797"/>
                  </a:lnTo>
                  <a:lnTo>
                    <a:pt x="3371" y="795"/>
                  </a:lnTo>
                  <a:lnTo>
                    <a:pt x="3373" y="794"/>
                  </a:lnTo>
                  <a:lnTo>
                    <a:pt x="3376" y="793"/>
                  </a:lnTo>
                  <a:lnTo>
                    <a:pt x="3377" y="793"/>
                  </a:lnTo>
                  <a:lnTo>
                    <a:pt x="3379" y="793"/>
                  </a:lnTo>
                  <a:lnTo>
                    <a:pt x="3385" y="793"/>
                  </a:lnTo>
                  <a:lnTo>
                    <a:pt x="3387" y="791"/>
                  </a:lnTo>
                  <a:lnTo>
                    <a:pt x="3387" y="791"/>
                  </a:lnTo>
                  <a:lnTo>
                    <a:pt x="3388" y="788"/>
                  </a:lnTo>
                  <a:lnTo>
                    <a:pt x="3389" y="789"/>
                  </a:lnTo>
                  <a:lnTo>
                    <a:pt x="3389" y="789"/>
                  </a:lnTo>
                  <a:lnTo>
                    <a:pt x="3389" y="789"/>
                  </a:lnTo>
                  <a:lnTo>
                    <a:pt x="3388" y="791"/>
                  </a:lnTo>
                  <a:lnTo>
                    <a:pt x="3388" y="791"/>
                  </a:lnTo>
                  <a:lnTo>
                    <a:pt x="3388" y="793"/>
                  </a:lnTo>
                  <a:lnTo>
                    <a:pt x="3390" y="795"/>
                  </a:lnTo>
                  <a:lnTo>
                    <a:pt x="3394" y="794"/>
                  </a:lnTo>
                  <a:lnTo>
                    <a:pt x="3396" y="796"/>
                  </a:lnTo>
                  <a:lnTo>
                    <a:pt x="3397" y="796"/>
                  </a:lnTo>
                  <a:lnTo>
                    <a:pt x="3400" y="797"/>
                  </a:lnTo>
                  <a:lnTo>
                    <a:pt x="3403" y="797"/>
                  </a:lnTo>
                  <a:lnTo>
                    <a:pt x="3402" y="800"/>
                  </a:lnTo>
                  <a:lnTo>
                    <a:pt x="3402" y="802"/>
                  </a:lnTo>
                  <a:lnTo>
                    <a:pt x="3401" y="804"/>
                  </a:lnTo>
                  <a:lnTo>
                    <a:pt x="3398" y="808"/>
                  </a:lnTo>
                  <a:lnTo>
                    <a:pt x="3400" y="810"/>
                  </a:lnTo>
                  <a:lnTo>
                    <a:pt x="3400" y="811"/>
                  </a:lnTo>
                  <a:lnTo>
                    <a:pt x="3403" y="810"/>
                  </a:lnTo>
                  <a:lnTo>
                    <a:pt x="3405" y="812"/>
                  </a:lnTo>
                  <a:lnTo>
                    <a:pt x="3405" y="812"/>
                  </a:lnTo>
                  <a:lnTo>
                    <a:pt x="3404" y="812"/>
                  </a:lnTo>
                  <a:lnTo>
                    <a:pt x="3402" y="811"/>
                  </a:lnTo>
                  <a:lnTo>
                    <a:pt x="3400" y="811"/>
                  </a:lnTo>
                  <a:lnTo>
                    <a:pt x="3396" y="813"/>
                  </a:lnTo>
                  <a:lnTo>
                    <a:pt x="3396" y="814"/>
                  </a:lnTo>
                  <a:lnTo>
                    <a:pt x="3395" y="816"/>
                  </a:lnTo>
                  <a:lnTo>
                    <a:pt x="3395" y="818"/>
                  </a:lnTo>
                  <a:lnTo>
                    <a:pt x="3394" y="820"/>
                  </a:lnTo>
                  <a:lnTo>
                    <a:pt x="3396" y="821"/>
                  </a:lnTo>
                  <a:lnTo>
                    <a:pt x="3400" y="821"/>
                  </a:lnTo>
                  <a:lnTo>
                    <a:pt x="3396" y="822"/>
                  </a:lnTo>
                  <a:lnTo>
                    <a:pt x="3396" y="823"/>
                  </a:lnTo>
                  <a:lnTo>
                    <a:pt x="3398" y="825"/>
                  </a:lnTo>
                  <a:lnTo>
                    <a:pt x="3401" y="826"/>
                  </a:lnTo>
                  <a:lnTo>
                    <a:pt x="3403" y="823"/>
                  </a:lnTo>
                  <a:lnTo>
                    <a:pt x="3403" y="827"/>
                  </a:lnTo>
                  <a:lnTo>
                    <a:pt x="3405" y="825"/>
                  </a:lnTo>
                  <a:lnTo>
                    <a:pt x="3405" y="822"/>
                  </a:lnTo>
                  <a:lnTo>
                    <a:pt x="3407" y="822"/>
                  </a:lnTo>
                  <a:lnTo>
                    <a:pt x="3410" y="825"/>
                  </a:lnTo>
                  <a:lnTo>
                    <a:pt x="3413" y="825"/>
                  </a:lnTo>
                  <a:lnTo>
                    <a:pt x="3415" y="823"/>
                  </a:lnTo>
                  <a:lnTo>
                    <a:pt x="3419" y="826"/>
                  </a:lnTo>
                  <a:lnTo>
                    <a:pt x="3420" y="825"/>
                  </a:lnTo>
                  <a:lnTo>
                    <a:pt x="3420" y="825"/>
                  </a:lnTo>
                  <a:lnTo>
                    <a:pt x="3420" y="827"/>
                  </a:lnTo>
                  <a:lnTo>
                    <a:pt x="3418" y="826"/>
                  </a:lnTo>
                  <a:lnTo>
                    <a:pt x="3418" y="827"/>
                  </a:lnTo>
                  <a:lnTo>
                    <a:pt x="3419" y="829"/>
                  </a:lnTo>
                  <a:lnTo>
                    <a:pt x="3420" y="831"/>
                  </a:lnTo>
                  <a:lnTo>
                    <a:pt x="3420" y="831"/>
                  </a:lnTo>
                  <a:lnTo>
                    <a:pt x="3421" y="835"/>
                  </a:lnTo>
                  <a:lnTo>
                    <a:pt x="3420" y="836"/>
                  </a:lnTo>
                  <a:lnTo>
                    <a:pt x="3422" y="836"/>
                  </a:lnTo>
                  <a:lnTo>
                    <a:pt x="3424" y="839"/>
                  </a:lnTo>
                  <a:lnTo>
                    <a:pt x="3422" y="842"/>
                  </a:lnTo>
                  <a:lnTo>
                    <a:pt x="3421" y="838"/>
                  </a:lnTo>
                  <a:lnTo>
                    <a:pt x="3418" y="839"/>
                  </a:lnTo>
                  <a:lnTo>
                    <a:pt x="3415" y="840"/>
                  </a:lnTo>
                  <a:lnTo>
                    <a:pt x="3413" y="840"/>
                  </a:lnTo>
                  <a:lnTo>
                    <a:pt x="3413" y="843"/>
                  </a:lnTo>
                  <a:lnTo>
                    <a:pt x="3414" y="843"/>
                  </a:lnTo>
                  <a:lnTo>
                    <a:pt x="3417" y="844"/>
                  </a:lnTo>
                  <a:lnTo>
                    <a:pt x="3419" y="846"/>
                  </a:lnTo>
                  <a:lnTo>
                    <a:pt x="3418" y="849"/>
                  </a:lnTo>
                  <a:lnTo>
                    <a:pt x="3418" y="852"/>
                  </a:lnTo>
                  <a:lnTo>
                    <a:pt x="3420" y="853"/>
                  </a:lnTo>
                  <a:lnTo>
                    <a:pt x="3419" y="854"/>
                  </a:lnTo>
                  <a:lnTo>
                    <a:pt x="3421" y="856"/>
                  </a:lnTo>
                  <a:lnTo>
                    <a:pt x="3418" y="859"/>
                  </a:lnTo>
                  <a:lnTo>
                    <a:pt x="3420" y="861"/>
                  </a:lnTo>
                  <a:lnTo>
                    <a:pt x="3417" y="862"/>
                  </a:lnTo>
                  <a:lnTo>
                    <a:pt x="3417" y="862"/>
                  </a:lnTo>
                  <a:lnTo>
                    <a:pt x="3415" y="865"/>
                  </a:lnTo>
                  <a:lnTo>
                    <a:pt x="3417" y="868"/>
                  </a:lnTo>
                  <a:lnTo>
                    <a:pt x="3413" y="866"/>
                  </a:lnTo>
                  <a:lnTo>
                    <a:pt x="3414" y="869"/>
                  </a:lnTo>
                  <a:lnTo>
                    <a:pt x="3415" y="871"/>
                  </a:lnTo>
                  <a:lnTo>
                    <a:pt x="3417" y="872"/>
                  </a:lnTo>
                  <a:lnTo>
                    <a:pt x="3419" y="872"/>
                  </a:lnTo>
                  <a:lnTo>
                    <a:pt x="3417" y="873"/>
                  </a:lnTo>
                  <a:lnTo>
                    <a:pt x="3417" y="876"/>
                  </a:lnTo>
                  <a:lnTo>
                    <a:pt x="3414" y="874"/>
                  </a:lnTo>
                  <a:lnTo>
                    <a:pt x="3417" y="877"/>
                  </a:lnTo>
                  <a:lnTo>
                    <a:pt x="3417" y="879"/>
                  </a:lnTo>
                  <a:lnTo>
                    <a:pt x="3419" y="879"/>
                  </a:lnTo>
                  <a:lnTo>
                    <a:pt x="3420" y="877"/>
                  </a:lnTo>
                  <a:lnTo>
                    <a:pt x="3423" y="877"/>
                  </a:lnTo>
                  <a:lnTo>
                    <a:pt x="3426" y="874"/>
                  </a:lnTo>
                  <a:lnTo>
                    <a:pt x="3428" y="873"/>
                  </a:lnTo>
                  <a:lnTo>
                    <a:pt x="3427" y="876"/>
                  </a:lnTo>
                  <a:lnTo>
                    <a:pt x="3429" y="878"/>
                  </a:lnTo>
                  <a:lnTo>
                    <a:pt x="3429" y="877"/>
                  </a:lnTo>
                  <a:lnTo>
                    <a:pt x="3430" y="876"/>
                  </a:lnTo>
                  <a:lnTo>
                    <a:pt x="3430" y="876"/>
                  </a:lnTo>
                  <a:lnTo>
                    <a:pt x="3429" y="872"/>
                  </a:lnTo>
                  <a:lnTo>
                    <a:pt x="3430" y="871"/>
                  </a:lnTo>
                  <a:lnTo>
                    <a:pt x="3431" y="874"/>
                  </a:lnTo>
                  <a:lnTo>
                    <a:pt x="3434" y="873"/>
                  </a:lnTo>
                  <a:lnTo>
                    <a:pt x="3431" y="871"/>
                  </a:lnTo>
                  <a:lnTo>
                    <a:pt x="3435" y="870"/>
                  </a:lnTo>
                  <a:lnTo>
                    <a:pt x="3436" y="870"/>
                  </a:lnTo>
                  <a:lnTo>
                    <a:pt x="3438" y="868"/>
                  </a:lnTo>
                  <a:lnTo>
                    <a:pt x="3439" y="871"/>
                  </a:lnTo>
                  <a:lnTo>
                    <a:pt x="3441" y="871"/>
                  </a:lnTo>
                  <a:lnTo>
                    <a:pt x="3443" y="872"/>
                  </a:lnTo>
                  <a:lnTo>
                    <a:pt x="3444" y="871"/>
                  </a:lnTo>
                  <a:lnTo>
                    <a:pt x="3444" y="869"/>
                  </a:lnTo>
                  <a:lnTo>
                    <a:pt x="3446" y="866"/>
                  </a:lnTo>
                  <a:lnTo>
                    <a:pt x="3448" y="868"/>
                  </a:lnTo>
                  <a:lnTo>
                    <a:pt x="3451" y="868"/>
                  </a:lnTo>
                  <a:lnTo>
                    <a:pt x="3451" y="866"/>
                  </a:lnTo>
                  <a:lnTo>
                    <a:pt x="3454" y="866"/>
                  </a:lnTo>
                  <a:lnTo>
                    <a:pt x="3455" y="866"/>
                  </a:lnTo>
                  <a:lnTo>
                    <a:pt x="3456" y="863"/>
                  </a:lnTo>
                  <a:lnTo>
                    <a:pt x="3456" y="861"/>
                  </a:lnTo>
                  <a:lnTo>
                    <a:pt x="3457" y="859"/>
                  </a:lnTo>
                  <a:lnTo>
                    <a:pt x="3458" y="856"/>
                  </a:lnTo>
                  <a:lnTo>
                    <a:pt x="3460" y="854"/>
                  </a:lnTo>
                  <a:lnTo>
                    <a:pt x="3457" y="854"/>
                  </a:lnTo>
                  <a:lnTo>
                    <a:pt x="3456" y="851"/>
                  </a:lnTo>
                  <a:lnTo>
                    <a:pt x="3456" y="848"/>
                  </a:lnTo>
                  <a:lnTo>
                    <a:pt x="3457" y="845"/>
                  </a:lnTo>
                  <a:lnTo>
                    <a:pt x="3457" y="843"/>
                  </a:lnTo>
                  <a:lnTo>
                    <a:pt x="3457" y="840"/>
                  </a:lnTo>
                  <a:lnTo>
                    <a:pt x="3457" y="837"/>
                  </a:lnTo>
                  <a:lnTo>
                    <a:pt x="3456" y="836"/>
                  </a:lnTo>
                  <a:lnTo>
                    <a:pt x="3455" y="833"/>
                  </a:lnTo>
                  <a:lnTo>
                    <a:pt x="3454" y="831"/>
                  </a:lnTo>
                  <a:lnTo>
                    <a:pt x="3451" y="826"/>
                  </a:lnTo>
                  <a:lnTo>
                    <a:pt x="3448" y="823"/>
                  </a:lnTo>
                  <a:lnTo>
                    <a:pt x="3447" y="820"/>
                  </a:lnTo>
                  <a:lnTo>
                    <a:pt x="3445" y="818"/>
                  </a:lnTo>
                  <a:lnTo>
                    <a:pt x="3445" y="817"/>
                  </a:lnTo>
                  <a:lnTo>
                    <a:pt x="3444" y="814"/>
                  </a:lnTo>
                  <a:lnTo>
                    <a:pt x="3443" y="812"/>
                  </a:lnTo>
                  <a:lnTo>
                    <a:pt x="3440" y="810"/>
                  </a:lnTo>
                  <a:lnTo>
                    <a:pt x="3437" y="808"/>
                  </a:lnTo>
                  <a:lnTo>
                    <a:pt x="3435" y="805"/>
                  </a:lnTo>
                  <a:lnTo>
                    <a:pt x="3432" y="804"/>
                  </a:lnTo>
                  <a:lnTo>
                    <a:pt x="3430" y="803"/>
                  </a:lnTo>
                  <a:lnTo>
                    <a:pt x="3429" y="802"/>
                  </a:lnTo>
                  <a:lnTo>
                    <a:pt x="3430" y="800"/>
                  </a:lnTo>
                  <a:lnTo>
                    <a:pt x="3430" y="800"/>
                  </a:lnTo>
                  <a:lnTo>
                    <a:pt x="3431" y="796"/>
                  </a:lnTo>
                  <a:lnTo>
                    <a:pt x="3431" y="794"/>
                  </a:lnTo>
                  <a:lnTo>
                    <a:pt x="3434" y="793"/>
                  </a:lnTo>
                  <a:lnTo>
                    <a:pt x="3437" y="791"/>
                  </a:lnTo>
                  <a:lnTo>
                    <a:pt x="3437" y="791"/>
                  </a:lnTo>
                  <a:lnTo>
                    <a:pt x="3439" y="789"/>
                  </a:lnTo>
                  <a:lnTo>
                    <a:pt x="3443" y="789"/>
                  </a:lnTo>
                  <a:lnTo>
                    <a:pt x="3445" y="787"/>
                  </a:lnTo>
                  <a:lnTo>
                    <a:pt x="3447" y="785"/>
                  </a:lnTo>
                  <a:lnTo>
                    <a:pt x="3451" y="784"/>
                  </a:lnTo>
                  <a:lnTo>
                    <a:pt x="3453" y="783"/>
                  </a:lnTo>
                  <a:lnTo>
                    <a:pt x="3454" y="780"/>
                  </a:lnTo>
                  <a:lnTo>
                    <a:pt x="3456" y="778"/>
                  </a:lnTo>
                  <a:lnTo>
                    <a:pt x="3458" y="777"/>
                  </a:lnTo>
                  <a:lnTo>
                    <a:pt x="3462" y="776"/>
                  </a:lnTo>
                  <a:lnTo>
                    <a:pt x="3461" y="772"/>
                  </a:lnTo>
                  <a:lnTo>
                    <a:pt x="3462" y="770"/>
                  </a:lnTo>
                  <a:lnTo>
                    <a:pt x="3462" y="769"/>
                  </a:lnTo>
                  <a:lnTo>
                    <a:pt x="3462" y="768"/>
                  </a:lnTo>
                  <a:lnTo>
                    <a:pt x="3461" y="765"/>
                  </a:lnTo>
                  <a:lnTo>
                    <a:pt x="3462" y="762"/>
                  </a:lnTo>
                  <a:lnTo>
                    <a:pt x="3463" y="759"/>
                  </a:lnTo>
                  <a:lnTo>
                    <a:pt x="3465" y="758"/>
                  </a:lnTo>
                  <a:lnTo>
                    <a:pt x="3465" y="758"/>
                  </a:lnTo>
                  <a:lnTo>
                    <a:pt x="3468" y="756"/>
                  </a:lnTo>
                  <a:lnTo>
                    <a:pt x="3470" y="753"/>
                  </a:lnTo>
                  <a:lnTo>
                    <a:pt x="3473" y="753"/>
                  </a:lnTo>
                  <a:lnTo>
                    <a:pt x="3474" y="753"/>
                  </a:lnTo>
                  <a:lnTo>
                    <a:pt x="3475" y="750"/>
                  </a:lnTo>
                  <a:lnTo>
                    <a:pt x="3474" y="748"/>
                  </a:lnTo>
                  <a:lnTo>
                    <a:pt x="3480" y="746"/>
                  </a:lnTo>
                  <a:lnTo>
                    <a:pt x="3483" y="744"/>
                  </a:lnTo>
                  <a:lnTo>
                    <a:pt x="3484" y="742"/>
                  </a:lnTo>
                  <a:lnTo>
                    <a:pt x="3487" y="740"/>
                  </a:lnTo>
                  <a:lnTo>
                    <a:pt x="3488" y="737"/>
                  </a:lnTo>
                  <a:lnTo>
                    <a:pt x="3489" y="736"/>
                  </a:lnTo>
                  <a:lnTo>
                    <a:pt x="3492" y="736"/>
                  </a:lnTo>
                  <a:lnTo>
                    <a:pt x="3490" y="739"/>
                  </a:lnTo>
                  <a:lnTo>
                    <a:pt x="3494" y="739"/>
                  </a:lnTo>
                  <a:lnTo>
                    <a:pt x="3496" y="736"/>
                  </a:lnTo>
                  <a:lnTo>
                    <a:pt x="3497" y="740"/>
                  </a:lnTo>
                  <a:lnTo>
                    <a:pt x="3496" y="742"/>
                  </a:lnTo>
                  <a:lnTo>
                    <a:pt x="3501" y="743"/>
                  </a:lnTo>
                  <a:lnTo>
                    <a:pt x="3506" y="744"/>
                  </a:lnTo>
                  <a:lnTo>
                    <a:pt x="3508" y="746"/>
                  </a:lnTo>
                  <a:lnTo>
                    <a:pt x="3514" y="744"/>
                  </a:lnTo>
                  <a:lnTo>
                    <a:pt x="3516" y="743"/>
                  </a:lnTo>
                  <a:lnTo>
                    <a:pt x="3518" y="743"/>
                  </a:lnTo>
                  <a:lnTo>
                    <a:pt x="3522" y="741"/>
                  </a:lnTo>
                  <a:lnTo>
                    <a:pt x="3524" y="740"/>
                  </a:lnTo>
                  <a:lnTo>
                    <a:pt x="3526" y="737"/>
                  </a:lnTo>
                  <a:lnTo>
                    <a:pt x="3528" y="737"/>
                  </a:lnTo>
                  <a:lnTo>
                    <a:pt x="3530" y="736"/>
                  </a:lnTo>
                  <a:lnTo>
                    <a:pt x="3531" y="735"/>
                  </a:lnTo>
                  <a:lnTo>
                    <a:pt x="3535" y="733"/>
                  </a:lnTo>
                  <a:lnTo>
                    <a:pt x="3537" y="729"/>
                  </a:lnTo>
                  <a:lnTo>
                    <a:pt x="3539" y="728"/>
                  </a:lnTo>
                  <a:lnTo>
                    <a:pt x="3539" y="728"/>
                  </a:lnTo>
                  <a:lnTo>
                    <a:pt x="3540" y="725"/>
                  </a:lnTo>
                  <a:lnTo>
                    <a:pt x="3542" y="723"/>
                  </a:lnTo>
                  <a:lnTo>
                    <a:pt x="3547" y="717"/>
                  </a:lnTo>
                  <a:lnTo>
                    <a:pt x="3549" y="716"/>
                  </a:lnTo>
                  <a:lnTo>
                    <a:pt x="3550" y="714"/>
                  </a:lnTo>
                  <a:lnTo>
                    <a:pt x="3552" y="711"/>
                  </a:lnTo>
                  <a:lnTo>
                    <a:pt x="3555" y="709"/>
                  </a:lnTo>
                  <a:lnTo>
                    <a:pt x="3556" y="708"/>
                  </a:lnTo>
                  <a:lnTo>
                    <a:pt x="3558" y="705"/>
                  </a:lnTo>
                  <a:lnTo>
                    <a:pt x="3564" y="700"/>
                  </a:lnTo>
                  <a:lnTo>
                    <a:pt x="3568" y="695"/>
                  </a:lnTo>
                  <a:lnTo>
                    <a:pt x="3575" y="688"/>
                  </a:lnTo>
                  <a:lnTo>
                    <a:pt x="3577" y="683"/>
                  </a:lnTo>
                  <a:lnTo>
                    <a:pt x="3577" y="682"/>
                  </a:lnTo>
                  <a:lnTo>
                    <a:pt x="3580" y="680"/>
                  </a:lnTo>
                  <a:lnTo>
                    <a:pt x="3580" y="677"/>
                  </a:lnTo>
                  <a:lnTo>
                    <a:pt x="3582" y="674"/>
                  </a:lnTo>
                  <a:lnTo>
                    <a:pt x="3586" y="668"/>
                  </a:lnTo>
                  <a:lnTo>
                    <a:pt x="3589" y="666"/>
                  </a:lnTo>
                  <a:lnTo>
                    <a:pt x="3590" y="664"/>
                  </a:lnTo>
                  <a:lnTo>
                    <a:pt x="3591" y="662"/>
                  </a:lnTo>
                  <a:lnTo>
                    <a:pt x="3593" y="658"/>
                  </a:lnTo>
                  <a:lnTo>
                    <a:pt x="3596" y="656"/>
                  </a:lnTo>
                  <a:lnTo>
                    <a:pt x="3598" y="654"/>
                  </a:lnTo>
                  <a:lnTo>
                    <a:pt x="3601" y="651"/>
                  </a:lnTo>
                  <a:lnTo>
                    <a:pt x="3602" y="650"/>
                  </a:lnTo>
                  <a:lnTo>
                    <a:pt x="3605" y="648"/>
                  </a:lnTo>
                  <a:lnTo>
                    <a:pt x="3605" y="643"/>
                  </a:lnTo>
                  <a:lnTo>
                    <a:pt x="3606" y="640"/>
                  </a:lnTo>
                  <a:lnTo>
                    <a:pt x="3606" y="638"/>
                  </a:lnTo>
                  <a:lnTo>
                    <a:pt x="3607" y="638"/>
                  </a:lnTo>
                  <a:lnTo>
                    <a:pt x="3607" y="635"/>
                  </a:lnTo>
                  <a:lnTo>
                    <a:pt x="3607" y="633"/>
                  </a:lnTo>
                  <a:lnTo>
                    <a:pt x="3607" y="633"/>
                  </a:lnTo>
                  <a:lnTo>
                    <a:pt x="3608" y="631"/>
                  </a:lnTo>
                  <a:lnTo>
                    <a:pt x="3609" y="628"/>
                  </a:lnTo>
                  <a:lnTo>
                    <a:pt x="3609" y="625"/>
                  </a:lnTo>
                  <a:lnTo>
                    <a:pt x="3608" y="623"/>
                  </a:lnTo>
                  <a:lnTo>
                    <a:pt x="3609" y="621"/>
                  </a:lnTo>
                  <a:lnTo>
                    <a:pt x="3609" y="618"/>
                  </a:lnTo>
                  <a:lnTo>
                    <a:pt x="3609" y="615"/>
                  </a:lnTo>
                  <a:lnTo>
                    <a:pt x="3609" y="613"/>
                  </a:lnTo>
                  <a:lnTo>
                    <a:pt x="3609" y="612"/>
                  </a:lnTo>
                  <a:lnTo>
                    <a:pt x="3608" y="607"/>
                  </a:lnTo>
                  <a:lnTo>
                    <a:pt x="3611" y="601"/>
                  </a:lnTo>
                  <a:lnTo>
                    <a:pt x="3611" y="599"/>
                  </a:lnTo>
                  <a:lnTo>
                    <a:pt x="3614" y="597"/>
                  </a:lnTo>
                  <a:lnTo>
                    <a:pt x="3615" y="594"/>
                  </a:lnTo>
                  <a:lnTo>
                    <a:pt x="3615" y="591"/>
                  </a:lnTo>
                  <a:lnTo>
                    <a:pt x="3618" y="589"/>
                  </a:lnTo>
                  <a:lnTo>
                    <a:pt x="3620" y="587"/>
                  </a:lnTo>
                  <a:lnTo>
                    <a:pt x="3620" y="583"/>
                  </a:lnTo>
                  <a:lnTo>
                    <a:pt x="3623" y="581"/>
                  </a:lnTo>
                  <a:lnTo>
                    <a:pt x="3623" y="580"/>
                  </a:lnTo>
                  <a:lnTo>
                    <a:pt x="3620" y="579"/>
                  </a:lnTo>
                  <a:lnTo>
                    <a:pt x="3617" y="578"/>
                  </a:lnTo>
                  <a:lnTo>
                    <a:pt x="3619" y="574"/>
                  </a:lnTo>
                  <a:lnTo>
                    <a:pt x="3619" y="572"/>
                  </a:lnTo>
                  <a:lnTo>
                    <a:pt x="3619" y="570"/>
                  </a:lnTo>
                  <a:lnTo>
                    <a:pt x="3611" y="564"/>
                  </a:lnTo>
                  <a:lnTo>
                    <a:pt x="3617" y="566"/>
                  </a:lnTo>
                  <a:lnTo>
                    <a:pt x="3619" y="564"/>
                  </a:lnTo>
                  <a:lnTo>
                    <a:pt x="3620" y="562"/>
                  </a:lnTo>
                  <a:lnTo>
                    <a:pt x="3618" y="560"/>
                  </a:lnTo>
                  <a:lnTo>
                    <a:pt x="3616" y="558"/>
                  </a:lnTo>
                  <a:lnTo>
                    <a:pt x="3612" y="555"/>
                  </a:lnTo>
                  <a:lnTo>
                    <a:pt x="3609" y="554"/>
                  </a:lnTo>
                  <a:lnTo>
                    <a:pt x="3607" y="552"/>
                  </a:lnTo>
                  <a:lnTo>
                    <a:pt x="3606" y="548"/>
                  </a:lnTo>
                  <a:lnTo>
                    <a:pt x="3605" y="546"/>
                  </a:lnTo>
                  <a:lnTo>
                    <a:pt x="3602" y="545"/>
                  </a:lnTo>
                  <a:lnTo>
                    <a:pt x="3599" y="543"/>
                  </a:lnTo>
                  <a:lnTo>
                    <a:pt x="3597" y="543"/>
                  </a:lnTo>
                  <a:lnTo>
                    <a:pt x="3593" y="544"/>
                  </a:lnTo>
                  <a:lnTo>
                    <a:pt x="3591" y="544"/>
                  </a:lnTo>
                  <a:lnTo>
                    <a:pt x="3588" y="543"/>
                  </a:lnTo>
                  <a:lnTo>
                    <a:pt x="3585" y="541"/>
                  </a:lnTo>
                  <a:lnTo>
                    <a:pt x="3584" y="545"/>
                  </a:lnTo>
                  <a:lnTo>
                    <a:pt x="3585" y="547"/>
                  </a:lnTo>
                  <a:lnTo>
                    <a:pt x="3584" y="549"/>
                  </a:lnTo>
                  <a:lnTo>
                    <a:pt x="3583" y="553"/>
                  </a:lnTo>
                  <a:lnTo>
                    <a:pt x="3582" y="555"/>
                  </a:lnTo>
                  <a:lnTo>
                    <a:pt x="3579" y="556"/>
                  </a:lnTo>
                  <a:lnTo>
                    <a:pt x="3580" y="554"/>
                  </a:lnTo>
                  <a:lnTo>
                    <a:pt x="3582" y="551"/>
                  </a:lnTo>
                  <a:lnTo>
                    <a:pt x="3582" y="548"/>
                  </a:lnTo>
                  <a:lnTo>
                    <a:pt x="3580" y="549"/>
                  </a:lnTo>
                  <a:lnTo>
                    <a:pt x="3579" y="552"/>
                  </a:lnTo>
                  <a:lnTo>
                    <a:pt x="3573" y="555"/>
                  </a:lnTo>
                  <a:lnTo>
                    <a:pt x="3568" y="556"/>
                  </a:lnTo>
                  <a:lnTo>
                    <a:pt x="3568" y="556"/>
                  </a:lnTo>
                  <a:lnTo>
                    <a:pt x="3565" y="556"/>
                  </a:lnTo>
                  <a:lnTo>
                    <a:pt x="3567" y="553"/>
                  </a:lnTo>
                  <a:lnTo>
                    <a:pt x="3568" y="551"/>
                  </a:lnTo>
                  <a:lnTo>
                    <a:pt x="3572" y="549"/>
                  </a:lnTo>
                  <a:lnTo>
                    <a:pt x="3568" y="548"/>
                  </a:lnTo>
                  <a:lnTo>
                    <a:pt x="3566" y="547"/>
                  </a:lnTo>
                  <a:lnTo>
                    <a:pt x="3568" y="544"/>
                  </a:lnTo>
                  <a:lnTo>
                    <a:pt x="3571" y="541"/>
                  </a:lnTo>
                  <a:lnTo>
                    <a:pt x="3567" y="541"/>
                  </a:lnTo>
                  <a:lnTo>
                    <a:pt x="3565" y="543"/>
                  </a:lnTo>
                  <a:lnTo>
                    <a:pt x="3562" y="545"/>
                  </a:lnTo>
                  <a:lnTo>
                    <a:pt x="3565" y="546"/>
                  </a:lnTo>
                  <a:lnTo>
                    <a:pt x="3564" y="549"/>
                  </a:lnTo>
                  <a:lnTo>
                    <a:pt x="3560" y="551"/>
                  </a:lnTo>
                  <a:lnTo>
                    <a:pt x="3558" y="552"/>
                  </a:lnTo>
                  <a:lnTo>
                    <a:pt x="3558" y="552"/>
                  </a:lnTo>
                  <a:lnTo>
                    <a:pt x="3556" y="548"/>
                  </a:lnTo>
                  <a:lnTo>
                    <a:pt x="3558" y="546"/>
                  </a:lnTo>
                  <a:lnTo>
                    <a:pt x="3557" y="540"/>
                  </a:lnTo>
                  <a:lnTo>
                    <a:pt x="3558" y="538"/>
                  </a:lnTo>
                  <a:lnTo>
                    <a:pt x="3558" y="536"/>
                  </a:lnTo>
                  <a:lnTo>
                    <a:pt x="3556" y="535"/>
                  </a:lnTo>
                  <a:lnTo>
                    <a:pt x="3552" y="536"/>
                  </a:lnTo>
                  <a:lnTo>
                    <a:pt x="3550" y="536"/>
                  </a:lnTo>
                  <a:lnTo>
                    <a:pt x="3545" y="537"/>
                  </a:lnTo>
                  <a:lnTo>
                    <a:pt x="3542" y="535"/>
                  </a:lnTo>
                  <a:lnTo>
                    <a:pt x="3539" y="535"/>
                  </a:lnTo>
                  <a:lnTo>
                    <a:pt x="3537" y="534"/>
                  </a:lnTo>
                  <a:lnTo>
                    <a:pt x="3535" y="531"/>
                  </a:lnTo>
                  <a:lnTo>
                    <a:pt x="3538" y="529"/>
                  </a:lnTo>
                  <a:lnTo>
                    <a:pt x="3541" y="527"/>
                  </a:lnTo>
                  <a:lnTo>
                    <a:pt x="3543" y="526"/>
                  </a:lnTo>
                  <a:lnTo>
                    <a:pt x="3549" y="522"/>
                  </a:lnTo>
                  <a:lnTo>
                    <a:pt x="3551" y="520"/>
                  </a:lnTo>
                  <a:lnTo>
                    <a:pt x="3554" y="518"/>
                  </a:lnTo>
                  <a:lnTo>
                    <a:pt x="3556" y="517"/>
                  </a:lnTo>
                  <a:lnTo>
                    <a:pt x="3559" y="514"/>
                  </a:lnTo>
                  <a:lnTo>
                    <a:pt x="3562" y="513"/>
                  </a:lnTo>
                  <a:lnTo>
                    <a:pt x="3566" y="510"/>
                  </a:lnTo>
                  <a:lnTo>
                    <a:pt x="3567" y="509"/>
                  </a:lnTo>
                  <a:lnTo>
                    <a:pt x="3569" y="506"/>
                  </a:lnTo>
                  <a:lnTo>
                    <a:pt x="3575" y="502"/>
                  </a:lnTo>
                  <a:lnTo>
                    <a:pt x="3577" y="501"/>
                  </a:lnTo>
                  <a:lnTo>
                    <a:pt x="3576" y="497"/>
                  </a:lnTo>
                  <a:lnTo>
                    <a:pt x="3580" y="495"/>
                  </a:lnTo>
                  <a:lnTo>
                    <a:pt x="3580" y="494"/>
                  </a:lnTo>
                  <a:lnTo>
                    <a:pt x="3585" y="491"/>
                  </a:lnTo>
                  <a:lnTo>
                    <a:pt x="3588" y="488"/>
                  </a:lnTo>
                  <a:lnTo>
                    <a:pt x="3590" y="486"/>
                  </a:lnTo>
                  <a:lnTo>
                    <a:pt x="3592" y="484"/>
                  </a:lnTo>
                  <a:lnTo>
                    <a:pt x="3594" y="484"/>
                  </a:lnTo>
                  <a:lnTo>
                    <a:pt x="3598" y="480"/>
                  </a:lnTo>
                  <a:lnTo>
                    <a:pt x="3600" y="479"/>
                  </a:lnTo>
                  <a:lnTo>
                    <a:pt x="3602" y="476"/>
                  </a:lnTo>
                  <a:lnTo>
                    <a:pt x="3608" y="475"/>
                  </a:lnTo>
                  <a:lnTo>
                    <a:pt x="3609" y="471"/>
                  </a:lnTo>
                  <a:lnTo>
                    <a:pt x="3610" y="469"/>
                  </a:lnTo>
                  <a:lnTo>
                    <a:pt x="3611" y="466"/>
                  </a:lnTo>
                  <a:lnTo>
                    <a:pt x="3614" y="463"/>
                  </a:lnTo>
                  <a:lnTo>
                    <a:pt x="3616" y="461"/>
                  </a:lnTo>
                  <a:lnTo>
                    <a:pt x="3619" y="461"/>
                  </a:lnTo>
                  <a:lnTo>
                    <a:pt x="3625" y="457"/>
                  </a:lnTo>
                  <a:lnTo>
                    <a:pt x="3627" y="454"/>
                  </a:lnTo>
                  <a:lnTo>
                    <a:pt x="3628" y="451"/>
                  </a:lnTo>
                  <a:lnTo>
                    <a:pt x="3631" y="449"/>
                  </a:lnTo>
                  <a:lnTo>
                    <a:pt x="3636" y="445"/>
                  </a:lnTo>
                  <a:lnTo>
                    <a:pt x="3642" y="444"/>
                  </a:lnTo>
                  <a:lnTo>
                    <a:pt x="3645" y="443"/>
                  </a:lnTo>
                  <a:lnTo>
                    <a:pt x="3645" y="443"/>
                  </a:lnTo>
                  <a:lnTo>
                    <a:pt x="3649" y="443"/>
                  </a:lnTo>
                  <a:lnTo>
                    <a:pt x="3651" y="443"/>
                  </a:lnTo>
                  <a:lnTo>
                    <a:pt x="3651" y="443"/>
                  </a:lnTo>
                  <a:lnTo>
                    <a:pt x="3657" y="442"/>
                  </a:lnTo>
                  <a:lnTo>
                    <a:pt x="3660" y="442"/>
                  </a:lnTo>
                  <a:lnTo>
                    <a:pt x="3662" y="442"/>
                  </a:lnTo>
                  <a:lnTo>
                    <a:pt x="3665" y="443"/>
                  </a:lnTo>
                  <a:lnTo>
                    <a:pt x="3670" y="443"/>
                  </a:lnTo>
                  <a:lnTo>
                    <a:pt x="3673" y="442"/>
                  </a:lnTo>
                  <a:lnTo>
                    <a:pt x="3676" y="442"/>
                  </a:lnTo>
                  <a:lnTo>
                    <a:pt x="3678" y="442"/>
                  </a:lnTo>
                  <a:lnTo>
                    <a:pt x="3682" y="442"/>
                  </a:lnTo>
                  <a:lnTo>
                    <a:pt x="3682" y="445"/>
                  </a:lnTo>
                  <a:lnTo>
                    <a:pt x="3684" y="447"/>
                  </a:lnTo>
                  <a:lnTo>
                    <a:pt x="3686" y="446"/>
                  </a:lnTo>
                  <a:lnTo>
                    <a:pt x="3688" y="443"/>
                  </a:lnTo>
                  <a:lnTo>
                    <a:pt x="3691" y="441"/>
                  </a:lnTo>
                  <a:lnTo>
                    <a:pt x="3694" y="443"/>
                  </a:lnTo>
                  <a:lnTo>
                    <a:pt x="3696" y="443"/>
                  </a:lnTo>
                  <a:lnTo>
                    <a:pt x="3702" y="444"/>
                  </a:lnTo>
                  <a:lnTo>
                    <a:pt x="3704" y="445"/>
                  </a:lnTo>
                  <a:lnTo>
                    <a:pt x="3708" y="444"/>
                  </a:lnTo>
                  <a:lnTo>
                    <a:pt x="3710" y="442"/>
                  </a:lnTo>
                  <a:lnTo>
                    <a:pt x="3712" y="442"/>
                  </a:lnTo>
                  <a:lnTo>
                    <a:pt x="3716" y="442"/>
                  </a:lnTo>
                  <a:lnTo>
                    <a:pt x="3717" y="444"/>
                  </a:lnTo>
                  <a:lnTo>
                    <a:pt x="3720" y="445"/>
                  </a:lnTo>
                  <a:lnTo>
                    <a:pt x="3722" y="444"/>
                  </a:lnTo>
                  <a:lnTo>
                    <a:pt x="3721" y="442"/>
                  </a:lnTo>
                  <a:lnTo>
                    <a:pt x="3722" y="440"/>
                  </a:lnTo>
                  <a:lnTo>
                    <a:pt x="3726" y="441"/>
                  </a:lnTo>
                  <a:lnTo>
                    <a:pt x="3726" y="437"/>
                  </a:lnTo>
                  <a:lnTo>
                    <a:pt x="3728" y="436"/>
                  </a:lnTo>
                  <a:lnTo>
                    <a:pt x="3731" y="435"/>
                  </a:lnTo>
                  <a:lnTo>
                    <a:pt x="3734" y="435"/>
                  </a:lnTo>
                  <a:lnTo>
                    <a:pt x="3737" y="435"/>
                  </a:lnTo>
                  <a:lnTo>
                    <a:pt x="3738" y="436"/>
                  </a:lnTo>
                  <a:lnTo>
                    <a:pt x="3740" y="436"/>
                  </a:lnTo>
                  <a:lnTo>
                    <a:pt x="3743" y="437"/>
                  </a:lnTo>
                  <a:lnTo>
                    <a:pt x="3746" y="438"/>
                  </a:lnTo>
                  <a:lnTo>
                    <a:pt x="3748" y="440"/>
                  </a:lnTo>
                  <a:lnTo>
                    <a:pt x="3746" y="440"/>
                  </a:lnTo>
                  <a:lnTo>
                    <a:pt x="3748" y="441"/>
                  </a:lnTo>
                  <a:lnTo>
                    <a:pt x="3751" y="441"/>
                  </a:lnTo>
                  <a:lnTo>
                    <a:pt x="3753" y="438"/>
                  </a:lnTo>
                  <a:lnTo>
                    <a:pt x="3756" y="438"/>
                  </a:lnTo>
                  <a:lnTo>
                    <a:pt x="3759" y="440"/>
                  </a:lnTo>
                  <a:lnTo>
                    <a:pt x="3761" y="442"/>
                  </a:lnTo>
                  <a:lnTo>
                    <a:pt x="3762" y="444"/>
                  </a:lnTo>
                  <a:lnTo>
                    <a:pt x="3764" y="444"/>
                  </a:lnTo>
                  <a:lnTo>
                    <a:pt x="3768" y="446"/>
                  </a:lnTo>
                  <a:lnTo>
                    <a:pt x="3762" y="447"/>
                  </a:lnTo>
                  <a:lnTo>
                    <a:pt x="3760" y="447"/>
                  </a:lnTo>
                  <a:lnTo>
                    <a:pt x="3756" y="447"/>
                  </a:lnTo>
                  <a:lnTo>
                    <a:pt x="3754" y="447"/>
                  </a:lnTo>
                  <a:lnTo>
                    <a:pt x="3755" y="451"/>
                  </a:lnTo>
                  <a:lnTo>
                    <a:pt x="3756" y="453"/>
                  </a:lnTo>
                  <a:lnTo>
                    <a:pt x="3761" y="453"/>
                  </a:lnTo>
                  <a:lnTo>
                    <a:pt x="3762" y="453"/>
                  </a:lnTo>
                  <a:lnTo>
                    <a:pt x="3765" y="452"/>
                  </a:lnTo>
                  <a:lnTo>
                    <a:pt x="3768" y="451"/>
                  </a:lnTo>
                  <a:lnTo>
                    <a:pt x="3770" y="450"/>
                  </a:lnTo>
                  <a:lnTo>
                    <a:pt x="3776" y="452"/>
                  </a:lnTo>
                  <a:lnTo>
                    <a:pt x="3779" y="451"/>
                  </a:lnTo>
                  <a:lnTo>
                    <a:pt x="3781" y="449"/>
                  </a:lnTo>
                  <a:lnTo>
                    <a:pt x="3785" y="449"/>
                  </a:lnTo>
                  <a:lnTo>
                    <a:pt x="3785" y="445"/>
                  </a:lnTo>
                  <a:lnTo>
                    <a:pt x="3788" y="446"/>
                  </a:lnTo>
                  <a:lnTo>
                    <a:pt x="3790" y="446"/>
                  </a:lnTo>
                  <a:lnTo>
                    <a:pt x="3793" y="449"/>
                  </a:lnTo>
                  <a:lnTo>
                    <a:pt x="3796" y="449"/>
                  </a:lnTo>
                  <a:lnTo>
                    <a:pt x="3798" y="446"/>
                  </a:lnTo>
                  <a:lnTo>
                    <a:pt x="3802" y="446"/>
                  </a:lnTo>
                  <a:lnTo>
                    <a:pt x="3807" y="446"/>
                  </a:lnTo>
                  <a:lnTo>
                    <a:pt x="3810" y="445"/>
                  </a:lnTo>
                  <a:lnTo>
                    <a:pt x="3808" y="442"/>
                  </a:lnTo>
                  <a:lnTo>
                    <a:pt x="3806" y="441"/>
                  </a:lnTo>
                  <a:lnTo>
                    <a:pt x="3803" y="440"/>
                  </a:lnTo>
                  <a:lnTo>
                    <a:pt x="3801" y="441"/>
                  </a:lnTo>
                  <a:lnTo>
                    <a:pt x="3798" y="441"/>
                  </a:lnTo>
                  <a:lnTo>
                    <a:pt x="3795" y="440"/>
                  </a:lnTo>
                  <a:lnTo>
                    <a:pt x="3798" y="437"/>
                  </a:lnTo>
                  <a:lnTo>
                    <a:pt x="3797" y="435"/>
                  </a:lnTo>
                  <a:lnTo>
                    <a:pt x="3797" y="432"/>
                  </a:lnTo>
                  <a:lnTo>
                    <a:pt x="3799" y="433"/>
                  </a:lnTo>
                  <a:lnTo>
                    <a:pt x="3801" y="429"/>
                  </a:lnTo>
                  <a:lnTo>
                    <a:pt x="3802" y="427"/>
                  </a:lnTo>
                  <a:lnTo>
                    <a:pt x="3804" y="425"/>
                  </a:lnTo>
                  <a:lnTo>
                    <a:pt x="3807" y="423"/>
                  </a:lnTo>
                  <a:lnTo>
                    <a:pt x="3813" y="419"/>
                  </a:lnTo>
                  <a:lnTo>
                    <a:pt x="3815" y="417"/>
                  </a:lnTo>
                  <a:lnTo>
                    <a:pt x="3819" y="416"/>
                  </a:lnTo>
                  <a:lnTo>
                    <a:pt x="3821" y="410"/>
                  </a:lnTo>
                  <a:lnTo>
                    <a:pt x="3824" y="408"/>
                  </a:lnTo>
                  <a:lnTo>
                    <a:pt x="3827" y="406"/>
                  </a:lnTo>
                  <a:lnTo>
                    <a:pt x="3830" y="404"/>
                  </a:lnTo>
                  <a:lnTo>
                    <a:pt x="3830" y="402"/>
                  </a:lnTo>
                  <a:lnTo>
                    <a:pt x="3830" y="399"/>
                  </a:lnTo>
                  <a:lnTo>
                    <a:pt x="3833" y="398"/>
                  </a:lnTo>
                  <a:lnTo>
                    <a:pt x="3836" y="395"/>
                  </a:lnTo>
                  <a:lnTo>
                    <a:pt x="3838" y="394"/>
                  </a:lnTo>
                  <a:lnTo>
                    <a:pt x="3841" y="392"/>
                  </a:lnTo>
                  <a:lnTo>
                    <a:pt x="3847" y="393"/>
                  </a:lnTo>
                  <a:lnTo>
                    <a:pt x="3849" y="394"/>
                  </a:lnTo>
                  <a:lnTo>
                    <a:pt x="3852" y="392"/>
                  </a:lnTo>
                  <a:lnTo>
                    <a:pt x="3855" y="392"/>
                  </a:lnTo>
                  <a:lnTo>
                    <a:pt x="3859" y="392"/>
                  </a:lnTo>
                  <a:lnTo>
                    <a:pt x="3863" y="390"/>
                  </a:lnTo>
                  <a:lnTo>
                    <a:pt x="3865" y="390"/>
                  </a:lnTo>
                  <a:lnTo>
                    <a:pt x="3867" y="392"/>
                  </a:lnTo>
                  <a:lnTo>
                    <a:pt x="3870" y="395"/>
                  </a:lnTo>
                  <a:lnTo>
                    <a:pt x="3872" y="394"/>
                  </a:lnTo>
                  <a:lnTo>
                    <a:pt x="3879" y="390"/>
                  </a:lnTo>
                  <a:lnTo>
                    <a:pt x="3881" y="393"/>
                  </a:lnTo>
                  <a:lnTo>
                    <a:pt x="3876" y="401"/>
                  </a:lnTo>
                  <a:lnTo>
                    <a:pt x="3875" y="401"/>
                  </a:lnTo>
                  <a:lnTo>
                    <a:pt x="3873" y="403"/>
                  </a:lnTo>
                  <a:lnTo>
                    <a:pt x="3875" y="406"/>
                  </a:lnTo>
                  <a:lnTo>
                    <a:pt x="3874" y="409"/>
                  </a:lnTo>
                  <a:lnTo>
                    <a:pt x="3875" y="409"/>
                  </a:lnTo>
                  <a:lnTo>
                    <a:pt x="3879" y="408"/>
                  </a:lnTo>
                  <a:lnTo>
                    <a:pt x="3881" y="408"/>
                  </a:lnTo>
                  <a:lnTo>
                    <a:pt x="3881" y="411"/>
                  </a:lnTo>
                  <a:lnTo>
                    <a:pt x="3879" y="414"/>
                  </a:lnTo>
                  <a:lnTo>
                    <a:pt x="3878" y="416"/>
                  </a:lnTo>
                  <a:lnTo>
                    <a:pt x="3880" y="416"/>
                  </a:lnTo>
                  <a:lnTo>
                    <a:pt x="3883" y="415"/>
                  </a:lnTo>
                  <a:lnTo>
                    <a:pt x="3885" y="415"/>
                  </a:lnTo>
                  <a:lnTo>
                    <a:pt x="3888" y="411"/>
                  </a:lnTo>
                  <a:lnTo>
                    <a:pt x="3893" y="408"/>
                  </a:lnTo>
                  <a:lnTo>
                    <a:pt x="3896" y="404"/>
                  </a:lnTo>
                  <a:lnTo>
                    <a:pt x="3901" y="401"/>
                  </a:lnTo>
                  <a:lnTo>
                    <a:pt x="3905" y="400"/>
                  </a:lnTo>
                  <a:lnTo>
                    <a:pt x="3907" y="397"/>
                  </a:lnTo>
                  <a:lnTo>
                    <a:pt x="3909" y="395"/>
                  </a:lnTo>
                  <a:lnTo>
                    <a:pt x="3910" y="395"/>
                  </a:lnTo>
                  <a:lnTo>
                    <a:pt x="3913" y="397"/>
                  </a:lnTo>
                  <a:lnTo>
                    <a:pt x="3916" y="394"/>
                  </a:lnTo>
                  <a:lnTo>
                    <a:pt x="3916" y="398"/>
                  </a:lnTo>
                  <a:lnTo>
                    <a:pt x="3919" y="397"/>
                  </a:lnTo>
                  <a:lnTo>
                    <a:pt x="3919" y="393"/>
                  </a:lnTo>
                  <a:lnTo>
                    <a:pt x="3916" y="393"/>
                  </a:lnTo>
                  <a:lnTo>
                    <a:pt x="3917" y="390"/>
                  </a:lnTo>
                  <a:lnTo>
                    <a:pt x="3918" y="387"/>
                  </a:lnTo>
                  <a:lnTo>
                    <a:pt x="3918" y="384"/>
                  </a:lnTo>
                  <a:lnTo>
                    <a:pt x="3918" y="382"/>
                  </a:lnTo>
                  <a:lnTo>
                    <a:pt x="3922" y="381"/>
                  </a:lnTo>
                  <a:lnTo>
                    <a:pt x="3919" y="378"/>
                  </a:lnTo>
                  <a:lnTo>
                    <a:pt x="3923" y="376"/>
                  </a:lnTo>
                  <a:lnTo>
                    <a:pt x="3925" y="375"/>
                  </a:lnTo>
                  <a:lnTo>
                    <a:pt x="3929" y="375"/>
                  </a:lnTo>
                  <a:lnTo>
                    <a:pt x="3931" y="374"/>
                  </a:lnTo>
                  <a:lnTo>
                    <a:pt x="3934" y="374"/>
                  </a:lnTo>
                  <a:lnTo>
                    <a:pt x="3936" y="374"/>
                  </a:lnTo>
                  <a:lnTo>
                    <a:pt x="3939" y="375"/>
                  </a:lnTo>
                  <a:lnTo>
                    <a:pt x="3942" y="376"/>
                  </a:lnTo>
                  <a:lnTo>
                    <a:pt x="3944" y="377"/>
                  </a:lnTo>
                  <a:lnTo>
                    <a:pt x="3950" y="378"/>
                  </a:lnTo>
                  <a:lnTo>
                    <a:pt x="3952" y="378"/>
                  </a:lnTo>
                  <a:lnTo>
                    <a:pt x="3953" y="378"/>
                  </a:lnTo>
                  <a:lnTo>
                    <a:pt x="3952" y="378"/>
                  </a:lnTo>
                  <a:lnTo>
                    <a:pt x="3948" y="378"/>
                  </a:lnTo>
                  <a:lnTo>
                    <a:pt x="3948" y="381"/>
                  </a:lnTo>
                  <a:lnTo>
                    <a:pt x="3946" y="380"/>
                  </a:lnTo>
                  <a:lnTo>
                    <a:pt x="3942" y="380"/>
                  </a:lnTo>
                  <a:lnTo>
                    <a:pt x="3940" y="378"/>
                  </a:lnTo>
                  <a:lnTo>
                    <a:pt x="3938" y="378"/>
                  </a:lnTo>
                  <a:lnTo>
                    <a:pt x="3934" y="381"/>
                  </a:lnTo>
                  <a:lnTo>
                    <a:pt x="3932" y="383"/>
                  </a:lnTo>
                  <a:lnTo>
                    <a:pt x="3932" y="385"/>
                  </a:lnTo>
                  <a:lnTo>
                    <a:pt x="3931" y="389"/>
                  </a:lnTo>
                  <a:lnTo>
                    <a:pt x="3931" y="394"/>
                  </a:lnTo>
                  <a:lnTo>
                    <a:pt x="3929" y="395"/>
                  </a:lnTo>
                  <a:lnTo>
                    <a:pt x="3927" y="399"/>
                  </a:lnTo>
                  <a:lnTo>
                    <a:pt x="3930" y="401"/>
                  </a:lnTo>
                  <a:lnTo>
                    <a:pt x="3930" y="403"/>
                  </a:lnTo>
                  <a:lnTo>
                    <a:pt x="3927" y="406"/>
                  </a:lnTo>
                  <a:lnTo>
                    <a:pt x="3924" y="408"/>
                  </a:lnTo>
                  <a:lnTo>
                    <a:pt x="3927" y="410"/>
                  </a:lnTo>
                  <a:lnTo>
                    <a:pt x="3922" y="414"/>
                  </a:lnTo>
                  <a:lnTo>
                    <a:pt x="3919" y="414"/>
                  </a:lnTo>
                  <a:lnTo>
                    <a:pt x="3916" y="414"/>
                  </a:lnTo>
                  <a:lnTo>
                    <a:pt x="3914" y="417"/>
                  </a:lnTo>
                  <a:lnTo>
                    <a:pt x="3910" y="417"/>
                  </a:lnTo>
                  <a:lnTo>
                    <a:pt x="3908" y="418"/>
                  </a:lnTo>
                  <a:lnTo>
                    <a:pt x="3906" y="419"/>
                  </a:lnTo>
                  <a:lnTo>
                    <a:pt x="3902" y="420"/>
                  </a:lnTo>
                  <a:lnTo>
                    <a:pt x="3902" y="424"/>
                  </a:lnTo>
                  <a:lnTo>
                    <a:pt x="3900" y="426"/>
                  </a:lnTo>
                  <a:lnTo>
                    <a:pt x="3898" y="428"/>
                  </a:lnTo>
                  <a:lnTo>
                    <a:pt x="3895" y="429"/>
                  </a:lnTo>
                  <a:lnTo>
                    <a:pt x="3893" y="433"/>
                  </a:lnTo>
                  <a:lnTo>
                    <a:pt x="3890" y="435"/>
                  </a:lnTo>
                  <a:lnTo>
                    <a:pt x="3888" y="437"/>
                  </a:lnTo>
                  <a:lnTo>
                    <a:pt x="3885" y="438"/>
                  </a:lnTo>
                  <a:lnTo>
                    <a:pt x="3882" y="440"/>
                  </a:lnTo>
                  <a:lnTo>
                    <a:pt x="3881" y="442"/>
                  </a:lnTo>
                  <a:lnTo>
                    <a:pt x="3879" y="444"/>
                  </a:lnTo>
                  <a:lnTo>
                    <a:pt x="3875" y="446"/>
                  </a:lnTo>
                  <a:lnTo>
                    <a:pt x="3873" y="449"/>
                  </a:lnTo>
                  <a:lnTo>
                    <a:pt x="3873" y="451"/>
                  </a:lnTo>
                  <a:lnTo>
                    <a:pt x="3871" y="453"/>
                  </a:lnTo>
                  <a:lnTo>
                    <a:pt x="3868" y="457"/>
                  </a:lnTo>
                  <a:lnTo>
                    <a:pt x="3865" y="459"/>
                  </a:lnTo>
                  <a:lnTo>
                    <a:pt x="3863" y="461"/>
                  </a:lnTo>
                  <a:lnTo>
                    <a:pt x="3861" y="463"/>
                  </a:lnTo>
                  <a:lnTo>
                    <a:pt x="3857" y="464"/>
                  </a:lnTo>
                  <a:lnTo>
                    <a:pt x="3855" y="467"/>
                  </a:lnTo>
                  <a:lnTo>
                    <a:pt x="3852" y="469"/>
                  </a:lnTo>
                  <a:lnTo>
                    <a:pt x="3849" y="470"/>
                  </a:lnTo>
                  <a:lnTo>
                    <a:pt x="3847" y="470"/>
                  </a:lnTo>
                  <a:lnTo>
                    <a:pt x="3844" y="470"/>
                  </a:lnTo>
                  <a:lnTo>
                    <a:pt x="3842" y="472"/>
                  </a:lnTo>
                  <a:lnTo>
                    <a:pt x="3839" y="475"/>
                  </a:lnTo>
                  <a:lnTo>
                    <a:pt x="3837" y="475"/>
                  </a:lnTo>
                  <a:lnTo>
                    <a:pt x="3833" y="474"/>
                  </a:lnTo>
                  <a:lnTo>
                    <a:pt x="3831" y="475"/>
                  </a:lnTo>
                  <a:lnTo>
                    <a:pt x="3833" y="478"/>
                  </a:lnTo>
                  <a:lnTo>
                    <a:pt x="3835" y="480"/>
                  </a:lnTo>
                  <a:lnTo>
                    <a:pt x="3833" y="484"/>
                  </a:lnTo>
                  <a:lnTo>
                    <a:pt x="3831" y="486"/>
                  </a:lnTo>
                  <a:lnTo>
                    <a:pt x="3830" y="488"/>
                  </a:lnTo>
                  <a:lnTo>
                    <a:pt x="3828" y="489"/>
                  </a:lnTo>
                  <a:lnTo>
                    <a:pt x="3825" y="492"/>
                  </a:lnTo>
                  <a:lnTo>
                    <a:pt x="3822" y="495"/>
                  </a:lnTo>
                  <a:lnTo>
                    <a:pt x="3820" y="497"/>
                  </a:lnTo>
                  <a:lnTo>
                    <a:pt x="3820" y="501"/>
                  </a:lnTo>
                  <a:lnTo>
                    <a:pt x="3819" y="503"/>
                  </a:lnTo>
                  <a:lnTo>
                    <a:pt x="3818" y="505"/>
                  </a:lnTo>
                  <a:lnTo>
                    <a:pt x="3816" y="509"/>
                  </a:lnTo>
                  <a:lnTo>
                    <a:pt x="3816" y="511"/>
                  </a:lnTo>
                  <a:lnTo>
                    <a:pt x="3816" y="513"/>
                  </a:lnTo>
                  <a:lnTo>
                    <a:pt x="3816" y="515"/>
                  </a:lnTo>
                  <a:lnTo>
                    <a:pt x="3815" y="519"/>
                  </a:lnTo>
                  <a:lnTo>
                    <a:pt x="3815" y="521"/>
                  </a:lnTo>
                  <a:lnTo>
                    <a:pt x="3815" y="523"/>
                  </a:lnTo>
                  <a:lnTo>
                    <a:pt x="3815" y="527"/>
                  </a:lnTo>
                  <a:lnTo>
                    <a:pt x="3815" y="529"/>
                  </a:lnTo>
                  <a:lnTo>
                    <a:pt x="3816" y="532"/>
                  </a:lnTo>
                  <a:lnTo>
                    <a:pt x="3816" y="535"/>
                  </a:lnTo>
                  <a:lnTo>
                    <a:pt x="3816" y="537"/>
                  </a:lnTo>
                  <a:lnTo>
                    <a:pt x="3818" y="540"/>
                  </a:lnTo>
                  <a:lnTo>
                    <a:pt x="3818" y="543"/>
                  </a:lnTo>
                  <a:lnTo>
                    <a:pt x="3819" y="546"/>
                  </a:lnTo>
                  <a:lnTo>
                    <a:pt x="3820" y="548"/>
                  </a:lnTo>
                  <a:lnTo>
                    <a:pt x="3820" y="551"/>
                  </a:lnTo>
                  <a:lnTo>
                    <a:pt x="3821" y="554"/>
                  </a:lnTo>
                  <a:lnTo>
                    <a:pt x="3821" y="556"/>
                  </a:lnTo>
                  <a:lnTo>
                    <a:pt x="3821" y="560"/>
                  </a:lnTo>
                  <a:lnTo>
                    <a:pt x="3822" y="562"/>
                  </a:lnTo>
                  <a:lnTo>
                    <a:pt x="3822" y="564"/>
                  </a:lnTo>
                  <a:lnTo>
                    <a:pt x="3822" y="568"/>
                  </a:lnTo>
                  <a:lnTo>
                    <a:pt x="3823" y="570"/>
                  </a:lnTo>
                  <a:lnTo>
                    <a:pt x="3824" y="573"/>
                  </a:lnTo>
                  <a:lnTo>
                    <a:pt x="3827" y="574"/>
                  </a:lnTo>
                  <a:lnTo>
                    <a:pt x="3825" y="578"/>
                  </a:lnTo>
                  <a:lnTo>
                    <a:pt x="3827" y="580"/>
                  </a:lnTo>
                  <a:lnTo>
                    <a:pt x="3828" y="583"/>
                  </a:lnTo>
                  <a:lnTo>
                    <a:pt x="3828" y="586"/>
                  </a:lnTo>
                  <a:lnTo>
                    <a:pt x="3828" y="588"/>
                  </a:lnTo>
                  <a:lnTo>
                    <a:pt x="3828" y="591"/>
                  </a:lnTo>
                  <a:lnTo>
                    <a:pt x="3828" y="594"/>
                  </a:lnTo>
                  <a:lnTo>
                    <a:pt x="3828" y="597"/>
                  </a:lnTo>
                  <a:lnTo>
                    <a:pt x="3831" y="599"/>
                  </a:lnTo>
                  <a:lnTo>
                    <a:pt x="3831" y="601"/>
                  </a:lnTo>
                  <a:lnTo>
                    <a:pt x="3830" y="605"/>
                  </a:lnTo>
                  <a:lnTo>
                    <a:pt x="3832" y="603"/>
                  </a:lnTo>
                  <a:lnTo>
                    <a:pt x="3836" y="600"/>
                  </a:lnTo>
                  <a:lnTo>
                    <a:pt x="3837" y="599"/>
                  </a:lnTo>
                  <a:lnTo>
                    <a:pt x="3840" y="597"/>
                  </a:lnTo>
                  <a:lnTo>
                    <a:pt x="3842" y="594"/>
                  </a:lnTo>
                  <a:lnTo>
                    <a:pt x="3845" y="592"/>
                  </a:lnTo>
                  <a:lnTo>
                    <a:pt x="3847" y="590"/>
                  </a:lnTo>
                  <a:lnTo>
                    <a:pt x="3850" y="588"/>
                  </a:lnTo>
                  <a:lnTo>
                    <a:pt x="3853" y="585"/>
                  </a:lnTo>
                  <a:lnTo>
                    <a:pt x="3853" y="582"/>
                  </a:lnTo>
                  <a:lnTo>
                    <a:pt x="3854" y="580"/>
                  </a:lnTo>
                  <a:lnTo>
                    <a:pt x="3856" y="577"/>
                  </a:lnTo>
                  <a:lnTo>
                    <a:pt x="3856" y="574"/>
                  </a:lnTo>
                  <a:lnTo>
                    <a:pt x="3856" y="571"/>
                  </a:lnTo>
                  <a:lnTo>
                    <a:pt x="3857" y="569"/>
                  </a:lnTo>
                  <a:lnTo>
                    <a:pt x="3855" y="568"/>
                  </a:lnTo>
                  <a:lnTo>
                    <a:pt x="3856" y="565"/>
                  </a:lnTo>
                  <a:lnTo>
                    <a:pt x="3858" y="568"/>
                  </a:lnTo>
                  <a:lnTo>
                    <a:pt x="3861" y="566"/>
                  </a:lnTo>
                  <a:lnTo>
                    <a:pt x="3863" y="564"/>
                  </a:lnTo>
                  <a:lnTo>
                    <a:pt x="3866" y="563"/>
                  </a:lnTo>
                  <a:lnTo>
                    <a:pt x="3868" y="562"/>
                  </a:lnTo>
                  <a:lnTo>
                    <a:pt x="3872" y="562"/>
                  </a:lnTo>
                  <a:lnTo>
                    <a:pt x="3874" y="563"/>
                  </a:lnTo>
                  <a:lnTo>
                    <a:pt x="3875" y="564"/>
                  </a:lnTo>
                  <a:lnTo>
                    <a:pt x="3876" y="562"/>
                  </a:lnTo>
                  <a:lnTo>
                    <a:pt x="3875" y="561"/>
                  </a:lnTo>
                  <a:lnTo>
                    <a:pt x="3874" y="558"/>
                  </a:lnTo>
                  <a:lnTo>
                    <a:pt x="3875" y="555"/>
                  </a:lnTo>
                  <a:lnTo>
                    <a:pt x="3873" y="553"/>
                  </a:lnTo>
                  <a:lnTo>
                    <a:pt x="3874" y="549"/>
                  </a:lnTo>
                  <a:lnTo>
                    <a:pt x="3874" y="547"/>
                  </a:lnTo>
                  <a:lnTo>
                    <a:pt x="3875" y="545"/>
                  </a:lnTo>
                  <a:lnTo>
                    <a:pt x="3879" y="543"/>
                  </a:lnTo>
                  <a:lnTo>
                    <a:pt x="3881" y="540"/>
                  </a:lnTo>
                  <a:lnTo>
                    <a:pt x="3884" y="538"/>
                  </a:lnTo>
                  <a:lnTo>
                    <a:pt x="3887" y="537"/>
                  </a:lnTo>
                  <a:lnTo>
                    <a:pt x="3890" y="536"/>
                  </a:lnTo>
                  <a:lnTo>
                    <a:pt x="3892" y="537"/>
                  </a:lnTo>
                  <a:lnTo>
                    <a:pt x="3895" y="538"/>
                  </a:lnTo>
                  <a:lnTo>
                    <a:pt x="3898" y="537"/>
                  </a:lnTo>
                  <a:lnTo>
                    <a:pt x="3900" y="536"/>
                  </a:lnTo>
                  <a:lnTo>
                    <a:pt x="3904" y="534"/>
                  </a:lnTo>
                  <a:lnTo>
                    <a:pt x="3905" y="531"/>
                  </a:lnTo>
                  <a:lnTo>
                    <a:pt x="3904" y="529"/>
                  </a:lnTo>
                  <a:lnTo>
                    <a:pt x="3900" y="526"/>
                  </a:lnTo>
                  <a:lnTo>
                    <a:pt x="3899" y="523"/>
                  </a:lnTo>
                  <a:lnTo>
                    <a:pt x="3899" y="520"/>
                  </a:lnTo>
                  <a:lnTo>
                    <a:pt x="3899" y="518"/>
                  </a:lnTo>
                  <a:lnTo>
                    <a:pt x="3900" y="514"/>
                  </a:lnTo>
                  <a:lnTo>
                    <a:pt x="3902" y="512"/>
                  </a:lnTo>
                  <a:lnTo>
                    <a:pt x="3904" y="510"/>
                  </a:lnTo>
                  <a:lnTo>
                    <a:pt x="3905" y="506"/>
                  </a:lnTo>
                  <a:lnTo>
                    <a:pt x="3908" y="505"/>
                  </a:lnTo>
                  <a:lnTo>
                    <a:pt x="3909" y="505"/>
                  </a:lnTo>
                  <a:lnTo>
                    <a:pt x="3908" y="502"/>
                  </a:lnTo>
                  <a:lnTo>
                    <a:pt x="3912" y="501"/>
                  </a:lnTo>
                  <a:lnTo>
                    <a:pt x="3914" y="501"/>
                  </a:lnTo>
                  <a:lnTo>
                    <a:pt x="3917" y="498"/>
                  </a:lnTo>
                  <a:lnTo>
                    <a:pt x="3916" y="501"/>
                  </a:lnTo>
                  <a:lnTo>
                    <a:pt x="3913" y="502"/>
                  </a:lnTo>
                  <a:lnTo>
                    <a:pt x="3912" y="505"/>
                  </a:lnTo>
                  <a:lnTo>
                    <a:pt x="3914" y="508"/>
                  </a:lnTo>
                  <a:lnTo>
                    <a:pt x="3916" y="509"/>
                  </a:lnTo>
                  <a:lnTo>
                    <a:pt x="3919" y="506"/>
                  </a:lnTo>
                  <a:lnTo>
                    <a:pt x="3922" y="504"/>
                  </a:lnTo>
                  <a:lnTo>
                    <a:pt x="3921" y="501"/>
                  </a:lnTo>
                  <a:lnTo>
                    <a:pt x="3921" y="498"/>
                  </a:lnTo>
                  <a:lnTo>
                    <a:pt x="3921" y="496"/>
                  </a:lnTo>
                  <a:lnTo>
                    <a:pt x="3917" y="495"/>
                  </a:lnTo>
                  <a:lnTo>
                    <a:pt x="3915" y="495"/>
                  </a:lnTo>
                  <a:lnTo>
                    <a:pt x="3914" y="492"/>
                  </a:lnTo>
                  <a:lnTo>
                    <a:pt x="3914" y="489"/>
                  </a:lnTo>
                  <a:lnTo>
                    <a:pt x="3914" y="487"/>
                  </a:lnTo>
                  <a:lnTo>
                    <a:pt x="3914" y="486"/>
                  </a:lnTo>
                  <a:lnTo>
                    <a:pt x="3914" y="483"/>
                  </a:lnTo>
                  <a:lnTo>
                    <a:pt x="3916" y="480"/>
                  </a:lnTo>
                  <a:lnTo>
                    <a:pt x="3919" y="478"/>
                  </a:lnTo>
                  <a:lnTo>
                    <a:pt x="3921" y="476"/>
                  </a:lnTo>
                  <a:lnTo>
                    <a:pt x="3918" y="474"/>
                  </a:lnTo>
                  <a:lnTo>
                    <a:pt x="3915" y="472"/>
                  </a:lnTo>
                  <a:lnTo>
                    <a:pt x="3913" y="470"/>
                  </a:lnTo>
                  <a:lnTo>
                    <a:pt x="3909" y="472"/>
                  </a:lnTo>
                  <a:lnTo>
                    <a:pt x="3909" y="475"/>
                  </a:lnTo>
                  <a:lnTo>
                    <a:pt x="3907" y="475"/>
                  </a:lnTo>
                  <a:lnTo>
                    <a:pt x="3905" y="472"/>
                  </a:lnTo>
                  <a:lnTo>
                    <a:pt x="3902" y="470"/>
                  </a:lnTo>
                  <a:lnTo>
                    <a:pt x="3902" y="467"/>
                  </a:lnTo>
                  <a:lnTo>
                    <a:pt x="3905" y="461"/>
                  </a:lnTo>
                  <a:lnTo>
                    <a:pt x="3907" y="459"/>
                  </a:lnTo>
                  <a:lnTo>
                    <a:pt x="3909" y="457"/>
                  </a:lnTo>
                  <a:lnTo>
                    <a:pt x="3912" y="454"/>
                  </a:lnTo>
                  <a:lnTo>
                    <a:pt x="3915" y="452"/>
                  </a:lnTo>
                  <a:lnTo>
                    <a:pt x="3917" y="450"/>
                  </a:lnTo>
                  <a:lnTo>
                    <a:pt x="3915" y="447"/>
                  </a:lnTo>
                  <a:lnTo>
                    <a:pt x="3917" y="447"/>
                  </a:lnTo>
                  <a:lnTo>
                    <a:pt x="3918" y="444"/>
                  </a:lnTo>
                  <a:lnTo>
                    <a:pt x="3921" y="444"/>
                  </a:lnTo>
                  <a:lnTo>
                    <a:pt x="3921" y="442"/>
                  </a:lnTo>
                  <a:lnTo>
                    <a:pt x="3919" y="438"/>
                  </a:lnTo>
                  <a:lnTo>
                    <a:pt x="3922" y="437"/>
                  </a:lnTo>
                  <a:lnTo>
                    <a:pt x="3922" y="435"/>
                  </a:lnTo>
                  <a:lnTo>
                    <a:pt x="3923" y="433"/>
                  </a:lnTo>
                  <a:lnTo>
                    <a:pt x="3926" y="432"/>
                  </a:lnTo>
                  <a:lnTo>
                    <a:pt x="3925" y="429"/>
                  </a:lnTo>
                  <a:lnTo>
                    <a:pt x="3929" y="428"/>
                  </a:lnTo>
                  <a:lnTo>
                    <a:pt x="3931" y="429"/>
                  </a:lnTo>
                  <a:lnTo>
                    <a:pt x="3932" y="429"/>
                  </a:lnTo>
                  <a:lnTo>
                    <a:pt x="3931" y="433"/>
                  </a:lnTo>
                  <a:lnTo>
                    <a:pt x="3934" y="430"/>
                  </a:lnTo>
                  <a:lnTo>
                    <a:pt x="3935" y="429"/>
                  </a:lnTo>
                  <a:lnTo>
                    <a:pt x="3938" y="428"/>
                  </a:lnTo>
                  <a:lnTo>
                    <a:pt x="3940" y="429"/>
                  </a:lnTo>
                  <a:lnTo>
                    <a:pt x="3941" y="433"/>
                  </a:lnTo>
                  <a:lnTo>
                    <a:pt x="3943" y="433"/>
                  </a:lnTo>
                  <a:lnTo>
                    <a:pt x="3947" y="430"/>
                  </a:lnTo>
                  <a:lnTo>
                    <a:pt x="3947" y="429"/>
                  </a:lnTo>
                  <a:lnTo>
                    <a:pt x="3944" y="428"/>
                  </a:lnTo>
                  <a:lnTo>
                    <a:pt x="3947" y="428"/>
                  </a:lnTo>
                  <a:lnTo>
                    <a:pt x="3950" y="426"/>
                  </a:lnTo>
                  <a:lnTo>
                    <a:pt x="3952" y="425"/>
                  </a:lnTo>
                  <a:lnTo>
                    <a:pt x="3956" y="424"/>
                  </a:lnTo>
                  <a:lnTo>
                    <a:pt x="3958" y="421"/>
                  </a:lnTo>
                  <a:lnTo>
                    <a:pt x="3960" y="420"/>
                  </a:lnTo>
                  <a:lnTo>
                    <a:pt x="3961" y="423"/>
                  </a:lnTo>
                  <a:lnTo>
                    <a:pt x="3961" y="426"/>
                  </a:lnTo>
                  <a:lnTo>
                    <a:pt x="3960" y="428"/>
                  </a:lnTo>
                  <a:lnTo>
                    <a:pt x="3960" y="429"/>
                  </a:lnTo>
                  <a:lnTo>
                    <a:pt x="3959" y="433"/>
                  </a:lnTo>
                  <a:lnTo>
                    <a:pt x="3963" y="433"/>
                  </a:lnTo>
                  <a:lnTo>
                    <a:pt x="3965" y="430"/>
                  </a:lnTo>
                  <a:lnTo>
                    <a:pt x="3965" y="429"/>
                  </a:lnTo>
                  <a:lnTo>
                    <a:pt x="3968" y="427"/>
                  </a:lnTo>
                  <a:lnTo>
                    <a:pt x="3970" y="425"/>
                  </a:lnTo>
                  <a:lnTo>
                    <a:pt x="3973" y="421"/>
                  </a:lnTo>
                  <a:lnTo>
                    <a:pt x="3975" y="423"/>
                  </a:lnTo>
                  <a:lnTo>
                    <a:pt x="3977" y="421"/>
                  </a:lnTo>
                  <a:lnTo>
                    <a:pt x="3981" y="420"/>
                  </a:lnTo>
                  <a:lnTo>
                    <a:pt x="3983" y="419"/>
                  </a:lnTo>
                  <a:lnTo>
                    <a:pt x="3986" y="418"/>
                  </a:lnTo>
                  <a:lnTo>
                    <a:pt x="3989" y="418"/>
                  </a:lnTo>
                  <a:lnTo>
                    <a:pt x="3992" y="418"/>
                  </a:lnTo>
                  <a:lnTo>
                    <a:pt x="3994" y="418"/>
                  </a:lnTo>
                  <a:lnTo>
                    <a:pt x="3998" y="418"/>
                  </a:lnTo>
                  <a:lnTo>
                    <a:pt x="4000" y="418"/>
                  </a:lnTo>
                  <a:lnTo>
                    <a:pt x="4002" y="417"/>
                  </a:lnTo>
                  <a:lnTo>
                    <a:pt x="4006" y="419"/>
                  </a:lnTo>
                  <a:lnTo>
                    <a:pt x="4007" y="420"/>
                  </a:lnTo>
                  <a:lnTo>
                    <a:pt x="4009" y="423"/>
                  </a:lnTo>
                  <a:lnTo>
                    <a:pt x="4011" y="425"/>
                  </a:lnTo>
                  <a:lnTo>
                    <a:pt x="4011" y="427"/>
                  </a:lnTo>
                  <a:lnTo>
                    <a:pt x="4012" y="428"/>
                  </a:lnTo>
                  <a:lnTo>
                    <a:pt x="4015" y="429"/>
                  </a:lnTo>
                  <a:lnTo>
                    <a:pt x="4017" y="432"/>
                  </a:lnTo>
                  <a:lnTo>
                    <a:pt x="4018" y="429"/>
                  </a:lnTo>
                  <a:lnTo>
                    <a:pt x="4019" y="427"/>
                  </a:lnTo>
                  <a:lnTo>
                    <a:pt x="4019" y="425"/>
                  </a:lnTo>
                  <a:lnTo>
                    <a:pt x="4021" y="421"/>
                  </a:lnTo>
                  <a:lnTo>
                    <a:pt x="4024" y="419"/>
                  </a:lnTo>
                  <a:lnTo>
                    <a:pt x="4026" y="419"/>
                  </a:lnTo>
                  <a:lnTo>
                    <a:pt x="4029" y="418"/>
                  </a:lnTo>
                  <a:lnTo>
                    <a:pt x="4032" y="415"/>
                  </a:lnTo>
                  <a:lnTo>
                    <a:pt x="4035" y="415"/>
                  </a:lnTo>
                  <a:lnTo>
                    <a:pt x="4037" y="412"/>
                  </a:lnTo>
                  <a:lnTo>
                    <a:pt x="4041" y="412"/>
                  </a:lnTo>
                  <a:lnTo>
                    <a:pt x="4042" y="411"/>
                  </a:lnTo>
                  <a:lnTo>
                    <a:pt x="4042" y="409"/>
                  </a:lnTo>
                  <a:lnTo>
                    <a:pt x="4045" y="409"/>
                  </a:lnTo>
                  <a:lnTo>
                    <a:pt x="4043" y="407"/>
                  </a:lnTo>
                  <a:lnTo>
                    <a:pt x="4046" y="404"/>
                  </a:lnTo>
                  <a:lnTo>
                    <a:pt x="4049" y="406"/>
                  </a:lnTo>
                  <a:lnTo>
                    <a:pt x="4050" y="402"/>
                  </a:lnTo>
                  <a:lnTo>
                    <a:pt x="4052" y="403"/>
                  </a:lnTo>
                  <a:lnTo>
                    <a:pt x="4051" y="401"/>
                  </a:lnTo>
                  <a:lnTo>
                    <a:pt x="4053" y="400"/>
                  </a:lnTo>
                  <a:lnTo>
                    <a:pt x="4055" y="401"/>
                  </a:lnTo>
                  <a:lnTo>
                    <a:pt x="4058" y="398"/>
                  </a:lnTo>
                  <a:lnTo>
                    <a:pt x="4061" y="395"/>
                  </a:lnTo>
                  <a:lnTo>
                    <a:pt x="4063" y="394"/>
                  </a:lnTo>
                  <a:lnTo>
                    <a:pt x="4066" y="394"/>
                  </a:lnTo>
                  <a:lnTo>
                    <a:pt x="4069" y="393"/>
                  </a:lnTo>
                  <a:lnTo>
                    <a:pt x="4071" y="392"/>
                  </a:lnTo>
                  <a:lnTo>
                    <a:pt x="4074" y="392"/>
                  </a:lnTo>
                  <a:lnTo>
                    <a:pt x="4077" y="392"/>
                  </a:lnTo>
                  <a:lnTo>
                    <a:pt x="4076" y="389"/>
                  </a:lnTo>
                  <a:lnTo>
                    <a:pt x="4078" y="390"/>
                  </a:lnTo>
                  <a:lnTo>
                    <a:pt x="4081" y="389"/>
                  </a:lnTo>
                  <a:lnTo>
                    <a:pt x="4084" y="387"/>
                  </a:lnTo>
                  <a:lnTo>
                    <a:pt x="4085" y="385"/>
                  </a:lnTo>
                  <a:lnTo>
                    <a:pt x="4087" y="385"/>
                  </a:lnTo>
                  <a:lnTo>
                    <a:pt x="4091" y="384"/>
                  </a:lnTo>
                  <a:lnTo>
                    <a:pt x="4093" y="383"/>
                  </a:lnTo>
                  <a:lnTo>
                    <a:pt x="4096" y="383"/>
                  </a:lnTo>
                  <a:lnTo>
                    <a:pt x="4098" y="382"/>
                  </a:lnTo>
                  <a:lnTo>
                    <a:pt x="4102" y="380"/>
                  </a:lnTo>
                  <a:lnTo>
                    <a:pt x="4104" y="377"/>
                  </a:lnTo>
                  <a:lnTo>
                    <a:pt x="4107" y="377"/>
                  </a:lnTo>
                  <a:lnTo>
                    <a:pt x="4110" y="376"/>
                  </a:lnTo>
                  <a:lnTo>
                    <a:pt x="4107" y="374"/>
                  </a:lnTo>
                  <a:lnTo>
                    <a:pt x="4109" y="370"/>
                  </a:lnTo>
                  <a:lnTo>
                    <a:pt x="4109" y="370"/>
                  </a:lnTo>
                  <a:lnTo>
                    <a:pt x="4111" y="373"/>
                  </a:lnTo>
                  <a:lnTo>
                    <a:pt x="4113" y="372"/>
                  </a:lnTo>
                  <a:lnTo>
                    <a:pt x="4113" y="374"/>
                  </a:lnTo>
                  <a:lnTo>
                    <a:pt x="4115" y="376"/>
                  </a:lnTo>
                  <a:lnTo>
                    <a:pt x="4119" y="376"/>
                  </a:lnTo>
                  <a:lnTo>
                    <a:pt x="4121" y="376"/>
                  </a:lnTo>
                  <a:lnTo>
                    <a:pt x="4124" y="377"/>
                  </a:lnTo>
                  <a:lnTo>
                    <a:pt x="4127" y="378"/>
                  </a:lnTo>
                  <a:lnTo>
                    <a:pt x="4130" y="380"/>
                  </a:lnTo>
                  <a:lnTo>
                    <a:pt x="4132" y="380"/>
                  </a:lnTo>
                  <a:lnTo>
                    <a:pt x="4135" y="381"/>
                  </a:lnTo>
                  <a:lnTo>
                    <a:pt x="4138" y="382"/>
                  </a:lnTo>
                  <a:lnTo>
                    <a:pt x="4137" y="378"/>
                  </a:lnTo>
                  <a:lnTo>
                    <a:pt x="4140" y="377"/>
                  </a:lnTo>
                  <a:lnTo>
                    <a:pt x="4143" y="375"/>
                  </a:lnTo>
                  <a:lnTo>
                    <a:pt x="4144" y="373"/>
                  </a:lnTo>
                  <a:lnTo>
                    <a:pt x="4143" y="369"/>
                  </a:lnTo>
                  <a:lnTo>
                    <a:pt x="4140" y="369"/>
                  </a:lnTo>
                  <a:lnTo>
                    <a:pt x="4139" y="366"/>
                  </a:lnTo>
                  <a:lnTo>
                    <a:pt x="4140" y="364"/>
                  </a:lnTo>
                  <a:lnTo>
                    <a:pt x="4138" y="361"/>
                  </a:lnTo>
                  <a:lnTo>
                    <a:pt x="4135" y="360"/>
                  </a:lnTo>
                  <a:lnTo>
                    <a:pt x="4135" y="359"/>
                  </a:lnTo>
                  <a:lnTo>
                    <a:pt x="4134" y="356"/>
                  </a:lnTo>
                  <a:lnTo>
                    <a:pt x="4132" y="359"/>
                  </a:lnTo>
                  <a:lnTo>
                    <a:pt x="4132" y="356"/>
                  </a:lnTo>
                  <a:lnTo>
                    <a:pt x="4130" y="355"/>
                  </a:lnTo>
                  <a:lnTo>
                    <a:pt x="4127" y="356"/>
                  </a:lnTo>
                  <a:lnTo>
                    <a:pt x="4130" y="353"/>
                  </a:lnTo>
                  <a:lnTo>
                    <a:pt x="4132" y="353"/>
                  </a:lnTo>
                  <a:lnTo>
                    <a:pt x="4132" y="351"/>
                  </a:lnTo>
                  <a:lnTo>
                    <a:pt x="4131" y="348"/>
                  </a:lnTo>
                  <a:lnTo>
                    <a:pt x="4130" y="346"/>
                  </a:lnTo>
                  <a:lnTo>
                    <a:pt x="4129" y="343"/>
                  </a:lnTo>
                  <a:lnTo>
                    <a:pt x="4128" y="340"/>
                  </a:lnTo>
                  <a:lnTo>
                    <a:pt x="4127" y="338"/>
                  </a:lnTo>
                  <a:lnTo>
                    <a:pt x="4123" y="340"/>
                  </a:lnTo>
                  <a:lnTo>
                    <a:pt x="4121" y="340"/>
                  </a:lnTo>
                  <a:lnTo>
                    <a:pt x="4118" y="339"/>
                  </a:lnTo>
                  <a:lnTo>
                    <a:pt x="4115" y="337"/>
                  </a:lnTo>
                  <a:lnTo>
                    <a:pt x="4113" y="334"/>
                  </a:lnTo>
                  <a:lnTo>
                    <a:pt x="4114" y="331"/>
                  </a:lnTo>
                  <a:lnTo>
                    <a:pt x="4113" y="329"/>
                  </a:lnTo>
                  <a:lnTo>
                    <a:pt x="4111" y="330"/>
                  </a:lnTo>
                  <a:lnTo>
                    <a:pt x="4109" y="330"/>
                  </a:lnTo>
                  <a:lnTo>
                    <a:pt x="4105" y="332"/>
                  </a:lnTo>
                  <a:lnTo>
                    <a:pt x="4103" y="331"/>
                  </a:lnTo>
                  <a:lnTo>
                    <a:pt x="4100" y="331"/>
                  </a:lnTo>
                  <a:lnTo>
                    <a:pt x="4097" y="332"/>
                  </a:lnTo>
                  <a:lnTo>
                    <a:pt x="4100" y="331"/>
                  </a:lnTo>
                  <a:lnTo>
                    <a:pt x="4098" y="327"/>
                  </a:lnTo>
                  <a:lnTo>
                    <a:pt x="4096" y="325"/>
                  </a:lnTo>
                  <a:lnTo>
                    <a:pt x="4094" y="325"/>
                  </a:lnTo>
                  <a:lnTo>
                    <a:pt x="4097" y="325"/>
                  </a:lnTo>
                  <a:lnTo>
                    <a:pt x="4100" y="326"/>
                  </a:lnTo>
                  <a:lnTo>
                    <a:pt x="4103" y="326"/>
                  </a:lnTo>
                  <a:lnTo>
                    <a:pt x="4105" y="326"/>
                  </a:lnTo>
                  <a:lnTo>
                    <a:pt x="4109" y="327"/>
                  </a:lnTo>
                  <a:lnTo>
                    <a:pt x="4111" y="327"/>
                  </a:lnTo>
                  <a:lnTo>
                    <a:pt x="4112" y="325"/>
                  </a:lnTo>
                  <a:lnTo>
                    <a:pt x="4109" y="323"/>
                  </a:lnTo>
                  <a:lnTo>
                    <a:pt x="4106" y="322"/>
                  </a:lnTo>
                  <a:lnTo>
                    <a:pt x="4103" y="323"/>
                  </a:lnTo>
                  <a:lnTo>
                    <a:pt x="4101" y="322"/>
                  </a:lnTo>
                  <a:lnTo>
                    <a:pt x="4103" y="323"/>
                  </a:lnTo>
                  <a:lnTo>
                    <a:pt x="4106" y="322"/>
                  </a:lnTo>
                  <a:lnTo>
                    <a:pt x="4109" y="322"/>
                  </a:lnTo>
                  <a:lnTo>
                    <a:pt x="4112" y="324"/>
                  </a:lnTo>
                  <a:lnTo>
                    <a:pt x="4114" y="325"/>
                  </a:lnTo>
                  <a:lnTo>
                    <a:pt x="4115" y="327"/>
                  </a:lnTo>
                  <a:lnTo>
                    <a:pt x="4118" y="330"/>
                  </a:lnTo>
                  <a:lnTo>
                    <a:pt x="4121" y="330"/>
                  </a:lnTo>
                  <a:lnTo>
                    <a:pt x="4123" y="331"/>
                  </a:lnTo>
                  <a:lnTo>
                    <a:pt x="4127" y="331"/>
                  </a:lnTo>
                  <a:lnTo>
                    <a:pt x="4129" y="331"/>
                  </a:lnTo>
                  <a:lnTo>
                    <a:pt x="4132" y="330"/>
                  </a:lnTo>
                  <a:lnTo>
                    <a:pt x="4130" y="332"/>
                  </a:lnTo>
                  <a:lnTo>
                    <a:pt x="4132" y="331"/>
                  </a:lnTo>
                  <a:lnTo>
                    <a:pt x="4135" y="330"/>
                  </a:lnTo>
                  <a:lnTo>
                    <a:pt x="4138" y="329"/>
                  </a:lnTo>
                  <a:lnTo>
                    <a:pt x="4140" y="327"/>
                  </a:lnTo>
                  <a:lnTo>
                    <a:pt x="4143" y="326"/>
                  </a:lnTo>
                  <a:lnTo>
                    <a:pt x="4146" y="324"/>
                  </a:lnTo>
                  <a:lnTo>
                    <a:pt x="4148" y="322"/>
                  </a:lnTo>
                  <a:lnTo>
                    <a:pt x="4149" y="322"/>
                  </a:lnTo>
                  <a:lnTo>
                    <a:pt x="4152" y="322"/>
                  </a:lnTo>
                  <a:lnTo>
                    <a:pt x="4154" y="320"/>
                  </a:lnTo>
                  <a:lnTo>
                    <a:pt x="4156" y="317"/>
                  </a:lnTo>
                  <a:lnTo>
                    <a:pt x="4155" y="314"/>
                  </a:lnTo>
                  <a:lnTo>
                    <a:pt x="4153" y="315"/>
                  </a:lnTo>
                  <a:lnTo>
                    <a:pt x="4149" y="316"/>
                  </a:lnTo>
                  <a:lnTo>
                    <a:pt x="4149" y="314"/>
                  </a:lnTo>
                  <a:lnTo>
                    <a:pt x="4151" y="314"/>
                  </a:lnTo>
                  <a:lnTo>
                    <a:pt x="4154" y="314"/>
                  </a:lnTo>
                  <a:lnTo>
                    <a:pt x="4156" y="314"/>
                  </a:lnTo>
                  <a:lnTo>
                    <a:pt x="4160" y="312"/>
                  </a:lnTo>
                  <a:lnTo>
                    <a:pt x="4157" y="308"/>
                  </a:lnTo>
                  <a:lnTo>
                    <a:pt x="4155" y="306"/>
                  </a:lnTo>
                  <a:lnTo>
                    <a:pt x="4153" y="304"/>
                  </a:lnTo>
                  <a:lnTo>
                    <a:pt x="4152" y="300"/>
                  </a:lnTo>
                  <a:lnTo>
                    <a:pt x="4154" y="298"/>
                  </a:lnTo>
                  <a:lnTo>
                    <a:pt x="4156" y="298"/>
                  </a:lnTo>
                  <a:lnTo>
                    <a:pt x="4160" y="297"/>
                  </a:lnTo>
                  <a:lnTo>
                    <a:pt x="4160" y="295"/>
                  </a:lnTo>
                  <a:lnTo>
                    <a:pt x="4162" y="292"/>
                  </a:lnTo>
                  <a:lnTo>
                    <a:pt x="4162" y="296"/>
                  </a:lnTo>
                  <a:lnTo>
                    <a:pt x="4164" y="297"/>
                  </a:lnTo>
                  <a:lnTo>
                    <a:pt x="4168" y="295"/>
                  </a:lnTo>
                  <a:lnTo>
                    <a:pt x="4170" y="293"/>
                  </a:lnTo>
                  <a:lnTo>
                    <a:pt x="4169" y="296"/>
                  </a:lnTo>
                  <a:lnTo>
                    <a:pt x="4168" y="299"/>
                  </a:lnTo>
                  <a:lnTo>
                    <a:pt x="4165" y="301"/>
                  </a:lnTo>
                  <a:lnTo>
                    <a:pt x="4166" y="305"/>
                  </a:lnTo>
                  <a:lnTo>
                    <a:pt x="4170" y="306"/>
                  </a:lnTo>
                  <a:lnTo>
                    <a:pt x="4170" y="309"/>
                  </a:lnTo>
                  <a:lnTo>
                    <a:pt x="4169" y="312"/>
                  </a:lnTo>
                  <a:lnTo>
                    <a:pt x="4172" y="313"/>
                  </a:lnTo>
                  <a:lnTo>
                    <a:pt x="4181" y="313"/>
                  </a:lnTo>
                  <a:lnTo>
                    <a:pt x="4183" y="313"/>
                  </a:lnTo>
                  <a:lnTo>
                    <a:pt x="4186" y="312"/>
                  </a:lnTo>
                  <a:lnTo>
                    <a:pt x="4189" y="309"/>
                  </a:lnTo>
                  <a:lnTo>
                    <a:pt x="4191" y="309"/>
                  </a:lnTo>
                  <a:lnTo>
                    <a:pt x="4195" y="310"/>
                  </a:lnTo>
                  <a:lnTo>
                    <a:pt x="4197" y="312"/>
                  </a:lnTo>
                  <a:lnTo>
                    <a:pt x="4199" y="313"/>
                  </a:lnTo>
                  <a:lnTo>
                    <a:pt x="4203" y="313"/>
                  </a:lnTo>
                  <a:lnTo>
                    <a:pt x="4205" y="314"/>
                  </a:lnTo>
                  <a:lnTo>
                    <a:pt x="4206" y="317"/>
                  </a:lnTo>
                  <a:lnTo>
                    <a:pt x="4207" y="320"/>
                  </a:lnTo>
                  <a:lnTo>
                    <a:pt x="4206" y="323"/>
                  </a:lnTo>
                  <a:lnTo>
                    <a:pt x="4208" y="325"/>
                  </a:lnTo>
                  <a:lnTo>
                    <a:pt x="4212" y="326"/>
                  </a:lnTo>
                  <a:lnTo>
                    <a:pt x="4214" y="327"/>
                  </a:lnTo>
                  <a:lnTo>
                    <a:pt x="4217" y="329"/>
                  </a:lnTo>
                  <a:lnTo>
                    <a:pt x="4220" y="329"/>
                  </a:lnTo>
                  <a:lnTo>
                    <a:pt x="4223" y="330"/>
                  </a:lnTo>
                  <a:lnTo>
                    <a:pt x="4225" y="331"/>
                  </a:lnTo>
                  <a:lnTo>
                    <a:pt x="4228" y="331"/>
                  </a:lnTo>
                  <a:lnTo>
                    <a:pt x="4230" y="333"/>
                  </a:lnTo>
                  <a:lnTo>
                    <a:pt x="4231" y="335"/>
                  </a:lnTo>
                  <a:lnTo>
                    <a:pt x="4233" y="337"/>
                  </a:lnTo>
                  <a:lnTo>
                    <a:pt x="4237" y="338"/>
                  </a:lnTo>
                  <a:lnTo>
                    <a:pt x="4239" y="337"/>
                  </a:lnTo>
                  <a:lnTo>
                    <a:pt x="4240" y="334"/>
                  </a:lnTo>
                  <a:lnTo>
                    <a:pt x="4240" y="332"/>
                  </a:lnTo>
                  <a:lnTo>
                    <a:pt x="4241" y="334"/>
                  </a:lnTo>
                  <a:lnTo>
                    <a:pt x="4240" y="338"/>
                  </a:lnTo>
                  <a:lnTo>
                    <a:pt x="4242" y="340"/>
                  </a:lnTo>
                  <a:lnTo>
                    <a:pt x="4242" y="340"/>
                  </a:lnTo>
                  <a:lnTo>
                    <a:pt x="4246" y="339"/>
                  </a:lnTo>
                  <a:lnTo>
                    <a:pt x="4247" y="337"/>
                  </a:lnTo>
                  <a:lnTo>
                    <a:pt x="4252" y="337"/>
                  </a:lnTo>
                  <a:lnTo>
                    <a:pt x="4255" y="335"/>
                  </a:lnTo>
                  <a:lnTo>
                    <a:pt x="4252" y="333"/>
                  </a:lnTo>
                  <a:lnTo>
                    <a:pt x="4250" y="332"/>
                  </a:lnTo>
                  <a:lnTo>
                    <a:pt x="4248" y="331"/>
                  </a:lnTo>
                  <a:lnTo>
                    <a:pt x="4245" y="331"/>
                  </a:lnTo>
                  <a:lnTo>
                    <a:pt x="4247" y="330"/>
                  </a:lnTo>
                  <a:lnTo>
                    <a:pt x="4247" y="326"/>
                  </a:lnTo>
                  <a:lnTo>
                    <a:pt x="4243" y="327"/>
                  </a:lnTo>
                  <a:lnTo>
                    <a:pt x="4247" y="326"/>
                  </a:lnTo>
                  <a:lnTo>
                    <a:pt x="4249" y="326"/>
                  </a:lnTo>
                  <a:lnTo>
                    <a:pt x="4252" y="325"/>
                  </a:lnTo>
                  <a:lnTo>
                    <a:pt x="4255" y="324"/>
                  </a:lnTo>
                  <a:lnTo>
                    <a:pt x="4257" y="321"/>
                  </a:lnTo>
                  <a:lnTo>
                    <a:pt x="4255" y="318"/>
                  </a:lnTo>
                  <a:lnTo>
                    <a:pt x="4251" y="318"/>
                  </a:lnTo>
                  <a:lnTo>
                    <a:pt x="4255" y="317"/>
                  </a:lnTo>
                  <a:lnTo>
                    <a:pt x="4256" y="318"/>
                  </a:lnTo>
                  <a:lnTo>
                    <a:pt x="4256" y="315"/>
                  </a:lnTo>
                  <a:lnTo>
                    <a:pt x="4257" y="313"/>
                  </a:lnTo>
                  <a:lnTo>
                    <a:pt x="4255" y="314"/>
                  </a:lnTo>
                  <a:lnTo>
                    <a:pt x="4254" y="310"/>
                  </a:lnTo>
                  <a:lnTo>
                    <a:pt x="4250" y="309"/>
                  </a:lnTo>
                  <a:lnTo>
                    <a:pt x="4248" y="308"/>
                  </a:lnTo>
                  <a:lnTo>
                    <a:pt x="4250" y="307"/>
                  </a:lnTo>
                  <a:lnTo>
                    <a:pt x="4254" y="308"/>
                  </a:lnTo>
                  <a:lnTo>
                    <a:pt x="4255" y="310"/>
                  </a:lnTo>
                  <a:lnTo>
                    <a:pt x="4257" y="310"/>
                  </a:lnTo>
                  <a:lnTo>
                    <a:pt x="4260" y="312"/>
                  </a:lnTo>
                  <a:lnTo>
                    <a:pt x="4263" y="312"/>
                  </a:lnTo>
                  <a:lnTo>
                    <a:pt x="4266" y="312"/>
                  </a:lnTo>
                  <a:lnTo>
                    <a:pt x="4268" y="312"/>
                  </a:lnTo>
                  <a:lnTo>
                    <a:pt x="4272" y="313"/>
                  </a:lnTo>
                  <a:lnTo>
                    <a:pt x="4273" y="309"/>
                  </a:lnTo>
                  <a:lnTo>
                    <a:pt x="4269" y="309"/>
                  </a:lnTo>
                  <a:lnTo>
                    <a:pt x="4267" y="306"/>
                  </a:lnTo>
                  <a:lnTo>
                    <a:pt x="4269" y="307"/>
                  </a:lnTo>
                  <a:lnTo>
                    <a:pt x="4273" y="308"/>
                  </a:lnTo>
                  <a:lnTo>
                    <a:pt x="4275" y="309"/>
                  </a:lnTo>
                  <a:lnTo>
                    <a:pt x="4279" y="309"/>
                  </a:lnTo>
                  <a:lnTo>
                    <a:pt x="4280" y="307"/>
                  </a:lnTo>
                  <a:lnTo>
                    <a:pt x="4280" y="305"/>
                  </a:lnTo>
                  <a:lnTo>
                    <a:pt x="4282" y="301"/>
                  </a:lnTo>
                  <a:lnTo>
                    <a:pt x="4285" y="300"/>
                  </a:lnTo>
                  <a:lnTo>
                    <a:pt x="4286" y="300"/>
                  </a:lnTo>
                  <a:lnTo>
                    <a:pt x="4290" y="301"/>
                  </a:lnTo>
                  <a:lnTo>
                    <a:pt x="4291" y="298"/>
                  </a:lnTo>
                  <a:lnTo>
                    <a:pt x="4288" y="297"/>
                  </a:lnTo>
                  <a:close/>
                  <a:moveTo>
                    <a:pt x="2110" y="1489"/>
                  </a:moveTo>
                  <a:lnTo>
                    <a:pt x="2107" y="1487"/>
                  </a:lnTo>
                  <a:lnTo>
                    <a:pt x="2106" y="1486"/>
                  </a:lnTo>
                  <a:lnTo>
                    <a:pt x="2103" y="1486"/>
                  </a:lnTo>
                  <a:lnTo>
                    <a:pt x="2101" y="1484"/>
                  </a:lnTo>
                  <a:lnTo>
                    <a:pt x="2104" y="1481"/>
                  </a:lnTo>
                  <a:lnTo>
                    <a:pt x="2103" y="1479"/>
                  </a:lnTo>
                  <a:lnTo>
                    <a:pt x="2099" y="1477"/>
                  </a:lnTo>
                  <a:lnTo>
                    <a:pt x="2098" y="1475"/>
                  </a:lnTo>
                  <a:lnTo>
                    <a:pt x="2098" y="1469"/>
                  </a:lnTo>
                  <a:lnTo>
                    <a:pt x="2096" y="1467"/>
                  </a:lnTo>
                  <a:lnTo>
                    <a:pt x="2092" y="1466"/>
                  </a:lnTo>
                  <a:lnTo>
                    <a:pt x="2089" y="1460"/>
                  </a:lnTo>
                  <a:lnTo>
                    <a:pt x="2087" y="1454"/>
                  </a:lnTo>
                  <a:lnTo>
                    <a:pt x="2084" y="1452"/>
                  </a:lnTo>
                  <a:lnTo>
                    <a:pt x="2084" y="1450"/>
                  </a:lnTo>
                  <a:lnTo>
                    <a:pt x="2087" y="1447"/>
                  </a:lnTo>
                  <a:lnTo>
                    <a:pt x="2087" y="1444"/>
                  </a:lnTo>
                  <a:lnTo>
                    <a:pt x="2084" y="1442"/>
                  </a:lnTo>
                  <a:lnTo>
                    <a:pt x="2083" y="1439"/>
                  </a:lnTo>
                  <a:lnTo>
                    <a:pt x="2083" y="1435"/>
                  </a:lnTo>
                  <a:lnTo>
                    <a:pt x="2083" y="1432"/>
                  </a:lnTo>
                  <a:lnTo>
                    <a:pt x="2086" y="1426"/>
                  </a:lnTo>
                  <a:lnTo>
                    <a:pt x="2082" y="1428"/>
                  </a:lnTo>
                  <a:lnTo>
                    <a:pt x="2083" y="1425"/>
                  </a:lnTo>
                  <a:lnTo>
                    <a:pt x="2084" y="1417"/>
                  </a:lnTo>
                  <a:lnTo>
                    <a:pt x="2084" y="1415"/>
                  </a:lnTo>
                  <a:lnTo>
                    <a:pt x="2086" y="1415"/>
                  </a:lnTo>
                  <a:lnTo>
                    <a:pt x="2087" y="1417"/>
                  </a:lnTo>
                  <a:lnTo>
                    <a:pt x="2087" y="1420"/>
                  </a:lnTo>
                  <a:lnTo>
                    <a:pt x="2091" y="1429"/>
                  </a:lnTo>
                  <a:lnTo>
                    <a:pt x="2090" y="1435"/>
                  </a:lnTo>
                  <a:lnTo>
                    <a:pt x="2092" y="1437"/>
                  </a:lnTo>
                  <a:lnTo>
                    <a:pt x="2092" y="1439"/>
                  </a:lnTo>
                  <a:lnTo>
                    <a:pt x="2092" y="1442"/>
                  </a:lnTo>
                  <a:lnTo>
                    <a:pt x="2092" y="1445"/>
                  </a:lnTo>
                  <a:lnTo>
                    <a:pt x="2095" y="1447"/>
                  </a:lnTo>
                  <a:lnTo>
                    <a:pt x="2095" y="1450"/>
                  </a:lnTo>
                  <a:lnTo>
                    <a:pt x="2091" y="1453"/>
                  </a:lnTo>
                  <a:lnTo>
                    <a:pt x="2092" y="1455"/>
                  </a:lnTo>
                  <a:lnTo>
                    <a:pt x="2096" y="1458"/>
                  </a:lnTo>
                  <a:lnTo>
                    <a:pt x="2098" y="1459"/>
                  </a:lnTo>
                  <a:lnTo>
                    <a:pt x="2103" y="1463"/>
                  </a:lnTo>
                  <a:lnTo>
                    <a:pt x="2104" y="1469"/>
                  </a:lnTo>
                  <a:lnTo>
                    <a:pt x="2104" y="1471"/>
                  </a:lnTo>
                  <a:lnTo>
                    <a:pt x="2108" y="1479"/>
                  </a:lnTo>
                  <a:lnTo>
                    <a:pt x="2108" y="1481"/>
                  </a:lnTo>
                  <a:lnTo>
                    <a:pt x="2110" y="1484"/>
                  </a:lnTo>
                  <a:lnTo>
                    <a:pt x="2112" y="1487"/>
                  </a:lnTo>
                  <a:lnTo>
                    <a:pt x="2110" y="1489"/>
                  </a:lnTo>
                  <a:close/>
                  <a:moveTo>
                    <a:pt x="2115" y="1336"/>
                  </a:moveTo>
                  <a:lnTo>
                    <a:pt x="2114" y="1338"/>
                  </a:lnTo>
                  <a:lnTo>
                    <a:pt x="2115" y="1342"/>
                  </a:lnTo>
                  <a:lnTo>
                    <a:pt x="2114" y="1344"/>
                  </a:lnTo>
                  <a:lnTo>
                    <a:pt x="2112" y="1347"/>
                  </a:lnTo>
                  <a:lnTo>
                    <a:pt x="2108" y="1348"/>
                  </a:lnTo>
                  <a:lnTo>
                    <a:pt x="2105" y="1353"/>
                  </a:lnTo>
                  <a:lnTo>
                    <a:pt x="2103" y="1351"/>
                  </a:lnTo>
                  <a:lnTo>
                    <a:pt x="2103" y="1355"/>
                  </a:lnTo>
                  <a:lnTo>
                    <a:pt x="2101" y="1352"/>
                  </a:lnTo>
                  <a:lnTo>
                    <a:pt x="2101" y="1350"/>
                  </a:lnTo>
                  <a:lnTo>
                    <a:pt x="2104" y="1347"/>
                  </a:lnTo>
                  <a:lnTo>
                    <a:pt x="2112" y="1340"/>
                  </a:lnTo>
                  <a:lnTo>
                    <a:pt x="2113" y="1339"/>
                  </a:lnTo>
                  <a:lnTo>
                    <a:pt x="2114" y="1338"/>
                  </a:lnTo>
                  <a:lnTo>
                    <a:pt x="2115" y="1335"/>
                  </a:lnTo>
                  <a:lnTo>
                    <a:pt x="2115" y="1336"/>
                  </a:lnTo>
                  <a:close/>
                  <a:moveTo>
                    <a:pt x="2150" y="1501"/>
                  </a:moveTo>
                  <a:lnTo>
                    <a:pt x="2152" y="1501"/>
                  </a:lnTo>
                  <a:lnTo>
                    <a:pt x="2155" y="1502"/>
                  </a:lnTo>
                  <a:lnTo>
                    <a:pt x="2157" y="1505"/>
                  </a:lnTo>
                  <a:lnTo>
                    <a:pt x="2157" y="1506"/>
                  </a:lnTo>
                  <a:lnTo>
                    <a:pt x="2158" y="1506"/>
                  </a:lnTo>
                  <a:lnTo>
                    <a:pt x="2158" y="1507"/>
                  </a:lnTo>
                  <a:lnTo>
                    <a:pt x="2158" y="1507"/>
                  </a:lnTo>
                  <a:lnTo>
                    <a:pt x="2158" y="1513"/>
                  </a:lnTo>
                  <a:lnTo>
                    <a:pt x="2159" y="1514"/>
                  </a:lnTo>
                  <a:lnTo>
                    <a:pt x="2159" y="1516"/>
                  </a:lnTo>
                  <a:lnTo>
                    <a:pt x="2158" y="1520"/>
                  </a:lnTo>
                  <a:lnTo>
                    <a:pt x="2159" y="1522"/>
                  </a:lnTo>
                  <a:lnTo>
                    <a:pt x="2163" y="1526"/>
                  </a:lnTo>
                  <a:lnTo>
                    <a:pt x="2164" y="1528"/>
                  </a:lnTo>
                  <a:lnTo>
                    <a:pt x="2164" y="1530"/>
                  </a:lnTo>
                  <a:lnTo>
                    <a:pt x="2163" y="1532"/>
                  </a:lnTo>
                  <a:lnTo>
                    <a:pt x="2160" y="1536"/>
                  </a:lnTo>
                  <a:lnTo>
                    <a:pt x="2160" y="1538"/>
                  </a:lnTo>
                  <a:lnTo>
                    <a:pt x="2160" y="1541"/>
                  </a:lnTo>
                  <a:lnTo>
                    <a:pt x="2161" y="1544"/>
                  </a:lnTo>
                  <a:lnTo>
                    <a:pt x="2160" y="1546"/>
                  </a:lnTo>
                  <a:lnTo>
                    <a:pt x="2161" y="1549"/>
                  </a:lnTo>
                  <a:lnTo>
                    <a:pt x="2161" y="1552"/>
                  </a:lnTo>
                  <a:lnTo>
                    <a:pt x="2163" y="1555"/>
                  </a:lnTo>
                  <a:lnTo>
                    <a:pt x="2164" y="1557"/>
                  </a:lnTo>
                  <a:lnTo>
                    <a:pt x="2165" y="1560"/>
                  </a:lnTo>
                  <a:lnTo>
                    <a:pt x="2167" y="1564"/>
                  </a:lnTo>
                  <a:lnTo>
                    <a:pt x="2167" y="1567"/>
                  </a:lnTo>
                  <a:lnTo>
                    <a:pt x="2164" y="1564"/>
                  </a:lnTo>
                  <a:lnTo>
                    <a:pt x="2163" y="1563"/>
                  </a:lnTo>
                  <a:lnTo>
                    <a:pt x="2160" y="1565"/>
                  </a:lnTo>
                  <a:lnTo>
                    <a:pt x="2159" y="1565"/>
                  </a:lnTo>
                  <a:lnTo>
                    <a:pt x="2158" y="1563"/>
                  </a:lnTo>
                  <a:lnTo>
                    <a:pt x="2158" y="1557"/>
                  </a:lnTo>
                  <a:lnTo>
                    <a:pt x="2156" y="1555"/>
                  </a:lnTo>
                  <a:lnTo>
                    <a:pt x="2155" y="1553"/>
                  </a:lnTo>
                  <a:lnTo>
                    <a:pt x="2155" y="1549"/>
                  </a:lnTo>
                  <a:lnTo>
                    <a:pt x="2154" y="1544"/>
                  </a:lnTo>
                  <a:lnTo>
                    <a:pt x="2154" y="1543"/>
                  </a:lnTo>
                  <a:lnTo>
                    <a:pt x="2152" y="1540"/>
                  </a:lnTo>
                  <a:lnTo>
                    <a:pt x="2150" y="1537"/>
                  </a:lnTo>
                  <a:lnTo>
                    <a:pt x="2151" y="1533"/>
                  </a:lnTo>
                  <a:lnTo>
                    <a:pt x="2155" y="1528"/>
                  </a:lnTo>
                  <a:lnTo>
                    <a:pt x="2154" y="1522"/>
                  </a:lnTo>
                  <a:lnTo>
                    <a:pt x="2154" y="1516"/>
                  </a:lnTo>
                  <a:lnTo>
                    <a:pt x="2152" y="1514"/>
                  </a:lnTo>
                  <a:lnTo>
                    <a:pt x="2154" y="1511"/>
                  </a:lnTo>
                  <a:lnTo>
                    <a:pt x="2151" y="1509"/>
                  </a:lnTo>
                  <a:lnTo>
                    <a:pt x="2150" y="1506"/>
                  </a:lnTo>
                  <a:lnTo>
                    <a:pt x="2149" y="1502"/>
                  </a:lnTo>
                  <a:lnTo>
                    <a:pt x="2150" y="1501"/>
                  </a:lnTo>
                  <a:close/>
                  <a:moveTo>
                    <a:pt x="2434" y="776"/>
                  </a:moveTo>
                  <a:lnTo>
                    <a:pt x="2434" y="776"/>
                  </a:lnTo>
                  <a:lnTo>
                    <a:pt x="2434" y="777"/>
                  </a:lnTo>
                  <a:lnTo>
                    <a:pt x="2434" y="777"/>
                  </a:lnTo>
                  <a:lnTo>
                    <a:pt x="2434" y="777"/>
                  </a:lnTo>
                  <a:lnTo>
                    <a:pt x="2433" y="777"/>
                  </a:lnTo>
                  <a:lnTo>
                    <a:pt x="2433" y="777"/>
                  </a:lnTo>
                  <a:lnTo>
                    <a:pt x="2433" y="777"/>
                  </a:lnTo>
                  <a:lnTo>
                    <a:pt x="2433" y="778"/>
                  </a:lnTo>
                  <a:lnTo>
                    <a:pt x="2432" y="778"/>
                  </a:lnTo>
                  <a:lnTo>
                    <a:pt x="2432" y="778"/>
                  </a:lnTo>
                  <a:lnTo>
                    <a:pt x="2431" y="778"/>
                  </a:lnTo>
                  <a:lnTo>
                    <a:pt x="2431" y="778"/>
                  </a:lnTo>
                  <a:lnTo>
                    <a:pt x="2431" y="778"/>
                  </a:lnTo>
                  <a:lnTo>
                    <a:pt x="2431" y="778"/>
                  </a:lnTo>
                  <a:lnTo>
                    <a:pt x="2431" y="778"/>
                  </a:lnTo>
                  <a:lnTo>
                    <a:pt x="2431" y="777"/>
                  </a:lnTo>
                  <a:lnTo>
                    <a:pt x="2431" y="777"/>
                  </a:lnTo>
                  <a:lnTo>
                    <a:pt x="2431" y="777"/>
                  </a:lnTo>
                  <a:lnTo>
                    <a:pt x="2431" y="777"/>
                  </a:lnTo>
                  <a:lnTo>
                    <a:pt x="2431" y="777"/>
                  </a:lnTo>
                  <a:lnTo>
                    <a:pt x="2430" y="777"/>
                  </a:lnTo>
                  <a:lnTo>
                    <a:pt x="2430" y="777"/>
                  </a:lnTo>
                  <a:lnTo>
                    <a:pt x="2430" y="777"/>
                  </a:lnTo>
                  <a:lnTo>
                    <a:pt x="2430" y="777"/>
                  </a:lnTo>
                  <a:lnTo>
                    <a:pt x="2430" y="776"/>
                  </a:lnTo>
                  <a:lnTo>
                    <a:pt x="2429" y="776"/>
                  </a:lnTo>
                  <a:lnTo>
                    <a:pt x="2429" y="776"/>
                  </a:lnTo>
                  <a:lnTo>
                    <a:pt x="2429" y="776"/>
                  </a:lnTo>
                  <a:lnTo>
                    <a:pt x="2429" y="776"/>
                  </a:lnTo>
                  <a:lnTo>
                    <a:pt x="2429" y="776"/>
                  </a:lnTo>
                  <a:lnTo>
                    <a:pt x="2429" y="777"/>
                  </a:lnTo>
                  <a:lnTo>
                    <a:pt x="2428" y="777"/>
                  </a:lnTo>
                  <a:lnTo>
                    <a:pt x="2428" y="777"/>
                  </a:lnTo>
                  <a:lnTo>
                    <a:pt x="2429" y="777"/>
                  </a:lnTo>
                  <a:lnTo>
                    <a:pt x="2429" y="778"/>
                  </a:lnTo>
                  <a:lnTo>
                    <a:pt x="2429" y="778"/>
                  </a:lnTo>
                  <a:lnTo>
                    <a:pt x="2429" y="778"/>
                  </a:lnTo>
                  <a:lnTo>
                    <a:pt x="2429" y="778"/>
                  </a:lnTo>
                  <a:lnTo>
                    <a:pt x="2429" y="779"/>
                  </a:lnTo>
                  <a:lnTo>
                    <a:pt x="2430" y="779"/>
                  </a:lnTo>
                  <a:lnTo>
                    <a:pt x="2430" y="779"/>
                  </a:lnTo>
                  <a:lnTo>
                    <a:pt x="2430" y="779"/>
                  </a:lnTo>
                  <a:lnTo>
                    <a:pt x="2430" y="780"/>
                  </a:lnTo>
                  <a:lnTo>
                    <a:pt x="2430" y="780"/>
                  </a:lnTo>
                  <a:lnTo>
                    <a:pt x="2430" y="780"/>
                  </a:lnTo>
                  <a:lnTo>
                    <a:pt x="2428" y="780"/>
                  </a:lnTo>
                  <a:lnTo>
                    <a:pt x="2428" y="780"/>
                  </a:lnTo>
                  <a:lnTo>
                    <a:pt x="2428" y="780"/>
                  </a:lnTo>
                  <a:lnTo>
                    <a:pt x="2428" y="779"/>
                  </a:lnTo>
                  <a:lnTo>
                    <a:pt x="2428" y="779"/>
                  </a:lnTo>
                  <a:lnTo>
                    <a:pt x="2428" y="779"/>
                  </a:lnTo>
                  <a:lnTo>
                    <a:pt x="2428" y="779"/>
                  </a:lnTo>
                  <a:lnTo>
                    <a:pt x="2427" y="779"/>
                  </a:lnTo>
                  <a:lnTo>
                    <a:pt x="2425" y="779"/>
                  </a:lnTo>
                  <a:lnTo>
                    <a:pt x="2425" y="779"/>
                  </a:lnTo>
                  <a:lnTo>
                    <a:pt x="2425" y="779"/>
                  </a:lnTo>
                  <a:lnTo>
                    <a:pt x="2425" y="780"/>
                  </a:lnTo>
                  <a:lnTo>
                    <a:pt x="2425" y="780"/>
                  </a:lnTo>
                  <a:lnTo>
                    <a:pt x="2425" y="780"/>
                  </a:lnTo>
                  <a:lnTo>
                    <a:pt x="2424" y="780"/>
                  </a:lnTo>
                  <a:lnTo>
                    <a:pt x="2424" y="780"/>
                  </a:lnTo>
                  <a:lnTo>
                    <a:pt x="2423" y="780"/>
                  </a:lnTo>
                  <a:lnTo>
                    <a:pt x="2423" y="780"/>
                  </a:lnTo>
                  <a:lnTo>
                    <a:pt x="2423" y="780"/>
                  </a:lnTo>
                  <a:lnTo>
                    <a:pt x="2423" y="780"/>
                  </a:lnTo>
                  <a:lnTo>
                    <a:pt x="2423" y="780"/>
                  </a:lnTo>
                  <a:lnTo>
                    <a:pt x="2423" y="782"/>
                  </a:lnTo>
                  <a:lnTo>
                    <a:pt x="2422" y="782"/>
                  </a:lnTo>
                  <a:lnTo>
                    <a:pt x="2422" y="780"/>
                  </a:lnTo>
                  <a:lnTo>
                    <a:pt x="2421" y="780"/>
                  </a:lnTo>
                  <a:lnTo>
                    <a:pt x="2421" y="782"/>
                  </a:lnTo>
                  <a:lnTo>
                    <a:pt x="2421" y="782"/>
                  </a:lnTo>
                  <a:lnTo>
                    <a:pt x="2421" y="780"/>
                  </a:lnTo>
                  <a:lnTo>
                    <a:pt x="2421" y="780"/>
                  </a:lnTo>
                  <a:lnTo>
                    <a:pt x="2421" y="780"/>
                  </a:lnTo>
                  <a:lnTo>
                    <a:pt x="2421" y="779"/>
                  </a:lnTo>
                  <a:lnTo>
                    <a:pt x="2420" y="779"/>
                  </a:lnTo>
                  <a:lnTo>
                    <a:pt x="2420" y="779"/>
                  </a:lnTo>
                  <a:lnTo>
                    <a:pt x="2420" y="779"/>
                  </a:lnTo>
                  <a:lnTo>
                    <a:pt x="2420" y="778"/>
                  </a:lnTo>
                  <a:lnTo>
                    <a:pt x="2420" y="778"/>
                  </a:lnTo>
                  <a:lnTo>
                    <a:pt x="2420" y="778"/>
                  </a:lnTo>
                  <a:lnTo>
                    <a:pt x="2420" y="778"/>
                  </a:lnTo>
                  <a:lnTo>
                    <a:pt x="2420" y="778"/>
                  </a:lnTo>
                  <a:lnTo>
                    <a:pt x="2420" y="778"/>
                  </a:lnTo>
                  <a:lnTo>
                    <a:pt x="2420" y="777"/>
                  </a:lnTo>
                  <a:lnTo>
                    <a:pt x="2420" y="777"/>
                  </a:lnTo>
                  <a:lnTo>
                    <a:pt x="2420" y="777"/>
                  </a:lnTo>
                  <a:lnTo>
                    <a:pt x="2419" y="777"/>
                  </a:lnTo>
                  <a:lnTo>
                    <a:pt x="2419" y="777"/>
                  </a:lnTo>
                  <a:lnTo>
                    <a:pt x="2419" y="777"/>
                  </a:lnTo>
                  <a:lnTo>
                    <a:pt x="2419" y="777"/>
                  </a:lnTo>
                  <a:lnTo>
                    <a:pt x="2419" y="778"/>
                  </a:lnTo>
                  <a:lnTo>
                    <a:pt x="2419" y="778"/>
                  </a:lnTo>
                  <a:lnTo>
                    <a:pt x="2419" y="778"/>
                  </a:lnTo>
                  <a:lnTo>
                    <a:pt x="2419" y="778"/>
                  </a:lnTo>
                  <a:lnTo>
                    <a:pt x="2419" y="779"/>
                  </a:lnTo>
                  <a:lnTo>
                    <a:pt x="2417" y="779"/>
                  </a:lnTo>
                  <a:lnTo>
                    <a:pt x="2417" y="779"/>
                  </a:lnTo>
                  <a:lnTo>
                    <a:pt x="2417" y="779"/>
                  </a:lnTo>
                  <a:lnTo>
                    <a:pt x="2416" y="779"/>
                  </a:lnTo>
                  <a:lnTo>
                    <a:pt x="2416" y="779"/>
                  </a:lnTo>
                  <a:lnTo>
                    <a:pt x="2416" y="778"/>
                  </a:lnTo>
                  <a:lnTo>
                    <a:pt x="2416" y="778"/>
                  </a:lnTo>
                  <a:lnTo>
                    <a:pt x="2416" y="778"/>
                  </a:lnTo>
                  <a:lnTo>
                    <a:pt x="2415" y="778"/>
                  </a:lnTo>
                  <a:lnTo>
                    <a:pt x="2415" y="778"/>
                  </a:lnTo>
                  <a:lnTo>
                    <a:pt x="2415" y="778"/>
                  </a:lnTo>
                  <a:lnTo>
                    <a:pt x="2415" y="778"/>
                  </a:lnTo>
                  <a:lnTo>
                    <a:pt x="2414" y="778"/>
                  </a:lnTo>
                  <a:lnTo>
                    <a:pt x="2414" y="778"/>
                  </a:lnTo>
                  <a:lnTo>
                    <a:pt x="2414" y="778"/>
                  </a:lnTo>
                  <a:lnTo>
                    <a:pt x="2414" y="778"/>
                  </a:lnTo>
                  <a:lnTo>
                    <a:pt x="2414" y="778"/>
                  </a:lnTo>
                  <a:lnTo>
                    <a:pt x="2414" y="778"/>
                  </a:lnTo>
                  <a:lnTo>
                    <a:pt x="2414" y="778"/>
                  </a:lnTo>
                  <a:lnTo>
                    <a:pt x="2413" y="778"/>
                  </a:lnTo>
                  <a:lnTo>
                    <a:pt x="2412" y="778"/>
                  </a:lnTo>
                  <a:lnTo>
                    <a:pt x="2412" y="778"/>
                  </a:lnTo>
                  <a:lnTo>
                    <a:pt x="2412" y="778"/>
                  </a:lnTo>
                  <a:lnTo>
                    <a:pt x="2412" y="778"/>
                  </a:lnTo>
                  <a:lnTo>
                    <a:pt x="2412" y="777"/>
                  </a:lnTo>
                  <a:lnTo>
                    <a:pt x="2412" y="777"/>
                  </a:lnTo>
                  <a:lnTo>
                    <a:pt x="2412" y="777"/>
                  </a:lnTo>
                  <a:lnTo>
                    <a:pt x="2412" y="777"/>
                  </a:lnTo>
                  <a:lnTo>
                    <a:pt x="2412" y="777"/>
                  </a:lnTo>
                  <a:lnTo>
                    <a:pt x="2412" y="777"/>
                  </a:lnTo>
                  <a:lnTo>
                    <a:pt x="2412" y="777"/>
                  </a:lnTo>
                  <a:lnTo>
                    <a:pt x="2411" y="777"/>
                  </a:lnTo>
                  <a:lnTo>
                    <a:pt x="2411" y="776"/>
                  </a:lnTo>
                  <a:lnTo>
                    <a:pt x="2411" y="776"/>
                  </a:lnTo>
                  <a:lnTo>
                    <a:pt x="2411" y="776"/>
                  </a:lnTo>
                  <a:lnTo>
                    <a:pt x="2411" y="775"/>
                  </a:lnTo>
                  <a:lnTo>
                    <a:pt x="2411" y="775"/>
                  </a:lnTo>
                  <a:lnTo>
                    <a:pt x="2411" y="775"/>
                  </a:lnTo>
                  <a:lnTo>
                    <a:pt x="2411" y="775"/>
                  </a:lnTo>
                  <a:lnTo>
                    <a:pt x="2410" y="774"/>
                  </a:lnTo>
                  <a:lnTo>
                    <a:pt x="2410" y="775"/>
                  </a:lnTo>
                  <a:lnTo>
                    <a:pt x="2410" y="775"/>
                  </a:lnTo>
                  <a:lnTo>
                    <a:pt x="2410" y="776"/>
                  </a:lnTo>
                  <a:lnTo>
                    <a:pt x="2410" y="776"/>
                  </a:lnTo>
                  <a:lnTo>
                    <a:pt x="2410" y="777"/>
                  </a:lnTo>
                  <a:lnTo>
                    <a:pt x="2410" y="777"/>
                  </a:lnTo>
                  <a:lnTo>
                    <a:pt x="2410" y="777"/>
                  </a:lnTo>
                  <a:lnTo>
                    <a:pt x="2410" y="778"/>
                  </a:lnTo>
                  <a:lnTo>
                    <a:pt x="2410" y="779"/>
                  </a:lnTo>
                  <a:lnTo>
                    <a:pt x="2408" y="779"/>
                  </a:lnTo>
                  <a:lnTo>
                    <a:pt x="2408" y="779"/>
                  </a:lnTo>
                  <a:lnTo>
                    <a:pt x="2410" y="779"/>
                  </a:lnTo>
                  <a:lnTo>
                    <a:pt x="2410" y="780"/>
                  </a:lnTo>
                  <a:lnTo>
                    <a:pt x="2408" y="780"/>
                  </a:lnTo>
                  <a:lnTo>
                    <a:pt x="2408" y="780"/>
                  </a:lnTo>
                  <a:lnTo>
                    <a:pt x="2408" y="782"/>
                  </a:lnTo>
                  <a:lnTo>
                    <a:pt x="2408" y="782"/>
                  </a:lnTo>
                  <a:lnTo>
                    <a:pt x="2408" y="782"/>
                  </a:lnTo>
                  <a:lnTo>
                    <a:pt x="2407" y="782"/>
                  </a:lnTo>
                  <a:lnTo>
                    <a:pt x="2407" y="783"/>
                  </a:lnTo>
                  <a:lnTo>
                    <a:pt x="2407" y="783"/>
                  </a:lnTo>
                  <a:lnTo>
                    <a:pt x="2407" y="783"/>
                  </a:lnTo>
                  <a:lnTo>
                    <a:pt x="2407" y="784"/>
                  </a:lnTo>
                  <a:lnTo>
                    <a:pt x="2407" y="784"/>
                  </a:lnTo>
                  <a:lnTo>
                    <a:pt x="2407" y="785"/>
                  </a:lnTo>
                  <a:lnTo>
                    <a:pt x="2407" y="785"/>
                  </a:lnTo>
                  <a:lnTo>
                    <a:pt x="2407" y="785"/>
                  </a:lnTo>
                  <a:lnTo>
                    <a:pt x="2407" y="786"/>
                  </a:lnTo>
                  <a:lnTo>
                    <a:pt x="2406" y="786"/>
                  </a:lnTo>
                  <a:lnTo>
                    <a:pt x="2406" y="786"/>
                  </a:lnTo>
                  <a:lnTo>
                    <a:pt x="2407" y="786"/>
                  </a:lnTo>
                  <a:lnTo>
                    <a:pt x="2407" y="787"/>
                  </a:lnTo>
                  <a:lnTo>
                    <a:pt x="2407" y="787"/>
                  </a:lnTo>
                  <a:lnTo>
                    <a:pt x="2407" y="787"/>
                  </a:lnTo>
                  <a:lnTo>
                    <a:pt x="2407" y="787"/>
                  </a:lnTo>
                  <a:lnTo>
                    <a:pt x="2407" y="788"/>
                  </a:lnTo>
                  <a:lnTo>
                    <a:pt x="2407" y="788"/>
                  </a:lnTo>
                  <a:lnTo>
                    <a:pt x="2407" y="788"/>
                  </a:lnTo>
                  <a:lnTo>
                    <a:pt x="2407" y="789"/>
                  </a:lnTo>
                  <a:lnTo>
                    <a:pt x="2407" y="789"/>
                  </a:lnTo>
                  <a:lnTo>
                    <a:pt x="2407" y="789"/>
                  </a:lnTo>
                  <a:lnTo>
                    <a:pt x="2407" y="791"/>
                  </a:lnTo>
                  <a:lnTo>
                    <a:pt x="2407" y="791"/>
                  </a:lnTo>
                  <a:lnTo>
                    <a:pt x="2408" y="791"/>
                  </a:lnTo>
                  <a:lnTo>
                    <a:pt x="2408" y="792"/>
                  </a:lnTo>
                  <a:lnTo>
                    <a:pt x="2408" y="792"/>
                  </a:lnTo>
                  <a:lnTo>
                    <a:pt x="2408" y="792"/>
                  </a:lnTo>
                  <a:lnTo>
                    <a:pt x="2410" y="792"/>
                  </a:lnTo>
                  <a:lnTo>
                    <a:pt x="2410" y="792"/>
                  </a:lnTo>
                  <a:lnTo>
                    <a:pt x="2410" y="792"/>
                  </a:lnTo>
                  <a:lnTo>
                    <a:pt x="2410" y="793"/>
                  </a:lnTo>
                  <a:lnTo>
                    <a:pt x="2410" y="793"/>
                  </a:lnTo>
                  <a:lnTo>
                    <a:pt x="2410" y="793"/>
                  </a:lnTo>
                  <a:lnTo>
                    <a:pt x="2410" y="793"/>
                  </a:lnTo>
                  <a:lnTo>
                    <a:pt x="2410" y="793"/>
                  </a:lnTo>
                  <a:lnTo>
                    <a:pt x="2410" y="792"/>
                  </a:lnTo>
                  <a:lnTo>
                    <a:pt x="2410" y="792"/>
                  </a:lnTo>
                  <a:lnTo>
                    <a:pt x="2410" y="792"/>
                  </a:lnTo>
                  <a:lnTo>
                    <a:pt x="2410" y="791"/>
                  </a:lnTo>
                  <a:lnTo>
                    <a:pt x="2410" y="791"/>
                  </a:lnTo>
                  <a:lnTo>
                    <a:pt x="2410" y="791"/>
                  </a:lnTo>
                  <a:lnTo>
                    <a:pt x="2410" y="791"/>
                  </a:lnTo>
                  <a:lnTo>
                    <a:pt x="2410" y="791"/>
                  </a:lnTo>
                  <a:lnTo>
                    <a:pt x="2410" y="791"/>
                  </a:lnTo>
                  <a:lnTo>
                    <a:pt x="2410" y="791"/>
                  </a:lnTo>
                  <a:lnTo>
                    <a:pt x="2410" y="791"/>
                  </a:lnTo>
                  <a:lnTo>
                    <a:pt x="2410" y="792"/>
                  </a:lnTo>
                  <a:lnTo>
                    <a:pt x="2410" y="791"/>
                  </a:lnTo>
                  <a:lnTo>
                    <a:pt x="2411" y="792"/>
                  </a:lnTo>
                  <a:lnTo>
                    <a:pt x="2411" y="792"/>
                  </a:lnTo>
                  <a:lnTo>
                    <a:pt x="2411" y="791"/>
                  </a:lnTo>
                  <a:lnTo>
                    <a:pt x="2411" y="791"/>
                  </a:lnTo>
                  <a:lnTo>
                    <a:pt x="2411" y="792"/>
                  </a:lnTo>
                  <a:lnTo>
                    <a:pt x="2411" y="791"/>
                  </a:lnTo>
                  <a:lnTo>
                    <a:pt x="2412" y="791"/>
                  </a:lnTo>
                  <a:lnTo>
                    <a:pt x="2412" y="792"/>
                  </a:lnTo>
                  <a:lnTo>
                    <a:pt x="2412" y="792"/>
                  </a:lnTo>
                  <a:lnTo>
                    <a:pt x="2412" y="792"/>
                  </a:lnTo>
                  <a:lnTo>
                    <a:pt x="2412" y="792"/>
                  </a:lnTo>
                  <a:lnTo>
                    <a:pt x="2413" y="792"/>
                  </a:lnTo>
                  <a:lnTo>
                    <a:pt x="2413" y="791"/>
                  </a:lnTo>
                  <a:lnTo>
                    <a:pt x="2414" y="791"/>
                  </a:lnTo>
                  <a:lnTo>
                    <a:pt x="2414" y="792"/>
                  </a:lnTo>
                  <a:lnTo>
                    <a:pt x="2414" y="792"/>
                  </a:lnTo>
                  <a:lnTo>
                    <a:pt x="2414" y="792"/>
                  </a:lnTo>
                  <a:lnTo>
                    <a:pt x="2414" y="792"/>
                  </a:lnTo>
                  <a:lnTo>
                    <a:pt x="2415" y="792"/>
                  </a:lnTo>
                  <a:lnTo>
                    <a:pt x="2415" y="792"/>
                  </a:lnTo>
                  <a:lnTo>
                    <a:pt x="2415" y="792"/>
                  </a:lnTo>
                  <a:lnTo>
                    <a:pt x="2416" y="792"/>
                  </a:lnTo>
                  <a:lnTo>
                    <a:pt x="2416" y="792"/>
                  </a:lnTo>
                  <a:lnTo>
                    <a:pt x="2416" y="792"/>
                  </a:lnTo>
                  <a:lnTo>
                    <a:pt x="2416" y="792"/>
                  </a:lnTo>
                  <a:lnTo>
                    <a:pt x="2416" y="792"/>
                  </a:lnTo>
                  <a:lnTo>
                    <a:pt x="2416" y="792"/>
                  </a:lnTo>
                  <a:lnTo>
                    <a:pt x="2417" y="792"/>
                  </a:lnTo>
                  <a:lnTo>
                    <a:pt x="2417" y="792"/>
                  </a:lnTo>
                  <a:lnTo>
                    <a:pt x="2416" y="792"/>
                  </a:lnTo>
                  <a:lnTo>
                    <a:pt x="2416" y="792"/>
                  </a:lnTo>
                  <a:lnTo>
                    <a:pt x="2417" y="792"/>
                  </a:lnTo>
                  <a:lnTo>
                    <a:pt x="2417" y="792"/>
                  </a:lnTo>
                  <a:lnTo>
                    <a:pt x="2417" y="793"/>
                  </a:lnTo>
                  <a:lnTo>
                    <a:pt x="2417" y="793"/>
                  </a:lnTo>
                  <a:lnTo>
                    <a:pt x="2417" y="793"/>
                  </a:lnTo>
                  <a:lnTo>
                    <a:pt x="2417" y="794"/>
                  </a:lnTo>
                  <a:lnTo>
                    <a:pt x="2417" y="794"/>
                  </a:lnTo>
                  <a:lnTo>
                    <a:pt x="2416" y="794"/>
                  </a:lnTo>
                  <a:lnTo>
                    <a:pt x="2416" y="794"/>
                  </a:lnTo>
                  <a:lnTo>
                    <a:pt x="2416" y="794"/>
                  </a:lnTo>
                  <a:lnTo>
                    <a:pt x="2416" y="794"/>
                  </a:lnTo>
                  <a:lnTo>
                    <a:pt x="2416" y="795"/>
                  </a:lnTo>
                  <a:lnTo>
                    <a:pt x="2416" y="795"/>
                  </a:lnTo>
                  <a:lnTo>
                    <a:pt x="2416" y="795"/>
                  </a:lnTo>
                  <a:lnTo>
                    <a:pt x="2416" y="795"/>
                  </a:lnTo>
                  <a:lnTo>
                    <a:pt x="2416" y="796"/>
                  </a:lnTo>
                  <a:lnTo>
                    <a:pt x="2417" y="796"/>
                  </a:lnTo>
                  <a:lnTo>
                    <a:pt x="2417" y="796"/>
                  </a:lnTo>
                  <a:lnTo>
                    <a:pt x="2417" y="796"/>
                  </a:lnTo>
                  <a:lnTo>
                    <a:pt x="2417" y="796"/>
                  </a:lnTo>
                  <a:lnTo>
                    <a:pt x="2419" y="796"/>
                  </a:lnTo>
                  <a:lnTo>
                    <a:pt x="2419" y="796"/>
                  </a:lnTo>
                  <a:lnTo>
                    <a:pt x="2419" y="796"/>
                  </a:lnTo>
                  <a:lnTo>
                    <a:pt x="2419" y="796"/>
                  </a:lnTo>
                  <a:lnTo>
                    <a:pt x="2419" y="796"/>
                  </a:lnTo>
                  <a:lnTo>
                    <a:pt x="2419" y="797"/>
                  </a:lnTo>
                  <a:lnTo>
                    <a:pt x="2419" y="796"/>
                  </a:lnTo>
                  <a:lnTo>
                    <a:pt x="2419" y="797"/>
                  </a:lnTo>
                  <a:lnTo>
                    <a:pt x="2420" y="797"/>
                  </a:lnTo>
                  <a:lnTo>
                    <a:pt x="2420" y="797"/>
                  </a:lnTo>
                  <a:lnTo>
                    <a:pt x="2420" y="797"/>
                  </a:lnTo>
                  <a:lnTo>
                    <a:pt x="2420" y="797"/>
                  </a:lnTo>
                  <a:lnTo>
                    <a:pt x="2421" y="797"/>
                  </a:lnTo>
                  <a:lnTo>
                    <a:pt x="2421" y="799"/>
                  </a:lnTo>
                  <a:lnTo>
                    <a:pt x="2420" y="799"/>
                  </a:lnTo>
                  <a:lnTo>
                    <a:pt x="2420" y="797"/>
                  </a:lnTo>
                  <a:lnTo>
                    <a:pt x="2420" y="799"/>
                  </a:lnTo>
                  <a:lnTo>
                    <a:pt x="2420" y="799"/>
                  </a:lnTo>
                  <a:lnTo>
                    <a:pt x="2420" y="799"/>
                  </a:lnTo>
                  <a:lnTo>
                    <a:pt x="2420" y="799"/>
                  </a:lnTo>
                  <a:lnTo>
                    <a:pt x="2420" y="799"/>
                  </a:lnTo>
                  <a:lnTo>
                    <a:pt x="2420" y="799"/>
                  </a:lnTo>
                  <a:lnTo>
                    <a:pt x="2420" y="799"/>
                  </a:lnTo>
                  <a:lnTo>
                    <a:pt x="2419" y="799"/>
                  </a:lnTo>
                  <a:lnTo>
                    <a:pt x="2419" y="799"/>
                  </a:lnTo>
                  <a:lnTo>
                    <a:pt x="2419" y="799"/>
                  </a:lnTo>
                  <a:lnTo>
                    <a:pt x="2419" y="799"/>
                  </a:lnTo>
                  <a:lnTo>
                    <a:pt x="2419" y="799"/>
                  </a:lnTo>
                  <a:lnTo>
                    <a:pt x="2419" y="800"/>
                  </a:lnTo>
                  <a:lnTo>
                    <a:pt x="2417" y="799"/>
                  </a:lnTo>
                  <a:lnTo>
                    <a:pt x="2419" y="799"/>
                  </a:lnTo>
                  <a:lnTo>
                    <a:pt x="2419" y="799"/>
                  </a:lnTo>
                  <a:lnTo>
                    <a:pt x="2419" y="799"/>
                  </a:lnTo>
                  <a:lnTo>
                    <a:pt x="2419" y="797"/>
                  </a:lnTo>
                  <a:lnTo>
                    <a:pt x="2419" y="797"/>
                  </a:lnTo>
                  <a:lnTo>
                    <a:pt x="2419" y="797"/>
                  </a:lnTo>
                  <a:lnTo>
                    <a:pt x="2417" y="797"/>
                  </a:lnTo>
                  <a:lnTo>
                    <a:pt x="2417" y="797"/>
                  </a:lnTo>
                  <a:lnTo>
                    <a:pt x="2417" y="797"/>
                  </a:lnTo>
                  <a:lnTo>
                    <a:pt x="2417" y="797"/>
                  </a:lnTo>
                  <a:lnTo>
                    <a:pt x="2417" y="797"/>
                  </a:lnTo>
                  <a:lnTo>
                    <a:pt x="2417" y="797"/>
                  </a:lnTo>
                  <a:lnTo>
                    <a:pt x="2417" y="797"/>
                  </a:lnTo>
                  <a:lnTo>
                    <a:pt x="2417" y="799"/>
                  </a:lnTo>
                  <a:lnTo>
                    <a:pt x="2417" y="797"/>
                  </a:lnTo>
                  <a:lnTo>
                    <a:pt x="2417" y="797"/>
                  </a:lnTo>
                  <a:lnTo>
                    <a:pt x="2416" y="799"/>
                  </a:lnTo>
                  <a:lnTo>
                    <a:pt x="2415" y="799"/>
                  </a:lnTo>
                  <a:lnTo>
                    <a:pt x="2415" y="799"/>
                  </a:lnTo>
                  <a:lnTo>
                    <a:pt x="2414" y="799"/>
                  </a:lnTo>
                  <a:lnTo>
                    <a:pt x="2414" y="797"/>
                  </a:lnTo>
                  <a:lnTo>
                    <a:pt x="2414" y="797"/>
                  </a:lnTo>
                  <a:lnTo>
                    <a:pt x="2414" y="797"/>
                  </a:lnTo>
                  <a:lnTo>
                    <a:pt x="2415" y="797"/>
                  </a:lnTo>
                  <a:lnTo>
                    <a:pt x="2415" y="796"/>
                  </a:lnTo>
                  <a:lnTo>
                    <a:pt x="2415" y="796"/>
                  </a:lnTo>
                  <a:lnTo>
                    <a:pt x="2415" y="796"/>
                  </a:lnTo>
                  <a:lnTo>
                    <a:pt x="2415" y="796"/>
                  </a:lnTo>
                  <a:lnTo>
                    <a:pt x="2414" y="796"/>
                  </a:lnTo>
                  <a:lnTo>
                    <a:pt x="2414" y="796"/>
                  </a:lnTo>
                  <a:lnTo>
                    <a:pt x="2414" y="797"/>
                  </a:lnTo>
                  <a:lnTo>
                    <a:pt x="2414" y="797"/>
                  </a:lnTo>
                  <a:lnTo>
                    <a:pt x="2414" y="797"/>
                  </a:lnTo>
                  <a:lnTo>
                    <a:pt x="2414" y="797"/>
                  </a:lnTo>
                  <a:lnTo>
                    <a:pt x="2414" y="799"/>
                  </a:lnTo>
                  <a:lnTo>
                    <a:pt x="2413" y="799"/>
                  </a:lnTo>
                  <a:lnTo>
                    <a:pt x="2413" y="799"/>
                  </a:lnTo>
                  <a:lnTo>
                    <a:pt x="2413" y="799"/>
                  </a:lnTo>
                  <a:lnTo>
                    <a:pt x="2413" y="800"/>
                  </a:lnTo>
                  <a:lnTo>
                    <a:pt x="2413" y="800"/>
                  </a:lnTo>
                  <a:lnTo>
                    <a:pt x="2413" y="800"/>
                  </a:lnTo>
                  <a:lnTo>
                    <a:pt x="2412" y="800"/>
                  </a:lnTo>
                  <a:lnTo>
                    <a:pt x="2412" y="801"/>
                  </a:lnTo>
                  <a:lnTo>
                    <a:pt x="2413" y="801"/>
                  </a:lnTo>
                  <a:lnTo>
                    <a:pt x="2413" y="802"/>
                  </a:lnTo>
                  <a:lnTo>
                    <a:pt x="2413" y="802"/>
                  </a:lnTo>
                  <a:lnTo>
                    <a:pt x="2413" y="803"/>
                  </a:lnTo>
                  <a:lnTo>
                    <a:pt x="2413" y="803"/>
                  </a:lnTo>
                  <a:lnTo>
                    <a:pt x="2413" y="802"/>
                  </a:lnTo>
                  <a:lnTo>
                    <a:pt x="2414" y="802"/>
                  </a:lnTo>
                  <a:lnTo>
                    <a:pt x="2414" y="802"/>
                  </a:lnTo>
                  <a:lnTo>
                    <a:pt x="2414" y="802"/>
                  </a:lnTo>
                  <a:lnTo>
                    <a:pt x="2414" y="801"/>
                  </a:lnTo>
                  <a:lnTo>
                    <a:pt x="2413" y="801"/>
                  </a:lnTo>
                  <a:lnTo>
                    <a:pt x="2413" y="801"/>
                  </a:lnTo>
                  <a:lnTo>
                    <a:pt x="2414" y="801"/>
                  </a:lnTo>
                  <a:lnTo>
                    <a:pt x="2414" y="801"/>
                  </a:lnTo>
                  <a:lnTo>
                    <a:pt x="2414" y="801"/>
                  </a:lnTo>
                  <a:lnTo>
                    <a:pt x="2415" y="801"/>
                  </a:lnTo>
                  <a:lnTo>
                    <a:pt x="2415" y="801"/>
                  </a:lnTo>
                  <a:lnTo>
                    <a:pt x="2416" y="801"/>
                  </a:lnTo>
                  <a:lnTo>
                    <a:pt x="2416" y="802"/>
                  </a:lnTo>
                  <a:lnTo>
                    <a:pt x="2416" y="802"/>
                  </a:lnTo>
                  <a:lnTo>
                    <a:pt x="2416" y="802"/>
                  </a:lnTo>
                  <a:lnTo>
                    <a:pt x="2417" y="802"/>
                  </a:lnTo>
                  <a:lnTo>
                    <a:pt x="2417" y="802"/>
                  </a:lnTo>
                  <a:lnTo>
                    <a:pt x="2417" y="802"/>
                  </a:lnTo>
                  <a:lnTo>
                    <a:pt x="2417" y="802"/>
                  </a:lnTo>
                  <a:lnTo>
                    <a:pt x="2419" y="802"/>
                  </a:lnTo>
                  <a:lnTo>
                    <a:pt x="2417" y="802"/>
                  </a:lnTo>
                  <a:lnTo>
                    <a:pt x="2419" y="802"/>
                  </a:lnTo>
                  <a:lnTo>
                    <a:pt x="2419" y="803"/>
                  </a:lnTo>
                  <a:lnTo>
                    <a:pt x="2419" y="803"/>
                  </a:lnTo>
                  <a:lnTo>
                    <a:pt x="2419" y="803"/>
                  </a:lnTo>
                  <a:lnTo>
                    <a:pt x="2419" y="803"/>
                  </a:lnTo>
                  <a:lnTo>
                    <a:pt x="2419" y="803"/>
                  </a:lnTo>
                  <a:lnTo>
                    <a:pt x="2419" y="803"/>
                  </a:lnTo>
                  <a:lnTo>
                    <a:pt x="2419" y="803"/>
                  </a:lnTo>
                  <a:lnTo>
                    <a:pt x="2419" y="803"/>
                  </a:lnTo>
                  <a:lnTo>
                    <a:pt x="2419" y="804"/>
                  </a:lnTo>
                  <a:lnTo>
                    <a:pt x="2419" y="804"/>
                  </a:lnTo>
                  <a:lnTo>
                    <a:pt x="2419" y="803"/>
                  </a:lnTo>
                  <a:lnTo>
                    <a:pt x="2420" y="803"/>
                  </a:lnTo>
                  <a:lnTo>
                    <a:pt x="2420" y="804"/>
                  </a:lnTo>
                  <a:lnTo>
                    <a:pt x="2419" y="804"/>
                  </a:lnTo>
                  <a:lnTo>
                    <a:pt x="2420" y="804"/>
                  </a:lnTo>
                  <a:lnTo>
                    <a:pt x="2420" y="804"/>
                  </a:lnTo>
                  <a:lnTo>
                    <a:pt x="2420" y="804"/>
                  </a:lnTo>
                  <a:lnTo>
                    <a:pt x="2420" y="805"/>
                  </a:lnTo>
                  <a:lnTo>
                    <a:pt x="2420" y="805"/>
                  </a:lnTo>
                  <a:lnTo>
                    <a:pt x="2420" y="805"/>
                  </a:lnTo>
                  <a:lnTo>
                    <a:pt x="2420" y="805"/>
                  </a:lnTo>
                  <a:lnTo>
                    <a:pt x="2420" y="805"/>
                  </a:lnTo>
                  <a:lnTo>
                    <a:pt x="2420" y="804"/>
                  </a:lnTo>
                  <a:lnTo>
                    <a:pt x="2421" y="804"/>
                  </a:lnTo>
                  <a:lnTo>
                    <a:pt x="2421" y="804"/>
                  </a:lnTo>
                  <a:lnTo>
                    <a:pt x="2421" y="804"/>
                  </a:lnTo>
                  <a:lnTo>
                    <a:pt x="2421" y="804"/>
                  </a:lnTo>
                  <a:lnTo>
                    <a:pt x="2421" y="804"/>
                  </a:lnTo>
                  <a:lnTo>
                    <a:pt x="2421" y="806"/>
                  </a:lnTo>
                  <a:lnTo>
                    <a:pt x="2421" y="806"/>
                  </a:lnTo>
                  <a:lnTo>
                    <a:pt x="2421" y="806"/>
                  </a:lnTo>
                  <a:lnTo>
                    <a:pt x="2421" y="806"/>
                  </a:lnTo>
                  <a:lnTo>
                    <a:pt x="2421" y="806"/>
                  </a:lnTo>
                  <a:lnTo>
                    <a:pt x="2421" y="806"/>
                  </a:lnTo>
                  <a:lnTo>
                    <a:pt x="2421" y="806"/>
                  </a:lnTo>
                  <a:lnTo>
                    <a:pt x="2422" y="806"/>
                  </a:lnTo>
                  <a:lnTo>
                    <a:pt x="2422" y="806"/>
                  </a:lnTo>
                  <a:lnTo>
                    <a:pt x="2423" y="806"/>
                  </a:lnTo>
                  <a:lnTo>
                    <a:pt x="2423" y="806"/>
                  </a:lnTo>
                  <a:lnTo>
                    <a:pt x="2423" y="806"/>
                  </a:lnTo>
                  <a:lnTo>
                    <a:pt x="2423" y="808"/>
                  </a:lnTo>
                  <a:lnTo>
                    <a:pt x="2423" y="808"/>
                  </a:lnTo>
                  <a:lnTo>
                    <a:pt x="2423" y="808"/>
                  </a:lnTo>
                  <a:lnTo>
                    <a:pt x="2423" y="808"/>
                  </a:lnTo>
                  <a:lnTo>
                    <a:pt x="2423" y="808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10"/>
                  </a:lnTo>
                  <a:lnTo>
                    <a:pt x="2424" y="810"/>
                  </a:lnTo>
                  <a:lnTo>
                    <a:pt x="2423" y="810"/>
                  </a:lnTo>
                  <a:lnTo>
                    <a:pt x="2423" y="811"/>
                  </a:lnTo>
                  <a:lnTo>
                    <a:pt x="2423" y="811"/>
                  </a:lnTo>
                  <a:lnTo>
                    <a:pt x="2423" y="812"/>
                  </a:lnTo>
                  <a:lnTo>
                    <a:pt x="2423" y="812"/>
                  </a:lnTo>
                  <a:lnTo>
                    <a:pt x="2423" y="812"/>
                  </a:lnTo>
                  <a:lnTo>
                    <a:pt x="2423" y="812"/>
                  </a:lnTo>
                  <a:lnTo>
                    <a:pt x="2423" y="813"/>
                  </a:lnTo>
                  <a:lnTo>
                    <a:pt x="2422" y="813"/>
                  </a:lnTo>
                  <a:lnTo>
                    <a:pt x="2422" y="814"/>
                  </a:lnTo>
                  <a:lnTo>
                    <a:pt x="2422" y="814"/>
                  </a:lnTo>
                  <a:lnTo>
                    <a:pt x="2422" y="816"/>
                  </a:lnTo>
                  <a:lnTo>
                    <a:pt x="2422" y="816"/>
                  </a:lnTo>
                  <a:lnTo>
                    <a:pt x="2422" y="817"/>
                  </a:lnTo>
                  <a:lnTo>
                    <a:pt x="2423" y="817"/>
                  </a:lnTo>
                  <a:lnTo>
                    <a:pt x="2423" y="818"/>
                  </a:lnTo>
                  <a:lnTo>
                    <a:pt x="2423" y="818"/>
                  </a:lnTo>
                  <a:lnTo>
                    <a:pt x="2423" y="818"/>
                  </a:lnTo>
                  <a:lnTo>
                    <a:pt x="2423" y="820"/>
                  </a:lnTo>
                  <a:lnTo>
                    <a:pt x="2422" y="821"/>
                  </a:lnTo>
                  <a:lnTo>
                    <a:pt x="2422" y="821"/>
                  </a:lnTo>
                  <a:lnTo>
                    <a:pt x="2422" y="821"/>
                  </a:lnTo>
                  <a:lnTo>
                    <a:pt x="2422" y="822"/>
                  </a:lnTo>
                  <a:lnTo>
                    <a:pt x="2422" y="822"/>
                  </a:lnTo>
                  <a:lnTo>
                    <a:pt x="2422" y="826"/>
                  </a:lnTo>
                  <a:lnTo>
                    <a:pt x="2422" y="826"/>
                  </a:lnTo>
                  <a:lnTo>
                    <a:pt x="2422" y="827"/>
                  </a:lnTo>
                  <a:lnTo>
                    <a:pt x="2422" y="828"/>
                  </a:lnTo>
                  <a:lnTo>
                    <a:pt x="2422" y="829"/>
                  </a:lnTo>
                  <a:lnTo>
                    <a:pt x="2423" y="829"/>
                  </a:lnTo>
                  <a:lnTo>
                    <a:pt x="2423" y="830"/>
                  </a:lnTo>
                  <a:lnTo>
                    <a:pt x="2423" y="830"/>
                  </a:lnTo>
                  <a:lnTo>
                    <a:pt x="2423" y="830"/>
                  </a:lnTo>
                  <a:lnTo>
                    <a:pt x="2423" y="831"/>
                  </a:lnTo>
                  <a:lnTo>
                    <a:pt x="2423" y="834"/>
                  </a:lnTo>
                  <a:lnTo>
                    <a:pt x="2423" y="834"/>
                  </a:lnTo>
                  <a:lnTo>
                    <a:pt x="2423" y="835"/>
                  </a:lnTo>
                  <a:lnTo>
                    <a:pt x="2424" y="835"/>
                  </a:lnTo>
                  <a:lnTo>
                    <a:pt x="2424" y="835"/>
                  </a:lnTo>
                  <a:lnTo>
                    <a:pt x="2424" y="836"/>
                  </a:lnTo>
                  <a:lnTo>
                    <a:pt x="2424" y="837"/>
                  </a:lnTo>
                  <a:lnTo>
                    <a:pt x="2424" y="837"/>
                  </a:lnTo>
                  <a:lnTo>
                    <a:pt x="2424" y="838"/>
                  </a:lnTo>
                  <a:lnTo>
                    <a:pt x="2424" y="838"/>
                  </a:lnTo>
                  <a:lnTo>
                    <a:pt x="2424" y="838"/>
                  </a:lnTo>
                  <a:lnTo>
                    <a:pt x="2424" y="838"/>
                  </a:lnTo>
                  <a:lnTo>
                    <a:pt x="2424" y="839"/>
                  </a:lnTo>
                  <a:lnTo>
                    <a:pt x="2424" y="839"/>
                  </a:lnTo>
                  <a:lnTo>
                    <a:pt x="2424" y="839"/>
                  </a:lnTo>
                  <a:lnTo>
                    <a:pt x="2425" y="839"/>
                  </a:lnTo>
                  <a:lnTo>
                    <a:pt x="2425" y="842"/>
                  </a:lnTo>
                  <a:lnTo>
                    <a:pt x="2424" y="842"/>
                  </a:lnTo>
                  <a:lnTo>
                    <a:pt x="2424" y="842"/>
                  </a:lnTo>
                  <a:lnTo>
                    <a:pt x="2421" y="842"/>
                  </a:lnTo>
                  <a:lnTo>
                    <a:pt x="2421" y="842"/>
                  </a:lnTo>
                  <a:lnTo>
                    <a:pt x="2420" y="842"/>
                  </a:lnTo>
                  <a:lnTo>
                    <a:pt x="2420" y="842"/>
                  </a:lnTo>
                  <a:lnTo>
                    <a:pt x="2420" y="842"/>
                  </a:lnTo>
                  <a:lnTo>
                    <a:pt x="2420" y="842"/>
                  </a:lnTo>
                  <a:lnTo>
                    <a:pt x="2420" y="840"/>
                  </a:lnTo>
                  <a:lnTo>
                    <a:pt x="2420" y="840"/>
                  </a:lnTo>
                  <a:lnTo>
                    <a:pt x="2420" y="840"/>
                  </a:lnTo>
                  <a:lnTo>
                    <a:pt x="2416" y="840"/>
                  </a:lnTo>
                  <a:lnTo>
                    <a:pt x="2416" y="840"/>
                  </a:lnTo>
                  <a:lnTo>
                    <a:pt x="2415" y="840"/>
                  </a:lnTo>
                  <a:lnTo>
                    <a:pt x="2415" y="842"/>
                  </a:lnTo>
                  <a:lnTo>
                    <a:pt x="2414" y="842"/>
                  </a:lnTo>
                  <a:lnTo>
                    <a:pt x="2413" y="842"/>
                  </a:lnTo>
                  <a:lnTo>
                    <a:pt x="2413" y="842"/>
                  </a:lnTo>
                  <a:lnTo>
                    <a:pt x="2413" y="842"/>
                  </a:lnTo>
                  <a:lnTo>
                    <a:pt x="2412" y="842"/>
                  </a:lnTo>
                  <a:lnTo>
                    <a:pt x="2412" y="842"/>
                  </a:lnTo>
                  <a:lnTo>
                    <a:pt x="2411" y="842"/>
                  </a:lnTo>
                  <a:lnTo>
                    <a:pt x="2411" y="843"/>
                  </a:lnTo>
                  <a:lnTo>
                    <a:pt x="2411" y="843"/>
                  </a:lnTo>
                  <a:lnTo>
                    <a:pt x="2410" y="843"/>
                  </a:lnTo>
                  <a:lnTo>
                    <a:pt x="2410" y="843"/>
                  </a:lnTo>
                  <a:lnTo>
                    <a:pt x="2408" y="843"/>
                  </a:lnTo>
                  <a:lnTo>
                    <a:pt x="2408" y="843"/>
                  </a:lnTo>
                  <a:lnTo>
                    <a:pt x="2408" y="843"/>
                  </a:lnTo>
                  <a:lnTo>
                    <a:pt x="2406" y="843"/>
                  </a:lnTo>
                  <a:lnTo>
                    <a:pt x="2406" y="844"/>
                  </a:lnTo>
                  <a:lnTo>
                    <a:pt x="2406" y="844"/>
                  </a:lnTo>
                  <a:lnTo>
                    <a:pt x="2405" y="844"/>
                  </a:lnTo>
                  <a:lnTo>
                    <a:pt x="2404" y="844"/>
                  </a:lnTo>
                  <a:lnTo>
                    <a:pt x="2404" y="844"/>
                  </a:lnTo>
                  <a:lnTo>
                    <a:pt x="2403" y="844"/>
                  </a:lnTo>
                  <a:lnTo>
                    <a:pt x="2402" y="844"/>
                  </a:lnTo>
                  <a:lnTo>
                    <a:pt x="2402" y="844"/>
                  </a:lnTo>
                  <a:lnTo>
                    <a:pt x="2402" y="844"/>
                  </a:lnTo>
                  <a:lnTo>
                    <a:pt x="2400" y="844"/>
                  </a:lnTo>
                  <a:lnTo>
                    <a:pt x="2400" y="845"/>
                  </a:lnTo>
                  <a:lnTo>
                    <a:pt x="2399" y="845"/>
                  </a:lnTo>
                  <a:lnTo>
                    <a:pt x="2399" y="845"/>
                  </a:lnTo>
                  <a:lnTo>
                    <a:pt x="2399" y="845"/>
                  </a:lnTo>
                  <a:lnTo>
                    <a:pt x="2398" y="845"/>
                  </a:lnTo>
                  <a:lnTo>
                    <a:pt x="2398" y="845"/>
                  </a:lnTo>
                  <a:lnTo>
                    <a:pt x="2397" y="845"/>
                  </a:lnTo>
                  <a:lnTo>
                    <a:pt x="2395" y="845"/>
                  </a:lnTo>
                  <a:lnTo>
                    <a:pt x="2395" y="845"/>
                  </a:lnTo>
                  <a:lnTo>
                    <a:pt x="2394" y="845"/>
                  </a:lnTo>
                  <a:lnTo>
                    <a:pt x="2394" y="845"/>
                  </a:lnTo>
                  <a:lnTo>
                    <a:pt x="2394" y="845"/>
                  </a:lnTo>
                  <a:lnTo>
                    <a:pt x="2393" y="845"/>
                  </a:lnTo>
                  <a:lnTo>
                    <a:pt x="2391" y="845"/>
                  </a:lnTo>
                  <a:lnTo>
                    <a:pt x="2391" y="844"/>
                  </a:lnTo>
                  <a:lnTo>
                    <a:pt x="2390" y="844"/>
                  </a:lnTo>
                  <a:lnTo>
                    <a:pt x="2390" y="844"/>
                  </a:lnTo>
                  <a:lnTo>
                    <a:pt x="2389" y="844"/>
                  </a:lnTo>
                  <a:lnTo>
                    <a:pt x="2389" y="844"/>
                  </a:lnTo>
                  <a:lnTo>
                    <a:pt x="2389" y="844"/>
                  </a:lnTo>
                  <a:lnTo>
                    <a:pt x="2388" y="844"/>
                  </a:lnTo>
                  <a:lnTo>
                    <a:pt x="2387" y="844"/>
                  </a:lnTo>
                  <a:lnTo>
                    <a:pt x="2387" y="844"/>
                  </a:lnTo>
                  <a:lnTo>
                    <a:pt x="2386" y="844"/>
                  </a:lnTo>
                  <a:lnTo>
                    <a:pt x="2385" y="843"/>
                  </a:lnTo>
                  <a:lnTo>
                    <a:pt x="2385" y="843"/>
                  </a:lnTo>
                  <a:lnTo>
                    <a:pt x="2385" y="843"/>
                  </a:lnTo>
                  <a:lnTo>
                    <a:pt x="2383" y="843"/>
                  </a:lnTo>
                  <a:lnTo>
                    <a:pt x="2383" y="843"/>
                  </a:lnTo>
                  <a:lnTo>
                    <a:pt x="2383" y="843"/>
                  </a:lnTo>
                  <a:lnTo>
                    <a:pt x="2383" y="843"/>
                  </a:lnTo>
                  <a:lnTo>
                    <a:pt x="2383" y="843"/>
                  </a:lnTo>
                  <a:lnTo>
                    <a:pt x="2382" y="842"/>
                  </a:lnTo>
                  <a:lnTo>
                    <a:pt x="2382" y="842"/>
                  </a:lnTo>
                  <a:lnTo>
                    <a:pt x="2382" y="842"/>
                  </a:lnTo>
                  <a:lnTo>
                    <a:pt x="2381" y="842"/>
                  </a:lnTo>
                  <a:lnTo>
                    <a:pt x="2381" y="842"/>
                  </a:lnTo>
                  <a:lnTo>
                    <a:pt x="2381" y="842"/>
                  </a:lnTo>
                  <a:lnTo>
                    <a:pt x="2381" y="840"/>
                  </a:lnTo>
                  <a:lnTo>
                    <a:pt x="2380" y="840"/>
                  </a:lnTo>
                  <a:lnTo>
                    <a:pt x="2380" y="840"/>
                  </a:lnTo>
                  <a:lnTo>
                    <a:pt x="2380" y="840"/>
                  </a:lnTo>
                  <a:lnTo>
                    <a:pt x="2380" y="840"/>
                  </a:lnTo>
                  <a:lnTo>
                    <a:pt x="2379" y="840"/>
                  </a:lnTo>
                  <a:lnTo>
                    <a:pt x="2379" y="839"/>
                  </a:lnTo>
                  <a:lnTo>
                    <a:pt x="2379" y="839"/>
                  </a:lnTo>
                  <a:lnTo>
                    <a:pt x="2379" y="839"/>
                  </a:lnTo>
                  <a:lnTo>
                    <a:pt x="2379" y="839"/>
                  </a:lnTo>
                  <a:lnTo>
                    <a:pt x="2378" y="839"/>
                  </a:lnTo>
                  <a:lnTo>
                    <a:pt x="2378" y="839"/>
                  </a:lnTo>
                  <a:lnTo>
                    <a:pt x="2378" y="839"/>
                  </a:lnTo>
                  <a:lnTo>
                    <a:pt x="2377" y="838"/>
                  </a:lnTo>
                  <a:lnTo>
                    <a:pt x="2377" y="838"/>
                  </a:lnTo>
                  <a:lnTo>
                    <a:pt x="2376" y="838"/>
                  </a:lnTo>
                  <a:lnTo>
                    <a:pt x="2376" y="838"/>
                  </a:lnTo>
                  <a:lnTo>
                    <a:pt x="2376" y="838"/>
                  </a:lnTo>
                  <a:lnTo>
                    <a:pt x="2376" y="837"/>
                  </a:lnTo>
                  <a:lnTo>
                    <a:pt x="2376" y="837"/>
                  </a:lnTo>
                  <a:lnTo>
                    <a:pt x="2376" y="837"/>
                  </a:lnTo>
                  <a:lnTo>
                    <a:pt x="2374" y="837"/>
                  </a:lnTo>
                  <a:lnTo>
                    <a:pt x="2374" y="837"/>
                  </a:lnTo>
                  <a:lnTo>
                    <a:pt x="2374" y="837"/>
                  </a:lnTo>
                  <a:lnTo>
                    <a:pt x="2374" y="836"/>
                  </a:lnTo>
                  <a:lnTo>
                    <a:pt x="2374" y="836"/>
                  </a:lnTo>
                  <a:lnTo>
                    <a:pt x="2374" y="836"/>
                  </a:lnTo>
                  <a:lnTo>
                    <a:pt x="2373" y="836"/>
                  </a:lnTo>
                  <a:lnTo>
                    <a:pt x="2373" y="835"/>
                  </a:lnTo>
                  <a:lnTo>
                    <a:pt x="2373" y="835"/>
                  </a:lnTo>
                  <a:lnTo>
                    <a:pt x="2373" y="835"/>
                  </a:lnTo>
                  <a:lnTo>
                    <a:pt x="2373" y="835"/>
                  </a:lnTo>
                  <a:lnTo>
                    <a:pt x="2373" y="835"/>
                  </a:lnTo>
                  <a:lnTo>
                    <a:pt x="2373" y="834"/>
                  </a:lnTo>
                  <a:lnTo>
                    <a:pt x="2373" y="833"/>
                  </a:lnTo>
                  <a:lnTo>
                    <a:pt x="2372" y="833"/>
                  </a:lnTo>
                  <a:lnTo>
                    <a:pt x="2372" y="833"/>
                  </a:lnTo>
                  <a:lnTo>
                    <a:pt x="2372" y="833"/>
                  </a:lnTo>
                  <a:lnTo>
                    <a:pt x="2372" y="833"/>
                  </a:lnTo>
                  <a:lnTo>
                    <a:pt x="2371" y="833"/>
                  </a:lnTo>
                  <a:lnTo>
                    <a:pt x="2371" y="833"/>
                  </a:lnTo>
                  <a:lnTo>
                    <a:pt x="2370" y="833"/>
                  </a:lnTo>
                  <a:lnTo>
                    <a:pt x="2370" y="831"/>
                  </a:lnTo>
                  <a:lnTo>
                    <a:pt x="2369" y="831"/>
                  </a:lnTo>
                  <a:lnTo>
                    <a:pt x="2369" y="831"/>
                  </a:lnTo>
                  <a:lnTo>
                    <a:pt x="2369" y="831"/>
                  </a:lnTo>
                  <a:lnTo>
                    <a:pt x="2369" y="831"/>
                  </a:lnTo>
                  <a:lnTo>
                    <a:pt x="2369" y="831"/>
                  </a:lnTo>
                  <a:lnTo>
                    <a:pt x="2369" y="831"/>
                  </a:lnTo>
                  <a:lnTo>
                    <a:pt x="2366" y="831"/>
                  </a:lnTo>
                  <a:lnTo>
                    <a:pt x="2365" y="831"/>
                  </a:lnTo>
                  <a:lnTo>
                    <a:pt x="2363" y="831"/>
                  </a:lnTo>
                  <a:lnTo>
                    <a:pt x="2363" y="831"/>
                  </a:lnTo>
                  <a:lnTo>
                    <a:pt x="2362" y="831"/>
                  </a:lnTo>
                  <a:lnTo>
                    <a:pt x="2362" y="830"/>
                  </a:lnTo>
                  <a:lnTo>
                    <a:pt x="2361" y="830"/>
                  </a:lnTo>
                  <a:lnTo>
                    <a:pt x="2361" y="830"/>
                  </a:lnTo>
                  <a:lnTo>
                    <a:pt x="2361" y="830"/>
                  </a:lnTo>
                  <a:lnTo>
                    <a:pt x="2360" y="830"/>
                  </a:lnTo>
                  <a:lnTo>
                    <a:pt x="2360" y="830"/>
                  </a:lnTo>
                  <a:lnTo>
                    <a:pt x="2359" y="830"/>
                  </a:lnTo>
                  <a:lnTo>
                    <a:pt x="2359" y="829"/>
                  </a:lnTo>
                  <a:lnTo>
                    <a:pt x="2359" y="829"/>
                  </a:lnTo>
                  <a:lnTo>
                    <a:pt x="2359" y="829"/>
                  </a:lnTo>
                  <a:lnTo>
                    <a:pt x="2359" y="829"/>
                  </a:lnTo>
                  <a:lnTo>
                    <a:pt x="2359" y="829"/>
                  </a:lnTo>
                  <a:lnTo>
                    <a:pt x="2357" y="829"/>
                  </a:lnTo>
                  <a:lnTo>
                    <a:pt x="2357" y="829"/>
                  </a:lnTo>
                  <a:lnTo>
                    <a:pt x="2357" y="829"/>
                  </a:lnTo>
                  <a:lnTo>
                    <a:pt x="2357" y="828"/>
                  </a:lnTo>
                  <a:lnTo>
                    <a:pt x="2356" y="828"/>
                  </a:lnTo>
                  <a:lnTo>
                    <a:pt x="2356" y="828"/>
                  </a:lnTo>
                  <a:lnTo>
                    <a:pt x="2356" y="827"/>
                  </a:lnTo>
                  <a:lnTo>
                    <a:pt x="2356" y="827"/>
                  </a:lnTo>
                  <a:lnTo>
                    <a:pt x="2356" y="827"/>
                  </a:lnTo>
                  <a:lnTo>
                    <a:pt x="2356" y="826"/>
                  </a:lnTo>
                  <a:lnTo>
                    <a:pt x="2355" y="826"/>
                  </a:lnTo>
                  <a:lnTo>
                    <a:pt x="2355" y="825"/>
                  </a:lnTo>
                  <a:lnTo>
                    <a:pt x="2355" y="825"/>
                  </a:lnTo>
                  <a:lnTo>
                    <a:pt x="2355" y="823"/>
                  </a:lnTo>
                  <a:lnTo>
                    <a:pt x="2355" y="823"/>
                  </a:lnTo>
                  <a:lnTo>
                    <a:pt x="2355" y="822"/>
                  </a:lnTo>
                  <a:lnTo>
                    <a:pt x="2355" y="822"/>
                  </a:lnTo>
                  <a:lnTo>
                    <a:pt x="2355" y="821"/>
                  </a:lnTo>
                  <a:lnTo>
                    <a:pt x="2354" y="821"/>
                  </a:lnTo>
                  <a:lnTo>
                    <a:pt x="2354" y="819"/>
                  </a:lnTo>
                  <a:lnTo>
                    <a:pt x="2354" y="819"/>
                  </a:lnTo>
                  <a:lnTo>
                    <a:pt x="2354" y="817"/>
                  </a:lnTo>
                  <a:lnTo>
                    <a:pt x="2354" y="817"/>
                  </a:lnTo>
                  <a:lnTo>
                    <a:pt x="2354" y="816"/>
                  </a:lnTo>
                  <a:lnTo>
                    <a:pt x="2354" y="816"/>
                  </a:lnTo>
                  <a:lnTo>
                    <a:pt x="2354" y="816"/>
                  </a:lnTo>
                  <a:lnTo>
                    <a:pt x="2354" y="816"/>
                  </a:lnTo>
                  <a:lnTo>
                    <a:pt x="2354" y="816"/>
                  </a:lnTo>
                  <a:lnTo>
                    <a:pt x="2354" y="814"/>
                  </a:lnTo>
                  <a:lnTo>
                    <a:pt x="2354" y="811"/>
                  </a:lnTo>
                  <a:lnTo>
                    <a:pt x="2354" y="811"/>
                  </a:lnTo>
                  <a:lnTo>
                    <a:pt x="2354" y="810"/>
                  </a:lnTo>
                  <a:lnTo>
                    <a:pt x="2354" y="810"/>
                  </a:lnTo>
                  <a:lnTo>
                    <a:pt x="2354" y="809"/>
                  </a:lnTo>
                  <a:lnTo>
                    <a:pt x="2354" y="809"/>
                  </a:lnTo>
                  <a:lnTo>
                    <a:pt x="2354" y="809"/>
                  </a:lnTo>
                  <a:lnTo>
                    <a:pt x="2354" y="809"/>
                  </a:lnTo>
                  <a:lnTo>
                    <a:pt x="2355" y="809"/>
                  </a:lnTo>
                  <a:lnTo>
                    <a:pt x="2355" y="809"/>
                  </a:lnTo>
                  <a:lnTo>
                    <a:pt x="2355" y="809"/>
                  </a:lnTo>
                  <a:lnTo>
                    <a:pt x="2355" y="808"/>
                  </a:lnTo>
                  <a:lnTo>
                    <a:pt x="2355" y="808"/>
                  </a:lnTo>
                  <a:lnTo>
                    <a:pt x="2355" y="806"/>
                  </a:lnTo>
                  <a:lnTo>
                    <a:pt x="2355" y="806"/>
                  </a:lnTo>
                  <a:lnTo>
                    <a:pt x="2355" y="805"/>
                  </a:lnTo>
                  <a:lnTo>
                    <a:pt x="2355" y="805"/>
                  </a:lnTo>
                  <a:lnTo>
                    <a:pt x="2355" y="804"/>
                  </a:lnTo>
                  <a:lnTo>
                    <a:pt x="2355" y="804"/>
                  </a:lnTo>
                  <a:lnTo>
                    <a:pt x="2356" y="804"/>
                  </a:lnTo>
                  <a:lnTo>
                    <a:pt x="2356" y="804"/>
                  </a:lnTo>
                  <a:lnTo>
                    <a:pt x="2356" y="804"/>
                  </a:lnTo>
                  <a:lnTo>
                    <a:pt x="2357" y="804"/>
                  </a:lnTo>
                  <a:lnTo>
                    <a:pt x="2357" y="805"/>
                  </a:lnTo>
                  <a:lnTo>
                    <a:pt x="2357" y="805"/>
                  </a:lnTo>
                  <a:lnTo>
                    <a:pt x="2359" y="805"/>
                  </a:lnTo>
                  <a:lnTo>
                    <a:pt x="2359" y="806"/>
                  </a:lnTo>
                  <a:lnTo>
                    <a:pt x="2357" y="806"/>
                  </a:lnTo>
                  <a:lnTo>
                    <a:pt x="2356" y="806"/>
                  </a:lnTo>
                  <a:lnTo>
                    <a:pt x="2356" y="808"/>
                  </a:lnTo>
                  <a:lnTo>
                    <a:pt x="2357" y="808"/>
                  </a:lnTo>
                  <a:lnTo>
                    <a:pt x="2357" y="808"/>
                  </a:lnTo>
                  <a:lnTo>
                    <a:pt x="2356" y="808"/>
                  </a:lnTo>
                  <a:lnTo>
                    <a:pt x="2357" y="808"/>
                  </a:lnTo>
                  <a:lnTo>
                    <a:pt x="2357" y="808"/>
                  </a:lnTo>
                  <a:lnTo>
                    <a:pt x="2357" y="808"/>
                  </a:lnTo>
                  <a:lnTo>
                    <a:pt x="2359" y="808"/>
                  </a:lnTo>
                  <a:lnTo>
                    <a:pt x="2359" y="808"/>
                  </a:lnTo>
                  <a:lnTo>
                    <a:pt x="2359" y="806"/>
                  </a:lnTo>
                  <a:lnTo>
                    <a:pt x="2359" y="806"/>
                  </a:lnTo>
                  <a:lnTo>
                    <a:pt x="2359" y="805"/>
                  </a:lnTo>
                  <a:lnTo>
                    <a:pt x="2359" y="805"/>
                  </a:lnTo>
                  <a:lnTo>
                    <a:pt x="2359" y="805"/>
                  </a:lnTo>
                  <a:lnTo>
                    <a:pt x="2360" y="804"/>
                  </a:lnTo>
                  <a:lnTo>
                    <a:pt x="2360" y="802"/>
                  </a:lnTo>
                  <a:lnTo>
                    <a:pt x="2360" y="802"/>
                  </a:lnTo>
                  <a:lnTo>
                    <a:pt x="2360" y="802"/>
                  </a:lnTo>
                  <a:lnTo>
                    <a:pt x="2361" y="802"/>
                  </a:lnTo>
                  <a:lnTo>
                    <a:pt x="2361" y="802"/>
                  </a:lnTo>
                  <a:lnTo>
                    <a:pt x="2361" y="802"/>
                  </a:lnTo>
                  <a:lnTo>
                    <a:pt x="2361" y="802"/>
                  </a:lnTo>
                  <a:lnTo>
                    <a:pt x="2361" y="802"/>
                  </a:lnTo>
                  <a:lnTo>
                    <a:pt x="2362" y="802"/>
                  </a:lnTo>
                  <a:lnTo>
                    <a:pt x="2361" y="802"/>
                  </a:lnTo>
                  <a:lnTo>
                    <a:pt x="2361" y="802"/>
                  </a:lnTo>
                  <a:lnTo>
                    <a:pt x="2361" y="802"/>
                  </a:lnTo>
                  <a:lnTo>
                    <a:pt x="2361" y="802"/>
                  </a:lnTo>
                  <a:lnTo>
                    <a:pt x="2362" y="802"/>
                  </a:lnTo>
                  <a:lnTo>
                    <a:pt x="2362" y="801"/>
                  </a:lnTo>
                  <a:lnTo>
                    <a:pt x="2362" y="801"/>
                  </a:lnTo>
                  <a:lnTo>
                    <a:pt x="2362" y="801"/>
                  </a:lnTo>
                  <a:lnTo>
                    <a:pt x="2362" y="801"/>
                  </a:lnTo>
                  <a:lnTo>
                    <a:pt x="2361" y="801"/>
                  </a:lnTo>
                  <a:lnTo>
                    <a:pt x="2361" y="800"/>
                  </a:lnTo>
                  <a:lnTo>
                    <a:pt x="2361" y="800"/>
                  </a:lnTo>
                  <a:lnTo>
                    <a:pt x="2361" y="800"/>
                  </a:lnTo>
                  <a:lnTo>
                    <a:pt x="2361" y="800"/>
                  </a:lnTo>
                  <a:lnTo>
                    <a:pt x="2360" y="800"/>
                  </a:lnTo>
                  <a:lnTo>
                    <a:pt x="2360" y="800"/>
                  </a:lnTo>
                  <a:lnTo>
                    <a:pt x="2360" y="800"/>
                  </a:lnTo>
                  <a:lnTo>
                    <a:pt x="2360" y="799"/>
                  </a:lnTo>
                  <a:lnTo>
                    <a:pt x="2360" y="799"/>
                  </a:lnTo>
                  <a:lnTo>
                    <a:pt x="2360" y="797"/>
                  </a:lnTo>
                  <a:lnTo>
                    <a:pt x="2361" y="797"/>
                  </a:lnTo>
                  <a:lnTo>
                    <a:pt x="2361" y="797"/>
                  </a:lnTo>
                  <a:lnTo>
                    <a:pt x="2361" y="796"/>
                  </a:lnTo>
                  <a:lnTo>
                    <a:pt x="2361" y="796"/>
                  </a:lnTo>
                  <a:lnTo>
                    <a:pt x="2361" y="796"/>
                  </a:lnTo>
                  <a:lnTo>
                    <a:pt x="2361" y="796"/>
                  </a:lnTo>
                  <a:lnTo>
                    <a:pt x="2361" y="796"/>
                  </a:lnTo>
                  <a:lnTo>
                    <a:pt x="2362" y="796"/>
                  </a:lnTo>
                  <a:lnTo>
                    <a:pt x="2362" y="795"/>
                  </a:lnTo>
                  <a:lnTo>
                    <a:pt x="2362" y="795"/>
                  </a:lnTo>
                  <a:lnTo>
                    <a:pt x="2362" y="794"/>
                  </a:lnTo>
                  <a:lnTo>
                    <a:pt x="2362" y="794"/>
                  </a:lnTo>
                  <a:lnTo>
                    <a:pt x="2362" y="794"/>
                  </a:lnTo>
                  <a:lnTo>
                    <a:pt x="2362" y="793"/>
                  </a:lnTo>
                  <a:lnTo>
                    <a:pt x="2362" y="793"/>
                  </a:lnTo>
                  <a:lnTo>
                    <a:pt x="2362" y="793"/>
                  </a:lnTo>
                  <a:lnTo>
                    <a:pt x="2362" y="793"/>
                  </a:lnTo>
                  <a:lnTo>
                    <a:pt x="2362" y="793"/>
                  </a:lnTo>
                  <a:lnTo>
                    <a:pt x="2362" y="792"/>
                  </a:lnTo>
                  <a:lnTo>
                    <a:pt x="2362" y="792"/>
                  </a:lnTo>
                  <a:lnTo>
                    <a:pt x="2362" y="792"/>
                  </a:lnTo>
                  <a:lnTo>
                    <a:pt x="2362" y="792"/>
                  </a:lnTo>
                  <a:lnTo>
                    <a:pt x="2363" y="792"/>
                  </a:lnTo>
                  <a:lnTo>
                    <a:pt x="2363" y="791"/>
                  </a:lnTo>
                  <a:lnTo>
                    <a:pt x="2362" y="791"/>
                  </a:lnTo>
                  <a:lnTo>
                    <a:pt x="2362" y="791"/>
                  </a:lnTo>
                  <a:lnTo>
                    <a:pt x="2362" y="791"/>
                  </a:lnTo>
                  <a:lnTo>
                    <a:pt x="2362" y="789"/>
                  </a:lnTo>
                  <a:lnTo>
                    <a:pt x="2362" y="789"/>
                  </a:lnTo>
                  <a:lnTo>
                    <a:pt x="2362" y="789"/>
                  </a:lnTo>
                  <a:lnTo>
                    <a:pt x="2363" y="789"/>
                  </a:lnTo>
                  <a:lnTo>
                    <a:pt x="2363" y="788"/>
                  </a:lnTo>
                  <a:lnTo>
                    <a:pt x="2363" y="788"/>
                  </a:lnTo>
                  <a:lnTo>
                    <a:pt x="2363" y="788"/>
                  </a:lnTo>
                  <a:lnTo>
                    <a:pt x="2363" y="788"/>
                  </a:lnTo>
                  <a:lnTo>
                    <a:pt x="2363" y="787"/>
                  </a:lnTo>
                  <a:lnTo>
                    <a:pt x="2364" y="787"/>
                  </a:lnTo>
                  <a:lnTo>
                    <a:pt x="2364" y="787"/>
                  </a:lnTo>
                  <a:lnTo>
                    <a:pt x="2364" y="787"/>
                  </a:lnTo>
                  <a:lnTo>
                    <a:pt x="2364" y="787"/>
                  </a:lnTo>
                  <a:lnTo>
                    <a:pt x="2365" y="787"/>
                  </a:lnTo>
                  <a:lnTo>
                    <a:pt x="2365" y="787"/>
                  </a:lnTo>
                  <a:lnTo>
                    <a:pt x="2365" y="787"/>
                  </a:lnTo>
                  <a:lnTo>
                    <a:pt x="2365" y="787"/>
                  </a:lnTo>
                  <a:lnTo>
                    <a:pt x="2366" y="787"/>
                  </a:lnTo>
                  <a:lnTo>
                    <a:pt x="2366" y="786"/>
                  </a:lnTo>
                  <a:lnTo>
                    <a:pt x="2368" y="786"/>
                  </a:lnTo>
                  <a:lnTo>
                    <a:pt x="2368" y="786"/>
                  </a:lnTo>
                  <a:lnTo>
                    <a:pt x="2368" y="786"/>
                  </a:lnTo>
                  <a:lnTo>
                    <a:pt x="2368" y="786"/>
                  </a:lnTo>
                  <a:lnTo>
                    <a:pt x="2368" y="785"/>
                  </a:lnTo>
                  <a:lnTo>
                    <a:pt x="2368" y="785"/>
                  </a:lnTo>
                  <a:lnTo>
                    <a:pt x="2368" y="785"/>
                  </a:lnTo>
                  <a:lnTo>
                    <a:pt x="2369" y="785"/>
                  </a:lnTo>
                  <a:lnTo>
                    <a:pt x="2369" y="785"/>
                  </a:lnTo>
                  <a:lnTo>
                    <a:pt x="2369" y="785"/>
                  </a:lnTo>
                  <a:lnTo>
                    <a:pt x="2370" y="786"/>
                  </a:lnTo>
                  <a:lnTo>
                    <a:pt x="2370" y="786"/>
                  </a:lnTo>
                  <a:lnTo>
                    <a:pt x="2370" y="786"/>
                  </a:lnTo>
                  <a:lnTo>
                    <a:pt x="2370" y="786"/>
                  </a:lnTo>
                  <a:lnTo>
                    <a:pt x="2370" y="786"/>
                  </a:lnTo>
                  <a:lnTo>
                    <a:pt x="2370" y="785"/>
                  </a:lnTo>
                  <a:lnTo>
                    <a:pt x="2371" y="785"/>
                  </a:lnTo>
                  <a:lnTo>
                    <a:pt x="2371" y="786"/>
                  </a:lnTo>
                  <a:lnTo>
                    <a:pt x="2371" y="786"/>
                  </a:lnTo>
                  <a:lnTo>
                    <a:pt x="2371" y="785"/>
                  </a:lnTo>
                  <a:lnTo>
                    <a:pt x="2372" y="785"/>
                  </a:lnTo>
                  <a:lnTo>
                    <a:pt x="2372" y="786"/>
                  </a:lnTo>
                  <a:lnTo>
                    <a:pt x="2373" y="786"/>
                  </a:lnTo>
                  <a:lnTo>
                    <a:pt x="2373" y="786"/>
                  </a:lnTo>
                  <a:lnTo>
                    <a:pt x="2373" y="786"/>
                  </a:lnTo>
                  <a:lnTo>
                    <a:pt x="2374" y="786"/>
                  </a:lnTo>
                  <a:lnTo>
                    <a:pt x="2374" y="786"/>
                  </a:lnTo>
                  <a:lnTo>
                    <a:pt x="2374" y="786"/>
                  </a:lnTo>
                  <a:lnTo>
                    <a:pt x="2374" y="786"/>
                  </a:lnTo>
                  <a:lnTo>
                    <a:pt x="2374" y="787"/>
                  </a:lnTo>
                  <a:lnTo>
                    <a:pt x="2374" y="787"/>
                  </a:lnTo>
                  <a:lnTo>
                    <a:pt x="2374" y="787"/>
                  </a:lnTo>
                  <a:lnTo>
                    <a:pt x="2376" y="787"/>
                  </a:lnTo>
                  <a:lnTo>
                    <a:pt x="2376" y="787"/>
                  </a:lnTo>
                  <a:lnTo>
                    <a:pt x="2374" y="787"/>
                  </a:lnTo>
                  <a:lnTo>
                    <a:pt x="2374" y="785"/>
                  </a:lnTo>
                  <a:lnTo>
                    <a:pt x="2374" y="785"/>
                  </a:lnTo>
                  <a:lnTo>
                    <a:pt x="2374" y="785"/>
                  </a:lnTo>
                  <a:lnTo>
                    <a:pt x="2374" y="785"/>
                  </a:lnTo>
                  <a:lnTo>
                    <a:pt x="2374" y="784"/>
                  </a:lnTo>
                  <a:lnTo>
                    <a:pt x="2373" y="784"/>
                  </a:lnTo>
                  <a:lnTo>
                    <a:pt x="2373" y="784"/>
                  </a:lnTo>
                  <a:lnTo>
                    <a:pt x="2373" y="784"/>
                  </a:lnTo>
                  <a:lnTo>
                    <a:pt x="2373" y="784"/>
                  </a:lnTo>
                  <a:lnTo>
                    <a:pt x="2373" y="784"/>
                  </a:lnTo>
                  <a:lnTo>
                    <a:pt x="2373" y="783"/>
                  </a:lnTo>
                  <a:lnTo>
                    <a:pt x="2373" y="783"/>
                  </a:lnTo>
                  <a:lnTo>
                    <a:pt x="2372" y="783"/>
                  </a:lnTo>
                  <a:lnTo>
                    <a:pt x="2372" y="783"/>
                  </a:lnTo>
                  <a:lnTo>
                    <a:pt x="2371" y="783"/>
                  </a:lnTo>
                  <a:lnTo>
                    <a:pt x="2371" y="783"/>
                  </a:lnTo>
                  <a:lnTo>
                    <a:pt x="2371" y="783"/>
                  </a:lnTo>
                  <a:lnTo>
                    <a:pt x="2371" y="783"/>
                  </a:lnTo>
                  <a:lnTo>
                    <a:pt x="2371" y="782"/>
                  </a:lnTo>
                  <a:lnTo>
                    <a:pt x="2371" y="782"/>
                  </a:lnTo>
                  <a:lnTo>
                    <a:pt x="2369" y="782"/>
                  </a:lnTo>
                  <a:lnTo>
                    <a:pt x="2368" y="782"/>
                  </a:lnTo>
                  <a:lnTo>
                    <a:pt x="2366" y="782"/>
                  </a:lnTo>
                  <a:lnTo>
                    <a:pt x="2366" y="782"/>
                  </a:lnTo>
                  <a:lnTo>
                    <a:pt x="2365" y="782"/>
                  </a:lnTo>
                  <a:lnTo>
                    <a:pt x="2365" y="782"/>
                  </a:lnTo>
                  <a:lnTo>
                    <a:pt x="2365" y="782"/>
                  </a:lnTo>
                  <a:lnTo>
                    <a:pt x="2365" y="782"/>
                  </a:lnTo>
                  <a:lnTo>
                    <a:pt x="2364" y="782"/>
                  </a:lnTo>
                  <a:lnTo>
                    <a:pt x="2364" y="780"/>
                  </a:lnTo>
                  <a:lnTo>
                    <a:pt x="2364" y="780"/>
                  </a:lnTo>
                  <a:lnTo>
                    <a:pt x="2363" y="780"/>
                  </a:lnTo>
                  <a:lnTo>
                    <a:pt x="2363" y="780"/>
                  </a:lnTo>
                  <a:lnTo>
                    <a:pt x="2363" y="780"/>
                  </a:lnTo>
                  <a:lnTo>
                    <a:pt x="2363" y="779"/>
                  </a:lnTo>
                  <a:lnTo>
                    <a:pt x="2363" y="779"/>
                  </a:lnTo>
                  <a:lnTo>
                    <a:pt x="2363" y="778"/>
                  </a:lnTo>
                  <a:lnTo>
                    <a:pt x="2363" y="778"/>
                  </a:lnTo>
                  <a:lnTo>
                    <a:pt x="2363" y="778"/>
                  </a:lnTo>
                  <a:lnTo>
                    <a:pt x="2363" y="778"/>
                  </a:lnTo>
                  <a:lnTo>
                    <a:pt x="2363" y="778"/>
                  </a:lnTo>
                  <a:lnTo>
                    <a:pt x="2362" y="778"/>
                  </a:lnTo>
                  <a:lnTo>
                    <a:pt x="2362" y="777"/>
                  </a:lnTo>
                  <a:lnTo>
                    <a:pt x="2362" y="777"/>
                  </a:lnTo>
                  <a:lnTo>
                    <a:pt x="2362" y="777"/>
                  </a:lnTo>
                  <a:lnTo>
                    <a:pt x="2361" y="777"/>
                  </a:lnTo>
                  <a:lnTo>
                    <a:pt x="2361" y="777"/>
                  </a:lnTo>
                  <a:lnTo>
                    <a:pt x="2361" y="777"/>
                  </a:lnTo>
                  <a:lnTo>
                    <a:pt x="2361" y="776"/>
                  </a:lnTo>
                  <a:lnTo>
                    <a:pt x="2361" y="776"/>
                  </a:lnTo>
                  <a:lnTo>
                    <a:pt x="2361" y="776"/>
                  </a:lnTo>
                  <a:lnTo>
                    <a:pt x="2361" y="776"/>
                  </a:lnTo>
                  <a:lnTo>
                    <a:pt x="2360" y="776"/>
                  </a:lnTo>
                  <a:lnTo>
                    <a:pt x="2360" y="776"/>
                  </a:lnTo>
                  <a:lnTo>
                    <a:pt x="2360" y="776"/>
                  </a:lnTo>
                  <a:lnTo>
                    <a:pt x="2360" y="775"/>
                  </a:lnTo>
                  <a:lnTo>
                    <a:pt x="2360" y="775"/>
                  </a:lnTo>
                  <a:lnTo>
                    <a:pt x="2360" y="775"/>
                  </a:lnTo>
                  <a:lnTo>
                    <a:pt x="2360" y="775"/>
                  </a:lnTo>
                  <a:lnTo>
                    <a:pt x="2359" y="775"/>
                  </a:lnTo>
                  <a:lnTo>
                    <a:pt x="2359" y="775"/>
                  </a:lnTo>
                  <a:lnTo>
                    <a:pt x="2359" y="774"/>
                  </a:lnTo>
                  <a:lnTo>
                    <a:pt x="2359" y="774"/>
                  </a:lnTo>
                  <a:lnTo>
                    <a:pt x="2359" y="774"/>
                  </a:lnTo>
                  <a:lnTo>
                    <a:pt x="2359" y="772"/>
                  </a:lnTo>
                  <a:lnTo>
                    <a:pt x="2359" y="772"/>
                  </a:lnTo>
                  <a:lnTo>
                    <a:pt x="2357" y="769"/>
                  </a:lnTo>
                  <a:lnTo>
                    <a:pt x="2357" y="769"/>
                  </a:lnTo>
                  <a:lnTo>
                    <a:pt x="2357" y="769"/>
                  </a:lnTo>
                  <a:lnTo>
                    <a:pt x="2357" y="769"/>
                  </a:lnTo>
                  <a:lnTo>
                    <a:pt x="2356" y="768"/>
                  </a:lnTo>
                  <a:lnTo>
                    <a:pt x="2356" y="768"/>
                  </a:lnTo>
                  <a:lnTo>
                    <a:pt x="2356" y="768"/>
                  </a:lnTo>
                  <a:lnTo>
                    <a:pt x="2356" y="768"/>
                  </a:lnTo>
                  <a:lnTo>
                    <a:pt x="2356" y="768"/>
                  </a:lnTo>
                  <a:lnTo>
                    <a:pt x="2356" y="768"/>
                  </a:lnTo>
                  <a:lnTo>
                    <a:pt x="2356" y="768"/>
                  </a:lnTo>
                  <a:lnTo>
                    <a:pt x="2355" y="768"/>
                  </a:lnTo>
                  <a:lnTo>
                    <a:pt x="2355" y="767"/>
                  </a:lnTo>
                  <a:lnTo>
                    <a:pt x="2355" y="767"/>
                  </a:lnTo>
                  <a:lnTo>
                    <a:pt x="2355" y="767"/>
                  </a:lnTo>
                  <a:lnTo>
                    <a:pt x="2355" y="767"/>
                  </a:lnTo>
                  <a:lnTo>
                    <a:pt x="2355" y="767"/>
                  </a:lnTo>
                  <a:lnTo>
                    <a:pt x="2355" y="767"/>
                  </a:lnTo>
                  <a:lnTo>
                    <a:pt x="2354" y="766"/>
                  </a:lnTo>
                  <a:lnTo>
                    <a:pt x="2354" y="766"/>
                  </a:lnTo>
                  <a:lnTo>
                    <a:pt x="2354" y="766"/>
                  </a:lnTo>
                  <a:lnTo>
                    <a:pt x="2354" y="766"/>
                  </a:lnTo>
                  <a:lnTo>
                    <a:pt x="2354" y="766"/>
                  </a:lnTo>
                  <a:lnTo>
                    <a:pt x="2354" y="765"/>
                  </a:lnTo>
                  <a:lnTo>
                    <a:pt x="2354" y="765"/>
                  </a:lnTo>
                  <a:lnTo>
                    <a:pt x="2354" y="765"/>
                  </a:lnTo>
                  <a:lnTo>
                    <a:pt x="2353" y="765"/>
                  </a:lnTo>
                  <a:lnTo>
                    <a:pt x="2353" y="763"/>
                  </a:lnTo>
                  <a:lnTo>
                    <a:pt x="2353" y="763"/>
                  </a:lnTo>
                  <a:lnTo>
                    <a:pt x="2353" y="763"/>
                  </a:lnTo>
                  <a:lnTo>
                    <a:pt x="2353" y="763"/>
                  </a:lnTo>
                  <a:lnTo>
                    <a:pt x="2353" y="763"/>
                  </a:lnTo>
                  <a:lnTo>
                    <a:pt x="2352" y="761"/>
                  </a:lnTo>
                  <a:lnTo>
                    <a:pt x="2352" y="761"/>
                  </a:lnTo>
                  <a:lnTo>
                    <a:pt x="2352" y="761"/>
                  </a:lnTo>
                  <a:lnTo>
                    <a:pt x="2351" y="761"/>
                  </a:lnTo>
                  <a:lnTo>
                    <a:pt x="2351" y="761"/>
                  </a:lnTo>
                  <a:lnTo>
                    <a:pt x="2351" y="761"/>
                  </a:lnTo>
                  <a:lnTo>
                    <a:pt x="2351" y="761"/>
                  </a:lnTo>
                  <a:lnTo>
                    <a:pt x="2351" y="761"/>
                  </a:lnTo>
                  <a:lnTo>
                    <a:pt x="2349" y="761"/>
                  </a:lnTo>
                  <a:lnTo>
                    <a:pt x="2349" y="760"/>
                  </a:lnTo>
                  <a:lnTo>
                    <a:pt x="2349" y="760"/>
                  </a:lnTo>
                  <a:lnTo>
                    <a:pt x="2349" y="760"/>
                  </a:lnTo>
                  <a:lnTo>
                    <a:pt x="2349" y="760"/>
                  </a:lnTo>
                  <a:lnTo>
                    <a:pt x="2349" y="760"/>
                  </a:lnTo>
                  <a:lnTo>
                    <a:pt x="2348" y="760"/>
                  </a:lnTo>
                  <a:lnTo>
                    <a:pt x="2347" y="759"/>
                  </a:lnTo>
                  <a:lnTo>
                    <a:pt x="2347" y="759"/>
                  </a:lnTo>
                  <a:lnTo>
                    <a:pt x="2347" y="759"/>
                  </a:lnTo>
                  <a:lnTo>
                    <a:pt x="2347" y="759"/>
                  </a:lnTo>
                  <a:lnTo>
                    <a:pt x="2347" y="758"/>
                  </a:lnTo>
                  <a:lnTo>
                    <a:pt x="2347" y="758"/>
                  </a:lnTo>
                  <a:lnTo>
                    <a:pt x="2347" y="757"/>
                  </a:lnTo>
                  <a:lnTo>
                    <a:pt x="2346" y="757"/>
                  </a:lnTo>
                  <a:lnTo>
                    <a:pt x="2346" y="757"/>
                  </a:lnTo>
                  <a:lnTo>
                    <a:pt x="2346" y="757"/>
                  </a:lnTo>
                  <a:lnTo>
                    <a:pt x="2346" y="757"/>
                  </a:lnTo>
                  <a:lnTo>
                    <a:pt x="2346" y="757"/>
                  </a:lnTo>
                  <a:lnTo>
                    <a:pt x="2345" y="757"/>
                  </a:lnTo>
                  <a:lnTo>
                    <a:pt x="2345" y="756"/>
                  </a:lnTo>
                  <a:lnTo>
                    <a:pt x="2345" y="756"/>
                  </a:lnTo>
                  <a:lnTo>
                    <a:pt x="2345" y="756"/>
                  </a:lnTo>
                  <a:lnTo>
                    <a:pt x="2345" y="756"/>
                  </a:lnTo>
                  <a:lnTo>
                    <a:pt x="2345" y="754"/>
                  </a:lnTo>
                  <a:lnTo>
                    <a:pt x="2345" y="754"/>
                  </a:lnTo>
                  <a:lnTo>
                    <a:pt x="2345" y="754"/>
                  </a:lnTo>
                  <a:lnTo>
                    <a:pt x="2345" y="754"/>
                  </a:lnTo>
                  <a:lnTo>
                    <a:pt x="2344" y="753"/>
                  </a:lnTo>
                  <a:lnTo>
                    <a:pt x="2344" y="753"/>
                  </a:lnTo>
                  <a:lnTo>
                    <a:pt x="2344" y="753"/>
                  </a:lnTo>
                  <a:lnTo>
                    <a:pt x="2344" y="753"/>
                  </a:lnTo>
                  <a:lnTo>
                    <a:pt x="2344" y="753"/>
                  </a:lnTo>
                  <a:lnTo>
                    <a:pt x="2344" y="752"/>
                  </a:lnTo>
                  <a:lnTo>
                    <a:pt x="2343" y="752"/>
                  </a:lnTo>
                  <a:lnTo>
                    <a:pt x="2343" y="752"/>
                  </a:lnTo>
                  <a:lnTo>
                    <a:pt x="2343" y="752"/>
                  </a:lnTo>
                  <a:lnTo>
                    <a:pt x="2343" y="752"/>
                  </a:lnTo>
                  <a:lnTo>
                    <a:pt x="2343" y="752"/>
                  </a:lnTo>
                  <a:lnTo>
                    <a:pt x="2343" y="752"/>
                  </a:lnTo>
                  <a:lnTo>
                    <a:pt x="2342" y="751"/>
                  </a:lnTo>
                  <a:lnTo>
                    <a:pt x="2342" y="751"/>
                  </a:lnTo>
                  <a:lnTo>
                    <a:pt x="2342" y="751"/>
                  </a:lnTo>
                  <a:lnTo>
                    <a:pt x="2342" y="751"/>
                  </a:lnTo>
                  <a:lnTo>
                    <a:pt x="2342" y="751"/>
                  </a:lnTo>
                  <a:lnTo>
                    <a:pt x="2342" y="751"/>
                  </a:lnTo>
                  <a:lnTo>
                    <a:pt x="2342" y="750"/>
                  </a:lnTo>
                  <a:lnTo>
                    <a:pt x="2340" y="750"/>
                  </a:lnTo>
                  <a:lnTo>
                    <a:pt x="2340" y="750"/>
                  </a:lnTo>
                  <a:lnTo>
                    <a:pt x="2340" y="749"/>
                  </a:lnTo>
                  <a:lnTo>
                    <a:pt x="2340" y="749"/>
                  </a:lnTo>
                  <a:lnTo>
                    <a:pt x="2340" y="749"/>
                  </a:lnTo>
                  <a:lnTo>
                    <a:pt x="2340" y="749"/>
                  </a:lnTo>
                  <a:lnTo>
                    <a:pt x="2340" y="749"/>
                  </a:lnTo>
                  <a:lnTo>
                    <a:pt x="2339" y="749"/>
                  </a:lnTo>
                  <a:lnTo>
                    <a:pt x="2339" y="748"/>
                  </a:lnTo>
                  <a:lnTo>
                    <a:pt x="2339" y="748"/>
                  </a:lnTo>
                  <a:lnTo>
                    <a:pt x="2338" y="748"/>
                  </a:lnTo>
                  <a:lnTo>
                    <a:pt x="2338" y="748"/>
                  </a:lnTo>
                  <a:lnTo>
                    <a:pt x="2338" y="748"/>
                  </a:lnTo>
                  <a:lnTo>
                    <a:pt x="2338" y="746"/>
                  </a:lnTo>
                  <a:lnTo>
                    <a:pt x="2338" y="746"/>
                  </a:lnTo>
                  <a:lnTo>
                    <a:pt x="2338" y="746"/>
                  </a:lnTo>
                  <a:lnTo>
                    <a:pt x="2338" y="745"/>
                  </a:lnTo>
                  <a:lnTo>
                    <a:pt x="2337" y="744"/>
                  </a:lnTo>
                  <a:lnTo>
                    <a:pt x="2337" y="744"/>
                  </a:lnTo>
                  <a:lnTo>
                    <a:pt x="2337" y="744"/>
                  </a:lnTo>
                  <a:lnTo>
                    <a:pt x="2337" y="744"/>
                  </a:lnTo>
                  <a:lnTo>
                    <a:pt x="2337" y="744"/>
                  </a:lnTo>
                  <a:lnTo>
                    <a:pt x="2337" y="743"/>
                  </a:lnTo>
                  <a:lnTo>
                    <a:pt x="2337" y="743"/>
                  </a:lnTo>
                  <a:lnTo>
                    <a:pt x="2336" y="743"/>
                  </a:lnTo>
                  <a:lnTo>
                    <a:pt x="2336" y="742"/>
                  </a:lnTo>
                  <a:lnTo>
                    <a:pt x="2336" y="742"/>
                  </a:lnTo>
                  <a:lnTo>
                    <a:pt x="2336" y="742"/>
                  </a:lnTo>
                  <a:lnTo>
                    <a:pt x="2335" y="742"/>
                  </a:lnTo>
                  <a:lnTo>
                    <a:pt x="2335" y="742"/>
                  </a:lnTo>
                  <a:lnTo>
                    <a:pt x="2335" y="741"/>
                  </a:lnTo>
                  <a:lnTo>
                    <a:pt x="2335" y="740"/>
                  </a:lnTo>
                  <a:lnTo>
                    <a:pt x="2335" y="737"/>
                  </a:lnTo>
                  <a:lnTo>
                    <a:pt x="2335" y="735"/>
                  </a:lnTo>
                  <a:lnTo>
                    <a:pt x="2336" y="732"/>
                  </a:lnTo>
                  <a:lnTo>
                    <a:pt x="2336" y="729"/>
                  </a:lnTo>
                  <a:lnTo>
                    <a:pt x="2337" y="727"/>
                  </a:lnTo>
                  <a:lnTo>
                    <a:pt x="2337" y="727"/>
                  </a:lnTo>
                  <a:lnTo>
                    <a:pt x="2336" y="728"/>
                  </a:lnTo>
                  <a:lnTo>
                    <a:pt x="2336" y="729"/>
                  </a:lnTo>
                  <a:lnTo>
                    <a:pt x="2336" y="729"/>
                  </a:lnTo>
                  <a:lnTo>
                    <a:pt x="2336" y="731"/>
                  </a:lnTo>
                  <a:lnTo>
                    <a:pt x="2336" y="731"/>
                  </a:lnTo>
                  <a:lnTo>
                    <a:pt x="2336" y="731"/>
                  </a:lnTo>
                  <a:lnTo>
                    <a:pt x="2336" y="731"/>
                  </a:lnTo>
                  <a:lnTo>
                    <a:pt x="2336" y="731"/>
                  </a:lnTo>
                  <a:lnTo>
                    <a:pt x="2336" y="731"/>
                  </a:lnTo>
                  <a:lnTo>
                    <a:pt x="2335" y="731"/>
                  </a:lnTo>
                  <a:lnTo>
                    <a:pt x="2335" y="732"/>
                  </a:lnTo>
                  <a:lnTo>
                    <a:pt x="2335" y="733"/>
                  </a:lnTo>
                  <a:lnTo>
                    <a:pt x="2335" y="734"/>
                  </a:lnTo>
                  <a:lnTo>
                    <a:pt x="2335" y="734"/>
                  </a:lnTo>
                  <a:lnTo>
                    <a:pt x="2335" y="734"/>
                  </a:lnTo>
                  <a:lnTo>
                    <a:pt x="2335" y="734"/>
                  </a:lnTo>
                  <a:lnTo>
                    <a:pt x="2335" y="734"/>
                  </a:lnTo>
                  <a:lnTo>
                    <a:pt x="2334" y="734"/>
                  </a:lnTo>
                  <a:lnTo>
                    <a:pt x="2334" y="733"/>
                  </a:lnTo>
                  <a:lnTo>
                    <a:pt x="2334" y="733"/>
                  </a:lnTo>
                  <a:lnTo>
                    <a:pt x="2334" y="733"/>
                  </a:lnTo>
                  <a:lnTo>
                    <a:pt x="2334" y="732"/>
                  </a:lnTo>
                  <a:lnTo>
                    <a:pt x="2334" y="732"/>
                  </a:lnTo>
                  <a:lnTo>
                    <a:pt x="2334" y="732"/>
                  </a:lnTo>
                  <a:lnTo>
                    <a:pt x="2334" y="732"/>
                  </a:lnTo>
                  <a:lnTo>
                    <a:pt x="2334" y="732"/>
                  </a:lnTo>
                  <a:lnTo>
                    <a:pt x="2335" y="732"/>
                  </a:lnTo>
                  <a:lnTo>
                    <a:pt x="2335" y="731"/>
                  </a:lnTo>
                  <a:lnTo>
                    <a:pt x="2335" y="731"/>
                  </a:lnTo>
                  <a:lnTo>
                    <a:pt x="2335" y="731"/>
                  </a:lnTo>
                  <a:lnTo>
                    <a:pt x="2335" y="731"/>
                  </a:lnTo>
                  <a:lnTo>
                    <a:pt x="2335" y="729"/>
                  </a:lnTo>
                  <a:lnTo>
                    <a:pt x="2335" y="729"/>
                  </a:lnTo>
                  <a:lnTo>
                    <a:pt x="2335" y="729"/>
                  </a:lnTo>
                  <a:lnTo>
                    <a:pt x="2335" y="728"/>
                  </a:lnTo>
                  <a:lnTo>
                    <a:pt x="2335" y="728"/>
                  </a:lnTo>
                  <a:lnTo>
                    <a:pt x="2335" y="728"/>
                  </a:lnTo>
                  <a:lnTo>
                    <a:pt x="2335" y="728"/>
                  </a:lnTo>
                  <a:lnTo>
                    <a:pt x="2335" y="728"/>
                  </a:lnTo>
                  <a:lnTo>
                    <a:pt x="2335" y="728"/>
                  </a:lnTo>
                  <a:lnTo>
                    <a:pt x="2335" y="727"/>
                  </a:lnTo>
                  <a:lnTo>
                    <a:pt x="2335" y="727"/>
                  </a:lnTo>
                  <a:lnTo>
                    <a:pt x="2335" y="727"/>
                  </a:lnTo>
                  <a:lnTo>
                    <a:pt x="2335" y="726"/>
                  </a:lnTo>
                  <a:lnTo>
                    <a:pt x="2334" y="726"/>
                  </a:lnTo>
                  <a:lnTo>
                    <a:pt x="2334" y="726"/>
                  </a:lnTo>
                  <a:lnTo>
                    <a:pt x="2334" y="726"/>
                  </a:lnTo>
                  <a:lnTo>
                    <a:pt x="2334" y="726"/>
                  </a:lnTo>
                  <a:lnTo>
                    <a:pt x="2334" y="725"/>
                  </a:lnTo>
                  <a:lnTo>
                    <a:pt x="2334" y="725"/>
                  </a:lnTo>
                  <a:lnTo>
                    <a:pt x="2334" y="725"/>
                  </a:lnTo>
                  <a:lnTo>
                    <a:pt x="2333" y="725"/>
                  </a:lnTo>
                  <a:lnTo>
                    <a:pt x="2333" y="724"/>
                  </a:lnTo>
                  <a:lnTo>
                    <a:pt x="2333" y="724"/>
                  </a:lnTo>
                  <a:lnTo>
                    <a:pt x="2333" y="724"/>
                  </a:lnTo>
                  <a:lnTo>
                    <a:pt x="2333" y="723"/>
                  </a:lnTo>
                  <a:lnTo>
                    <a:pt x="2333" y="723"/>
                  </a:lnTo>
                  <a:lnTo>
                    <a:pt x="2333" y="723"/>
                  </a:lnTo>
                  <a:lnTo>
                    <a:pt x="2331" y="722"/>
                  </a:lnTo>
                  <a:lnTo>
                    <a:pt x="2331" y="722"/>
                  </a:lnTo>
                  <a:lnTo>
                    <a:pt x="2331" y="722"/>
                  </a:lnTo>
                  <a:lnTo>
                    <a:pt x="2331" y="722"/>
                  </a:lnTo>
                  <a:lnTo>
                    <a:pt x="2331" y="722"/>
                  </a:lnTo>
                  <a:lnTo>
                    <a:pt x="2330" y="722"/>
                  </a:lnTo>
                  <a:lnTo>
                    <a:pt x="2330" y="722"/>
                  </a:lnTo>
                  <a:lnTo>
                    <a:pt x="2330" y="722"/>
                  </a:lnTo>
                  <a:lnTo>
                    <a:pt x="2330" y="722"/>
                  </a:lnTo>
                  <a:lnTo>
                    <a:pt x="2330" y="722"/>
                  </a:lnTo>
                  <a:lnTo>
                    <a:pt x="2330" y="722"/>
                  </a:lnTo>
                  <a:lnTo>
                    <a:pt x="2329" y="722"/>
                  </a:lnTo>
                  <a:lnTo>
                    <a:pt x="2329" y="720"/>
                  </a:lnTo>
                  <a:lnTo>
                    <a:pt x="2329" y="720"/>
                  </a:lnTo>
                  <a:lnTo>
                    <a:pt x="2328" y="719"/>
                  </a:lnTo>
                  <a:lnTo>
                    <a:pt x="2328" y="719"/>
                  </a:lnTo>
                  <a:lnTo>
                    <a:pt x="2328" y="719"/>
                  </a:lnTo>
                  <a:lnTo>
                    <a:pt x="2327" y="719"/>
                  </a:lnTo>
                  <a:lnTo>
                    <a:pt x="2327" y="718"/>
                  </a:lnTo>
                  <a:lnTo>
                    <a:pt x="2326" y="718"/>
                  </a:lnTo>
                  <a:lnTo>
                    <a:pt x="2326" y="719"/>
                  </a:lnTo>
                  <a:lnTo>
                    <a:pt x="2326" y="719"/>
                  </a:lnTo>
                  <a:lnTo>
                    <a:pt x="2326" y="718"/>
                  </a:lnTo>
                  <a:lnTo>
                    <a:pt x="2326" y="718"/>
                  </a:lnTo>
                  <a:lnTo>
                    <a:pt x="2325" y="718"/>
                  </a:lnTo>
                  <a:lnTo>
                    <a:pt x="2325" y="718"/>
                  </a:lnTo>
                  <a:lnTo>
                    <a:pt x="2325" y="718"/>
                  </a:lnTo>
                  <a:lnTo>
                    <a:pt x="2325" y="717"/>
                  </a:lnTo>
                  <a:lnTo>
                    <a:pt x="2325" y="717"/>
                  </a:lnTo>
                  <a:lnTo>
                    <a:pt x="2325" y="717"/>
                  </a:lnTo>
                  <a:lnTo>
                    <a:pt x="2323" y="717"/>
                  </a:lnTo>
                  <a:lnTo>
                    <a:pt x="2325" y="716"/>
                  </a:lnTo>
                  <a:lnTo>
                    <a:pt x="2325" y="716"/>
                  </a:lnTo>
                  <a:lnTo>
                    <a:pt x="2325" y="716"/>
                  </a:lnTo>
                  <a:lnTo>
                    <a:pt x="2325" y="716"/>
                  </a:lnTo>
                  <a:lnTo>
                    <a:pt x="2325" y="716"/>
                  </a:lnTo>
                  <a:lnTo>
                    <a:pt x="2325" y="716"/>
                  </a:lnTo>
                  <a:lnTo>
                    <a:pt x="2325" y="716"/>
                  </a:lnTo>
                  <a:lnTo>
                    <a:pt x="2325" y="716"/>
                  </a:lnTo>
                  <a:lnTo>
                    <a:pt x="2325" y="715"/>
                  </a:lnTo>
                  <a:lnTo>
                    <a:pt x="2326" y="715"/>
                  </a:lnTo>
                  <a:lnTo>
                    <a:pt x="2326" y="714"/>
                  </a:lnTo>
                  <a:lnTo>
                    <a:pt x="2326" y="714"/>
                  </a:lnTo>
                  <a:lnTo>
                    <a:pt x="2327" y="714"/>
                  </a:lnTo>
                  <a:lnTo>
                    <a:pt x="2327" y="714"/>
                  </a:lnTo>
                  <a:lnTo>
                    <a:pt x="2327" y="712"/>
                  </a:lnTo>
                  <a:lnTo>
                    <a:pt x="2327" y="712"/>
                  </a:lnTo>
                  <a:lnTo>
                    <a:pt x="2327" y="712"/>
                  </a:lnTo>
                  <a:lnTo>
                    <a:pt x="2328" y="712"/>
                  </a:lnTo>
                  <a:lnTo>
                    <a:pt x="2328" y="712"/>
                  </a:lnTo>
                  <a:lnTo>
                    <a:pt x="2328" y="712"/>
                  </a:lnTo>
                  <a:lnTo>
                    <a:pt x="2328" y="712"/>
                  </a:lnTo>
                  <a:lnTo>
                    <a:pt x="2328" y="712"/>
                  </a:lnTo>
                  <a:lnTo>
                    <a:pt x="2328" y="711"/>
                  </a:lnTo>
                  <a:lnTo>
                    <a:pt x="2329" y="711"/>
                  </a:lnTo>
                  <a:lnTo>
                    <a:pt x="2328" y="711"/>
                  </a:lnTo>
                  <a:lnTo>
                    <a:pt x="2328" y="710"/>
                  </a:lnTo>
                  <a:lnTo>
                    <a:pt x="2329" y="710"/>
                  </a:lnTo>
                  <a:lnTo>
                    <a:pt x="2329" y="711"/>
                  </a:lnTo>
                  <a:lnTo>
                    <a:pt x="2329" y="711"/>
                  </a:lnTo>
                  <a:lnTo>
                    <a:pt x="2329" y="711"/>
                  </a:lnTo>
                  <a:lnTo>
                    <a:pt x="2329" y="711"/>
                  </a:lnTo>
                  <a:lnTo>
                    <a:pt x="2329" y="711"/>
                  </a:lnTo>
                  <a:lnTo>
                    <a:pt x="2329" y="712"/>
                  </a:lnTo>
                  <a:lnTo>
                    <a:pt x="2329" y="712"/>
                  </a:lnTo>
                  <a:lnTo>
                    <a:pt x="2330" y="711"/>
                  </a:lnTo>
                  <a:lnTo>
                    <a:pt x="2330" y="711"/>
                  </a:lnTo>
                  <a:lnTo>
                    <a:pt x="2330" y="711"/>
                  </a:lnTo>
                  <a:lnTo>
                    <a:pt x="2330" y="709"/>
                  </a:lnTo>
                  <a:lnTo>
                    <a:pt x="2330" y="709"/>
                  </a:lnTo>
                  <a:lnTo>
                    <a:pt x="2330" y="709"/>
                  </a:lnTo>
                  <a:lnTo>
                    <a:pt x="2330" y="709"/>
                  </a:lnTo>
                  <a:lnTo>
                    <a:pt x="2330" y="709"/>
                  </a:lnTo>
                  <a:lnTo>
                    <a:pt x="2330" y="709"/>
                  </a:lnTo>
                  <a:lnTo>
                    <a:pt x="2331" y="709"/>
                  </a:lnTo>
                  <a:lnTo>
                    <a:pt x="2331" y="709"/>
                  </a:lnTo>
                  <a:lnTo>
                    <a:pt x="2331" y="709"/>
                  </a:lnTo>
                  <a:lnTo>
                    <a:pt x="2331" y="709"/>
                  </a:lnTo>
                  <a:lnTo>
                    <a:pt x="2331" y="709"/>
                  </a:lnTo>
                  <a:lnTo>
                    <a:pt x="2331" y="708"/>
                  </a:lnTo>
                  <a:lnTo>
                    <a:pt x="2333" y="708"/>
                  </a:lnTo>
                  <a:lnTo>
                    <a:pt x="2333" y="707"/>
                  </a:lnTo>
                  <a:lnTo>
                    <a:pt x="2333" y="707"/>
                  </a:lnTo>
                  <a:lnTo>
                    <a:pt x="2333" y="707"/>
                  </a:lnTo>
                  <a:lnTo>
                    <a:pt x="2333" y="707"/>
                  </a:lnTo>
                  <a:lnTo>
                    <a:pt x="2333" y="706"/>
                  </a:lnTo>
                  <a:lnTo>
                    <a:pt x="2334" y="706"/>
                  </a:lnTo>
                  <a:lnTo>
                    <a:pt x="2334" y="706"/>
                  </a:lnTo>
                  <a:lnTo>
                    <a:pt x="2334" y="706"/>
                  </a:lnTo>
                  <a:lnTo>
                    <a:pt x="2334" y="703"/>
                  </a:lnTo>
                  <a:lnTo>
                    <a:pt x="2334" y="703"/>
                  </a:lnTo>
                  <a:lnTo>
                    <a:pt x="2334" y="703"/>
                  </a:lnTo>
                  <a:lnTo>
                    <a:pt x="2335" y="703"/>
                  </a:lnTo>
                  <a:lnTo>
                    <a:pt x="2335" y="702"/>
                  </a:lnTo>
                  <a:lnTo>
                    <a:pt x="2335" y="702"/>
                  </a:lnTo>
                  <a:lnTo>
                    <a:pt x="2335" y="702"/>
                  </a:lnTo>
                  <a:lnTo>
                    <a:pt x="2335" y="702"/>
                  </a:lnTo>
                  <a:lnTo>
                    <a:pt x="2335" y="701"/>
                  </a:lnTo>
                  <a:lnTo>
                    <a:pt x="2335" y="702"/>
                  </a:lnTo>
                  <a:lnTo>
                    <a:pt x="2334" y="702"/>
                  </a:lnTo>
                  <a:lnTo>
                    <a:pt x="2334" y="701"/>
                  </a:lnTo>
                  <a:lnTo>
                    <a:pt x="2334" y="701"/>
                  </a:lnTo>
                  <a:lnTo>
                    <a:pt x="2334" y="701"/>
                  </a:lnTo>
                  <a:lnTo>
                    <a:pt x="2336" y="701"/>
                  </a:lnTo>
                  <a:lnTo>
                    <a:pt x="2336" y="700"/>
                  </a:lnTo>
                  <a:lnTo>
                    <a:pt x="2336" y="700"/>
                  </a:lnTo>
                  <a:lnTo>
                    <a:pt x="2336" y="700"/>
                  </a:lnTo>
                  <a:lnTo>
                    <a:pt x="2336" y="700"/>
                  </a:lnTo>
                  <a:lnTo>
                    <a:pt x="2336" y="700"/>
                  </a:lnTo>
                  <a:lnTo>
                    <a:pt x="2336" y="700"/>
                  </a:lnTo>
                  <a:lnTo>
                    <a:pt x="2336" y="699"/>
                  </a:lnTo>
                  <a:lnTo>
                    <a:pt x="2336" y="699"/>
                  </a:lnTo>
                  <a:lnTo>
                    <a:pt x="2336" y="699"/>
                  </a:lnTo>
                  <a:lnTo>
                    <a:pt x="2335" y="699"/>
                  </a:lnTo>
                  <a:lnTo>
                    <a:pt x="2336" y="699"/>
                  </a:lnTo>
                  <a:lnTo>
                    <a:pt x="2335" y="698"/>
                  </a:lnTo>
                  <a:lnTo>
                    <a:pt x="2335" y="697"/>
                  </a:lnTo>
                  <a:lnTo>
                    <a:pt x="2335" y="697"/>
                  </a:lnTo>
                  <a:lnTo>
                    <a:pt x="2335" y="697"/>
                  </a:lnTo>
                  <a:lnTo>
                    <a:pt x="2335" y="697"/>
                  </a:lnTo>
                  <a:lnTo>
                    <a:pt x="2334" y="697"/>
                  </a:lnTo>
                  <a:lnTo>
                    <a:pt x="2334" y="697"/>
                  </a:lnTo>
                  <a:lnTo>
                    <a:pt x="2334" y="695"/>
                  </a:lnTo>
                  <a:lnTo>
                    <a:pt x="2334" y="695"/>
                  </a:lnTo>
                  <a:lnTo>
                    <a:pt x="2334" y="695"/>
                  </a:lnTo>
                  <a:lnTo>
                    <a:pt x="2334" y="695"/>
                  </a:lnTo>
                  <a:lnTo>
                    <a:pt x="2335" y="695"/>
                  </a:lnTo>
                  <a:lnTo>
                    <a:pt x="2335" y="695"/>
                  </a:lnTo>
                  <a:lnTo>
                    <a:pt x="2336" y="697"/>
                  </a:lnTo>
                  <a:lnTo>
                    <a:pt x="2336" y="697"/>
                  </a:lnTo>
                  <a:lnTo>
                    <a:pt x="2336" y="697"/>
                  </a:lnTo>
                  <a:lnTo>
                    <a:pt x="2336" y="694"/>
                  </a:lnTo>
                  <a:lnTo>
                    <a:pt x="2337" y="695"/>
                  </a:lnTo>
                  <a:lnTo>
                    <a:pt x="2337" y="695"/>
                  </a:lnTo>
                  <a:lnTo>
                    <a:pt x="2337" y="695"/>
                  </a:lnTo>
                  <a:lnTo>
                    <a:pt x="2337" y="695"/>
                  </a:lnTo>
                  <a:lnTo>
                    <a:pt x="2337" y="695"/>
                  </a:lnTo>
                  <a:lnTo>
                    <a:pt x="2337" y="695"/>
                  </a:lnTo>
                  <a:lnTo>
                    <a:pt x="2337" y="697"/>
                  </a:lnTo>
                  <a:lnTo>
                    <a:pt x="2338" y="697"/>
                  </a:lnTo>
                  <a:lnTo>
                    <a:pt x="2338" y="697"/>
                  </a:lnTo>
                  <a:lnTo>
                    <a:pt x="2339" y="697"/>
                  </a:lnTo>
                  <a:lnTo>
                    <a:pt x="2339" y="698"/>
                  </a:lnTo>
                  <a:lnTo>
                    <a:pt x="2339" y="698"/>
                  </a:lnTo>
                  <a:lnTo>
                    <a:pt x="2339" y="698"/>
                  </a:lnTo>
                  <a:lnTo>
                    <a:pt x="2339" y="698"/>
                  </a:lnTo>
                  <a:lnTo>
                    <a:pt x="2340" y="698"/>
                  </a:lnTo>
                  <a:lnTo>
                    <a:pt x="2340" y="698"/>
                  </a:lnTo>
                  <a:lnTo>
                    <a:pt x="2340" y="698"/>
                  </a:lnTo>
                  <a:lnTo>
                    <a:pt x="2340" y="698"/>
                  </a:lnTo>
                  <a:lnTo>
                    <a:pt x="2340" y="698"/>
                  </a:lnTo>
                  <a:lnTo>
                    <a:pt x="2340" y="697"/>
                  </a:lnTo>
                  <a:lnTo>
                    <a:pt x="2340" y="697"/>
                  </a:lnTo>
                  <a:lnTo>
                    <a:pt x="2340" y="697"/>
                  </a:lnTo>
                  <a:lnTo>
                    <a:pt x="2340" y="697"/>
                  </a:lnTo>
                  <a:lnTo>
                    <a:pt x="2340" y="697"/>
                  </a:lnTo>
                  <a:lnTo>
                    <a:pt x="2340" y="697"/>
                  </a:lnTo>
                  <a:lnTo>
                    <a:pt x="2342" y="697"/>
                  </a:lnTo>
                  <a:lnTo>
                    <a:pt x="2342" y="697"/>
                  </a:lnTo>
                  <a:lnTo>
                    <a:pt x="2342" y="695"/>
                  </a:lnTo>
                  <a:lnTo>
                    <a:pt x="2342" y="695"/>
                  </a:lnTo>
                  <a:lnTo>
                    <a:pt x="2342" y="697"/>
                  </a:lnTo>
                  <a:lnTo>
                    <a:pt x="2343" y="697"/>
                  </a:lnTo>
                  <a:lnTo>
                    <a:pt x="2343" y="697"/>
                  </a:lnTo>
                  <a:lnTo>
                    <a:pt x="2343" y="697"/>
                  </a:lnTo>
                  <a:lnTo>
                    <a:pt x="2343" y="697"/>
                  </a:lnTo>
                  <a:lnTo>
                    <a:pt x="2343" y="695"/>
                  </a:lnTo>
                  <a:lnTo>
                    <a:pt x="2344" y="695"/>
                  </a:lnTo>
                  <a:lnTo>
                    <a:pt x="2344" y="695"/>
                  </a:lnTo>
                  <a:lnTo>
                    <a:pt x="2344" y="695"/>
                  </a:lnTo>
                  <a:lnTo>
                    <a:pt x="2344" y="697"/>
                  </a:lnTo>
                  <a:lnTo>
                    <a:pt x="2344" y="695"/>
                  </a:lnTo>
                  <a:lnTo>
                    <a:pt x="2345" y="695"/>
                  </a:lnTo>
                  <a:lnTo>
                    <a:pt x="2345" y="697"/>
                  </a:lnTo>
                  <a:lnTo>
                    <a:pt x="2345" y="697"/>
                  </a:lnTo>
                  <a:lnTo>
                    <a:pt x="2345" y="695"/>
                  </a:lnTo>
                  <a:lnTo>
                    <a:pt x="2345" y="695"/>
                  </a:lnTo>
                  <a:lnTo>
                    <a:pt x="2345" y="695"/>
                  </a:lnTo>
                  <a:lnTo>
                    <a:pt x="2346" y="695"/>
                  </a:lnTo>
                  <a:lnTo>
                    <a:pt x="2346" y="695"/>
                  </a:lnTo>
                  <a:lnTo>
                    <a:pt x="2346" y="694"/>
                  </a:lnTo>
                  <a:lnTo>
                    <a:pt x="2346" y="694"/>
                  </a:lnTo>
                  <a:lnTo>
                    <a:pt x="2346" y="694"/>
                  </a:lnTo>
                  <a:lnTo>
                    <a:pt x="2346" y="694"/>
                  </a:lnTo>
                  <a:lnTo>
                    <a:pt x="2347" y="694"/>
                  </a:lnTo>
                  <a:lnTo>
                    <a:pt x="2347" y="694"/>
                  </a:lnTo>
                  <a:lnTo>
                    <a:pt x="2348" y="694"/>
                  </a:lnTo>
                  <a:lnTo>
                    <a:pt x="2348" y="694"/>
                  </a:lnTo>
                  <a:lnTo>
                    <a:pt x="2347" y="694"/>
                  </a:lnTo>
                  <a:lnTo>
                    <a:pt x="2347" y="694"/>
                  </a:lnTo>
                  <a:lnTo>
                    <a:pt x="2347" y="694"/>
                  </a:lnTo>
                  <a:lnTo>
                    <a:pt x="2347" y="693"/>
                  </a:lnTo>
                  <a:lnTo>
                    <a:pt x="2348" y="693"/>
                  </a:lnTo>
                  <a:lnTo>
                    <a:pt x="2348" y="693"/>
                  </a:lnTo>
                  <a:lnTo>
                    <a:pt x="2348" y="693"/>
                  </a:lnTo>
                  <a:lnTo>
                    <a:pt x="2348" y="693"/>
                  </a:lnTo>
                  <a:lnTo>
                    <a:pt x="2348" y="693"/>
                  </a:lnTo>
                  <a:lnTo>
                    <a:pt x="2348" y="692"/>
                  </a:lnTo>
                  <a:lnTo>
                    <a:pt x="2349" y="692"/>
                  </a:lnTo>
                  <a:lnTo>
                    <a:pt x="2349" y="692"/>
                  </a:lnTo>
                  <a:lnTo>
                    <a:pt x="2349" y="692"/>
                  </a:lnTo>
                  <a:lnTo>
                    <a:pt x="2349" y="692"/>
                  </a:lnTo>
                  <a:lnTo>
                    <a:pt x="2349" y="692"/>
                  </a:lnTo>
                  <a:lnTo>
                    <a:pt x="2351" y="692"/>
                  </a:lnTo>
                  <a:lnTo>
                    <a:pt x="2351" y="692"/>
                  </a:lnTo>
                  <a:lnTo>
                    <a:pt x="2351" y="692"/>
                  </a:lnTo>
                  <a:lnTo>
                    <a:pt x="2351" y="693"/>
                  </a:lnTo>
                  <a:lnTo>
                    <a:pt x="2351" y="693"/>
                  </a:lnTo>
                  <a:lnTo>
                    <a:pt x="2351" y="693"/>
                  </a:lnTo>
                  <a:lnTo>
                    <a:pt x="2352" y="693"/>
                  </a:lnTo>
                  <a:lnTo>
                    <a:pt x="2352" y="693"/>
                  </a:lnTo>
                  <a:lnTo>
                    <a:pt x="2352" y="693"/>
                  </a:lnTo>
                  <a:lnTo>
                    <a:pt x="2352" y="692"/>
                  </a:lnTo>
                  <a:lnTo>
                    <a:pt x="2352" y="692"/>
                  </a:lnTo>
                  <a:lnTo>
                    <a:pt x="2352" y="692"/>
                  </a:lnTo>
                  <a:lnTo>
                    <a:pt x="2351" y="692"/>
                  </a:lnTo>
                  <a:lnTo>
                    <a:pt x="2351" y="692"/>
                  </a:lnTo>
                  <a:lnTo>
                    <a:pt x="2352" y="692"/>
                  </a:lnTo>
                  <a:lnTo>
                    <a:pt x="2352" y="692"/>
                  </a:lnTo>
                  <a:lnTo>
                    <a:pt x="2352" y="692"/>
                  </a:lnTo>
                  <a:lnTo>
                    <a:pt x="2352" y="691"/>
                  </a:lnTo>
                  <a:lnTo>
                    <a:pt x="2352" y="691"/>
                  </a:lnTo>
                  <a:lnTo>
                    <a:pt x="2352" y="691"/>
                  </a:lnTo>
                  <a:lnTo>
                    <a:pt x="2352" y="691"/>
                  </a:lnTo>
                  <a:lnTo>
                    <a:pt x="2352" y="691"/>
                  </a:lnTo>
                  <a:lnTo>
                    <a:pt x="2351" y="690"/>
                  </a:lnTo>
                  <a:lnTo>
                    <a:pt x="2351" y="690"/>
                  </a:lnTo>
                  <a:lnTo>
                    <a:pt x="2351" y="690"/>
                  </a:lnTo>
                  <a:lnTo>
                    <a:pt x="2351" y="690"/>
                  </a:lnTo>
                  <a:lnTo>
                    <a:pt x="2352" y="690"/>
                  </a:lnTo>
                  <a:lnTo>
                    <a:pt x="2352" y="690"/>
                  </a:lnTo>
                  <a:lnTo>
                    <a:pt x="2352" y="690"/>
                  </a:lnTo>
                  <a:lnTo>
                    <a:pt x="2352" y="690"/>
                  </a:lnTo>
                  <a:lnTo>
                    <a:pt x="2352" y="690"/>
                  </a:lnTo>
                  <a:lnTo>
                    <a:pt x="2352" y="690"/>
                  </a:lnTo>
                  <a:lnTo>
                    <a:pt x="2353" y="690"/>
                  </a:lnTo>
                  <a:lnTo>
                    <a:pt x="2353" y="690"/>
                  </a:lnTo>
                  <a:lnTo>
                    <a:pt x="2353" y="690"/>
                  </a:lnTo>
                  <a:lnTo>
                    <a:pt x="2353" y="690"/>
                  </a:lnTo>
                  <a:lnTo>
                    <a:pt x="2353" y="690"/>
                  </a:lnTo>
                  <a:lnTo>
                    <a:pt x="2353" y="691"/>
                  </a:lnTo>
                  <a:lnTo>
                    <a:pt x="2354" y="691"/>
                  </a:lnTo>
                  <a:lnTo>
                    <a:pt x="2354" y="691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3" y="690"/>
                  </a:lnTo>
                  <a:lnTo>
                    <a:pt x="2353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89"/>
                  </a:lnTo>
                  <a:lnTo>
                    <a:pt x="2354" y="689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89"/>
                  </a:lnTo>
                  <a:lnTo>
                    <a:pt x="2354" y="689"/>
                  </a:lnTo>
                  <a:lnTo>
                    <a:pt x="2354" y="689"/>
                  </a:lnTo>
                  <a:lnTo>
                    <a:pt x="2355" y="689"/>
                  </a:lnTo>
                  <a:lnTo>
                    <a:pt x="2355" y="690"/>
                  </a:lnTo>
                  <a:lnTo>
                    <a:pt x="2355" y="690"/>
                  </a:lnTo>
                  <a:lnTo>
                    <a:pt x="2355" y="690"/>
                  </a:lnTo>
                  <a:lnTo>
                    <a:pt x="2355" y="690"/>
                  </a:lnTo>
                  <a:lnTo>
                    <a:pt x="2355" y="690"/>
                  </a:lnTo>
                  <a:lnTo>
                    <a:pt x="2355" y="690"/>
                  </a:lnTo>
                  <a:lnTo>
                    <a:pt x="2355" y="689"/>
                  </a:lnTo>
                  <a:lnTo>
                    <a:pt x="2355" y="689"/>
                  </a:lnTo>
                  <a:lnTo>
                    <a:pt x="2355" y="689"/>
                  </a:lnTo>
                  <a:lnTo>
                    <a:pt x="2355" y="689"/>
                  </a:lnTo>
                  <a:lnTo>
                    <a:pt x="2355" y="689"/>
                  </a:lnTo>
                  <a:lnTo>
                    <a:pt x="2356" y="689"/>
                  </a:lnTo>
                  <a:lnTo>
                    <a:pt x="2356" y="688"/>
                  </a:lnTo>
                  <a:lnTo>
                    <a:pt x="2356" y="688"/>
                  </a:lnTo>
                  <a:lnTo>
                    <a:pt x="2356" y="689"/>
                  </a:lnTo>
                  <a:lnTo>
                    <a:pt x="2357" y="689"/>
                  </a:lnTo>
                  <a:lnTo>
                    <a:pt x="2357" y="689"/>
                  </a:lnTo>
                  <a:lnTo>
                    <a:pt x="2357" y="689"/>
                  </a:lnTo>
                  <a:lnTo>
                    <a:pt x="2357" y="689"/>
                  </a:lnTo>
                  <a:lnTo>
                    <a:pt x="2357" y="689"/>
                  </a:lnTo>
                  <a:lnTo>
                    <a:pt x="2357" y="689"/>
                  </a:lnTo>
                  <a:lnTo>
                    <a:pt x="2357" y="688"/>
                  </a:lnTo>
                  <a:lnTo>
                    <a:pt x="2356" y="688"/>
                  </a:lnTo>
                  <a:lnTo>
                    <a:pt x="2357" y="686"/>
                  </a:lnTo>
                  <a:lnTo>
                    <a:pt x="2357" y="686"/>
                  </a:lnTo>
                  <a:lnTo>
                    <a:pt x="2357" y="686"/>
                  </a:lnTo>
                  <a:lnTo>
                    <a:pt x="2357" y="686"/>
                  </a:lnTo>
                  <a:lnTo>
                    <a:pt x="2357" y="686"/>
                  </a:lnTo>
                  <a:lnTo>
                    <a:pt x="2357" y="686"/>
                  </a:lnTo>
                  <a:lnTo>
                    <a:pt x="2357" y="686"/>
                  </a:lnTo>
                  <a:lnTo>
                    <a:pt x="2357" y="685"/>
                  </a:lnTo>
                  <a:lnTo>
                    <a:pt x="2359" y="685"/>
                  </a:lnTo>
                  <a:lnTo>
                    <a:pt x="2359" y="684"/>
                  </a:lnTo>
                  <a:lnTo>
                    <a:pt x="2359" y="684"/>
                  </a:lnTo>
                  <a:lnTo>
                    <a:pt x="2359" y="683"/>
                  </a:lnTo>
                  <a:lnTo>
                    <a:pt x="2359" y="683"/>
                  </a:lnTo>
                  <a:lnTo>
                    <a:pt x="2359" y="683"/>
                  </a:lnTo>
                  <a:lnTo>
                    <a:pt x="2360" y="683"/>
                  </a:lnTo>
                  <a:lnTo>
                    <a:pt x="2360" y="683"/>
                  </a:lnTo>
                  <a:lnTo>
                    <a:pt x="2360" y="683"/>
                  </a:lnTo>
                  <a:lnTo>
                    <a:pt x="2361" y="683"/>
                  </a:lnTo>
                  <a:lnTo>
                    <a:pt x="2362" y="683"/>
                  </a:lnTo>
                  <a:lnTo>
                    <a:pt x="2361" y="683"/>
                  </a:lnTo>
                  <a:lnTo>
                    <a:pt x="2361" y="683"/>
                  </a:lnTo>
                  <a:lnTo>
                    <a:pt x="2361" y="683"/>
                  </a:lnTo>
                  <a:lnTo>
                    <a:pt x="2361" y="683"/>
                  </a:lnTo>
                  <a:lnTo>
                    <a:pt x="2361" y="682"/>
                  </a:lnTo>
                  <a:lnTo>
                    <a:pt x="2361" y="682"/>
                  </a:lnTo>
                  <a:lnTo>
                    <a:pt x="2360" y="682"/>
                  </a:lnTo>
                  <a:lnTo>
                    <a:pt x="2360" y="682"/>
                  </a:lnTo>
                  <a:lnTo>
                    <a:pt x="2361" y="682"/>
                  </a:lnTo>
                  <a:lnTo>
                    <a:pt x="2361" y="682"/>
                  </a:lnTo>
                  <a:lnTo>
                    <a:pt x="2361" y="682"/>
                  </a:lnTo>
                  <a:lnTo>
                    <a:pt x="2361" y="682"/>
                  </a:lnTo>
                  <a:lnTo>
                    <a:pt x="2362" y="682"/>
                  </a:lnTo>
                  <a:lnTo>
                    <a:pt x="2362" y="683"/>
                  </a:lnTo>
                  <a:lnTo>
                    <a:pt x="2362" y="683"/>
                  </a:lnTo>
                  <a:lnTo>
                    <a:pt x="2362" y="682"/>
                  </a:lnTo>
                  <a:lnTo>
                    <a:pt x="2362" y="682"/>
                  </a:lnTo>
                  <a:lnTo>
                    <a:pt x="2362" y="682"/>
                  </a:lnTo>
                  <a:lnTo>
                    <a:pt x="2362" y="683"/>
                  </a:lnTo>
                  <a:lnTo>
                    <a:pt x="2362" y="683"/>
                  </a:lnTo>
                  <a:lnTo>
                    <a:pt x="2363" y="683"/>
                  </a:lnTo>
                  <a:lnTo>
                    <a:pt x="2363" y="683"/>
                  </a:lnTo>
                  <a:lnTo>
                    <a:pt x="2363" y="682"/>
                  </a:lnTo>
                  <a:lnTo>
                    <a:pt x="2363" y="682"/>
                  </a:lnTo>
                  <a:lnTo>
                    <a:pt x="2363" y="682"/>
                  </a:lnTo>
                  <a:lnTo>
                    <a:pt x="2363" y="682"/>
                  </a:lnTo>
                  <a:lnTo>
                    <a:pt x="2363" y="682"/>
                  </a:lnTo>
                  <a:lnTo>
                    <a:pt x="2363" y="682"/>
                  </a:lnTo>
                  <a:lnTo>
                    <a:pt x="2364" y="682"/>
                  </a:lnTo>
                  <a:lnTo>
                    <a:pt x="2364" y="682"/>
                  </a:lnTo>
                  <a:lnTo>
                    <a:pt x="2364" y="682"/>
                  </a:lnTo>
                  <a:lnTo>
                    <a:pt x="2364" y="682"/>
                  </a:lnTo>
                  <a:lnTo>
                    <a:pt x="2365" y="682"/>
                  </a:lnTo>
                  <a:lnTo>
                    <a:pt x="2365" y="682"/>
                  </a:lnTo>
                  <a:lnTo>
                    <a:pt x="2365" y="682"/>
                  </a:lnTo>
                  <a:lnTo>
                    <a:pt x="2365" y="682"/>
                  </a:lnTo>
                  <a:lnTo>
                    <a:pt x="2365" y="682"/>
                  </a:lnTo>
                  <a:lnTo>
                    <a:pt x="2366" y="682"/>
                  </a:lnTo>
                  <a:lnTo>
                    <a:pt x="2366" y="682"/>
                  </a:lnTo>
                  <a:lnTo>
                    <a:pt x="2366" y="682"/>
                  </a:lnTo>
                  <a:lnTo>
                    <a:pt x="2366" y="682"/>
                  </a:lnTo>
                  <a:lnTo>
                    <a:pt x="2366" y="683"/>
                  </a:lnTo>
                  <a:lnTo>
                    <a:pt x="2366" y="683"/>
                  </a:lnTo>
                  <a:lnTo>
                    <a:pt x="2368" y="682"/>
                  </a:lnTo>
                  <a:lnTo>
                    <a:pt x="2368" y="682"/>
                  </a:lnTo>
                  <a:lnTo>
                    <a:pt x="2368" y="682"/>
                  </a:lnTo>
                  <a:lnTo>
                    <a:pt x="2368" y="682"/>
                  </a:lnTo>
                  <a:lnTo>
                    <a:pt x="2369" y="682"/>
                  </a:lnTo>
                  <a:lnTo>
                    <a:pt x="2369" y="681"/>
                  </a:lnTo>
                  <a:lnTo>
                    <a:pt x="2369" y="681"/>
                  </a:lnTo>
                  <a:lnTo>
                    <a:pt x="2369" y="681"/>
                  </a:lnTo>
                  <a:lnTo>
                    <a:pt x="2370" y="681"/>
                  </a:lnTo>
                  <a:lnTo>
                    <a:pt x="2370" y="681"/>
                  </a:lnTo>
                  <a:lnTo>
                    <a:pt x="2370" y="681"/>
                  </a:lnTo>
                  <a:lnTo>
                    <a:pt x="2371" y="681"/>
                  </a:lnTo>
                  <a:lnTo>
                    <a:pt x="2371" y="680"/>
                  </a:lnTo>
                  <a:lnTo>
                    <a:pt x="2371" y="680"/>
                  </a:lnTo>
                  <a:lnTo>
                    <a:pt x="2371" y="680"/>
                  </a:lnTo>
                  <a:lnTo>
                    <a:pt x="2371" y="680"/>
                  </a:lnTo>
                  <a:lnTo>
                    <a:pt x="2371" y="680"/>
                  </a:lnTo>
                  <a:lnTo>
                    <a:pt x="2371" y="678"/>
                  </a:lnTo>
                  <a:lnTo>
                    <a:pt x="2372" y="678"/>
                  </a:lnTo>
                  <a:lnTo>
                    <a:pt x="2372" y="678"/>
                  </a:lnTo>
                  <a:lnTo>
                    <a:pt x="2372" y="678"/>
                  </a:lnTo>
                  <a:lnTo>
                    <a:pt x="2372" y="678"/>
                  </a:lnTo>
                  <a:lnTo>
                    <a:pt x="2372" y="678"/>
                  </a:lnTo>
                  <a:lnTo>
                    <a:pt x="2372" y="680"/>
                  </a:lnTo>
                  <a:lnTo>
                    <a:pt x="2372" y="680"/>
                  </a:lnTo>
                  <a:lnTo>
                    <a:pt x="2373" y="680"/>
                  </a:lnTo>
                  <a:lnTo>
                    <a:pt x="2373" y="678"/>
                  </a:lnTo>
                  <a:lnTo>
                    <a:pt x="2373" y="678"/>
                  </a:lnTo>
                  <a:lnTo>
                    <a:pt x="2373" y="678"/>
                  </a:lnTo>
                  <a:lnTo>
                    <a:pt x="2373" y="678"/>
                  </a:lnTo>
                  <a:lnTo>
                    <a:pt x="2373" y="678"/>
                  </a:lnTo>
                  <a:lnTo>
                    <a:pt x="2373" y="677"/>
                  </a:lnTo>
                  <a:lnTo>
                    <a:pt x="2374" y="677"/>
                  </a:lnTo>
                  <a:lnTo>
                    <a:pt x="2374" y="677"/>
                  </a:lnTo>
                  <a:lnTo>
                    <a:pt x="2374" y="677"/>
                  </a:lnTo>
                  <a:lnTo>
                    <a:pt x="2374" y="677"/>
                  </a:lnTo>
                  <a:lnTo>
                    <a:pt x="2374" y="677"/>
                  </a:lnTo>
                  <a:lnTo>
                    <a:pt x="2376" y="677"/>
                  </a:lnTo>
                  <a:lnTo>
                    <a:pt x="2376" y="677"/>
                  </a:lnTo>
                  <a:lnTo>
                    <a:pt x="2376" y="677"/>
                  </a:lnTo>
                  <a:lnTo>
                    <a:pt x="2376" y="677"/>
                  </a:lnTo>
                  <a:lnTo>
                    <a:pt x="2376" y="676"/>
                  </a:lnTo>
                  <a:lnTo>
                    <a:pt x="2376" y="676"/>
                  </a:lnTo>
                  <a:lnTo>
                    <a:pt x="2376" y="676"/>
                  </a:lnTo>
                  <a:lnTo>
                    <a:pt x="2376" y="676"/>
                  </a:lnTo>
                  <a:lnTo>
                    <a:pt x="2376" y="676"/>
                  </a:lnTo>
                  <a:lnTo>
                    <a:pt x="2377" y="676"/>
                  </a:lnTo>
                  <a:lnTo>
                    <a:pt x="2377" y="676"/>
                  </a:lnTo>
                  <a:lnTo>
                    <a:pt x="2378" y="676"/>
                  </a:lnTo>
                  <a:lnTo>
                    <a:pt x="2378" y="676"/>
                  </a:lnTo>
                  <a:lnTo>
                    <a:pt x="2378" y="675"/>
                  </a:lnTo>
                  <a:lnTo>
                    <a:pt x="2379" y="675"/>
                  </a:lnTo>
                  <a:lnTo>
                    <a:pt x="2379" y="675"/>
                  </a:lnTo>
                  <a:lnTo>
                    <a:pt x="2380" y="675"/>
                  </a:lnTo>
                  <a:lnTo>
                    <a:pt x="2380" y="675"/>
                  </a:lnTo>
                  <a:lnTo>
                    <a:pt x="2380" y="675"/>
                  </a:lnTo>
                  <a:lnTo>
                    <a:pt x="2380" y="675"/>
                  </a:lnTo>
                  <a:lnTo>
                    <a:pt x="2380" y="675"/>
                  </a:lnTo>
                  <a:lnTo>
                    <a:pt x="2380" y="675"/>
                  </a:lnTo>
                  <a:lnTo>
                    <a:pt x="2381" y="675"/>
                  </a:lnTo>
                  <a:lnTo>
                    <a:pt x="2381" y="674"/>
                  </a:lnTo>
                  <a:lnTo>
                    <a:pt x="2381" y="674"/>
                  </a:lnTo>
                  <a:lnTo>
                    <a:pt x="2381" y="674"/>
                  </a:lnTo>
                  <a:lnTo>
                    <a:pt x="2381" y="674"/>
                  </a:lnTo>
                  <a:lnTo>
                    <a:pt x="2381" y="674"/>
                  </a:lnTo>
                  <a:lnTo>
                    <a:pt x="2381" y="674"/>
                  </a:lnTo>
                  <a:lnTo>
                    <a:pt x="2381" y="674"/>
                  </a:lnTo>
                  <a:lnTo>
                    <a:pt x="2382" y="674"/>
                  </a:lnTo>
                  <a:lnTo>
                    <a:pt x="2382" y="674"/>
                  </a:lnTo>
                  <a:lnTo>
                    <a:pt x="2382" y="674"/>
                  </a:lnTo>
                  <a:lnTo>
                    <a:pt x="2382" y="674"/>
                  </a:lnTo>
                  <a:lnTo>
                    <a:pt x="2382" y="674"/>
                  </a:lnTo>
                  <a:lnTo>
                    <a:pt x="2382" y="674"/>
                  </a:lnTo>
                  <a:lnTo>
                    <a:pt x="2383" y="674"/>
                  </a:lnTo>
                  <a:lnTo>
                    <a:pt x="2383" y="673"/>
                  </a:lnTo>
                  <a:lnTo>
                    <a:pt x="2385" y="673"/>
                  </a:lnTo>
                  <a:lnTo>
                    <a:pt x="2385" y="673"/>
                  </a:lnTo>
                  <a:lnTo>
                    <a:pt x="2386" y="673"/>
                  </a:lnTo>
                  <a:lnTo>
                    <a:pt x="2386" y="673"/>
                  </a:lnTo>
                  <a:lnTo>
                    <a:pt x="2386" y="673"/>
                  </a:lnTo>
                  <a:lnTo>
                    <a:pt x="2387" y="673"/>
                  </a:lnTo>
                  <a:lnTo>
                    <a:pt x="2387" y="673"/>
                  </a:lnTo>
                  <a:lnTo>
                    <a:pt x="2388" y="673"/>
                  </a:lnTo>
                  <a:lnTo>
                    <a:pt x="2388" y="673"/>
                  </a:lnTo>
                  <a:lnTo>
                    <a:pt x="2389" y="673"/>
                  </a:lnTo>
                  <a:lnTo>
                    <a:pt x="2389" y="673"/>
                  </a:lnTo>
                  <a:lnTo>
                    <a:pt x="2389" y="673"/>
                  </a:lnTo>
                  <a:lnTo>
                    <a:pt x="2389" y="674"/>
                  </a:lnTo>
                  <a:lnTo>
                    <a:pt x="2390" y="674"/>
                  </a:lnTo>
                  <a:lnTo>
                    <a:pt x="2390" y="674"/>
                  </a:lnTo>
                  <a:lnTo>
                    <a:pt x="2391" y="674"/>
                  </a:lnTo>
                  <a:lnTo>
                    <a:pt x="2391" y="674"/>
                  </a:lnTo>
                  <a:lnTo>
                    <a:pt x="2391" y="675"/>
                  </a:lnTo>
                  <a:lnTo>
                    <a:pt x="2391" y="675"/>
                  </a:lnTo>
                  <a:lnTo>
                    <a:pt x="2391" y="674"/>
                  </a:lnTo>
                  <a:lnTo>
                    <a:pt x="2393" y="674"/>
                  </a:lnTo>
                  <a:lnTo>
                    <a:pt x="2393" y="674"/>
                  </a:lnTo>
                  <a:lnTo>
                    <a:pt x="2393" y="674"/>
                  </a:lnTo>
                  <a:lnTo>
                    <a:pt x="2393" y="674"/>
                  </a:lnTo>
                  <a:lnTo>
                    <a:pt x="2393" y="674"/>
                  </a:lnTo>
                  <a:lnTo>
                    <a:pt x="2393" y="675"/>
                  </a:lnTo>
                  <a:lnTo>
                    <a:pt x="2393" y="675"/>
                  </a:lnTo>
                  <a:lnTo>
                    <a:pt x="2394" y="675"/>
                  </a:lnTo>
                  <a:lnTo>
                    <a:pt x="2394" y="675"/>
                  </a:lnTo>
                  <a:lnTo>
                    <a:pt x="2394" y="676"/>
                  </a:lnTo>
                  <a:lnTo>
                    <a:pt x="2394" y="676"/>
                  </a:lnTo>
                  <a:lnTo>
                    <a:pt x="2394" y="676"/>
                  </a:lnTo>
                  <a:lnTo>
                    <a:pt x="2394" y="676"/>
                  </a:lnTo>
                  <a:lnTo>
                    <a:pt x="2395" y="676"/>
                  </a:lnTo>
                  <a:lnTo>
                    <a:pt x="2395" y="676"/>
                  </a:lnTo>
                  <a:lnTo>
                    <a:pt x="2395" y="676"/>
                  </a:lnTo>
                  <a:lnTo>
                    <a:pt x="2395" y="675"/>
                  </a:lnTo>
                  <a:lnTo>
                    <a:pt x="2396" y="675"/>
                  </a:lnTo>
                  <a:lnTo>
                    <a:pt x="2396" y="676"/>
                  </a:lnTo>
                  <a:lnTo>
                    <a:pt x="2395" y="676"/>
                  </a:lnTo>
                  <a:lnTo>
                    <a:pt x="2395" y="676"/>
                  </a:lnTo>
                  <a:lnTo>
                    <a:pt x="2396" y="676"/>
                  </a:lnTo>
                  <a:lnTo>
                    <a:pt x="2396" y="676"/>
                  </a:lnTo>
                  <a:lnTo>
                    <a:pt x="2396" y="676"/>
                  </a:lnTo>
                  <a:lnTo>
                    <a:pt x="2396" y="676"/>
                  </a:lnTo>
                  <a:lnTo>
                    <a:pt x="2397" y="676"/>
                  </a:lnTo>
                  <a:lnTo>
                    <a:pt x="2397" y="676"/>
                  </a:lnTo>
                  <a:lnTo>
                    <a:pt x="2397" y="676"/>
                  </a:lnTo>
                  <a:lnTo>
                    <a:pt x="2397" y="675"/>
                  </a:lnTo>
                  <a:lnTo>
                    <a:pt x="2397" y="675"/>
                  </a:lnTo>
                  <a:lnTo>
                    <a:pt x="2397" y="676"/>
                  </a:lnTo>
                  <a:lnTo>
                    <a:pt x="2397" y="676"/>
                  </a:lnTo>
                  <a:lnTo>
                    <a:pt x="2397" y="676"/>
                  </a:lnTo>
                  <a:lnTo>
                    <a:pt x="2397" y="676"/>
                  </a:lnTo>
                  <a:lnTo>
                    <a:pt x="2397" y="677"/>
                  </a:lnTo>
                  <a:lnTo>
                    <a:pt x="2398" y="677"/>
                  </a:lnTo>
                  <a:lnTo>
                    <a:pt x="2398" y="677"/>
                  </a:lnTo>
                  <a:lnTo>
                    <a:pt x="2398" y="677"/>
                  </a:lnTo>
                  <a:lnTo>
                    <a:pt x="2398" y="677"/>
                  </a:lnTo>
                  <a:lnTo>
                    <a:pt x="2399" y="677"/>
                  </a:lnTo>
                  <a:lnTo>
                    <a:pt x="2400" y="677"/>
                  </a:lnTo>
                  <a:lnTo>
                    <a:pt x="2400" y="677"/>
                  </a:lnTo>
                  <a:lnTo>
                    <a:pt x="2400" y="677"/>
                  </a:lnTo>
                  <a:lnTo>
                    <a:pt x="2400" y="677"/>
                  </a:lnTo>
                  <a:lnTo>
                    <a:pt x="2399" y="677"/>
                  </a:lnTo>
                  <a:lnTo>
                    <a:pt x="2399" y="676"/>
                  </a:lnTo>
                  <a:lnTo>
                    <a:pt x="2402" y="676"/>
                  </a:lnTo>
                  <a:lnTo>
                    <a:pt x="2402" y="676"/>
                  </a:lnTo>
                  <a:lnTo>
                    <a:pt x="2402" y="676"/>
                  </a:lnTo>
                  <a:lnTo>
                    <a:pt x="2402" y="676"/>
                  </a:lnTo>
                  <a:lnTo>
                    <a:pt x="2403" y="676"/>
                  </a:lnTo>
                  <a:lnTo>
                    <a:pt x="2403" y="676"/>
                  </a:lnTo>
                  <a:lnTo>
                    <a:pt x="2403" y="675"/>
                  </a:lnTo>
                  <a:lnTo>
                    <a:pt x="2403" y="675"/>
                  </a:lnTo>
                  <a:lnTo>
                    <a:pt x="2403" y="675"/>
                  </a:lnTo>
                  <a:lnTo>
                    <a:pt x="2403" y="675"/>
                  </a:lnTo>
                  <a:lnTo>
                    <a:pt x="2403" y="675"/>
                  </a:lnTo>
                  <a:lnTo>
                    <a:pt x="2403" y="674"/>
                  </a:lnTo>
                  <a:lnTo>
                    <a:pt x="2404" y="674"/>
                  </a:lnTo>
                  <a:lnTo>
                    <a:pt x="2404" y="675"/>
                  </a:lnTo>
                  <a:lnTo>
                    <a:pt x="2405" y="675"/>
                  </a:lnTo>
                  <a:lnTo>
                    <a:pt x="2405" y="675"/>
                  </a:lnTo>
                  <a:lnTo>
                    <a:pt x="2405" y="675"/>
                  </a:lnTo>
                  <a:lnTo>
                    <a:pt x="2407" y="675"/>
                  </a:lnTo>
                  <a:lnTo>
                    <a:pt x="2407" y="675"/>
                  </a:lnTo>
                  <a:lnTo>
                    <a:pt x="2408" y="675"/>
                  </a:lnTo>
                  <a:lnTo>
                    <a:pt x="2408" y="675"/>
                  </a:lnTo>
                  <a:lnTo>
                    <a:pt x="2408" y="675"/>
                  </a:lnTo>
                  <a:lnTo>
                    <a:pt x="2410" y="675"/>
                  </a:lnTo>
                  <a:lnTo>
                    <a:pt x="2410" y="675"/>
                  </a:lnTo>
                  <a:lnTo>
                    <a:pt x="2410" y="676"/>
                  </a:lnTo>
                  <a:lnTo>
                    <a:pt x="2411" y="676"/>
                  </a:lnTo>
                  <a:lnTo>
                    <a:pt x="2411" y="676"/>
                  </a:lnTo>
                  <a:lnTo>
                    <a:pt x="2412" y="677"/>
                  </a:lnTo>
                  <a:lnTo>
                    <a:pt x="2412" y="677"/>
                  </a:lnTo>
                  <a:lnTo>
                    <a:pt x="2412" y="677"/>
                  </a:lnTo>
                  <a:lnTo>
                    <a:pt x="2412" y="678"/>
                  </a:lnTo>
                  <a:lnTo>
                    <a:pt x="2412" y="678"/>
                  </a:lnTo>
                  <a:lnTo>
                    <a:pt x="2412" y="680"/>
                  </a:lnTo>
                  <a:lnTo>
                    <a:pt x="2412" y="680"/>
                  </a:lnTo>
                  <a:lnTo>
                    <a:pt x="2413" y="681"/>
                  </a:lnTo>
                  <a:lnTo>
                    <a:pt x="2413" y="681"/>
                  </a:lnTo>
                  <a:lnTo>
                    <a:pt x="2413" y="682"/>
                  </a:lnTo>
                  <a:lnTo>
                    <a:pt x="2413" y="682"/>
                  </a:lnTo>
                  <a:lnTo>
                    <a:pt x="2414" y="683"/>
                  </a:lnTo>
                  <a:lnTo>
                    <a:pt x="2414" y="683"/>
                  </a:lnTo>
                  <a:lnTo>
                    <a:pt x="2414" y="684"/>
                  </a:lnTo>
                  <a:lnTo>
                    <a:pt x="2414" y="684"/>
                  </a:lnTo>
                  <a:lnTo>
                    <a:pt x="2414" y="684"/>
                  </a:lnTo>
                  <a:lnTo>
                    <a:pt x="2414" y="685"/>
                  </a:lnTo>
                  <a:lnTo>
                    <a:pt x="2415" y="686"/>
                  </a:lnTo>
                  <a:lnTo>
                    <a:pt x="2415" y="686"/>
                  </a:lnTo>
                  <a:lnTo>
                    <a:pt x="2415" y="688"/>
                  </a:lnTo>
                  <a:lnTo>
                    <a:pt x="2415" y="688"/>
                  </a:lnTo>
                  <a:lnTo>
                    <a:pt x="2415" y="689"/>
                  </a:lnTo>
                  <a:lnTo>
                    <a:pt x="2414" y="690"/>
                  </a:lnTo>
                  <a:lnTo>
                    <a:pt x="2414" y="690"/>
                  </a:lnTo>
                  <a:lnTo>
                    <a:pt x="2414" y="691"/>
                  </a:lnTo>
                  <a:lnTo>
                    <a:pt x="2414" y="691"/>
                  </a:lnTo>
                  <a:lnTo>
                    <a:pt x="2414" y="691"/>
                  </a:lnTo>
                  <a:lnTo>
                    <a:pt x="2414" y="692"/>
                  </a:lnTo>
                  <a:lnTo>
                    <a:pt x="2413" y="693"/>
                  </a:lnTo>
                  <a:lnTo>
                    <a:pt x="2413" y="693"/>
                  </a:lnTo>
                  <a:lnTo>
                    <a:pt x="2413" y="694"/>
                  </a:lnTo>
                  <a:lnTo>
                    <a:pt x="2412" y="694"/>
                  </a:lnTo>
                  <a:lnTo>
                    <a:pt x="2412" y="694"/>
                  </a:lnTo>
                  <a:lnTo>
                    <a:pt x="2412" y="695"/>
                  </a:lnTo>
                  <a:lnTo>
                    <a:pt x="2412" y="697"/>
                  </a:lnTo>
                  <a:lnTo>
                    <a:pt x="2412" y="697"/>
                  </a:lnTo>
                  <a:lnTo>
                    <a:pt x="2412" y="698"/>
                  </a:lnTo>
                  <a:lnTo>
                    <a:pt x="2411" y="698"/>
                  </a:lnTo>
                  <a:lnTo>
                    <a:pt x="2411" y="698"/>
                  </a:lnTo>
                  <a:lnTo>
                    <a:pt x="2411" y="698"/>
                  </a:lnTo>
                  <a:lnTo>
                    <a:pt x="2411" y="699"/>
                  </a:lnTo>
                  <a:lnTo>
                    <a:pt x="2411" y="699"/>
                  </a:lnTo>
                  <a:lnTo>
                    <a:pt x="2412" y="699"/>
                  </a:lnTo>
                  <a:lnTo>
                    <a:pt x="2412" y="699"/>
                  </a:lnTo>
                  <a:lnTo>
                    <a:pt x="2412" y="700"/>
                  </a:lnTo>
                  <a:lnTo>
                    <a:pt x="2412" y="700"/>
                  </a:lnTo>
                  <a:lnTo>
                    <a:pt x="2412" y="701"/>
                  </a:lnTo>
                  <a:lnTo>
                    <a:pt x="2413" y="701"/>
                  </a:lnTo>
                  <a:lnTo>
                    <a:pt x="2413" y="702"/>
                  </a:lnTo>
                  <a:lnTo>
                    <a:pt x="2413" y="702"/>
                  </a:lnTo>
                  <a:lnTo>
                    <a:pt x="2414" y="702"/>
                  </a:lnTo>
                  <a:lnTo>
                    <a:pt x="2414" y="702"/>
                  </a:lnTo>
                  <a:lnTo>
                    <a:pt x="2415" y="702"/>
                  </a:lnTo>
                  <a:lnTo>
                    <a:pt x="2415" y="702"/>
                  </a:lnTo>
                  <a:lnTo>
                    <a:pt x="2415" y="702"/>
                  </a:lnTo>
                  <a:lnTo>
                    <a:pt x="2415" y="702"/>
                  </a:lnTo>
                  <a:lnTo>
                    <a:pt x="2416" y="703"/>
                  </a:lnTo>
                  <a:lnTo>
                    <a:pt x="2416" y="703"/>
                  </a:lnTo>
                  <a:lnTo>
                    <a:pt x="2417" y="703"/>
                  </a:lnTo>
                  <a:lnTo>
                    <a:pt x="2419" y="703"/>
                  </a:lnTo>
                  <a:lnTo>
                    <a:pt x="2421" y="703"/>
                  </a:lnTo>
                  <a:lnTo>
                    <a:pt x="2422" y="702"/>
                  </a:lnTo>
                  <a:lnTo>
                    <a:pt x="2422" y="702"/>
                  </a:lnTo>
                  <a:lnTo>
                    <a:pt x="2423" y="702"/>
                  </a:lnTo>
                  <a:lnTo>
                    <a:pt x="2423" y="702"/>
                  </a:lnTo>
                  <a:lnTo>
                    <a:pt x="2423" y="701"/>
                  </a:lnTo>
                  <a:lnTo>
                    <a:pt x="2424" y="701"/>
                  </a:lnTo>
                  <a:lnTo>
                    <a:pt x="2424" y="701"/>
                  </a:lnTo>
                  <a:lnTo>
                    <a:pt x="2424" y="700"/>
                  </a:lnTo>
                  <a:lnTo>
                    <a:pt x="2424" y="700"/>
                  </a:lnTo>
                  <a:lnTo>
                    <a:pt x="2424" y="700"/>
                  </a:lnTo>
                  <a:lnTo>
                    <a:pt x="2425" y="700"/>
                  </a:lnTo>
                  <a:lnTo>
                    <a:pt x="2425" y="700"/>
                  </a:lnTo>
                  <a:lnTo>
                    <a:pt x="2427" y="700"/>
                  </a:lnTo>
                  <a:lnTo>
                    <a:pt x="2428" y="701"/>
                  </a:lnTo>
                  <a:lnTo>
                    <a:pt x="2428" y="701"/>
                  </a:lnTo>
                  <a:lnTo>
                    <a:pt x="2428" y="701"/>
                  </a:lnTo>
                  <a:lnTo>
                    <a:pt x="2428" y="701"/>
                  </a:lnTo>
                  <a:lnTo>
                    <a:pt x="2428" y="702"/>
                  </a:lnTo>
                  <a:lnTo>
                    <a:pt x="2427" y="702"/>
                  </a:lnTo>
                  <a:lnTo>
                    <a:pt x="2427" y="702"/>
                  </a:lnTo>
                  <a:lnTo>
                    <a:pt x="2427" y="702"/>
                  </a:lnTo>
                  <a:lnTo>
                    <a:pt x="2427" y="703"/>
                  </a:lnTo>
                  <a:lnTo>
                    <a:pt x="2427" y="703"/>
                  </a:lnTo>
                  <a:lnTo>
                    <a:pt x="2427" y="705"/>
                  </a:lnTo>
                  <a:lnTo>
                    <a:pt x="2428" y="705"/>
                  </a:lnTo>
                  <a:lnTo>
                    <a:pt x="2428" y="705"/>
                  </a:lnTo>
                  <a:lnTo>
                    <a:pt x="2428" y="706"/>
                  </a:lnTo>
                  <a:lnTo>
                    <a:pt x="2429" y="706"/>
                  </a:lnTo>
                  <a:lnTo>
                    <a:pt x="2429" y="706"/>
                  </a:lnTo>
                  <a:lnTo>
                    <a:pt x="2429" y="707"/>
                  </a:lnTo>
                  <a:lnTo>
                    <a:pt x="2429" y="707"/>
                  </a:lnTo>
                  <a:lnTo>
                    <a:pt x="2429" y="707"/>
                  </a:lnTo>
                  <a:lnTo>
                    <a:pt x="2430" y="708"/>
                  </a:lnTo>
                  <a:lnTo>
                    <a:pt x="2429" y="708"/>
                  </a:lnTo>
                  <a:lnTo>
                    <a:pt x="2429" y="709"/>
                  </a:lnTo>
                  <a:lnTo>
                    <a:pt x="2429" y="709"/>
                  </a:lnTo>
                  <a:lnTo>
                    <a:pt x="2429" y="709"/>
                  </a:lnTo>
                  <a:lnTo>
                    <a:pt x="2429" y="709"/>
                  </a:lnTo>
                  <a:lnTo>
                    <a:pt x="2429" y="709"/>
                  </a:lnTo>
                  <a:lnTo>
                    <a:pt x="2428" y="709"/>
                  </a:lnTo>
                  <a:lnTo>
                    <a:pt x="2428" y="709"/>
                  </a:lnTo>
                  <a:lnTo>
                    <a:pt x="2427" y="709"/>
                  </a:lnTo>
                  <a:lnTo>
                    <a:pt x="2425" y="709"/>
                  </a:lnTo>
                  <a:lnTo>
                    <a:pt x="2424" y="709"/>
                  </a:lnTo>
                  <a:lnTo>
                    <a:pt x="2424" y="709"/>
                  </a:lnTo>
                  <a:lnTo>
                    <a:pt x="2424" y="709"/>
                  </a:lnTo>
                  <a:lnTo>
                    <a:pt x="2421" y="709"/>
                  </a:lnTo>
                  <a:lnTo>
                    <a:pt x="2420" y="709"/>
                  </a:lnTo>
                  <a:lnTo>
                    <a:pt x="2420" y="710"/>
                  </a:lnTo>
                  <a:lnTo>
                    <a:pt x="2420" y="710"/>
                  </a:lnTo>
                  <a:lnTo>
                    <a:pt x="2420" y="710"/>
                  </a:lnTo>
                  <a:lnTo>
                    <a:pt x="2419" y="711"/>
                  </a:lnTo>
                  <a:lnTo>
                    <a:pt x="2419" y="711"/>
                  </a:lnTo>
                  <a:lnTo>
                    <a:pt x="2417" y="711"/>
                  </a:lnTo>
                  <a:lnTo>
                    <a:pt x="2417" y="712"/>
                  </a:lnTo>
                  <a:lnTo>
                    <a:pt x="2417" y="714"/>
                  </a:lnTo>
                  <a:lnTo>
                    <a:pt x="2417" y="714"/>
                  </a:lnTo>
                  <a:lnTo>
                    <a:pt x="2417" y="714"/>
                  </a:lnTo>
                  <a:lnTo>
                    <a:pt x="2417" y="715"/>
                  </a:lnTo>
                  <a:lnTo>
                    <a:pt x="2416" y="715"/>
                  </a:lnTo>
                  <a:lnTo>
                    <a:pt x="2416" y="716"/>
                  </a:lnTo>
                  <a:lnTo>
                    <a:pt x="2416" y="716"/>
                  </a:lnTo>
                  <a:lnTo>
                    <a:pt x="2416" y="717"/>
                  </a:lnTo>
                  <a:lnTo>
                    <a:pt x="2415" y="717"/>
                  </a:lnTo>
                  <a:lnTo>
                    <a:pt x="2415" y="717"/>
                  </a:lnTo>
                  <a:lnTo>
                    <a:pt x="2415" y="718"/>
                  </a:lnTo>
                  <a:lnTo>
                    <a:pt x="2415" y="718"/>
                  </a:lnTo>
                  <a:lnTo>
                    <a:pt x="2415" y="718"/>
                  </a:lnTo>
                  <a:lnTo>
                    <a:pt x="2414" y="718"/>
                  </a:lnTo>
                  <a:lnTo>
                    <a:pt x="2414" y="718"/>
                  </a:lnTo>
                  <a:lnTo>
                    <a:pt x="2414" y="718"/>
                  </a:lnTo>
                  <a:lnTo>
                    <a:pt x="2414" y="718"/>
                  </a:lnTo>
                  <a:lnTo>
                    <a:pt x="2413" y="718"/>
                  </a:lnTo>
                  <a:lnTo>
                    <a:pt x="2413" y="717"/>
                  </a:lnTo>
                  <a:lnTo>
                    <a:pt x="2413" y="717"/>
                  </a:lnTo>
                  <a:lnTo>
                    <a:pt x="2413" y="717"/>
                  </a:lnTo>
                  <a:lnTo>
                    <a:pt x="2414" y="717"/>
                  </a:lnTo>
                  <a:lnTo>
                    <a:pt x="2414" y="716"/>
                  </a:lnTo>
                  <a:lnTo>
                    <a:pt x="2414" y="716"/>
                  </a:lnTo>
                  <a:lnTo>
                    <a:pt x="2414" y="715"/>
                  </a:lnTo>
                  <a:lnTo>
                    <a:pt x="2415" y="715"/>
                  </a:lnTo>
                  <a:lnTo>
                    <a:pt x="2415" y="714"/>
                  </a:lnTo>
                  <a:lnTo>
                    <a:pt x="2415" y="714"/>
                  </a:lnTo>
                  <a:lnTo>
                    <a:pt x="2415" y="712"/>
                  </a:lnTo>
                  <a:lnTo>
                    <a:pt x="2416" y="712"/>
                  </a:lnTo>
                  <a:lnTo>
                    <a:pt x="2416" y="712"/>
                  </a:lnTo>
                  <a:lnTo>
                    <a:pt x="2416" y="711"/>
                  </a:lnTo>
                  <a:lnTo>
                    <a:pt x="2416" y="711"/>
                  </a:lnTo>
                  <a:lnTo>
                    <a:pt x="2417" y="710"/>
                  </a:lnTo>
                  <a:lnTo>
                    <a:pt x="2417" y="710"/>
                  </a:lnTo>
                  <a:lnTo>
                    <a:pt x="2417" y="710"/>
                  </a:lnTo>
                  <a:lnTo>
                    <a:pt x="2419" y="709"/>
                  </a:lnTo>
                  <a:lnTo>
                    <a:pt x="2419" y="709"/>
                  </a:lnTo>
                  <a:lnTo>
                    <a:pt x="2419" y="709"/>
                  </a:lnTo>
                  <a:lnTo>
                    <a:pt x="2420" y="709"/>
                  </a:lnTo>
                  <a:lnTo>
                    <a:pt x="2420" y="709"/>
                  </a:lnTo>
                  <a:lnTo>
                    <a:pt x="2420" y="708"/>
                  </a:lnTo>
                  <a:lnTo>
                    <a:pt x="2422" y="708"/>
                  </a:lnTo>
                  <a:lnTo>
                    <a:pt x="2423" y="708"/>
                  </a:lnTo>
                  <a:lnTo>
                    <a:pt x="2423" y="708"/>
                  </a:lnTo>
                  <a:lnTo>
                    <a:pt x="2424" y="708"/>
                  </a:lnTo>
                  <a:lnTo>
                    <a:pt x="2424" y="708"/>
                  </a:lnTo>
                  <a:lnTo>
                    <a:pt x="2425" y="707"/>
                  </a:lnTo>
                  <a:lnTo>
                    <a:pt x="2425" y="707"/>
                  </a:lnTo>
                  <a:lnTo>
                    <a:pt x="2425" y="706"/>
                  </a:lnTo>
                  <a:lnTo>
                    <a:pt x="2425" y="706"/>
                  </a:lnTo>
                  <a:lnTo>
                    <a:pt x="2425" y="705"/>
                  </a:lnTo>
                  <a:lnTo>
                    <a:pt x="2424" y="705"/>
                  </a:lnTo>
                  <a:lnTo>
                    <a:pt x="2424" y="705"/>
                  </a:lnTo>
                  <a:lnTo>
                    <a:pt x="2423" y="705"/>
                  </a:lnTo>
                  <a:lnTo>
                    <a:pt x="2423" y="705"/>
                  </a:lnTo>
                  <a:lnTo>
                    <a:pt x="2423" y="705"/>
                  </a:lnTo>
                  <a:lnTo>
                    <a:pt x="2422" y="705"/>
                  </a:lnTo>
                  <a:lnTo>
                    <a:pt x="2422" y="705"/>
                  </a:lnTo>
                  <a:lnTo>
                    <a:pt x="2421" y="705"/>
                  </a:lnTo>
                  <a:lnTo>
                    <a:pt x="2421" y="705"/>
                  </a:lnTo>
                  <a:lnTo>
                    <a:pt x="2420" y="706"/>
                  </a:lnTo>
                  <a:lnTo>
                    <a:pt x="2420" y="706"/>
                  </a:lnTo>
                  <a:lnTo>
                    <a:pt x="2420" y="706"/>
                  </a:lnTo>
                  <a:lnTo>
                    <a:pt x="2419" y="706"/>
                  </a:lnTo>
                  <a:lnTo>
                    <a:pt x="2419" y="705"/>
                  </a:lnTo>
                  <a:lnTo>
                    <a:pt x="2417" y="705"/>
                  </a:lnTo>
                  <a:lnTo>
                    <a:pt x="2416" y="705"/>
                  </a:lnTo>
                  <a:lnTo>
                    <a:pt x="2413" y="705"/>
                  </a:lnTo>
                  <a:lnTo>
                    <a:pt x="2412" y="705"/>
                  </a:lnTo>
                  <a:lnTo>
                    <a:pt x="2408" y="705"/>
                  </a:lnTo>
                  <a:lnTo>
                    <a:pt x="2407" y="705"/>
                  </a:lnTo>
                  <a:lnTo>
                    <a:pt x="2407" y="703"/>
                  </a:lnTo>
                  <a:lnTo>
                    <a:pt x="2406" y="703"/>
                  </a:lnTo>
                  <a:lnTo>
                    <a:pt x="2405" y="703"/>
                  </a:lnTo>
                  <a:lnTo>
                    <a:pt x="2405" y="703"/>
                  </a:lnTo>
                  <a:lnTo>
                    <a:pt x="2403" y="703"/>
                  </a:lnTo>
                  <a:lnTo>
                    <a:pt x="2403" y="703"/>
                  </a:lnTo>
                  <a:lnTo>
                    <a:pt x="2399" y="703"/>
                  </a:lnTo>
                  <a:lnTo>
                    <a:pt x="2398" y="702"/>
                  </a:lnTo>
                  <a:lnTo>
                    <a:pt x="2398" y="702"/>
                  </a:lnTo>
                  <a:lnTo>
                    <a:pt x="2398" y="702"/>
                  </a:lnTo>
                  <a:lnTo>
                    <a:pt x="2398" y="702"/>
                  </a:lnTo>
                  <a:lnTo>
                    <a:pt x="2397" y="702"/>
                  </a:lnTo>
                  <a:lnTo>
                    <a:pt x="2397" y="702"/>
                  </a:lnTo>
                  <a:lnTo>
                    <a:pt x="2396" y="702"/>
                  </a:lnTo>
                  <a:lnTo>
                    <a:pt x="2396" y="702"/>
                  </a:lnTo>
                  <a:lnTo>
                    <a:pt x="2396" y="702"/>
                  </a:lnTo>
                  <a:lnTo>
                    <a:pt x="2396" y="702"/>
                  </a:lnTo>
                  <a:lnTo>
                    <a:pt x="2394" y="702"/>
                  </a:lnTo>
                  <a:lnTo>
                    <a:pt x="2394" y="701"/>
                  </a:lnTo>
                  <a:lnTo>
                    <a:pt x="2394" y="701"/>
                  </a:lnTo>
                  <a:lnTo>
                    <a:pt x="2394" y="701"/>
                  </a:lnTo>
                  <a:lnTo>
                    <a:pt x="2394" y="701"/>
                  </a:lnTo>
                  <a:lnTo>
                    <a:pt x="2394" y="701"/>
                  </a:lnTo>
                  <a:lnTo>
                    <a:pt x="2394" y="701"/>
                  </a:lnTo>
                  <a:lnTo>
                    <a:pt x="2394" y="702"/>
                  </a:lnTo>
                  <a:lnTo>
                    <a:pt x="2393" y="702"/>
                  </a:lnTo>
                  <a:lnTo>
                    <a:pt x="2393" y="702"/>
                  </a:lnTo>
                  <a:lnTo>
                    <a:pt x="2393" y="702"/>
                  </a:lnTo>
                  <a:lnTo>
                    <a:pt x="2393" y="702"/>
                  </a:lnTo>
                  <a:lnTo>
                    <a:pt x="2391" y="702"/>
                  </a:lnTo>
                  <a:lnTo>
                    <a:pt x="2391" y="703"/>
                  </a:lnTo>
                  <a:lnTo>
                    <a:pt x="2390" y="703"/>
                  </a:lnTo>
                  <a:lnTo>
                    <a:pt x="2389" y="702"/>
                  </a:lnTo>
                  <a:lnTo>
                    <a:pt x="2389" y="702"/>
                  </a:lnTo>
                  <a:lnTo>
                    <a:pt x="2389" y="702"/>
                  </a:lnTo>
                  <a:lnTo>
                    <a:pt x="2389" y="703"/>
                  </a:lnTo>
                  <a:lnTo>
                    <a:pt x="2389" y="703"/>
                  </a:lnTo>
                  <a:lnTo>
                    <a:pt x="2388" y="703"/>
                  </a:lnTo>
                  <a:lnTo>
                    <a:pt x="2388" y="703"/>
                  </a:lnTo>
                  <a:lnTo>
                    <a:pt x="2388" y="703"/>
                  </a:lnTo>
                  <a:lnTo>
                    <a:pt x="2388" y="705"/>
                  </a:lnTo>
                  <a:lnTo>
                    <a:pt x="2388" y="705"/>
                  </a:lnTo>
                  <a:lnTo>
                    <a:pt x="2388" y="705"/>
                  </a:lnTo>
                  <a:lnTo>
                    <a:pt x="2388" y="705"/>
                  </a:lnTo>
                  <a:lnTo>
                    <a:pt x="2388" y="705"/>
                  </a:lnTo>
                  <a:lnTo>
                    <a:pt x="2387" y="705"/>
                  </a:lnTo>
                  <a:lnTo>
                    <a:pt x="2387" y="705"/>
                  </a:lnTo>
                  <a:lnTo>
                    <a:pt x="2387" y="706"/>
                  </a:lnTo>
                  <a:lnTo>
                    <a:pt x="2387" y="706"/>
                  </a:lnTo>
                  <a:lnTo>
                    <a:pt x="2387" y="706"/>
                  </a:lnTo>
                  <a:lnTo>
                    <a:pt x="2387" y="706"/>
                  </a:lnTo>
                  <a:lnTo>
                    <a:pt x="2387" y="706"/>
                  </a:lnTo>
                  <a:lnTo>
                    <a:pt x="2387" y="707"/>
                  </a:lnTo>
                  <a:lnTo>
                    <a:pt x="2387" y="707"/>
                  </a:lnTo>
                  <a:lnTo>
                    <a:pt x="2387" y="707"/>
                  </a:lnTo>
                  <a:lnTo>
                    <a:pt x="2387" y="708"/>
                  </a:lnTo>
                  <a:lnTo>
                    <a:pt x="2387" y="708"/>
                  </a:lnTo>
                  <a:lnTo>
                    <a:pt x="2387" y="708"/>
                  </a:lnTo>
                  <a:lnTo>
                    <a:pt x="2387" y="708"/>
                  </a:lnTo>
                  <a:lnTo>
                    <a:pt x="2386" y="708"/>
                  </a:lnTo>
                  <a:lnTo>
                    <a:pt x="2386" y="708"/>
                  </a:lnTo>
                  <a:lnTo>
                    <a:pt x="2386" y="708"/>
                  </a:lnTo>
                  <a:lnTo>
                    <a:pt x="2386" y="708"/>
                  </a:lnTo>
                  <a:lnTo>
                    <a:pt x="2385" y="708"/>
                  </a:lnTo>
                  <a:lnTo>
                    <a:pt x="2385" y="708"/>
                  </a:lnTo>
                  <a:lnTo>
                    <a:pt x="2385" y="709"/>
                  </a:lnTo>
                  <a:lnTo>
                    <a:pt x="2385" y="709"/>
                  </a:lnTo>
                  <a:lnTo>
                    <a:pt x="2385" y="709"/>
                  </a:lnTo>
                  <a:lnTo>
                    <a:pt x="2383" y="709"/>
                  </a:lnTo>
                  <a:lnTo>
                    <a:pt x="2383" y="709"/>
                  </a:lnTo>
                  <a:lnTo>
                    <a:pt x="2383" y="709"/>
                  </a:lnTo>
                  <a:lnTo>
                    <a:pt x="2383" y="709"/>
                  </a:lnTo>
                  <a:lnTo>
                    <a:pt x="2383" y="709"/>
                  </a:lnTo>
                  <a:lnTo>
                    <a:pt x="2383" y="709"/>
                  </a:lnTo>
                  <a:lnTo>
                    <a:pt x="2383" y="709"/>
                  </a:lnTo>
                  <a:lnTo>
                    <a:pt x="2383" y="709"/>
                  </a:lnTo>
                  <a:lnTo>
                    <a:pt x="2383" y="710"/>
                  </a:lnTo>
                  <a:lnTo>
                    <a:pt x="2383" y="710"/>
                  </a:lnTo>
                  <a:lnTo>
                    <a:pt x="2383" y="710"/>
                  </a:lnTo>
                  <a:lnTo>
                    <a:pt x="2386" y="711"/>
                  </a:lnTo>
                  <a:lnTo>
                    <a:pt x="2386" y="712"/>
                  </a:lnTo>
                  <a:lnTo>
                    <a:pt x="2387" y="712"/>
                  </a:lnTo>
                  <a:lnTo>
                    <a:pt x="2387" y="714"/>
                  </a:lnTo>
                  <a:lnTo>
                    <a:pt x="2387" y="714"/>
                  </a:lnTo>
                  <a:lnTo>
                    <a:pt x="2387" y="714"/>
                  </a:lnTo>
                  <a:lnTo>
                    <a:pt x="2387" y="714"/>
                  </a:lnTo>
                  <a:lnTo>
                    <a:pt x="2387" y="714"/>
                  </a:lnTo>
                  <a:lnTo>
                    <a:pt x="2387" y="714"/>
                  </a:lnTo>
                  <a:lnTo>
                    <a:pt x="2387" y="715"/>
                  </a:lnTo>
                  <a:lnTo>
                    <a:pt x="2387" y="715"/>
                  </a:lnTo>
                  <a:lnTo>
                    <a:pt x="2387" y="715"/>
                  </a:lnTo>
                  <a:lnTo>
                    <a:pt x="2389" y="715"/>
                  </a:lnTo>
                  <a:lnTo>
                    <a:pt x="2389" y="715"/>
                  </a:lnTo>
                  <a:lnTo>
                    <a:pt x="2390" y="716"/>
                  </a:lnTo>
                  <a:lnTo>
                    <a:pt x="2390" y="716"/>
                  </a:lnTo>
                  <a:lnTo>
                    <a:pt x="2390" y="716"/>
                  </a:lnTo>
                  <a:lnTo>
                    <a:pt x="2390" y="716"/>
                  </a:lnTo>
                  <a:lnTo>
                    <a:pt x="2391" y="716"/>
                  </a:lnTo>
                  <a:lnTo>
                    <a:pt x="2391" y="717"/>
                  </a:lnTo>
                  <a:lnTo>
                    <a:pt x="2391" y="717"/>
                  </a:lnTo>
                  <a:lnTo>
                    <a:pt x="2390" y="717"/>
                  </a:lnTo>
                  <a:lnTo>
                    <a:pt x="2390" y="717"/>
                  </a:lnTo>
                  <a:lnTo>
                    <a:pt x="2389" y="717"/>
                  </a:lnTo>
                  <a:lnTo>
                    <a:pt x="2389" y="717"/>
                  </a:lnTo>
                  <a:lnTo>
                    <a:pt x="2389" y="717"/>
                  </a:lnTo>
                  <a:lnTo>
                    <a:pt x="2389" y="717"/>
                  </a:lnTo>
                  <a:lnTo>
                    <a:pt x="2389" y="717"/>
                  </a:lnTo>
                  <a:lnTo>
                    <a:pt x="2388" y="717"/>
                  </a:lnTo>
                  <a:lnTo>
                    <a:pt x="2389" y="716"/>
                  </a:lnTo>
                  <a:lnTo>
                    <a:pt x="2389" y="716"/>
                  </a:lnTo>
                  <a:lnTo>
                    <a:pt x="2388" y="716"/>
                  </a:lnTo>
                  <a:lnTo>
                    <a:pt x="2388" y="716"/>
                  </a:lnTo>
                  <a:lnTo>
                    <a:pt x="2387" y="716"/>
                  </a:lnTo>
                  <a:lnTo>
                    <a:pt x="2387" y="717"/>
                  </a:lnTo>
                  <a:lnTo>
                    <a:pt x="2387" y="717"/>
                  </a:lnTo>
                  <a:lnTo>
                    <a:pt x="2387" y="717"/>
                  </a:lnTo>
                  <a:lnTo>
                    <a:pt x="2387" y="717"/>
                  </a:lnTo>
                  <a:lnTo>
                    <a:pt x="2387" y="717"/>
                  </a:lnTo>
                  <a:lnTo>
                    <a:pt x="2387" y="717"/>
                  </a:lnTo>
                  <a:lnTo>
                    <a:pt x="2386" y="717"/>
                  </a:lnTo>
                  <a:lnTo>
                    <a:pt x="2385" y="717"/>
                  </a:lnTo>
                  <a:lnTo>
                    <a:pt x="2385" y="717"/>
                  </a:lnTo>
                  <a:lnTo>
                    <a:pt x="2385" y="717"/>
                  </a:lnTo>
                  <a:lnTo>
                    <a:pt x="2385" y="717"/>
                  </a:lnTo>
                  <a:lnTo>
                    <a:pt x="2383" y="717"/>
                  </a:lnTo>
                  <a:lnTo>
                    <a:pt x="2383" y="717"/>
                  </a:lnTo>
                  <a:lnTo>
                    <a:pt x="2383" y="717"/>
                  </a:lnTo>
                  <a:lnTo>
                    <a:pt x="2383" y="716"/>
                  </a:lnTo>
                  <a:lnTo>
                    <a:pt x="2383" y="716"/>
                  </a:lnTo>
                  <a:lnTo>
                    <a:pt x="2383" y="716"/>
                  </a:lnTo>
                  <a:lnTo>
                    <a:pt x="2382" y="716"/>
                  </a:lnTo>
                  <a:lnTo>
                    <a:pt x="2382" y="716"/>
                  </a:lnTo>
                  <a:lnTo>
                    <a:pt x="2382" y="716"/>
                  </a:lnTo>
                  <a:lnTo>
                    <a:pt x="2382" y="716"/>
                  </a:lnTo>
                  <a:lnTo>
                    <a:pt x="2382" y="716"/>
                  </a:lnTo>
                  <a:lnTo>
                    <a:pt x="2382" y="715"/>
                  </a:lnTo>
                  <a:lnTo>
                    <a:pt x="2382" y="715"/>
                  </a:lnTo>
                  <a:lnTo>
                    <a:pt x="2382" y="715"/>
                  </a:lnTo>
                  <a:lnTo>
                    <a:pt x="2381" y="715"/>
                  </a:lnTo>
                  <a:lnTo>
                    <a:pt x="2381" y="715"/>
                  </a:lnTo>
                  <a:lnTo>
                    <a:pt x="2380" y="715"/>
                  </a:lnTo>
                  <a:lnTo>
                    <a:pt x="2380" y="715"/>
                  </a:lnTo>
                  <a:lnTo>
                    <a:pt x="2380" y="715"/>
                  </a:lnTo>
                  <a:lnTo>
                    <a:pt x="2380" y="715"/>
                  </a:lnTo>
                  <a:lnTo>
                    <a:pt x="2380" y="715"/>
                  </a:lnTo>
                  <a:lnTo>
                    <a:pt x="2379" y="715"/>
                  </a:lnTo>
                  <a:lnTo>
                    <a:pt x="2379" y="715"/>
                  </a:lnTo>
                  <a:lnTo>
                    <a:pt x="2379" y="715"/>
                  </a:lnTo>
                  <a:lnTo>
                    <a:pt x="2379" y="715"/>
                  </a:lnTo>
                  <a:lnTo>
                    <a:pt x="2379" y="715"/>
                  </a:lnTo>
                  <a:lnTo>
                    <a:pt x="2378" y="715"/>
                  </a:lnTo>
                  <a:lnTo>
                    <a:pt x="2378" y="715"/>
                  </a:lnTo>
                  <a:lnTo>
                    <a:pt x="2378" y="715"/>
                  </a:lnTo>
                  <a:lnTo>
                    <a:pt x="2378" y="715"/>
                  </a:lnTo>
                  <a:lnTo>
                    <a:pt x="2377" y="715"/>
                  </a:lnTo>
                  <a:lnTo>
                    <a:pt x="2377" y="715"/>
                  </a:lnTo>
                  <a:lnTo>
                    <a:pt x="2376" y="715"/>
                  </a:lnTo>
                  <a:lnTo>
                    <a:pt x="2376" y="715"/>
                  </a:lnTo>
                  <a:lnTo>
                    <a:pt x="2376" y="715"/>
                  </a:lnTo>
                  <a:lnTo>
                    <a:pt x="2376" y="715"/>
                  </a:lnTo>
                  <a:lnTo>
                    <a:pt x="2374" y="715"/>
                  </a:lnTo>
                  <a:lnTo>
                    <a:pt x="2374" y="715"/>
                  </a:lnTo>
                  <a:lnTo>
                    <a:pt x="2373" y="715"/>
                  </a:lnTo>
                  <a:lnTo>
                    <a:pt x="2373" y="715"/>
                  </a:lnTo>
                  <a:lnTo>
                    <a:pt x="2373" y="715"/>
                  </a:lnTo>
                  <a:lnTo>
                    <a:pt x="2373" y="716"/>
                  </a:lnTo>
                  <a:lnTo>
                    <a:pt x="2373" y="716"/>
                  </a:lnTo>
                  <a:lnTo>
                    <a:pt x="2373" y="716"/>
                  </a:lnTo>
                  <a:lnTo>
                    <a:pt x="2373" y="716"/>
                  </a:lnTo>
                  <a:lnTo>
                    <a:pt x="2373" y="716"/>
                  </a:lnTo>
                  <a:lnTo>
                    <a:pt x="2373" y="716"/>
                  </a:lnTo>
                  <a:lnTo>
                    <a:pt x="2373" y="719"/>
                  </a:lnTo>
                  <a:lnTo>
                    <a:pt x="2373" y="719"/>
                  </a:lnTo>
                  <a:lnTo>
                    <a:pt x="2373" y="719"/>
                  </a:lnTo>
                  <a:lnTo>
                    <a:pt x="2373" y="720"/>
                  </a:lnTo>
                  <a:lnTo>
                    <a:pt x="2374" y="720"/>
                  </a:lnTo>
                  <a:lnTo>
                    <a:pt x="2374" y="720"/>
                  </a:lnTo>
                  <a:lnTo>
                    <a:pt x="2376" y="720"/>
                  </a:lnTo>
                  <a:lnTo>
                    <a:pt x="2376" y="720"/>
                  </a:lnTo>
                  <a:lnTo>
                    <a:pt x="2377" y="720"/>
                  </a:lnTo>
                  <a:lnTo>
                    <a:pt x="2378" y="720"/>
                  </a:lnTo>
                  <a:lnTo>
                    <a:pt x="2379" y="720"/>
                  </a:lnTo>
                  <a:lnTo>
                    <a:pt x="2379" y="722"/>
                  </a:lnTo>
                  <a:lnTo>
                    <a:pt x="2380" y="722"/>
                  </a:lnTo>
                  <a:lnTo>
                    <a:pt x="2380" y="722"/>
                  </a:lnTo>
                  <a:lnTo>
                    <a:pt x="2380" y="722"/>
                  </a:lnTo>
                  <a:lnTo>
                    <a:pt x="2381" y="722"/>
                  </a:lnTo>
                  <a:lnTo>
                    <a:pt x="2381" y="722"/>
                  </a:lnTo>
                  <a:lnTo>
                    <a:pt x="2381" y="722"/>
                  </a:lnTo>
                  <a:lnTo>
                    <a:pt x="2381" y="723"/>
                  </a:lnTo>
                  <a:lnTo>
                    <a:pt x="2381" y="725"/>
                  </a:lnTo>
                  <a:lnTo>
                    <a:pt x="2381" y="725"/>
                  </a:lnTo>
                  <a:lnTo>
                    <a:pt x="2381" y="725"/>
                  </a:lnTo>
                  <a:lnTo>
                    <a:pt x="2382" y="725"/>
                  </a:lnTo>
                  <a:lnTo>
                    <a:pt x="2382" y="726"/>
                  </a:lnTo>
                  <a:lnTo>
                    <a:pt x="2382" y="726"/>
                  </a:lnTo>
                  <a:lnTo>
                    <a:pt x="2382" y="726"/>
                  </a:lnTo>
                  <a:lnTo>
                    <a:pt x="2383" y="726"/>
                  </a:lnTo>
                  <a:lnTo>
                    <a:pt x="2383" y="727"/>
                  </a:lnTo>
                  <a:lnTo>
                    <a:pt x="2383" y="727"/>
                  </a:lnTo>
                  <a:lnTo>
                    <a:pt x="2383" y="727"/>
                  </a:lnTo>
                  <a:lnTo>
                    <a:pt x="2383" y="728"/>
                  </a:lnTo>
                  <a:lnTo>
                    <a:pt x="2383" y="728"/>
                  </a:lnTo>
                  <a:lnTo>
                    <a:pt x="2383" y="729"/>
                  </a:lnTo>
                  <a:lnTo>
                    <a:pt x="2385" y="729"/>
                  </a:lnTo>
                  <a:lnTo>
                    <a:pt x="2385" y="729"/>
                  </a:lnTo>
                  <a:lnTo>
                    <a:pt x="2385" y="729"/>
                  </a:lnTo>
                  <a:lnTo>
                    <a:pt x="2385" y="729"/>
                  </a:lnTo>
                  <a:lnTo>
                    <a:pt x="2385" y="731"/>
                  </a:lnTo>
                  <a:lnTo>
                    <a:pt x="2385" y="731"/>
                  </a:lnTo>
                  <a:lnTo>
                    <a:pt x="2385" y="731"/>
                  </a:lnTo>
                  <a:lnTo>
                    <a:pt x="2385" y="731"/>
                  </a:lnTo>
                  <a:lnTo>
                    <a:pt x="2385" y="732"/>
                  </a:lnTo>
                  <a:lnTo>
                    <a:pt x="2386" y="732"/>
                  </a:lnTo>
                  <a:lnTo>
                    <a:pt x="2386" y="732"/>
                  </a:lnTo>
                  <a:lnTo>
                    <a:pt x="2386" y="732"/>
                  </a:lnTo>
                  <a:lnTo>
                    <a:pt x="2386" y="732"/>
                  </a:lnTo>
                  <a:lnTo>
                    <a:pt x="2387" y="732"/>
                  </a:lnTo>
                  <a:lnTo>
                    <a:pt x="2387" y="733"/>
                  </a:lnTo>
                  <a:lnTo>
                    <a:pt x="2387" y="733"/>
                  </a:lnTo>
                  <a:lnTo>
                    <a:pt x="2387" y="733"/>
                  </a:lnTo>
                  <a:lnTo>
                    <a:pt x="2387" y="733"/>
                  </a:lnTo>
                  <a:lnTo>
                    <a:pt x="2387" y="734"/>
                  </a:lnTo>
                  <a:lnTo>
                    <a:pt x="2388" y="734"/>
                  </a:lnTo>
                  <a:lnTo>
                    <a:pt x="2388" y="734"/>
                  </a:lnTo>
                  <a:lnTo>
                    <a:pt x="2388" y="735"/>
                  </a:lnTo>
                  <a:lnTo>
                    <a:pt x="2388" y="737"/>
                  </a:lnTo>
                  <a:lnTo>
                    <a:pt x="2388" y="737"/>
                  </a:lnTo>
                  <a:lnTo>
                    <a:pt x="2388" y="739"/>
                  </a:lnTo>
                  <a:lnTo>
                    <a:pt x="2387" y="739"/>
                  </a:lnTo>
                  <a:lnTo>
                    <a:pt x="2387" y="739"/>
                  </a:lnTo>
                  <a:lnTo>
                    <a:pt x="2387" y="739"/>
                  </a:lnTo>
                  <a:lnTo>
                    <a:pt x="2387" y="740"/>
                  </a:lnTo>
                  <a:lnTo>
                    <a:pt x="2388" y="740"/>
                  </a:lnTo>
                  <a:lnTo>
                    <a:pt x="2388" y="740"/>
                  </a:lnTo>
                  <a:lnTo>
                    <a:pt x="2390" y="740"/>
                  </a:lnTo>
                  <a:lnTo>
                    <a:pt x="2390" y="740"/>
                  </a:lnTo>
                  <a:lnTo>
                    <a:pt x="2390" y="740"/>
                  </a:lnTo>
                  <a:lnTo>
                    <a:pt x="2390" y="739"/>
                  </a:lnTo>
                  <a:lnTo>
                    <a:pt x="2393" y="739"/>
                  </a:lnTo>
                  <a:lnTo>
                    <a:pt x="2393" y="739"/>
                  </a:lnTo>
                  <a:lnTo>
                    <a:pt x="2393" y="739"/>
                  </a:lnTo>
                  <a:lnTo>
                    <a:pt x="2393" y="739"/>
                  </a:lnTo>
                  <a:lnTo>
                    <a:pt x="2393" y="739"/>
                  </a:lnTo>
                  <a:lnTo>
                    <a:pt x="2393" y="740"/>
                  </a:lnTo>
                  <a:lnTo>
                    <a:pt x="2393" y="740"/>
                  </a:lnTo>
                  <a:lnTo>
                    <a:pt x="2393" y="740"/>
                  </a:lnTo>
                  <a:lnTo>
                    <a:pt x="2393" y="740"/>
                  </a:lnTo>
                  <a:lnTo>
                    <a:pt x="2393" y="741"/>
                  </a:lnTo>
                  <a:lnTo>
                    <a:pt x="2394" y="741"/>
                  </a:lnTo>
                  <a:lnTo>
                    <a:pt x="2394" y="741"/>
                  </a:lnTo>
                  <a:lnTo>
                    <a:pt x="2394" y="742"/>
                  </a:lnTo>
                  <a:lnTo>
                    <a:pt x="2394" y="742"/>
                  </a:lnTo>
                  <a:lnTo>
                    <a:pt x="2394" y="743"/>
                  </a:lnTo>
                  <a:lnTo>
                    <a:pt x="2395" y="743"/>
                  </a:lnTo>
                  <a:lnTo>
                    <a:pt x="2395" y="743"/>
                  </a:lnTo>
                  <a:lnTo>
                    <a:pt x="2395" y="744"/>
                  </a:lnTo>
                  <a:lnTo>
                    <a:pt x="2395" y="744"/>
                  </a:lnTo>
                  <a:lnTo>
                    <a:pt x="2395" y="744"/>
                  </a:lnTo>
                  <a:lnTo>
                    <a:pt x="2395" y="744"/>
                  </a:lnTo>
                  <a:lnTo>
                    <a:pt x="2396" y="744"/>
                  </a:lnTo>
                  <a:lnTo>
                    <a:pt x="2396" y="744"/>
                  </a:lnTo>
                  <a:lnTo>
                    <a:pt x="2397" y="744"/>
                  </a:lnTo>
                  <a:lnTo>
                    <a:pt x="2397" y="744"/>
                  </a:lnTo>
                  <a:lnTo>
                    <a:pt x="2397" y="744"/>
                  </a:lnTo>
                  <a:lnTo>
                    <a:pt x="2398" y="744"/>
                  </a:lnTo>
                  <a:lnTo>
                    <a:pt x="2398" y="744"/>
                  </a:lnTo>
                  <a:lnTo>
                    <a:pt x="2398" y="744"/>
                  </a:lnTo>
                  <a:lnTo>
                    <a:pt x="2399" y="744"/>
                  </a:lnTo>
                  <a:lnTo>
                    <a:pt x="2399" y="744"/>
                  </a:lnTo>
                  <a:lnTo>
                    <a:pt x="2400" y="744"/>
                  </a:lnTo>
                  <a:lnTo>
                    <a:pt x="2400" y="744"/>
                  </a:lnTo>
                  <a:lnTo>
                    <a:pt x="2400" y="745"/>
                  </a:lnTo>
                  <a:lnTo>
                    <a:pt x="2400" y="745"/>
                  </a:lnTo>
                  <a:lnTo>
                    <a:pt x="2400" y="745"/>
                  </a:lnTo>
                  <a:lnTo>
                    <a:pt x="2400" y="745"/>
                  </a:lnTo>
                  <a:lnTo>
                    <a:pt x="2402" y="745"/>
                  </a:lnTo>
                  <a:lnTo>
                    <a:pt x="2402" y="745"/>
                  </a:lnTo>
                  <a:lnTo>
                    <a:pt x="2402" y="745"/>
                  </a:lnTo>
                  <a:lnTo>
                    <a:pt x="2402" y="745"/>
                  </a:lnTo>
                  <a:lnTo>
                    <a:pt x="2403" y="744"/>
                  </a:lnTo>
                  <a:lnTo>
                    <a:pt x="2403" y="744"/>
                  </a:lnTo>
                  <a:lnTo>
                    <a:pt x="2403" y="745"/>
                  </a:lnTo>
                  <a:lnTo>
                    <a:pt x="2404" y="745"/>
                  </a:lnTo>
                  <a:lnTo>
                    <a:pt x="2404" y="745"/>
                  </a:lnTo>
                  <a:lnTo>
                    <a:pt x="2405" y="745"/>
                  </a:lnTo>
                  <a:lnTo>
                    <a:pt x="2405" y="745"/>
                  </a:lnTo>
                  <a:lnTo>
                    <a:pt x="2405" y="745"/>
                  </a:lnTo>
                  <a:lnTo>
                    <a:pt x="2406" y="745"/>
                  </a:lnTo>
                  <a:lnTo>
                    <a:pt x="2406" y="745"/>
                  </a:lnTo>
                  <a:lnTo>
                    <a:pt x="2406" y="746"/>
                  </a:lnTo>
                  <a:lnTo>
                    <a:pt x="2406" y="746"/>
                  </a:lnTo>
                  <a:lnTo>
                    <a:pt x="2406" y="746"/>
                  </a:lnTo>
                  <a:lnTo>
                    <a:pt x="2407" y="746"/>
                  </a:lnTo>
                  <a:lnTo>
                    <a:pt x="2407" y="746"/>
                  </a:lnTo>
                  <a:lnTo>
                    <a:pt x="2407" y="748"/>
                  </a:lnTo>
                  <a:lnTo>
                    <a:pt x="2407" y="749"/>
                  </a:lnTo>
                  <a:lnTo>
                    <a:pt x="2407" y="749"/>
                  </a:lnTo>
                  <a:lnTo>
                    <a:pt x="2406" y="749"/>
                  </a:lnTo>
                  <a:lnTo>
                    <a:pt x="2406" y="749"/>
                  </a:lnTo>
                  <a:lnTo>
                    <a:pt x="2406" y="749"/>
                  </a:lnTo>
                  <a:lnTo>
                    <a:pt x="2406" y="748"/>
                  </a:lnTo>
                  <a:lnTo>
                    <a:pt x="2406" y="748"/>
                  </a:lnTo>
                  <a:lnTo>
                    <a:pt x="2406" y="748"/>
                  </a:lnTo>
                  <a:lnTo>
                    <a:pt x="2406" y="748"/>
                  </a:lnTo>
                  <a:lnTo>
                    <a:pt x="2406" y="748"/>
                  </a:lnTo>
                  <a:lnTo>
                    <a:pt x="2406" y="748"/>
                  </a:lnTo>
                  <a:lnTo>
                    <a:pt x="2406" y="748"/>
                  </a:lnTo>
                  <a:lnTo>
                    <a:pt x="2406" y="749"/>
                  </a:lnTo>
                  <a:lnTo>
                    <a:pt x="2406" y="749"/>
                  </a:lnTo>
                  <a:lnTo>
                    <a:pt x="2406" y="751"/>
                  </a:lnTo>
                  <a:lnTo>
                    <a:pt x="2406" y="751"/>
                  </a:lnTo>
                  <a:lnTo>
                    <a:pt x="2406" y="751"/>
                  </a:lnTo>
                  <a:lnTo>
                    <a:pt x="2406" y="751"/>
                  </a:lnTo>
                  <a:lnTo>
                    <a:pt x="2406" y="752"/>
                  </a:lnTo>
                  <a:lnTo>
                    <a:pt x="2406" y="752"/>
                  </a:lnTo>
                  <a:lnTo>
                    <a:pt x="2405" y="752"/>
                  </a:lnTo>
                  <a:lnTo>
                    <a:pt x="2405" y="753"/>
                  </a:lnTo>
                  <a:lnTo>
                    <a:pt x="2405" y="753"/>
                  </a:lnTo>
                  <a:lnTo>
                    <a:pt x="2405" y="753"/>
                  </a:lnTo>
                  <a:lnTo>
                    <a:pt x="2405" y="753"/>
                  </a:lnTo>
                  <a:lnTo>
                    <a:pt x="2405" y="753"/>
                  </a:lnTo>
                  <a:lnTo>
                    <a:pt x="2405" y="754"/>
                  </a:lnTo>
                  <a:lnTo>
                    <a:pt x="2405" y="754"/>
                  </a:lnTo>
                  <a:lnTo>
                    <a:pt x="2404" y="754"/>
                  </a:lnTo>
                  <a:lnTo>
                    <a:pt x="2404" y="754"/>
                  </a:lnTo>
                  <a:lnTo>
                    <a:pt x="2404" y="754"/>
                  </a:lnTo>
                  <a:lnTo>
                    <a:pt x="2404" y="754"/>
                  </a:lnTo>
                  <a:lnTo>
                    <a:pt x="2404" y="756"/>
                  </a:lnTo>
                  <a:lnTo>
                    <a:pt x="2404" y="756"/>
                  </a:lnTo>
                  <a:lnTo>
                    <a:pt x="2404" y="756"/>
                  </a:lnTo>
                  <a:lnTo>
                    <a:pt x="2404" y="756"/>
                  </a:lnTo>
                  <a:lnTo>
                    <a:pt x="2403" y="756"/>
                  </a:lnTo>
                  <a:lnTo>
                    <a:pt x="2403" y="757"/>
                  </a:lnTo>
                  <a:lnTo>
                    <a:pt x="2403" y="757"/>
                  </a:lnTo>
                  <a:lnTo>
                    <a:pt x="2403" y="757"/>
                  </a:lnTo>
                  <a:lnTo>
                    <a:pt x="2403" y="757"/>
                  </a:lnTo>
                  <a:lnTo>
                    <a:pt x="2403" y="758"/>
                  </a:lnTo>
                  <a:lnTo>
                    <a:pt x="2403" y="758"/>
                  </a:lnTo>
                  <a:lnTo>
                    <a:pt x="2404" y="759"/>
                  </a:lnTo>
                  <a:lnTo>
                    <a:pt x="2404" y="759"/>
                  </a:lnTo>
                  <a:lnTo>
                    <a:pt x="2404" y="759"/>
                  </a:lnTo>
                  <a:lnTo>
                    <a:pt x="2404" y="759"/>
                  </a:lnTo>
                  <a:lnTo>
                    <a:pt x="2404" y="760"/>
                  </a:lnTo>
                  <a:lnTo>
                    <a:pt x="2404" y="760"/>
                  </a:lnTo>
                  <a:lnTo>
                    <a:pt x="2404" y="760"/>
                  </a:lnTo>
                  <a:lnTo>
                    <a:pt x="2404" y="761"/>
                  </a:lnTo>
                  <a:lnTo>
                    <a:pt x="2404" y="761"/>
                  </a:lnTo>
                  <a:lnTo>
                    <a:pt x="2404" y="761"/>
                  </a:lnTo>
                  <a:lnTo>
                    <a:pt x="2403" y="761"/>
                  </a:lnTo>
                  <a:lnTo>
                    <a:pt x="2403" y="762"/>
                  </a:lnTo>
                  <a:lnTo>
                    <a:pt x="2404" y="762"/>
                  </a:lnTo>
                  <a:lnTo>
                    <a:pt x="2404" y="763"/>
                  </a:lnTo>
                  <a:lnTo>
                    <a:pt x="2404" y="763"/>
                  </a:lnTo>
                  <a:lnTo>
                    <a:pt x="2404" y="763"/>
                  </a:lnTo>
                  <a:lnTo>
                    <a:pt x="2405" y="763"/>
                  </a:lnTo>
                  <a:lnTo>
                    <a:pt x="2405" y="763"/>
                  </a:lnTo>
                  <a:lnTo>
                    <a:pt x="2405" y="763"/>
                  </a:lnTo>
                  <a:lnTo>
                    <a:pt x="2405" y="765"/>
                  </a:lnTo>
                  <a:lnTo>
                    <a:pt x="2405" y="765"/>
                  </a:lnTo>
                  <a:lnTo>
                    <a:pt x="2405" y="765"/>
                  </a:lnTo>
                  <a:lnTo>
                    <a:pt x="2405" y="765"/>
                  </a:lnTo>
                  <a:lnTo>
                    <a:pt x="2405" y="766"/>
                  </a:lnTo>
                  <a:lnTo>
                    <a:pt x="2406" y="768"/>
                  </a:lnTo>
                  <a:lnTo>
                    <a:pt x="2407" y="768"/>
                  </a:lnTo>
                  <a:lnTo>
                    <a:pt x="2407" y="768"/>
                  </a:lnTo>
                  <a:lnTo>
                    <a:pt x="2407" y="768"/>
                  </a:lnTo>
                  <a:lnTo>
                    <a:pt x="2407" y="769"/>
                  </a:lnTo>
                  <a:lnTo>
                    <a:pt x="2407" y="769"/>
                  </a:lnTo>
                  <a:lnTo>
                    <a:pt x="2407" y="769"/>
                  </a:lnTo>
                  <a:lnTo>
                    <a:pt x="2407" y="769"/>
                  </a:lnTo>
                  <a:lnTo>
                    <a:pt x="2407" y="769"/>
                  </a:lnTo>
                  <a:lnTo>
                    <a:pt x="2408" y="770"/>
                  </a:lnTo>
                  <a:lnTo>
                    <a:pt x="2408" y="770"/>
                  </a:lnTo>
                  <a:lnTo>
                    <a:pt x="2408" y="770"/>
                  </a:lnTo>
                  <a:lnTo>
                    <a:pt x="2408" y="771"/>
                  </a:lnTo>
                  <a:lnTo>
                    <a:pt x="2408" y="771"/>
                  </a:lnTo>
                  <a:lnTo>
                    <a:pt x="2408" y="772"/>
                  </a:lnTo>
                  <a:lnTo>
                    <a:pt x="2408" y="772"/>
                  </a:lnTo>
                  <a:lnTo>
                    <a:pt x="2410" y="774"/>
                  </a:lnTo>
                  <a:lnTo>
                    <a:pt x="2410" y="774"/>
                  </a:lnTo>
                  <a:lnTo>
                    <a:pt x="2410" y="774"/>
                  </a:lnTo>
                  <a:lnTo>
                    <a:pt x="2410" y="774"/>
                  </a:lnTo>
                  <a:lnTo>
                    <a:pt x="2410" y="774"/>
                  </a:lnTo>
                  <a:lnTo>
                    <a:pt x="2410" y="772"/>
                  </a:lnTo>
                  <a:lnTo>
                    <a:pt x="2410" y="772"/>
                  </a:lnTo>
                  <a:lnTo>
                    <a:pt x="2410" y="772"/>
                  </a:lnTo>
                  <a:lnTo>
                    <a:pt x="2410" y="772"/>
                  </a:lnTo>
                  <a:lnTo>
                    <a:pt x="2410" y="771"/>
                  </a:lnTo>
                  <a:lnTo>
                    <a:pt x="2408" y="771"/>
                  </a:lnTo>
                  <a:lnTo>
                    <a:pt x="2408" y="771"/>
                  </a:lnTo>
                  <a:lnTo>
                    <a:pt x="2408" y="771"/>
                  </a:lnTo>
                  <a:lnTo>
                    <a:pt x="2408" y="769"/>
                  </a:lnTo>
                  <a:lnTo>
                    <a:pt x="2408" y="769"/>
                  </a:lnTo>
                  <a:lnTo>
                    <a:pt x="2408" y="768"/>
                  </a:lnTo>
                  <a:lnTo>
                    <a:pt x="2408" y="768"/>
                  </a:lnTo>
                  <a:lnTo>
                    <a:pt x="2408" y="768"/>
                  </a:lnTo>
                  <a:lnTo>
                    <a:pt x="2408" y="768"/>
                  </a:lnTo>
                  <a:lnTo>
                    <a:pt x="2408" y="767"/>
                  </a:lnTo>
                  <a:lnTo>
                    <a:pt x="2410" y="767"/>
                  </a:lnTo>
                  <a:lnTo>
                    <a:pt x="2410" y="766"/>
                  </a:lnTo>
                  <a:lnTo>
                    <a:pt x="2410" y="766"/>
                  </a:lnTo>
                  <a:lnTo>
                    <a:pt x="2410" y="766"/>
                  </a:lnTo>
                  <a:lnTo>
                    <a:pt x="2410" y="766"/>
                  </a:lnTo>
                  <a:lnTo>
                    <a:pt x="2410" y="766"/>
                  </a:lnTo>
                  <a:lnTo>
                    <a:pt x="2410" y="765"/>
                  </a:lnTo>
                  <a:lnTo>
                    <a:pt x="2410" y="765"/>
                  </a:lnTo>
                  <a:lnTo>
                    <a:pt x="2410" y="763"/>
                  </a:lnTo>
                  <a:lnTo>
                    <a:pt x="2410" y="763"/>
                  </a:lnTo>
                  <a:lnTo>
                    <a:pt x="2410" y="763"/>
                  </a:lnTo>
                  <a:lnTo>
                    <a:pt x="2408" y="763"/>
                  </a:lnTo>
                  <a:lnTo>
                    <a:pt x="2408" y="763"/>
                  </a:lnTo>
                  <a:lnTo>
                    <a:pt x="2408" y="765"/>
                  </a:lnTo>
                  <a:lnTo>
                    <a:pt x="2407" y="765"/>
                  </a:lnTo>
                  <a:lnTo>
                    <a:pt x="2407" y="763"/>
                  </a:lnTo>
                  <a:lnTo>
                    <a:pt x="2408" y="762"/>
                  </a:lnTo>
                  <a:lnTo>
                    <a:pt x="2408" y="762"/>
                  </a:lnTo>
                  <a:lnTo>
                    <a:pt x="2408" y="762"/>
                  </a:lnTo>
                  <a:lnTo>
                    <a:pt x="2408" y="762"/>
                  </a:lnTo>
                  <a:lnTo>
                    <a:pt x="2408" y="761"/>
                  </a:lnTo>
                  <a:lnTo>
                    <a:pt x="2408" y="761"/>
                  </a:lnTo>
                  <a:lnTo>
                    <a:pt x="2410" y="761"/>
                  </a:lnTo>
                  <a:lnTo>
                    <a:pt x="2410" y="761"/>
                  </a:lnTo>
                  <a:lnTo>
                    <a:pt x="2410" y="761"/>
                  </a:lnTo>
                  <a:lnTo>
                    <a:pt x="2410" y="760"/>
                  </a:lnTo>
                  <a:lnTo>
                    <a:pt x="2410" y="760"/>
                  </a:lnTo>
                  <a:lnTo>
                    <a:pt x="2410" y="760"/>
                  </a:lnTo>
                  <a:lnTo>
                    <a:pt x="2410" y="760"/>
                  </a:lnTo>
                  <a:lnTo>
                    <a:pt x="2410" y="760"/>
                  </a:lnTo>
                  <a:lnTo>
                    <a:pt x="2411" y="759"/>
                  </a:lnTo>
                  <a:lnTo>
                    <a:pt x="2411" y="759"/>
                  </a:lnTo>
                  <a:lnTo>
                    <a:pt x="2411" y="759"/>
                  </a:lnTo>
                  <a:lnTo>
                    <a:pt x="2411" y="759"/>
                  </a:lnTo>
                  <a:lnTo>
                    <a:pt x="2411" y="759"/>
                  </a:lnTo>
                  <a:lnTo>
                    <a:pt x="2411" y="758"/>
                  </a:lnTo>
                  <a:lnTo>
                    <a:pt x="2412" y="758"/>
                  </a:lnTo>
                  <a:lnTo>
                    <a:pt x="2412" y="758"/>
                  </a:lnTo>
                  <a:lnTo>
                    <a:pt x="2412" y="758"/>
                  </a:lnTo>
                  <a:lnTo>
                    <a:pt x="2412" y="758"/>
                  </a:lnTo>
                  <a:lnTo>
                    <a:pt x="2412" y="758"/>
                  </a:lnTo>
                  <a:lnTo>
                    <a:pt x="2412" y="757"/>
                  </a:lnTo>
                  <a:lnTo>
                    <a:pt x="2413" y="757"/>
                  </a:lnTo>
                  <a:lnTo>
                    <a:pt x="2413" y="757"/>
                  </a:lnTo>
                  <a:lnTo>
                    <a:pt x="2413" y="757"/>
                  </a:lnTo>
                  <a:lnTo>
                    <a:pt x="2414" y="757"/>
                  </a:lnTo>
                  <a:lnTo>
                    <a:pt x="2414" y="757"/>
                  </a:lnTo>
                  <a:lnTo>
                    <a:pt x="2414" y="758"/>
                  </a:lnTo>
                  <a:lnTo>
                    <a:pt x="2415" y="758"/>
                  </a:lnTo>
                  <a:lnTo>
                    <a:pt x="2415" y="757"/>
                  </a:lnTo>
                  <a:lnTo>
                    <a:pt x="2416" y="757"/>
                  </a:lnTo>
                  <a:lnTo>
                    <a:pt x="2416" y="757"/>
                  </a:lnTo>
                  <a:lnTo>
                    <a:pt x="2419" y="757"/>
                  </a:lnTo>
                  <a:lnTo>
                    <a:pt x="2419" y="757"/>
                  </a:lnTo>
                  <a:lnTo>
                    <a:pt x="2419" y="757"/>
                  </a:lnTo>
                  <a:lnTo>
                    <a:pt x="2420" y="757"/>
                  </a:lnTo>
                  <a:lnTo>
                    <a:pt x="2420" y="757"/>
                  </a:lnTo>
                  <a:lnTo>
                    <a:pt x="2420" y="757"/>
                  </a:lnTo>
                  <a:lnTo>
                    <a:pt x="2422" y="757"/>
                  </a:lnTo>
                  <a:lnTo>
                    <a:pt x="2422" y="757"/>
                  </a:lnTo>
                  <a:lnTo>
                    <a:pt x="2422" y="757"/>
                  </a:lnTo>
                  <a:lnTo>
                    <a:pt x="2422" y="757"/>
                  </a:lnTo>
                  <a:lnTo>
                    <a:pt x="2423" y="757"/>
                  </a:lnTo>
                  <a:lnTo>
                    <a:pt x="2423" y="757"/>
                  </a:lnTo>
                  <a:lnTo>
                    <a:pt x="2423" y="757"/>
                  </a:lnTo>
                  <a:lnTo>
                    <a:pt x="2423" y="758"/>
                  </a:lnTo>
                  <a:lnTo>
                    <a:pt x="2423" y="758"/>
                  </a:lnTo>
                  <a:lnTo>
                    <a:pt x="2423" y="758"/>
                  </a:lnTo>
                  <a:lnTo>
                    <a:pt x="2423" y="759"/>
                  </a:lnTo>
                  <a:lnTo>
                    <a:pt x="2423" y="759"/>
                  </a:lnTo>
                  <a:lnTo>
                    <a:pt x="2423" y="760"/>
                  </a:lnTo>
                  <a:lnTo>
                    <a:pt x="2423" y="760"/>
                  </a:lnTo>
                  <a:lnTo>
                    <a:pt x="2424" y="761"/>
                  </a:lnTo>
                  <a:lnTo>
                    <a:pt x="2424" y="761"/>
                  </a:lnTo>
                  <a:lnTo>
                    <a:pt x="2424" y="761"/>
                  </a:lnTo>
                  <a:lnTo>
                    <a:pt x="2424" y="761"/>
                  </a:lnTo>
                  <a:lnTo>
                    <a:pt x="2424" y="762"/>
                  </a:lnTo>
                  <a:lnTo>
                    <a:pt x="2424" y="762"/>
                  </a:lnTo>
                  <a:lnTo>
                    <a:pt x="2424" y="762"/>
                  </a:lnTo>
                  <a:lnTo>
                    <a:pt x="2424" y="766"/>
                  </a:lnTo>
                  <a:lnTo>
                    <a:pt x="2425" y="766"/>
                  </a:lnTo>
                  <a:lnTo>
                    <a:pt x="2425" y="767"/>
                  </a:lnTo>
                  <a:lnTo>
                    <a:pt x="2425" y="767"/>
                  </a:lnTo>
                  <a:lnTo>
                    <a:pt x="2425" y="767"/>
                  </a:lnTo>
                  <a:lnTo>
                    <a:pt x="2425" y="767"/>
                  </a:lnTo>
                  <a:lnTo>
                    <a:pt x="2425" y="767"/>
                  </a:lnTo>
                  <a:lnTo>
                    <a:pt x="2425" y="767"/>
                  </a:lnTo>
                  <a:lnTo>
                    <a:pt x="2427" y="768"/>
                  </a:lnTo>
                  <a:lnTo>
                    <a:pt x="2427" y="768"/>
                  </a:lnTo>
                  <a:lnTo>
                    <a:pt x="2427" y="768"/>
                  </a:lnTo>
                  <a:lnTo>
                    <a:pt x="2427" y="768"/>
                  </a:lnTo>
                  <a:lnTo>
                    <a:pt x="2428" y="768"/>
                  </a:lnTo>
                  <a:lnTo>
                    <a:pt x="2428" y="768"/>
                  </a:lnTo>
                  <a:lnTo>
                    <a:pt x="2428" y="769"/>
                  </a:lnTo>
                  <a:lnTo>
                    <a:pt x="2428" y="769"/>
                  </a:lnTo>
                  <a:lnTo>
                    <a:pt x="2428" y="769"/>
                  </a:lnTo>
                  <a:lnTo>
                    <a:pt x="2428" y="769"/>
                  </a:lnTo>
                  <a:lnTo>
                    <a:pt x="2429" y="769"/>
                  </a:lnTo>
                  <a:lnTo>
                    <a:pt x="2429" y="769"/>
                  </a:lnTo>
                  <a:lnTo>
                    <a:pt x="2429" y="769"/>
                  </a:lnTo>
                  <a:lnTo>
                    <a:pt x="2429" y="770"/>
                  </a:lnTo>
                  <a:lnTo>
                    <a:pt x="2430" y="770"/>
                  </a:lnTo>
                  <a:lnTo>
                    <a:pt x="2430" y="770"/>
                  </a:lnTo>
                  <a:lnTo>
                    <a:pt x="2430" y="770"/>
                  </a:lnTo>
                  <a:lnTo>
                    <a:pt x="2431" y="770"/>
                  </a:lnTo>
                  <a:lnTo>
                    <a:pt x="2431" y="770"/>
                  </a:lnTo>
                  <a:lnTo>
                    <a:pt x="2431" y="770"/>
                  </a:lnTo>
                  <a:lnTo>
                    <a:pt x="2432" y="771"/>
                  </a:lnTo>
                  <a:lnTo>
                    <a:pt x="2432" y="771"/>
                  </a:lnTo>
                  <a:lnTo>
                    <a:pt x="2432" y="771"/>
                  </a:lnTo>
                  <a:lnTo>
                    <a:pt x="2432" y="771"/>
                  </a:lnTo>
                  <a:lnTo>
                    <a:pt x="2432" y="771"/>
                  </a:lnTo>
                  <a:lnTo>
                    <a:pt x="2432" y="772"/>
                  </a:lnTo>
                  <a:lnTo>
                    <a:pt x="2433" y="772"/>
                  </a:lnTo>
                  <a:lnTo>
                    <a:pt x="2433" y="772"/>
                  </a:lnTo>
                  <a:lnTo>
                    <a:pt x="2433" y="772"/>
                  </a:lnTo>
                  <a:lnTo>
                    <a:pt x="2433" y="772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5"/>
                  </a:lnTo>
                  <a:lnTo>
                    <a:pt x="2434" y="775"/>
                  </a:lnTo>
                  <a:lnTo>
                    <a:pt x="2434" y="775"/>
                  </a:lnTo>
                  <a:lnTo>
                    <a:pt x="2434" y="775"/>
                  </a:lnTo>
                  <a:lnTo>
                    <a:pt x="2434" y="776"/>
                  </a:lnTo>
                  <a:close/>
                  <a:moveTo>
                    <a:pt x="2516" y="714"/>
                  </a:moveTo>
                  <a:lnTo>
                    <a:pt x="2516" y="714"/>
                  </a:lnTo>
                  <a:lnTo>
                    <a:pt x="2516" y="714"/>
                  </a:lnTo>
                  <a:lnTo>
                    <a:pt x="2516" y="714"/>
                  </a:lnTo>
                  <a:lnTo>
                    <a:pt x="2515" y="715"/>
                  </a:lnTo>
                  <a:lnTo>
                    <a:pt x="2515" y="715"/>
                  </a:lnTo>
                  <a:lnTo>
                    <a:pt x="2514" y="715"/>
                  </a:lnTo>
                  <a:lnTo>
                    <a:pt x="2514" y="715"/>
                  </a:lnTo>
                  <a:lnTo>
                    <a:pt x="2514" y="716"/>
                  </a:lnTo>
                  <a:lnTo>
                    <a:pt x="2514" y="716"/>
                  </a:lnTo>
                  <a:lnTo>
                    <a:pt x="2514" y="717"/>
                  </a:lnTo>
                  <a:lnTo>
                    <a:pt x="2514" y="718"/>
                  </a:lnTo>
                  <a:lnTo>
                    <a:pt x="2514" y="718"/>
                  </a:lnTo>
                  <a:lnTo>
                    <a:pt x="2513" y="718"/>
                  </a:lnTo>
                  <a:lnTo>
                    <a:pt x="2513" y="719"/>
                  </a:lnTo>
                  <a:lnTo>
                    <a:pt x="2511" y="719"/>
                  </a:lnTo>
                  <a:lnTo>
                    <a:pt x="2510" y="719"/>
                  </a:lnTo>
                  <a:lnTo>
                    <a:pt x="2510" y="719"/>
                  </a:lnTo>
                  <a:lnTo>
                    <a:pt x="2510" y="720"/>
                  </a:lnTo>
                  <a:lnTo>
                    <a:pt x="2510" y="720"/>
                  </a:lnTo>
                  <a:lnTo>
                    <a:pt x="2510" y="722"/>
                  </a:lnTo>
                  <a:lnTo>
                    <a:pt x="2509" y="723"/>
                  </a:lnTo>
                  <a:lnTo>
                    <a:pt x="2509" y="723"/>
                  </a:lnTo>
                  <a:lnTo>
                    <a:pt x="2508" y="723"/>
                  </a:lnTo>
                  <a:lnTo>
                    <a:pt x="2508" y="724"/>
                  </a:lnTo>
                  <a:lnTo>
                    <a:pt x="2507" y="724"/>
                  </a:lnTo>
                  <a:lnTo>
                    <a:pt x="2506" y="724"/>
                  </a:lnTo>
                  <a:lnTo>
                    <a:pt x="2505" y="724"/>
                  </a:lnTo>
                  <a:lnTo>
                    <a:pt x="2504" y="724"/>
                  </a:lnTo>
                  <a:lnTo>
                    <a:pt x="2504" y="724"/>
                  </a:lnTo>
                  <a:lnTo>
                    <a:pt x="2502" y="724"/>
                  </a:lnTo>
                  <a:lnTo>
                    <a:pt x="2502" y="724"/>
                  </a:lnTo>
                  <a:lnTo>
                    <a:pt x="2500" y="724"/>
                  </a:lnTo>
                  <a:lnTo>
                    <a:pt x="2500" y="724"/>
                  </a:lnTo>
                  <a:lnTo>
                    <a:pt x="2500" y="724"/>
                  </a:lnTo>
                  <a:lnTo>
                    <a:pt x="2499" y="724"/>
                  </a:lnTo>
                  <a:lnTo>
                    <a:pt x="2499" y="724"/>
                  </a:lnTo>
                  <a:lnTo>
                    <a:pt x="2497" y="724"/>
                  </a:lnTo>
                  <a:lnTo>
                    <a:pt x="2496" y="724"/>
                  </a:lnTo>
                  <a:lnTo>
                    <a:pt x="2496" y="724"/>
                  </a:lnTo>
                  <a:lnTo>
                    <a:pt x="2496" y="725"/>
                  </a:lnTo>
                  <a:lnTo>
                    <a:pt x="2496" y="725"/>
                  </a:lnTo>
                  <a:lnTo>
                    <a:pt x="2496" y="726"/>
                  </a:lnTo>
                  <a:lnTo>
                    <a:pt x="2494" y="725"/>
                  </a:lnTo>
                  <a:lnTo>
                    <a:pt x="2494" y="724"/>
                  </a:lnTo>
                  <a:lnTo>
                    <a:pt x="2496" y="724"/>
                  </a:lnTo>
                  <a:lnTo>
                    <a:pt x="2494" y="724"/>
                  </a:lnTo>
                  <a:lnTo>
                    <a:pt x="2494" y="724"/>
                  </a:lnTo>
                  <a:lnTo>
                    <a:pt x="2494" y="723"/>
                  </a:lnTo>
                  <a:lnTo>
                    <a:pt x="2493" y="723"/>
                  </a:lnTo>
                  <a:lnTo>
                    <a:pt x="2493" y="723"/>
                  </a:lnTo>
                  <a:lnTo>
                    <a:pt x="2493" y="722"/>
                  </a:lnTo>
                  <a:lnTo>
                    <a:pt x="2493" y="720"/>
                  </a:lnTo>
                  <a:lnTo>
                    <a:pt x="2493" y="720"/>
                  </a:lnTo>
                  <a:lnTo>
                    <a:pt x="2493" y="719"/>
                  </a:lnTo>
                  <a:lnTo>
                    <a:pt x="2492" y="719"/>
                  </a:lnTo>
                  <a:lnTo>
                    <a:pt x="2492" y="719"/>
                  </a:lnTo>
                  <a:lnTo>
                    <a:pt x="2491" y="719"/>
                  </a:lnTo>
                  <a:lnTo>
                    <a:pt x="2491" y="719"/>
                  </a:lnTo>
                  <a:lnTo>
                    <a:pt x="2490" y="720"/>
                  </a:lnTo>
                  <a:lnTo>
                    <a:pt x="2488" y="720"/>
                  </a:lnTo>
                  <a:lnTo>
                    <a:pt x="2487" y="719"/>
                  </a:lnTo>
                  <a:lnTo>
                    <a:pt x="2485" y="719"/>
                  </a:lnTo>
                  <a:lnTo>
                    <a:pt x="2484" y="719"/>
                  </a:lnTo>
                  <a:lnTo>
                    <a:pt x="2483" y="719"/>
                  </a:lnTo>
                  <a:lnTo>
                    <a:pt x="2483" y="719"/>
                  </a:lnTo>
                  <a:lnTo>
                    <a:pt x="2483" y="718"/>
                  </a:lnTo>
                  <a:lnTo>
                    <a:pt x="2482" y="718"/>
                  </a:lnTo>
                  <a:lnTo>
                    <a:pt x="2482" y="716"/>
                  </a:lnTo>
                  <a:lnTo>
                    <a:pt x="2483" y="715"/>
                  </a:lnTo>
                  <a:lnTo>
                    <a:pt x="2483" y="715"/>
                  </a:lnTo>
                  <a:lnTo>
                    <a:pt x="2483" y="715"/>
                  </a:lnTo>
                  <a:lnTo>
                    <a:pt x="2483" y="715"/>
                  </a:lnTo>
                  <a:lnTo>
                    <a:pt x="2483" y="714"/>
                  </a:lnTo>
                  <a:lnTo>
                    <a:pt x="2483" y="714"/>
                  </a:lnTo>
                  <a:lnTo>
                    <a:pt x="2483" y="712"/>
                  </a:lnTo>
                  <a:lnTo>
                    <a:pt x="2482" y="712"/>
                  </a:lnTo>
                  <a:lnTo>
                    <a:pt x="2482" y="711"/>
                  </a:lnTo>
                  <a:lnTo>
                    <a:pt x="2482" y="710"/>
                  </a:lnTo>
                  <a:lnTo>
                    <a:pt x="2482" y="710"/>
                  </a:lnTo>
                  <a:lnTo>
                    <a:pt x="2482" y="709"/>
                  </a:lnTo>
                  <a:lnTo>
                    <a:pt x="2483" y="709"/>
                  </a:lnTo>
                  <a:lnTo>
                    <a:pt x="2483" y="708"/>
                  </a:lnTo>
                  <a:lnTo>
                    <a:pt x="2483" y="708"/>
                  </a:lnTo>
                  <a:lnTo>
                    <a:pt x="2483" y="707"/>
                  </a:lnTo>
                  <a:lnTo>
                    <a:pt x="2483" y="707"/>
                  </a:lnTo>
                  <a:lnTo>
                    <a:pt x="2483" y="706"/>
                  </a:lnTo>
                  <a:lnTo>
                    <a:pt x="2484" y="706"/>
                  </a:lnTo>
                  <a:lnTo>
                    <a:pt x="2484" y="705"/>
                  </a:lnTo>
                  <a:lnTo>
                    <a:pt x="2484" y="705"/>
                  </a:lnTo>
                  <a:lnTo>
                    <a:pt x="2484" y="703"/>
                  </a:lnTo>
                  <a:lnTo>
                    <a:pt x="2484" y="703"/>
                  </a:lnTo>
                  <a:lnTo>
                    <a:pt x="2484" y="703"/>
                  </a:lnTo>
                  <a:lnTo>
                    <a:pt x="2485" y="702"/>
                  </a:lnTo>
                  <a:lnTo>
                    <a:pt x="2485" y="702"/>
                  </a:lnTo>
                  <a:lnTo>
                    <a:pt x="2485" y="701"/>
                  </a:lnTo>
                  <a:lnTo>
                    <a:pt x="2487" y="701"/>
                  </a:lnTo>
                  <a:lnTo>
                    <a:pt x="2487" y="701"/>
                  </a:lnTo>
                  <a:lnTo>
                    <a:pt x="2487" y="700"/>
                  </a:lnTo>
                  <a:lnTo>
                    <a:pt x="2487" y="700"/>
                  </a:lnTo>
                  <a:lnTo>
                    <a:pt x="2487" y="700"/>
                  </a:lnTo>
                  <a:lnTo>
                    <a:pt x="2487" y="699"/>
                  </a:lnTo>
                  <a:lnTo>
                    <a:pt x="2487" y="699"/>
                  </a:lnTo>
                  <a:lnTo>
                    <a:pt x="2487" y="699"/>
                  </a:lnTo>
                  <a:lnTo>
                    <a:pt x="2488" y="698"/>
                  </a:lnTo>
                  <a:lnTo>
                    <a:pt x="2488" y="698"/>
                  </a:lnTo>
                  <a:lnTo>
                    <a:pt x="2488" y="697"/>
                  </a:lnTo>
                  <a:lnTo>
                    <a:pt x="2488" y="695"/>
                  </a:lnTo>
                  <a:lnTo>
                    <a:pt x="2488" y="694"/>
                  </a:lnTo>
                  <a:lnTo>
                    <a:pt x="2488" y="694"/>
                  </a:lnTo>
                  <a:lnTo>
                    <a:pt x="2489" y="693"/>
                  </a:lnTo>
                  <a:lnTo>
                    <a:pt x="2489" y="693"/>
                  </a:lnTo>
                  <a:lnTo>
                    <a:pt x="2490" y="693"/>
                  </a:lnTo>
                  <a:lnTo>
                    <a:pt x="2490" y="692"/>
                  </a:lnTo>
                  <a:lnTo>
                    <a:pt x="2491" y="692"/>
                  </a:lnTo>
                  <a:lnTo>
                    <a:pt x="2491" y="693"/>
                  </a:lnTo>
                  <a:lnTo>
                    <a:pt x="2492" y="693"/>
                  </a:lnTo>
                  <a:lnTo>
                    <a:pt x="2492" y="692"/>
                  </a:lnTo>
                  <a:lnTo>
                    <a:pt x="2492" y="692"/>
                  </a:lnTo>
                  <a:lnTo>
                    <a:pt x="2492" y="692"/>
                  </a:lnTo>
                  <a:lnTo>
                    <a:pt x="2492" y="692"/>
                  </a:lnTo>
                  <a:lnTo>
                    <a:pt x="2496" y="692"/>
                  </a:lnTo>
                  <a:lnTo>
                    <a:pt x="2496" y="692"/>
                  </a:lnTo>
                  <a:lnTo>
                    <a:pt x="2496" y="691"/>
                  </a:lnTo>
                  <a:lnTo>
                    <a:pt x="2497" y="691"/>
                  </a:lnTo>
                  <a:lnTo>
                    <a:pt x="2497" y="692"/>
                  </a:lnTo>
                  <a:lnTo>
                    <a:pt x="2497" y="692"/>
                  </a:lnTo>
                  <a:lnTo>
                    <a:pt x="2497" y="693"/>
                  </a:lnTo>
                  <a:lnTo>
                    <a:pt x="2497" y="693"/>
                  </a:lnTo>
                  <a:lnTo>
                    <a:pt x="2496" y="693"/>
                  </a:lnTo>
                  <a:lnTo>
                    <a:pt x="2496" y="693"/>
                  </a:lnTo>
                  <a:lnTo>
                    <a:pt x="2496" y="694"/>
                  </a:lnTo>
                  <a:lnTo>
                    <a:pt x="2496" y="695"/>
                  </a:lnTo>
                  <a:lnTo>
                    <a:pt x="2496" y="695"/>
                  </a:lnTo>
                  <a:lnTo>
                    <a:pt x="2497" y="695"/>
                  </a:lnTo>
                  <a:lnTo>
                    <a:pt x="2497" y="695"/>
                  </a:lnTo>
                  <a:lnTo>
                    <a:pt x="2499" y="695"/>
                  </a:lnTo>
                  <a:lnTo>
                    <a:pt x="2499" y="695"/>
                  </a:lnTo>
                  <a:lnTo>
                    <a:pt x="2499" y="695"/>
                  </a:lnTo>
                  <a:lnTo>
                    <a:pt x="2499" y="695"/>
                  </a:lnTo>
                  <a:lnTo>
                    <a:pt x="2499" y="695"/>
                  </a:lnTo>
                  <a:lnTo>
                    <a:pt x="2500" y="695"/>
                  </a:lnTo>
                  <a:lnTo>
                    <a:pt x="2500" y="694"/>
                  </a:lnTo>
                  <a:lnTo>
                    <a:pt x="2500" y="694"/>
                  </a:lnTo>
                  <a:lnTo>
                    <a:pt x="2500" y="695"/>
                  </a:lnTo>
                  <a:lnTo>
                    <a:pt x="2500" y="695"/>
                  </a:lnTo>
                  <a:lnTo>
                    <a:pt x="2500" y="695"/>
                  </a:lnTo>
                  <a:lnTo>
                    <a:pt x="2500" y="694"/>
                  </a:lnTo>
                  <a:lnTo>
                    <a:pt x="2500" y="694"/>
                  </a:lnTo>
                  <a:lnTo>
                    <a:pt x="2501" y="694"/>
                  </a:lnTo>
                  <a:lnTo>
                    <a:pt x="2501" y="693"/>
                  </a:lnTo>
                  <a:lnTo>
                    <a:pt x="2501" y="693"/>
                  </a:lnTo>
                  <a:lnTo>
                    <a:pt x="2501" y="692"/>
                  </a:lnTo>
                  <a:lnTo>
                    <a:pt x="2501" y="692"/>
                  </a:lnTo>
                  <a:lnTo>
                    <a:pt x="2502" y="691"/>
                  </a:lnTo>
                  <a:lnTo>
                    <a:pt x="2501" y="691"/>
                  </a:lnTo>
                  <a:lnTo>
                    <a:pt x="2501" y="691"/>
                  </a:lnTo>
                  <a:lnTo>
                    <a:pt x="2502" y="690"/>
                  </a:lnTo>
                  <a:lnTo>
                    <a:pt x="2501" y="690"/>
                  </a:lnTo>
                  <a:lnTo>
                    <a:pt x="2501" y="689"/>
                  </a:lnTo>
                  <a:lnTo>
                    <a:pt x="2500" y="688"/>
                  </a:lnTo>
                  <a:lnTo>
                    <a:pt x="2500" y="686"/>
                  </a:lnTo>
                  <a:lnTo>
                    <a:pt x="2499" y="686"/>
                  </a:lnTo>
                  <a:lnTo>
                    <a:pt x="2499" y="686"/>
                  </a:lnTo>
                  <a:lnTo>
                    <a:pt x="2500" y="685"/>
                  </a:lnTo>
                  <a:lnTo>
                    <a:pt x="2500" y="686"/>
                  </a:lnTo>
                  <a:lnTo>
                    <a:pt x="2501" y="686"/>
                  </a:lnTo>
                  <a:lnTo>
                    <a:pt x="2502" y="686"/>
                  </a:lnTo>
                  <a:lnTo>
                    <a:pt x="2502" y="686"/>
                  </a:lnTo>
                  <a:lnTo>
                    <a:pt x="2504" y="686"/>
                  </a:lnTo>
                  <a:lnTo>
                    <a:pt x="2504" y="688"/>
                  </a:lnTo>
                  <a:lnTo>
                    <a:pt x="2504" y="688"/>
                  </a:lnTo>
                  <a:lnTo>
                    <a:pt x="2504" y="689"/>
                  </a:lnTo>
                  <a:lnTo>
                    <a:pt x="2504" y="689"/>
                  </a:lnTo>
                  <a:lnTo>
                    <a:pt x="2504" y="690"/>
                  </a:lnTo>
                  <a:lnTo>
                    <a:pt x="2504" y="690"/>
                  </a:lnTo>
                  <a:lnTo>
                    <a:pt x="2504" y="690"/>
                  </a:lnTo>
                  <a:lnTo>
                    <a:pt x="2504" y="691"/>
                  </a:lnTo>
                  <a:lnTo>
                    <a:pt x="2504" y="691"/>
                  </a:lnTo>
                  <a:lnTo>
                    <a:pt x="2505" y="690"/>
                  </a:lnTo>
                  <a:lnTo>
                    <a:pt x="2505" y="690"/>
                  </a:lnTo>
                  <a:lnTo>
                    <a:pt x="2506" y="690"/>
                  </a:lnTo>
                  <a:lnTo>
                    <a:pt x="2506" y="690"/>
                  </a:lnTo>
                  <a:lnTo>
                    <a:pt x="2507" y="690"/>
                  </a:lnTo>
                  <a:lnTo>
                    <a:pt x="2507" y="689"/>
                  </a:lnTo>
                  <a:lnTo>
                    <a:pt x="2508" y="689"/>
                  </a:lnTo>
                  <a:lnTo>
                    <a:pt x="2509" y="690"/>
                  </a:lnTo>
                  <a:lnTo>
                    <a:pt x="2509" y="690"/>
                  </a:lnTo>
                  <a:lnTo>
                    <a:pt x="2510" y="690"/>
                  </a:lnTo>
                  <a:lnTo>
                    <a:pt x="2510" y="690"/>
                  </a:lnTo>
                  <a:lnTo>
                    <a:pt x="2510" y="690"/>
                  </a:lnTo>
                  <a:lnTo>
                    <a:pt x="2510" y="691"/>
                  </a:lnTo>
                  <a:lnTo>
                    <a:pt x="2510" y="691"/>
                  </a:lnTo>
                  <a:lnTo>
                    <a:pt x="2510" y="691"/>
                  </a:lnTo>
                  <a:lnTo>
                    <a:pt x="2510" y="691"/>
                  </a:lnTo>
                  <a:lnTo>
                    <a:pt x="2509" y="691"/>
                  </a:lnTo>
                  <a:lnTo>
                    <a:pt x="2509" y="691"/>
                  </a:lnTo>
                  <a:lnTo>
                    <a:pt x="2509" y="692"/>
                  </a:lnTo>
                  <a:lnTo>
                    <a:pt x="2507" y="692"/>
                  </a:lnTo>
                  <a:lnTo>
                    <a:pt x="2507" y="692"/>
                  </a:lnTo>
                  <a:lnTo>
                    <a:pt x="2507" y="692"/>
                  </a:lnTo>
                  <a:lnTo>
                    <a:pt x="2508" y="692"/>
                  </a:lnTo>
                  <a:lnTo>
                    <a:pt x="2508" y="692"/>
                  </a:lnTo>
                  <a:lnTo>
                    <a:pt x="2510" y="692"/>
                  </a:lnTo>
                  <a:lnTo>
                    <a:pt x="2510" y="693"/>
                  </a:lnTo>
                  <a:lnTo>
                    <a:pt x="2510" y="693"/>
                  </a:lnTo>
                  <a:lnTo>
                    <a:pt x="2511" y="693"/>
                  </a:lnTo>
                  <a:lnTo>
                    <a:pt x="2510" y="693"/>
                  </a:lnTo>
                  <a:lnTo>
                    <a:pt x="2509" y="693"/>
                  </a:lnTo>
                  <a:lnTo>
                    <a:pt x="2509" y="693"/>
                  </a:lnTo>
                  <a:lnTo>
                    <a:pt x="2509" y="693"/>
                  </a:lnTo>
                  <a:lnTo>
                    <a:pt x="2508" y="693"/>
                  </a:lnTo>
                  <a:lnTo>
                    <a:pt x="2508" y="693"/>
                  </a:lnTo>
                  <a:lnTo>
                    <a:pt x="2508" y="694"/>
                  </a:lnTo>
                  <a:lnTo>
                    <a:pt x="2509" y="694"/>
                  </a:lnTo>
                  <a:lnTo>
                    <a:pt x="2509" y="694"/>
                  </a:lnTo>
                  <a:lnTo>
                    <a:pt x="2509" y="694"/>
                  </a:lnTo>
                  <a:lnTo>
                    <a:pt x="2510" y="694"/>
                  </a:lnTo>
                  <a:lnTo>
                    <a:pt x="2510" y="695"/>
                  </a:lnTo>
                  <a:lnTo>
                    <a:pt x="2510" y="695"/>
                  </a:lnTo>
                  <a:lnTo>
                    <a:pt x="2510" y="695"/>
                  </a:lnTo>
                  <a:lnTo>
                    <a:pt x="2511" y="695"/>
                  </a:lnTo>
                  <a:lnTo>
                    <a:pt x="2511" y="697"/>
                  </a:lnTo>
                  <a:lnTo>
                    <a:pt x="2510" y="697"/>
                  </a:lnTo>
                  <a:lnTo>
                    <a:pt x="2510" y="697"/>
                  </a:lnTo>
                  <a:lnTo>
                    <a:pt x="2509" y="697"/>
                  </a:lnTo>
                  <a:lnTo>
                    <a:pt x="2509" y="697"/>
                  </a:lnTo>
                  <a:lnTo>
                    <a:pt x="2508" y="697"/>
                  </a:lnTo>
                  <a:lnTo>
                    <a:pt x="2508" y="695"/>
                  </a:lnTo>
                  <a:lnTo>
                    <a:pt x="2506" y="695"/>
                  </a:lnTo>
                  <a:lnTo>
                    <a:pt x="2505" y="697"/>
                  </a:lnTo>
                  <a:lnTo>
                    <a:pt x="2505" y="697"/>
                  </a:lnTo>
                  <a:lnTo>
                    <a:pt x="2502" y="697"/>
                  </a:lnTo>
                  <a:lnTo>
                    <a:pt x="2502" y="698"/>
                  </a:lnTo>
                  <a:lnTo>
                    <a:pt x="2504" y="698"/>
                  </a:lnTo>
                  <a:lnTo>
                    <a:pt x="2504" y="699"/>
                  </a:lnTo>
                  <a:lnTo>
                    <a:pt x="2505" y="699"/>
                  </a:lnTo>
                  <a:lnTo>
                    <a:pt x="2506" y="698"/>
                  </a:lnTo>
                  <a:lnTo>
                    <a:pt x="2507" y="698"/>
                  </a:lnTo>
                  <a:lnTo>
                    <a:pt x="2507" y="698"/>
                  </a:lnTo>
                  <a:lnTo>
                    <a:pt x="2508" y="698"/>
                  </a:lnTo>
                  <a:lnTo>
                    <a:pt x="2509" y="698"/>
                  </a:lnTo>
                  <a:lnTo>
                    <a:pt x="2509" y="698"/>
                  </a:lnTo>
                  <a:lnTo>
                    <a:pt x="2510" y="698"/>
                  </a:lnTo>
                  <a:lnTo>
                    <a:pt x="2511" y="698"/>
                  </a:lnTo>
                  <a:lnTo>
                    <a:pt x="2511" y="698"/>
                  </a:lnTo>
                  <a:lnTo>
                    <a:pt x="2511" y="699"/>
                  </a:lnTo>
                  <a:lnTo>
                    <a:pt x="2513" y="699"/>
                  </a:lnTo>
                  <a:lnTo>
                    <a:pt x="2513" y="699"/>
                  </a:lnTo>
                  <a:lnTo>
                    <a:pt x="2513" y="699"/>
                  </a:lnTo>
                  <a:lnTo>
                    <a:pt x="2511" y="700"/>
                  </a:lnTo>
                  <a:lnTo>
                    <a:pt x="2511" y="699"/>
                  </a:lnTo>
                  <a:lnTo>
                    <a:pt x="2511" y="700"/>
                  </a:lnTo>
                  <a:lnTo>
                    <a:pt x="2511" y="701"/>
                  </a:lnTo>
                  <a:lnTo>
                    <a:pt x="2513" y="701"/>
                  </a:lnTo>
                  <a:lnTo>
                    <a:pt x="2513" y="702"/>
                  </a:lnTo>
                  <a:lnTo>
                    <a:pt x="2513" y="702"/>
                  </a:lnTo>
                  <a:lnTo>
                    <a:pt x="2513" y="705"/>
                  </a:lnTo>
                  <a:lnTo>
                    <a:pt x="2513" y="705"/>
                  </a:lnTo>
                  <a:lnTo>
                    <a:pt x="2511" y="706"/>
                  </a:lnTo>
                  <a:lnTo>
                    <a:pt x="2511" y="707"/>
                  </a:lnTo>
                  <a:lnTo>
                    <a:pt x="2513" y="708"/>
                  </a:lnTo>
                  <a:lnTo>
                    <a:pt x="2514" y="709"/>
                  </a:lnTo>
                  <a:lnTo>
                    <a:pt x="2514" y="709"/>
                  </a:lnTo>
                  <a:lnTo>
                    <a:pt x="2514" y="709"/>
                  </a:lnTo>
                  <a:lnTo>
                    <a:pt x="2514" y="710"/>
                  </a:lnTo>
                  <a:lnTo>
                    <a:pt x="2515" y="711"/>
                  </a:lnTo>
                  <a:lnTo>
                    <a:pt x="2516" y="711"/>
                  </a:lnTo>
                  <a:lnTo>
                    <a:pt x="2516" y="712"/>
                  </a:lnTo>
                  <a:lnTo>
                    <a:pt x="2516" y="714"/>
                  </a:lnTo>
                  <a:close/>
                  <a:moveTo>
                    <a:pt x="2524" y="685"/>
                  </a:moveTo>
                  <a:lnTo>
                    <a:pt x="2524" y="686"/>
                  </a:lnTo>
                  <a:lnTo>
                    <a:pt x="2523" y="686"/>
                  </a:lnTo>
                  <a:lnTo>
                    <a:pt x="2523" y="688"/>
                  </a:lnTo>
                  <a:lnTo>
                    <a:pt x="2522" y="688"/>
                  </a:lnTo>
                  <a:lnTo>
                    <a:pt x="2522" y="688"/>
                  </a:lnTo>
                  <a:lnTo>
                    <a:pt x="2522" y="688"/>
                  </a:lnTo>
                  <a:lnTo>
                    <a:pt x="2521" y="688"/>
                  </a:lnTo>
                  <a:lnTo>
                    <a:pt x="2519" y="689"/>
                  </a:lnTo>
                  <a:lnTo>
                    <a:pt x="2519" y="689"/>
                  </a:lnTo>
                  <a:lnTo>
                    <a:pt x="2518" y="689"/>
                  </a:lnTo>
                  <a:lnTo>
                    <a:pt x="2518" y="689"/>
                  </a:lnTo>
                  <a:lnTo>
                    <a:pt x="2517" y="689"/>
                  </a:lnTo>
                  <a:lnTo>
                    <a:pt x="2517" y="689"/>
                  </a:lnTo>
                  <a:lnTo>
                    <a:pt x="2517" y="689"/>
                  </a:lnTo>
                  <a:lnTo>
                    <a:pt x="2517" y="689"/>
                  </a:lnTo>
                  <a:lnTo>
                    <a:pt x="2517" y="688"/>
                  </a:lnTo>
                  <a:lnTo>
                    <a:pt x="2517" y="686"/>
                  </a:lnTo>
                  <a:lnTo>
                    <a:pt x="2517" y="686"/>
                  </a:lnTo>
                  <a:lnTo>
                    <a:pt x="2517" y="685"/>
                  </a:lnTo>
                  <a:lnTo>
                    <a:pt x="2517" y="685"/>
                  </a:lnTo>
                  <a:lnTo>
                    <a:pt x="2516" y="684"/>
                  </a:lnTo>
                  <a:lnTo>
                    <a:pt x="2516" y="684"/>
                  </a:lnTo>
                  <a:lnTo>
                    <a:pt x="2516" y="685"/>
                  </a:lnTo>
                  <a:lnTo>
                    <a:pt x="2516" y="685"/>
                  </a:lnTo>
                  <a:lnTo>
                    <a:pt x="2515" y="685"/>
                  </a:lnTo>
                  <a:lnTo>
                    <a:pt x="2515" y="685"/>
                  </a:lnTo>
                  <a:lnTo>
                    <a:pt x="2514" y="685"/>
                  </a:lnTo>
                  <a:lnTo>
                    <a:pt x="2514" y="685"/>
                  </a:lnTo>
                  <a:lnTo>
                    <a:pt x="2513" y="685"/>
                  </a:lnTo>
                  <a:lnTo>
                    <a:pt x="2513" y="685"/>
                  </a:lnTo>
                  <a:lnTo>
                    <a:pt x="2511" y="684"/>
                  </a:lnTo>
                  <a:lnTo>
                    <a:pt x="2511" y="684"/>
                  </a:lnTo>
                  <a:lnTo>
                    <a:pt x="2510" y="684"/>
                  </a:lnTo>
                  <a:lnTo>
                    <a:pt x="2510" y="684"/>
                  </a:lnTo>
                  <a:lnTo>
                    <a:pt x="2510" y="684"/>
                  </a:lnTo>
                  <a:lnTo>
                    <a:pt x="2509" y="684"/>
                  </a:lnTo>
                  <a:lnTo>
                    <a:pt x="2508" y="684"/>
                  </a:lnTo>
                  <a:lnTo>
                    <a:pt x="2507" y="684"/>
                  </a:lnTo>
                  <a:lnTo>
                    <a:pt x="2507" y="684"/>
                  </a:lnTo>
                  <a:lnTo>
                    <a:pt x="2506" y="683"/>
                  </a:lnTo>
                  <a:lnTo>
                    <a:pt x="2506" y="683"/>
                  </a:lnTo>
                  <a:lnTo>
                    <a:pt x="2506" y="682"/>
                  </a:lnTo>
                  <a:lnTo>
                    <a:pt x="2506" y="681"/>
                  </a:lnTo>
                  <a:lnTo>
                    <a:pt x="2507" y="681"/>
                  </a:lnTo>
                  <a:lnTo>
                    <a:pt x="2507" y="681"/>
                  </a:lnTo>
                  <a:lnTo>
                    <a:pt x="2508" y="680"/>
                  </a:lnTo>
                  <a:lnTo>
                    <a:pt x="2509" y="680"/>
                  </a:lnTo>
                  <a:lnTo>
                    <a:pt x="2509" y="680"/>
                  </a:lnTo>
                  <a:lnTo>
                    <a:pt x="2510" y="680"/>
                  </a:lnTo>
                  <a:lnTo>
                    <a:pt x="2511" y="680"/>
                  </a:lnTo>
                  <a:lnTo>
                    <a:pt x="2511" y="680"/>
                  </a:lnTo>
                  <a:lnTo>
                    <a:pt x="2511" y="681"/>
                  </a:lnTo>
                  <a:lnTo>
                    <a:pt x="2511" y="682"/>
                  </a:lnTo>
                  <a:lnTo>
                    <a:pt x="2511" y="682"/>
                  </a:lnTo>
                  <a:lnTo>
                    <a:pt x="2511" y="683"/>
                  </a:lnTo>
                  <a:lnTo>
                    <a:pt x="2513" y="683"/>
                  </a:lnTo>
                  <a:lnTo>
                    <a:pt x="2513" y="682"/>
                  </a:lnTo>
                  <a:lnTo>
                    <a:pt x="2513" y="682"/>
                  </a:lnTo>
                  <a:lnTo>
                    <a:pt x="2513" y="681"/>
                  </a:lnTo>
                  <a:lnTo>
                    <a:pt x="2513" y="681"/>
                  </a:lnTo>
                  <a:lnTo>
                    <a:pt x="2514" y="681"/>
                  </a:lnTo>
                  <a:lnTo>
                    <a:pt x="2514" y="682"/>
                  </a:lnTo>
                  <a:lnTo>
                    <a:pt x="2515" y="681"/>
                  </a:lnTo>
                  <a:lnTo>
                    <a:pt x="2515" y="681"/>
                  </a:lnTo>
                  <a:lnTo>
                    <a:pt x="2516" y="681"/>
                  </a:lnTo>
                  <a:lnTo>
                    <a:pt x="2517" y="680"/>
                  </a:lnTo>
                  <a:lnTo>
                    <a:pt x="2517" y="680"/>
                  </a:lnTo>
                  <a:lnTo>
                    <a:pt x="2516" y="680"/>
                  </a:lnTo>
                  <a:lnTo>
                    <a:pt x="2515" y="678"/>
                  </a:lnTo>
                  <a:lnTo>
                    <a:pt x="2514" y="678"/>
                  </a:lnTo>
                  <a:lnTo>
                    <a:pt x="2514" y="677"/>
                  </a:lnTo>
                  <a:lnTo>
                    <a:pt x="2515" y="677"/>
                  </a:lnTo>
                  <a:lnTo>
                    <a:pt x="2516" y="678"/>
                  </a:lnTo>
                  <a:lnTo>
                    <a:pt x="2516" y="678"/>
                  </a:lnTo>
                  <a:lnTo>
                    <a:pt x="2517" y="678"/>
                  </a:lnTo>
                  <a:lnTo>
                    <a:pt x="2517" y="678"/>
                  </a:lnTo>
                  <a:lnTo>
                    <a:pt x="2517" y="680"/>
                  </a:lnTo>
                  <a:lnTo>
                    <a:pt x="2517" y="680"/>
                  </a:lnTo>
                  <a:lnTo>
                    <a:pt x="2517" y="682"/>
                  </a:lnTo>
                  <a:lnTo>
                    <a:pt x="2517" y="682"/>
                  </a:lnTo>
                  <a:lnTo>
                    <a:pt x="2518" y="683"/>
                  </a:lnTo>
                  <a:lnTo>
                    <a:pt x="2518" y="683"/>
                  </a:lnTo>
                  <a:lnTo>
                    <a:pt x="2518" y="683"/>
                  </a:lnTo>
                  <a:lnTo>
                    <a:pt x="2519" y="683"/>
                  </a:lnTo>
                  <a:lnTo>
                    <a:pt x="2521" y="683"/>
                  </a:lnTo>
                  <a:lnTo>
                    <a:pt x="2522" y="683"/>
                  </a:lnTo>
                  <a:lnTo>
                    <a:pt x="2522" y="683"/>
                  </a:lnTo>
                  <a:lnTo>
                    <a:pt x="2523" y="683"/>
                  </a:lnTo>
                  <a:lnTo>
                    <a:pt x="2523" y="683"/>
                  </a:lnTo>
                  <a:lnTo>
                    <a:pt x="2524" y="683"/>
                  </a:lnTo>
                  <a:lnTo>
                    <a:pt x="2524" y="683"/>
                  </a:lnTo>
                  <a:lnTo>
                    <a:pt x="2524" y="683"/>
                  </a:lnTo>
                  <a:lnTo>
                    <a:pt x="2524" y="685"/>
                  </a:lnTo>
                  <a:close/>
                  <a:moveTo>
                    <a:pt x="2767" y="680"/>
                  </a:moveTo>
                  <a:lnTo>
                    <a:pt x="2767" y="682"/>
                  </a:lnTo>
                  <a:lnTo>
                    <a:pt x="2765" y="684"/>
                  </a:lnTo>
                  <a:lnTo>
                    <a:pt x="2760" y="683"/>
                  </a:lnTo>
                  <a:lnTo>
                    <a:pt x="2754" y="685"/>
                  </a:lnTo>
                  <a:lnTo>
                    <a:pt x="2752" y="683"/>
                  </a:lnTo>
                  <a:lnTo>
                    <a:pt x="2749" y="683"/>
                  </a:lnTo>
                  <a:lnTo>
                    <a:pt x="2744" y="682"/>
                  </a:lnTo>
                  <a:lnTo>
                    <a:pt x="2739" y="683"/>
                  </a:lnTo>
                  <a:lnTo>
                    <a:pt x="2737" y="682"/>
                  </a:lnTo>
                  <a:lnTo>
                    <a:pt x="2731" y="681"/>
                  </a:lnTo>
                  <a:lnTo>
                    <a:pt x="2722" y="682"/>
                  </a:lnTo>
                  <a:lnTo>
                    <a:pt x="2719" y="683"/>
                  </a:lnTo>
                  <a:lnTo>
                    <a:pt x="2718" y="680"/>
                  </a:lnTo>
                  <a:lnTo>
                    <a:pt x="2717" y="683"/>
                  </a:lnTo>
                  <a:lnTo>
                    <a:pt x="2712" y="684"/>
                  </a:lnTo>
                  <a:lnTo>
                    <a:pt x="2710" y="684"/>
                  </a:lnTo>
                  <a:lnTo>
                    <a:pt x="2710" y="686"/>
                  </a:lnTo>
                  <a:lnTo>
                    <a:pt x="2706" y="690"/>
                  </a:lnTo>
                  <a:lnTo>
                    <a:pt x="2704" y="690"/>
                  </a:lnTo>
                  <a:lnTo>
                    <a:pt x="2702" y="692"/>
                  </a:lnTo>
                  <a:lnTo>
                    <a:pt x="2702" y="697"/>
                  </a:lnTo>
                  <a:lnTo>
                    <a:pt x="2698" y="699"/>
                  </a:lnTo>
                  <a:lnTo>
                    <a:pt x="2698" y="701"/>
                  </a:lnTo>
                  <a:lnTo>
                    <a:pt x="2701" y="702"/>
                  </a:lnTo>
                  <a:lnTo>
                    <a:pt x="2700" y="708"/>
                  </a:lnTo>
                  <a:lnTo>
                    <a:pt x="2698" y="708"/>
                  </a:lnTo>
                  <a:lnTo>
                    <a:pt x="2698" y="707"/>
                  </a:lnTo>
                  <a:lnTo>
                    <a:pt x="2697" y="703"/>
                  </a:lnTo>
                  <a:lnTo>
                    <a:pt x="2693" y="699"/>
                  </a:lnTo>
                  <a:lnTo>
                    <a:pt x="2692" y="695"/>
                  </a:lnTo>
                  <a:lnTo>
                    <a:pt x="2693" y="693"/>
                  </a:lnTo>
                  <a:lnTo>
                    <a:pt x="2694" y="691"/>
                  </a:lnTo>
                  <a:lnTo>
                    <a:pt x="2693" y="688"/>
                  </a:lnTo>
                  <a:lnTo>
                    <a:pt x="2695" y="686"/>
                  </a:lnTo>
                  <a:lnTo>
                    <a:pt x="2697" y="685"/>
                  </a:lnTo>
                  <a:lnTo>
                    <a:pt x="2700" y="683"/>
                  </a:lnTo>
                  <a:lnTo>
                    <a:pt x="2702" y="682"/>
                  </a:lnTo>
                  <a:lnTo>
                    <a:pt x="2705" y="681"/>
                  </a:lnTo>
                  <a:lnTo>
                    <a:pt x="2706" y="677"/>
                  </a:lnTo>
                  <a:lnTo>
                    <a:pt x="2711" y="676"/>
                  </a:lnTo>
                  <a:lnTo>
                    <a:pt x="2712" y="677"/>
                  </a:lnTo>
                  <a:lnTo>
                    <a:pt x="2717" y="678"/>
                  </a:lnTo>
                  <a:lnTo>
                    <a:pt x="2722" y="677"/>
                  </a:lnTo>
                  <a:lnTo>
                    <a:pt x="2726" y="677"/>
                  </a:lnTo>
                  <a:lnTo>
                    <a:pt x="2728" y="676"/>
                  </a:lnTo>
                  <a:lnTo>
                    <a:pt x="2730" y="680"/>
                  </a:lnTo>
                  <a:lnTo>
                    <a:pt x="2738" y="680"/>
                  </a:lnTo>
                  <a:lnTo>
                    <a:pt x="2741" y="681"/>
                  </a:lnTo>
                  <a:lnTo>
                    <a:pt x="2744" y="680"/>
                  </a:lnTo>
                  <a:lnTo>
                    <a:pt x="2750" y="678"/>
                  </a:lnTo>
                  <a:lnTo>
                    <a:pt x="2756" y="682"/>
                  </a:lnTo>
                  <a:lnTo>
                    <a:pt x="2762" y="677"/>
                  </a:lnTo>
                  <a:lnTo>
                    <a:pt x="2764" y="680"/>
                  </a:lnTo>
                  <a:lnTo>
                    <a:pt x="2765" y="677"/>
                  </a:lnTo>
                  <a:lnTo>
                    <a:pt x="2769" y="676"/>
                  </a:lnTo>
                  <a:lnTo>
                    <a:pt x="2770" y="680"/>
                  </a:lnTo>
                  <a:lnTo>
                    <a:pt x="2767" y="680"/>
                  </a:lnTo>
                  <a:close/>
                  <a:moveTo>
                    <a:pt x="3189" y="518"/>
                  </a:moveTo>
                  <a:lnTo>
                    <a:pt x="3189" y="520"/>
                  </a:lnTo>
                  <a:lnTo>
                    <a:pt x="3188" y="526"/>
                  </a:lnTo>
                  <a:lnTo>
                    <a:pt x="3188" y="528"/>
                  </a:lnTo>
                  <a:lnTo>
                    <a:pt x="3185" y="534"/>
                  </a:lnTo>
                  <a:lnTo>
                    <a:pt x="3184" y="537"/>
                  </a:lnTo>
                  <a:lnTo>
                    <a:pt x="3184" y="541"/>
                  </a:lnTo>
                  <a:lnTo>
                    <a:pt x="3185" y="545"/>
                  </a:lnTo>
                  <a:lnTo>
                    <a:pt x="3183" y="547"/>
                  </a:lnTo>
                  <a:lnTo>
                    <a:pt x="3181" y="549"/>
                  </a:lnTo>
                  <a:lnTo>
                    <a:pt x="3180" y="553"/>
                  </a:lnTo>
                  <a:lnTo>
                    <a:pt x="3178" y="554"/>
                  </a:lnTo>
                  <a:lnTo>
                    <a:pt x="3178" y="552"/>
                  </a:lnTo>
                  <a:lnTo>
                    <a:pt x="3175" y="551"/>
                  </a:lnTo>
                  <a:lnTo>
                    <a:pt x="3171" y="556"/>
                  </a:lnTo>
                  <a:lnTo>
                    <a:pt x="3174" y="555"/>
                  </a:lnTo>
                  <a:lnTo>
                    <a:pt x="3176" y="556"/>
                  </a:lnTo>
                  <a:lnTo>
                    <a:pt x="3178" y="558"/>
                  </a:lnTo>
                  <a:lnTo>
                    <a:pt x="3174" y="561"/>
                  </a:lnTo>
                  <a:lnTo>
                    <a:pt x="3172" y="561"/>
                  </a:lnTo>
                  <a:lnTo>
                    <a:pt x="3168" y="563"/>
                  </a:lnTo>
                  <a:lnTo>
                    <a:pt x="3167" y="566"/>
                  </a:lnTo>
                  <a:lnTo>
                    <a:pt x="3163" y="570"/>
                  </a:lnTo>
                  <a:lnTo>
                    <a:pt x="3159" y="571"/>
                  </a:lnTo>
                  <a:lnTo>
                    <a:pt x="3157" y="572"/>
                  </a:lnTo>
                  <a:lnTo>
                    <a:pt x="3151" y="574"/>
                  </a:lnTo>
                  <a:lnTo>
                    <a:pt x="3149" y="575"/>
                  </a:lnTo>
                  <a:lnTo>
                    <a:pt x="3147" y="579"/>
                  </a:lnTo>
                  <a:lnTo>
                    <a:pt x="3145" y="578"/>
                  </a:lnTo>
                  <a:lnTo>
                    <a:pt x="3141" y="578"/>
                  </a:lnTo>
                  <a:lnTo>
                    <a:pt x="3140" y="579"/>
                  </a:lnTo>
                  <a:lnTo>
                    <a:pt x="3140" y="580"/>
                  </a:lnTo>
                  <a:lnTo>
                    <a:pt x="3140" y="581"/>
                  </a:lnTo>
                  <a:lnTo>
                    <a:pt x="3137" y="587"/>
                  </a:lnTo>
                  <a:lnTo>
                    <a:pt x="3134" y="589"/>
                  </a:lnTo>
                  <a:lnTo>
                    <a:pt x="3122" y="592"/>
                  </a:lnTo>
                  <a:lnTo>
                    <a:pt x="3120" y="594"/>
                  </a:lnTo>
                  <a:lnTo>
                    <a:pt x="3115" y="594"/>
                  </a:lnTo>
                  <a:lnTo>
                    <a:pt x="3107" y="591"/>
                  </a:lnTo>
                  <a:lnTo>
                    <a:pt x="3110" y="589"/>
                  </a:lnTo>
                  <a:lnTo>
                    <a:pt x="3115" y="588"/>
                  </a:lnTo>
                  <a:lnTo>
                    <a:pt x="3117" y="588"/>
                  </a:lnTo>
                  <a:lnTo>
                    <a:pt x="3120" y="587"/>
                  </a:lnTo>
                  <a:lnTo>
                    <a:pt x="3122" y="587"/>
                  </a:lnTo>
                  <a:lnTo>
                    <a:pt x="3125" y="586"/>
                  </a:lnTo>
                  <a:lnTo>
                    <a:pt x="3131" y="582"/>
                  </a:lnTo>
                  <a:lnTo>
                    <a:pt x="3134" y="577"/>
                  </a:lnTo>
                  <a:lnTo>
                    <a:pt x="3137" y="574"/>
                  </a:lnTo>
                  <a:lnTo>
                    <a:pt x="3142" y="572"/>
                  </a:lnTo>
                  <a:lnTo>
                    <a:pt x="3145" y="570"/>
                  </a:lnTo>
                  <a:lnTo>
                    <a:pt x="3148" y="566"/>
                  </a:lnTo>
                  <a:lnTo>
                    <a:pt x="3148" y="564"/>
                  </a:lnTo>
                  <a:lnTo>
                    <a:pt x="3150" y="562"/>
                  </a:lnTo>
                  <a:lnTo>
                    <a:pt x="3156" y="558"/>
                  </a:lnTo>
                  <a:lnTo>
                    <a:pt x="3161" y="553"/>
                  </a:lnTo>
                  <a:lnTo>
                    <a:pt x="3165" y="549"/>
                  </a:lnTo>
                  <a:lnTo>
                    <a:pt x="3168" y="544"/>
                  </a:lnTo>
                  <a:lnTo>
                    <a:pt x="3171" y="541"/>
                  </a:lnTo>
                  <a:lnTo>
                    <a:pt x="3171" y="539"/>
                  </a:lnTo>
                  <a:lnTo>
                    <a:pt x="3173" y="537"/>
                  </a:lnTo>
                  <a:lnTo>
                    <a:pt x="3174" y="535"/>
                  </a:lnTo>
                  <a:lnTo>
                    <a:pt x="3176" y="529"/>
                  </a:lnTo>
                  <a:lnTo>
                    <a:pt x="3180" y="526"/>
                  </a:lnTo>
                  <a:lnTo>
                    <a:pt x="3180" y="523"/>
                  </a:lnTo>
                  <a:lnTo>
                    <a:pt x="3180" y="520"/>
                  </a:lnTo>
                  <a:lnTo>
                    <a:pt x="3181" y="518"/>
                  </a:lnTo>
                  <a:lnTo>
                    <a:pt x="3185" y="513"/>
                  </a:lnTo>
                  <a:lnTo>
                    <a:pt x="3189" y="514"/>
                  </a:lnTo>
                  <a:lnTo>
                    <a:pt x="3185" y="513"/>
                  </a:lnTo>
                  <a:lnTo>
                    <a:pt x="3189" y="513"/>
                  </a:lnTo>
                  <a:lnTo>
                    <a:pt x="3190" y="514"/>
                  </a:lnTo>
                  <a:lnTo>
                    <a:pt x="3189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884713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8115627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Graphik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Drag picture to placeholder or click icon to add, then ‘Send to Back’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GB"/>
              <a:t>Place sub-headline here in GT Sectra Fine </a:t>
            </a:r>
            <a:r>
              <a:rPr lang="en-GB" err="1"/>
              <a:t>Rg</a:t>
            </a:r>
            <a:r>
              <a:rPr lang="en-GB"/>
              <a:t> 24pt, indent for other levels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bullet 18pt</a:t>
            </a:r>
          </a:p>
          <a:p>
            <a:pPr lvl="3"/>
            <a:r>
              <a:rPr lang="en-GB"/>
              <a:t>Fourth level bullet 16pt</a:t>
            </a:r>
          </a:p>
          <a:p>
            <a:pPr lvl="4"/>
            <a:r>
              <a:rPr lang="en-GB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5EB3E03B-7CA0-42DC-80B4-DFDDE28AFC8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52972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w/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AAFEEB0-341F-4500-B98B-B8BCF8E8927F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1AC70C-74C6-4F80-AC42-3E4A407429D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D33F5D-E5AF-4F70-8B10-36E172463A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00" y="346108"/>
            <a:ext cx="7524801" cy="4985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DB6CF34-CD6E-459F-80DF-0FD49107B5FB}"/>
              </a:ext>
            </a:extLst>
          </p:cNvPr>
          <p:cNvSpPr>
            <a:spLocks noGrp="1"/>
          </p:cNvSpPr>
          <p:nvPr>
            <p:ph type="tbl" sz="quarter" idx="54"/>
          </p:nvPr>
        </p:nvSpPr>
        <p:spPr>
          <a:xfrm>
            <a:off x="381001" y="1717675"/>
            <a:ext cx="7493000" cy="4327525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CA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DE891729-9EA8-488D-8B96-300F4A9FA42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567530" y="-1"/>
            <a:ext cx="3624470" cy="6045199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</p:spTree>
    <p:extLst>
      <p:ext uri="{BB962C8B-B14F-4D97-AF65-F5344CB8AC3E}">
        <p14:creationId xmlns:p14="http://schemas.microsoft.com/office/powerpoint/2010/main" val="3899778587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w/t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3972654-E904-1743-9097-EC811E0E98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4088914" y="0"/>
            <a:ext cx="8103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AAFEEB0-341F-4500-B98B-B8BCF8E8927F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1AC70C-74C6-4F80-AC42-3E4A407429D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D33F5D-E5AF-4F70-8B10-36E172463A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6467" y="346108"/>
            <a:ext cx="7524801" cy="4985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B9950539-D418-1249-A6C0-54A4B120309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586467" y="738750"/>
            <a:ext cx="6490836" cy="587441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4693297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w/t Sub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23F959-0C02-424E-8F54-5C33D9439E21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8C37BF-BB95-40B4-838B-2E48FCD53BAD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F0A02FF-F468-4DF7-B639-3F513C135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00" y="346108"/>
            <a:ext cx="7524801" cy="4985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477317F9-9874-2B41-969B-D857E46777C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3600" y="784800"/>
            <a:ext cx="7510401" cy="884070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to the baseline of the title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DB6CF34-CD6E-459F-80DF-0FD49107B5FB}"/>
              </a:ext>
            </a:extLst>
          </p:cNvPr>
          <p:cNvSpPr>
            <a:spLocks noGrp="1"/>
          </p:cNvSpPr>
          <p:nvPr>
            <p:ph type="tbl" sz="quarter" idx="54"/>
          </p:nvPr>
        </p:nvSpPr>
        <p:spPr>
          <a:xfrm>
            <a:off x="381001" y="2072070"/>
            <a:ext cx="7493000" cy="397313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CA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DE891729-9EA8-488D-8B96-300F4A9FA42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567530" y="-1"/>
            <a:ext cx="3624470" cy="6045199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</p:spTree>
    <p:extLst>
      <p:ext uri="{BB962C8B-B14F-4D97-AF65-F5344CB8AC3E}">
        <p14:creationId xmlns:p14="http://schemas.microsoft.com/office/powerpoint/2010/main" val="4131485894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1.1 –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D274E69-7B69-4385-946C-6FF0B68DB8B5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  <a:endParaRPr lang="en-AU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19E2DBE-8B18-4E2E-AE9F-7700CC37B66E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B4999-EAA8-4CA8-A67B-BC7BA786AC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 3">
            <a:extLst>
              <a:ext uri="{FF2B5EF4-FFF2-40B4-BE49-F238E27FC236}">
                <a16:creationId xmlns:a16="http://schemas.microsoft.com/office/drawing/2014/main" id="{23C0B527-8DAD-4487-A802-A0755E41DEC8}"/>
              </a:ext>
            </a:extLst>
          </p:cNvPr>
          <p:cNvSpPr>
            <a:spLocks noGrp="1"/>
          </p:cNvSpPr>
          <p:nvPr>
            <p:ph type="tbl" sz="quarter" idx="39"/>
          </p:nvPr>
        </p:nvSpPr>
        <p:spPr>
          <a:xfrm>
            <a:off x="374360" y="1828801"/>
            <a:ext cx="11435053" cy="4227512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31953643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1.1 –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5619EE-59D7-4B9D-863A-EE544C6F8CFA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410333-FC2D-44E8-ABAD-5A7E593022C3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4F3D8C2-93E4-4AAA-B4F2-182543BC83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245" y="1335323"/>
            <a:ext cx="3962401" cy="151157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minimum 36 </a:t>
            </a:r>
            <a:r>
              <a:rPr lang="en-US" err="1"/>
              <a:t>pt</a:t>
            </a:r>
            <a:r>
              <a:rPr lang="en-US"/>
              <a:t> max 3 lines</a:t>
            </a:r>
            <a:endParaRPr lang="en-GB"/>
          </a:p>
        </p:txBody>
      </p:sp>
      <p:sp>
        <p:nvSpPr>
          <p:cNvPr id="10" name="Intro">
            <a:extLst>
              <a:ext uri="{FF2B5EF4-FFF2-40B4-BE49-F238E27FC236}">
                <a16:creationId xmlns:a16="http://schemas.microsoft.com/office/drawing/2014/main" id="{AA5E0EF5-69CD-41AF-B569-DBF3F6FC77F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59206" y="2847703"/>
            <a:ext cx="3957207" cy="3225388"/>
          </a:xfrm>
        </p:spPr>
        <p:txBody>
          <a:bodyPr tIns="28800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800"/>
            </a:lvl2pPr>
            <a:lvl3pPr marL="360000" indent="-180000">
              <a:defRPr sz="1600"/>
            </a:lvl3pPr>
            <a:lvl4pPr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360000" lvl="3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33"/>
          </p:nvPr>
        </p:nvSpPr>
        <p:spPr>
          <a:xfrm>
            <a:off x="4922838" y="1443038"/>
            <a:ext cx="6886575" cy="4602162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11844758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1.1 – One chart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y BG">
            <a:extLst>
              <a:ext uri="{FF2B5EF4-FFF2-40B4-BE49-F238E27FC236}">
                <a16:creationId xmlns:a16="http://schemas.microsoft.com/office/drawing/2014/main" id="{0701F613-758A-4A4F-B028-530A6A2341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37276" y="0"/>
            <a:ext cx="765472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26978A-7D98-463D-B9B1-47CC26AC8E29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CA9204-E9A0-4986-B8FC-EF6CC163E538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46FF8C9B-4BA7-4F4F-8F5E-25A0572691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245" y="1335323"/>
            <a:ext cx="3962401" cy="151157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minimum 36 </a:t>
            </a:r>
            <a:r>
              <a:rPr lang="en-US" err="1"/>
              <a:t>pt</a:t>
            </a:r>
            <a:r>
              <a:rPr lang="en-US"/>
              <a:t> max 3 lines</a:t>
            </a:r>
            <a:endParaRPr lang="en-GB"/>
          </a:p>
        </p:txBody>
      </p:sp>
      <p:sp>
        <p:nvSpPr>
          <p:cNvPr id="11" name="Intro">
            <a:extLst>
              <a:ext uri="{FF2B5EF4-FFF2-40B4-BE49-F238E27FC236}">
                <a16:creationId xmlns:a16="http://schemas.microsoft.com/office/drawing/2014/main" id="{160F2AF5-03AA-4256-9CD6-96FA0CAC02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59206" y="2847703"/>
            <a:ext cx="3957207" cy="3225388"/>
          </a:xfrm>
        </p:spPr>
        <p:txBody>
          <a:bodyPr tIns="28800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800"/>
            </a:lvl2pPr>
            <a:lvl3pPr marL="360000" indent="-180000">
              <a:defRPr sz="1600"/>
            </a:lvl3pPr>
            <a:lvl4pPr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360000" lvl="3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33"/>
          </p:nvPr>
        </p:nvSpPr>
        <p:spPr>
          <a:xfrm>
            <a:off x="4922838" y="1443038"/>
            <a:ext cx="6886575" cy="4602162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347028819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1.2 –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19A28F-A79A-46EC-88FE-E17C1967B6B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A4679F-74A6-401D-A949-BC34C4A5FB81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6" name="Title 6">
            <a:extLst>
              <a:ext uri="{FF2B5EF4-FFF2-40B4-BE49-F238E27FC236}">
                <a16:creationId xmlns:a16="http://schemas.microsoft.com/office/drawing/2014/main" id="{D9F4D5AD-B81B-4A68-B253-D8F4236DD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245" y="711817"/>
            <a:ext cx="3995617" cy="151157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minimum 36 </a:t>
            </a:r>
            <a:r>
              <a:rPr lang="en-US" err="1"/>
              <a:t>pt</a:t>
            </a:r>
            <a:r>
              <a:rPr lang="en-US"/>
              <a:t> max 3 lines</a:t>
            </a:r>
            <a:endParaRPr lang="en-GB"/>
          </a:p>
        </p:txBody>
      </p:sp>
      <p:sp>
        <p:nvSpPr>
          <p:cNvPr id="19" name="Intro">
            <a:extLst>
              <a:ext uri="{FF2B5EF4-FFF2-40B4-BE49-F238E27FC236}">
                <a16:creationId xmlns:a16="http://schemas.microsoft.com/office/drawing/2014/main" id="{69E4B6A9-DE5F-4B96-B2FD-5D1C783EDEB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59206" y="2223390"/>
            <a:ext cx="3990379" cy="3821810"/>
          </a:xfrm>
        </p:spPr>
        <p:txBody>
          <a:bodyPr tIns="28800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800"/>
            </a:lvl2pPr>
            <a:lvl3pPr marL="360000" indent="-180000">
              <a:defRPr sz="1600"/>
            </a:lvl3pPr>
            <a:lvl4pPr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360000" lvl="3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</p:txBody>
      </p:sp>
      <p:sp>
        <p:nvSpPr>
          <p:cNvPr id="8" name="Chart Placeholder 1">
            <a:extLst>
              <a:ext uri="{FF2B5EF4-FFF2-40B4-BE49-F238E27FC236}">
                <a16:creationId xmlns:a16="http://schemas.microsoft.com/office/drawing/2014/main" id="{1EDC7A07-DD9E-43B1-A097-7057C5337015}"/>
              </a:ext>
            </a:extLst>
          </p:cNvPr>
          <p:cNvSpPr>
            <a:spLocks noGrp="1" noChangeAspect="1"/>
          </p:cNvSpPr>
          <p:nvPr>
            <p:ph type="chart" sz="quarter" idx="37"/>
          </p:nvPr>
        </p:nvSpPr>
        <p:spPr>
          <a:xfrm>
            <a:off x="4994006" y="714881"/>
            <a:ext cx="1656000" cy="165600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5E9DA5B5-A33D-4295-984D-C1ECB0A875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814006" y="2508786"/>
            <a:ext cx="2016000" cy="648000"/>
          </a:xfrm>
        </p:spPr>
        <p:txBody>
          <a:bodyPr anchor="t"/>
          <a:lstStyle>
            <a:lvl1pPr algn="ctr">
              <a:spcBef>
                <a:spcPts val="0"/>
              </a:spcBef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text maximum </a:t>
            </a:r>
            <a:br>
              <a:rPr lang="en-US"/>
            </a:br>
            <a:r>
              <a:rPr lang="en-US"/>
              <a:t>3 lines, minimum 14pt with single line spacing</a:t>
            </a:r>
          </a:p>
        </p:txBody>
      </p:sp>
      <p:sp>
        <p:nvSpPr>
          <p:cNvPr id="12" name="Chart Placeholder 2">
            <a:extLst>
              <a:ext uri="{FF2B5EF4-FFF2-40B4-BE49-F238E27FC236}">
                <a16:creationId xmlns:a16="http://schemas.microsoft.com/office/drawing/2014/main" id="{A8E36424-CB6B-4351-94B1-8C00A40EF549}"/>
              </a:ext>
            </a:extLst>
          </p:cNvPr>
          <p:cNvSpPr>
            <a:spLocks noGrp="1" noChangeAspect="1"/>
          </p:cNvSpPr>
          <p:nvPr>
            <p:ph type="chart" sz="quarter" idx="46"/>
          </p:nvPr>
        </p:nvSpPr>
        <p:spPr>
          <a:xfrm>
            <a:off x="7482816" y="714881"/>
            <a:ext cx="1656000" cy="165600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989B54D-209A-40C5-9EE6-40A0DF4DA9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302816" y="2508786"/>
            <a:ext cx="2016000" cy="648000"/>
          </a:xfrm>
        </p:spPr>
        <p:txBody>
          <a:bodyPr anchor="t"/>
          <a:lstStyle>
            <a:lvl1pPr algn="ctr">
              <a:spcBef>
                <a:spcPts val="0"/>
              </a:spcBef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text maximum </a:t>
            </a:r>
            <a:br>
              <a:rPr lang="en-US"/>
            </a:br>
            <a:r>
              <a:rPr lang="en-US"/>
              <a:t>3 lines, minimum 14pt with single line spacing</a:t>
            </a:r>
          </a:p>
        </p:txBody>
      </p:sp>
      <p:sp>
        <p:nvSpPr>
          <p:cNvPr id="16" name="Chart Placeholder 3">
            <a:extLst>
              <a:ext uri="{FF2B5EF4-FFF2-40B4-BE49-F238E27FC236}">
                <a16:creationId xmlns:a16="http://schemas.microsoft.com/office/drawing/2014/main" id="{A5F814F9-1624-48F0-AADA-CD4AA6742C8A}"/>
              </a:ext>
            </a:extLst>
          </p:cNvPr>
          <p:cNvSpPr>
            <a:spLocks noGrp="1" noChangeAspect="1"/>
          </p:cNvSpPr>
          <p:nvPr>
            <p:ph type="chart" sz="quarter" idx="48"/>
          </p:nvPr>
        </p:nvSpPr>
        <p:spPr>
          <a:xfrm>
            <a:off x="9971626" y="714881"/>
            <a:ext cx="1656000" cy="165600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8DC8DB0-79EF-4DD9-944D-25643984DA1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791626" y="2508786"/>
            <a:ext cx="2016000" cy="648000"/>
          </a:xfrm>
        </p:spPr>
        <p:txBody>
          <a:bodyPr anchor="t"/>
          <a:lstStyle>
            <a:lvl1pPr algn="ctr">
              <a:spcBef>
                <a:spcPts val="0"/>
              </a:spcBef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text maximum </a:t>
            </a:r>
            <a:br>
              <a:rPr lang="en-US"/>
            </a:br>
            <a:r>
              <a:rPr lang="en-US"/>
              <a:t>3 lines, minimum 14pt with single line spacing</a:t>
            </a:r>
          </a:p>
        </p:txBody>
      </p:sp>
      <p:sp>
        <p:nvSpPr>
          <p:cNvPr id="20" name="Chart Placeholder 4">
            <a:extLst>
              <a:ext uri="{FF2B5EF4-FFF2-40B4-BE49-F238E27FC236}">
                <a16:creationId xmlns:a16="http://schemas.microsoft.com/office/drawing/2014/main" id="{9B6555CE-AB4C-428F-8187-FFDE6E88A07C}"/>
              </a:ext>
            </a:extLst>
          </p:cNvPr>
          <p:cNvSpPr>
            <a:spLocks noGrp="1" noChangeAspect="1"/>
          </p:cNvSpPr>
          <p:nvPr>
            <p:ph type="chart" sz="quarter" idx="50"/>
          </p:nvPr>
        </p:nvSpPr>
        <p:spPr>
          <a:xfrm>
            <a:off x="4994006" y="3620392"/>
            <a:ext cx="1656000" cy="165600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D7DCDA56-2896-4F73-8DBC-3DB4E3A4C9F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814006" y="5396025"/>
            <a:ext cx="2016000" cy="648000"/>
          </a:xfrm>
        </p:spPr>
        <p:txBody>
          <a:bodyPr anchor="t"/>
          <a:lstStyle>
            <a:lvl1pPr algn="ctr">
              <a:spcBef>
                <a:spcPts val="0"/>
              </a:spcBef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text maximum </a:t>
            </a:r>
            <a:br>
              <a:rPr lang="en-US"/>
            </a:br>
            <a:r>
              <a:rPr lang="en-US"/>
              <a:t>3 lines, minimum 14pt with single line spacing</a:t>
            </a:r>
          </a:p>
        </p:txBody>
      </p:sp>
      <p:sp>
        <p:nvSpPr>
          <p:cNvPr id="22" name="Chart Placeholder 5">
            <a:extLst>
              <a:ext uri="{FF2B5EF4-FFF2-40B4-BE49-F238E27FC236}">
                <a16:creationId xmlns:a16="http://schemas.microsoft.com/office/drawing/2014/main" id="{96FC2006-D20C-4561-A4D6-A5AC4094BE11}"/>
              </a:ext>
            </a:extLst>
          </p:cNvPr>
          <p:cNvSpPr>
            <a:spLocks noGrp="1" noChangeAspect="1"/>
          </p:cNvSpPr>
          <p:nvPr>
            <p:ph type="chart" sz="quarter" idx="52"/>
          </p:nvPr>
        </p:nvSpPr>
        <p:spPr>
          <a:xfrm>
            <a:off x="7482816" y="3620392"/>
            <a:ext cx="1656000" cy="165600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CABDC7F3-D7EC-46CE-8058-595C3628D4E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302816" y="5396025"/>
            <a:ext cx="2016000" cy="648000"/>
          </a:xfrm>
        </p:spPr>
        <p:txBody>
          <a:bodyPr anchor="t"/>
          <a:lstStyle>
            <a:lvl1pPr algn="ctr">
              <a:spcBef>
                <a:spcPts val="0"/>
              </a:spcBef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text maximum </a:t>
            </a:r>
            <a:br>
              <a:rPr lang="en-US"/>
            </a:br>
            <a:r>
              <a:rPr lang="en-US"/>
              <a:t>3 lines, minimum 14pt with single line spacing</a:t>
            </a:r>
          </a:p>
        </p:txBody>
      </p:sp>
      <p:sp>
        <p:nvSpPr>
          <p:cNvPr id="24" name="Chart Placeholder 6">
            <a:extLst>
              <a:ext uri="{FF2B5EF4-FFF2-40B4-BE49-F238E27FC236}">
                <a16:creationId xmlns:a16="http://schemas.microsoft.com/office/drawing/2014/main" id="{7E98F290-4488-4839-A42A-C70484EB265C}"/>
              </a:ext>
            </a:extLst>
          </p:cNvPr>
          <p:cNvSpPr>
            <a:spLocks noGrp="1" noChangeAspect="1"/>
          </p:cNvSpPr>
          <p:nvPr>
            <p:ph type="chart" sz="quarter" idx="54"/>
          </p:nvPr>
        </p:nvSpPr>
        <p:spPr>
          <a:xfrm>
            <a:off x="9971626" y="3620392"/>
            <a:ext cx="1656000" cy="165600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EA123460-278D-4C63-9D12-B5FC5D60E4C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791626" y="5396025"/>
            <a:ext cx="2016000" cy="648000"/>
          </a:xfrm>
        </p:spPr>
        <p:txBody>
          <a:bodyPr anchor="t"/>
          <a:lstStyle>
            <a:lvl1pPr algn="ctr">
              <a:spcBef>
                <a:spcPts val="0"/>
              </a:spcBef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text maximum </a:t>
            </a:r>
            <a:br>
              <a:rPr lang="en-US"/>
            </a:br>
            <a:r>
              <a:rPr lang="en-US"/>
              <a:t>3 lines, minimum 14pt with single line spacing</a:t>
            </a:r>
          </a:p>
        </p:txBody>
      </p:sp>
    </p:spTree>
    <p:extLst>
      <p:ext uri="{BB962C8B-B14F-4D97-AF65-F5344CB8AC3E}">
        <p14:creationId xmlns:p14="http://schemas.microsoft.com/office/powerpoint/2010/main" val="3359609883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  – Text Righ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4FC421-919A-4F21-A5A0-C1F09ED5CD2A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90053B-9AB4-4411-9620-4EDD2AEE90C0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E9E677-7C6B-462C-9193-311E902B7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37D0EF96-F051-4DA4-BC1C-D578FBB733D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3600" y="1278000"/>
            <a:ext cx="11431413" cy="514738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to the baseline of the title</a:t>
            </a:r>
          </a:p>
        </p:txBody>
      </p: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D3DAF70B-8C92-4544-B91D-D518DEF7284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8657974" y="1828800"/>
            <a:ext cx="3151439" cy="4220449"/>
          </a:xfrm>
        </p:spPr>
        <p:txBody>
          <a:bodyPr tIns="108000" bIns="108000"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360000" indent="-180000">
              <a:buFont typeface="Graphik" panose="020B0503030202060203" pitchFamily="34" charset="0"/>
              <a:buChar char="–"/>
              <a:defRPr sz="1600"/>
            </a:lvl3pPr>
            <a:lvl4pPr marL="543600" indent="-180000"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2" name="Line">
            <a:extLst>
              <a:ext uri="{FF2B5EF4-FFF2-40B4-BE49-F238E27FC236}">
                <a16:creationId xmlns:a16="http://schemas.microsoft.com/office/drawing/2014/main" id="{D1CD3F75-A95D-4774-A2BB-F9563AF2FF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657974" y="1828800"/>
            <a:ext cx="3151439" cy="4227513"/>
            <a:chOff x="8657974" y="1828800"/>
            <a:chExt cx="3151439" cy="4227513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E7C6D398-C78C-4288-B68D-86B4307F7BC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57974" y="1828800"/>
              <a:ext cx="3151439" cy="0"/>
            </a:xfrm>
            <a:prstGeom prst="line">
              <a:avLst/>
            </a:prstGeom>
            <a:ln w="1270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B1B95573-3DCE-4A97-A105-B69387496D4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57974" y="6056313"/>
              <a:ext cx="3151439" cy="0"/>
            </a:xfrm>
            <a:prstGeom prst="line">
              <a:avLst/>
            </a:prstGeom>
            <a:ln w="1270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33933031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(space) – w/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BCF5740-817D-430F-8B2E-6B45B18D11AA}"/>
              </a:ext>
            </a:extLst>
          </p:cNvPr>
          <p:cNvSpPr>
            <a:spLocks noGrp="1"/>
          </p:cNvSpPr>
          <p:nvPr>
            <p:ph type="ftr" sz="quarter" idx="52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B50E62-76D6-4327-AA12-E992CF8E1897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Second level headline">
            <a:extLst>
              <a:ext uri="{FF2B5EF4-FFF2-40B4-BE49-F238E27FC236}">
                <a16:creationId xmlns:a16="http://schemas.microsoft.com/office/drawing/2014/main" id="{1A56F09B-6F9B-4C04-904E-5E72DF390119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63600" y="334800"/>
            <a:ext cx="6508150" cy="537034"/>
          </a:xfrm>
        </p:spPr>
        <p:txBody>
          <a:bodyPr wrap="square" bIns="288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Graphik Medium" panose="020B0603030202060203" pitchFamily="34" charset="0"/>
              </a:defRPr>
            </a:lvl1pPr>
            <a:lvl2pPr>
              <a:defRPr sz="2800">
                <a:latin typeface="Graphik Semibold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444F9C4-0633-4AA2-81D4-06E89770D0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200" y="835200"/>
            <a:ext cx="6625532" cy="4985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 </a:t>
            </a:r>
            <a:endParaRPr lang="en-CA"/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F744A75B-AE34-441A-815E-BFBC8EBABF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2586" y="1474136"/>
            <a:ext cx="6507163" cy="763200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BEA90CF4-FB92-4723-8C42-296E4C800FB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 flipH="1">
            <a:off x="7267574" y="0"/>
            <a:ext cx="4924426" cy="6045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</p:spTree>
    <p:extLst>
      <p:ext uri="{BB962C8B-B14F-4D97-AF65-F5344CB8AC3E}">
        <p14:creationId xmlns:p14="http://schemas.microsoft.com/office/powerpoint/2010/main" val="762784677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– Gray Rect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E2FC3FA-5022-4D9B-B5B8-6D79A4AEA266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6566C4-67D9-4392-95A7-4B04632A6568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0119807B-39A9-41FD-8CD3-CD67C006211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3600" y="784800"/>
            <a:ext cx="11445813" cy="551090"/>
          </a:xfrm>
          <a:prstGeom prst="rect">
            <a:avLst/>
          </a:prstGeom>
        </p:spPr>
        <p:txBody>
          <a:bodyPr wrap="square" lIns="0" tIns="180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to the baseline of the title</a:t>
            </a:r>
          </a:p>
        </p:txBody>
      </p:sp>
      <p:sp>
        <p:nvSpPr>
          <p:cNvPr id="6" name="Gray Rectangle">
            <a:extLst>
              <a:ext uri="{FF2B5EF4-FFF2-40B4-BE49-F238E27FC236}">
                <a16:creationId xmlns:a16="http://schemas.microsoft.com/office/drawing/2014/main" id="{E599EE75-4B26-4B83-A3B5-0A8CD768CC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3333750" y="1919898"/>
            <a:ext cx="8858247" cy="41253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E90F5AB7-D883-4612-B43A-84D61E0E31D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63538" y="1919898"/>
            <a:ext cx="2662237" cy="4125302"/>
          </a:xfrm>
        </p:spPr>
        <p:txBody>
          <a:bodyPr anchor="ctr"/>
          <a:lstStyle>
            <a:lvl1pPr>
              <a:spcBef>
                <a:spcPts val="3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954673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Graphik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Graphik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Graphik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Place sub-headline here in GT Sectra Fine </a:t>
            </a:r>
            <a:r>
              <a:rPr lang="en-GB" err="1"/>
              <a:t>Rg</a:t>
            </a:r>
            <a:r>
              <a:rPr lang="en-GB"/>
              <a:t> 24pt, indent for other levels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bullet 18pt</a:t>
            </a:r>
          </a:p>
          <a:p>
            <a:pPr lvl="3"/>
            <a:r>
              <a:rPr lang="en-GB"/>
              <a:t>Fourth level bullet 16pt</a:t>
            </a:r>
          </a:p>
          <a:p>
            <a:pPr lvl="4"/>
            <a:r>
              <a:rPr lang="en-GB"/>
              <a:t>Fifth level bullet 16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GTS_Purple" descr="Accenture Greater Than symbol in white">
            <a:extLst>
              <a:ext uri="{FF2B5EF4-FFF2-40B4-BE49-F238E27FC236}">
                <a16:creationId xmlns:a16="http://schemas.microsoft.com/office/drawing/2014/main" id="{7F47EA7B-6E02-45C5-BF54-F4D63DCF9834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22453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– 2nd Leve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Gray">
            <a:extLst>
              <a:ext uri="{FF2B5EF4-FFF2-40B4-BE49-F238E27FC236}">
                <a16:creationId xmlns:a16="http://schemas.microsoft.com/office/drawing/2014/main" id="{E599EE75-4B26-4B83-A3B5-0A8CD768CC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3333750" y="1919898"/>
            <a:ext cx="8858247" cy="41253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E2FC3FA-5022-4D9B-B5B8-6D79A4AEA266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6566C4-67D9-4392-95A7-4B04632A6568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econd level headline">
            <a:extLst>
              <a:ext uri="{FF2B5EF4-FFF2-40B4-BE49-F238E27FC236}">
                <a16:creationId xmlns:a16="http://schemas.microsoft.com/office/drawing/2014/main" id="{A623B660-D87C-4867-8549-C5AEDBB4D91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63600" y="334800"/>
            <a:ext cx="11426400" cy="537034"/>
          </a:xfrm>
        </p:spPr>
        <p:txBody>
          <a:bodyPr bIns="288000">
            <a:spAutoFit/>
          </a:bodyPr>
          <a:lstStyle>
            <a:lvl1pPr>
              <a:spcBef>
                <a:spcPts val="0"/>
              </a:spcBef>
              <a:defRPr sz="1600" b="0">
                <a:solidFill>
                  <a:schemeClr val="tx1"/>
                </a:solidFill>
                <a:latin typeface="Graphik Medium" panose="020B0603030202060203" pitchFamily="34" charset="0"/>
              </a:defRPr>
            </a:lvl1pPr>
            <a:lvl2pPr>
              <a:defRPr sz="2800">
                <a:latin typeface="Graphik Semibold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11" name="Title 6">
            <a:extLst>
              <a:ext uri="{FF2B5EF4-FFF2-40B4-BE49-F238E27FC236}">
                <a16:creationId xmlns:a16="http://schemas.microsoft.com/office/drawing/2014/main" id="{33658FA9-1482-47D2-85CC-B6EDEF0EF8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200" y="835550"/>
            <a:ext cx="11458800" cy="99719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CA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90F5AB7-D883-4612-B43A-84D61E0E31D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63538" y="1919898"/>
            <a:ext cx="2662237" cy="4125302"/>
          </a:xfrm>
        </p:spPr>
        <p:txBody>
          <a:bodyPr anchor="ctr"/>
          <a:lstStyle>
            <a:lvl1pPr>
              <a:spcBef>
                <a:spcPts val="24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919803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F75F791-0044-4427-9767-3066DA05981F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38B1EC-FA17-45DA-8517-D23A942161D3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Gray 1">
            <a:extLst>
              <a:ext uri="{FF2B5EF4-FFF2-40B4-BE49-F238E27FC236}">
                <a16:creationId xmlns:a16="http://schemas.microsoft.com/office/drawing/2014/main" id="{1C23CFBC-6442-4759-A59C-2CB10AF43C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81000" y="1443037"/>
            <a:ext cx="5537201" cy="2647277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 Box Purple">
            <a:extLst>
              <a:ext uri="{FF2B5EF4-FFF2-40B4-BE49-F238E27FC236}">
                <a16:creationId xmlns:a16="http://schemas.microsoft.com/office/drawing/2014/main" id="{EE5FF938-BD38-4163-8EC8-089B55C8DFF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4090315"/>
            <a:ext cx="5537201" cy="464331"/>
          </a:xfrm>
          <a:solidFill>
            <a:schemeClr val="accent1"/>
          </a:solidFill>
          <a:ln>
            <a:noFill/>
          </a:ln>
        </p:spPr>
        <p:txBody>
          <a:bodyPr lIns="216000" tIns="46800" rIns="216000" bIns="7200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AA4403A3-3AD2-490C-B450-19C40F39ABEC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391029" y="4697999"/>
            <a:ext cx="2563309" cy="134402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E29132D9-B810-46B4-9278-82550F944FCA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342191" y="4697999"/>
            <a:ext cx="2563309" cy="134402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Rectangle Gray 2">
            <a:extLst>
              <a:ext uri="{FF2B5EF4-FFF2-40B4-BE49-F238E27FC236}">
                <a16:creationId xmlns:a16="http://schemas.microsoft.com/office/drawing/2014/main" id="{BACF7C92-CCA9-4784-8583-8D2C6766B4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86502" y="1443037"/>
            <a:ext cx="5537201" cy="2647277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 Box Purple 2">
            <a:extLst>
              <a:ext uri="{FF2B5EF4-FFF2-40B4-BE49-F238E27FC236}">
                <a16:creationId xmlns:a16="http://schemas.microsoft.com/office/drawing/2014/main" id="{16307647-6BE4-452B-89C6-CE5C7CA6C378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6286502" y="4090315"/>
            <a:ext cx="5537201" cy="464331"/>
          </a:xfrm>
          <a:solidFill>
            <a:schemeClr val="accent3"/>
          </a:solidFill>
          <a:ln>
            <a:noFill/>
          </a:ln>
        </p:spPr>
        <p:txBody>
          <a:bodyPr lIns="216000" tIns="46800" rIns="216000" bIns="7200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72E88A8-5259-4BE9-BA88-F637FB04900B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6296531" y="4697999"/>
            <a:ext cx="2563309" cy="134402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75D2763-6D2D-4D60-8479-BA0A28633AF0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9247693" y="4697999"/>
            <a:ext cx="2563309" cy="134402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71947114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diagrams – 2nd level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B6A0FC6-C3E6-4883-88F7-A3B9E59D46BD}"/>
              </a:ext>
            </a:extLst>
          </p:cNvPr>
          <p:cNvSpPr>
            <a:spLocks noGrp="1"/>
          </p:cNvSpPr>
          <p:nvPr>
            <p:ph type="ftr" sz="quarter" idx="69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F4BF25-C41B-4B0B-AE30-E45236FBFEE7}"/>
              </a:ext>
            </a:extLst>
          </p:cNvPr>
          <p:cNvSpPr>
            <a:spLocks noGrp="1"/>
          </p:cNvSpPr>
          <p:nvPr>
            <p:ph type="sldNum" sz="quarter" idx="70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Gray 1">
            <a:extLst>
              <a:ext uri="{FF2B5EF4-FFF2-40B4-BE49-F238E27FC236}">
                <a16:creationId xmlns:a16="http://schemas.microsoft.com/office/drawing/2014/main" id="{1C23CFBC-6442-4759-A59C-2CB10AF43C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81000" y="1443037"/>
            <a:ext cx="5537201" cy="2647277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 Box Purple">
            <a:extLst>
              <a:ext uri="{FF2B5EF4-FFF2-40B4-BE49-F238E27FC236}">
                <a16:creationId xmlns:a16="http://schemas.microsoft.com/office/drawing/2014/main" id="{EE5FF938-BD38-4163-8EC8-089B55C8DFF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4090315"/>
            <a:ext cx="5537201" cy="464331"/>
          </a:xfrm>
          <a:solidFill>
            <a:schemeClr val="accent1"/>
          </a:solidFill>
          <a:ln>
            <a:noFill/>
          </a:ln>
        </p:spPr>
        <p:txBody>
          <a:bodyPr lIns="216000" tIns="46800" rIns="216000" bIns="7200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AA4403A3-3AD2-490C-B450-19C40F39ABEC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391029" y="4696691"/>
            <a:ext cx="2563309" cy="1348509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E29132D9-B810-46B4-9278-82550F944FCA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342191" y="4696691"/>
            <a:ext cx="2563309" cy="1348509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Rectangle Gray 2">
            <a:extLst>
              <a:ext uri="{FF2B5EF4-FFF2-40B4-BE49-F238E27FC236}">
                <a16:creationId xmlns:a16="http://schemas.microsoft.com/office/drawing/2014/main" id="{BACF7C92-CCA9-4784-8583-8D2C6766B4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86502" y="1443037"/>
            <a:ext cx="5537201" cy="2647277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 Box Purple 2">
            <a:extLst>
              <a:ext uri="{FF2B5EF4-FFF2-40B4-BE49-F238E27FC236}">
                <a16:creationId xmlns:a16="http://schemas.microsoft.com/office/drawing/2014/main" id="{16307647-6BE4-452B-89C6-CE5C7CA6C378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6286502" y="4090315"/>
            <a:ext cx="5537201" cy="464331"/>
          </a:xfrm>
          <a:solidFill>
            <a:schemeClr val="accent3"/>
          </a:solidFill>
          <a:ln>
            <a:noFill/>
          </a:ln>
        </p:spPr>
        <p:txBody>
          <a:bodyPr lIns="216000" tIns="46800" rIns="216000" bIns="7200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72E88A8-5259-4BE9-BA88-F637FB04900B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6296531" y="4696691"/>
            <a:ext cx="2563309" cy="1348509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75D2763-6D2D-4D60-8479-BA0A28633AF0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9247693" y="4696691"/>
            <a:ext cx="2563309" cy="1348509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Second level headline">
            <a:extLst>
              <a:ext uri="{FF2B5EF4-FFF2-40B4-BE49-F238E27FC236}">
                <a16:creationId xmlns:a16="http://schemas.microsoft.com/office/drawing/2014/main" id="{6D91104C-32C3-4EA6-AD25-C436C9A2313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63600" y="334800"/>
            <a:ext cx="11426400" cy="537034"/>
          </a:xfrm>
        </p:spPr>
        <p:txBody>
          <a:bodyPr bIns="288000">
            <a:spAutoFit/>
          </a:bodyPr>
          <a:lstStyle>
            <a:lvl1pPr>
              <a:spcBef>
                <a:spcPts val="0"/>
              </a:spcBef>
              <a:defRPr sz="1600" b="0">
                <a:solidFill>
                  <a:schemeClr val="tx1"/>
                </a:solidFill>
                <a:latin typeface="Graphik Medium" panose="020B0603030202060203" pitchFamily="34" charset="0"/>
              </a:defRPr>
            </a:lvl1pPr>
            <a:lvl2pPr>
              <a:defRPr sz="2800">
                <a:latin typeface="Graphik Semibold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23" name="Title 6">
            <a:extLst>
              <a:ext uri="{FF2B5EF4-FFF2-40B4-BE49-F238E27FC236}">
                <a16:creationId xmlns:a16="http://schemas.microsoft.com/office/drawing/2014/main" id="{26733C52-56FE-436E-B4BF-5DB251BE9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00" y="835200"/>
            <a:ext cx="11458800" cy="4985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1159654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– Versus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A3F0FC-41E5-4A17-829F-DC008ED00E7E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4572D8-4B76-4C62-8C52-439212F3EB15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White BG">
            <a:extLst>
              <a:ext uri="{FF2B5EF4-FFF2-40B4-BE49-F238E27FC236}">
                <a16:creationId xmlns:a16="http://schemas.microsoft.com/office/drawing/2014/main" id="{AE88B606-76D1-42EE-B178-C0BBE9452F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V="1">
            <a:off x="0" y="0"/>
            <a:ext cx="12192000" cy="52619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0119807B-39A9-41FD-8CD3-CD67C006211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3600" y="784800"/>
            <a:ext cx="11437372" cy="551090"/>
          </a:xfrm>
          <a:prstGeom prst="rect">
            <a:avLst/>
          </a:prstGeom>
        </p:spPr>
        <p:txBody>
          <a:bodyPr wrap="square" lIns="0" tIns="180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to the baseline of the title</a:t>
            </a:r>
          </a:p>
        </p:txBody>
      </p:sp>
      <p:sp>
        <p:nvSpPr>
          <p:cNvPr id="15" name="Subhead">
            <a:extLst>
              <a:ext uri="{FF2B5EF4-FFF2-40B4-BE49-F238E27FC236}">
                <a16:creationId xmlns:a16="http://schemas.microsoft.com/office/drawing/2014/main" id="{4230D05D-FE41-4C48-8BA8-154C80F4211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65875" y="1898568"/>
            <a:ext cx="1764000" cy="1241365"/>
          </a:xfrm>
        </p:spPr>
        <p:txBody>
          <a:bodyPr wrap="square">
            <a:spAutoFit/>
          </a:bodyPr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F9D015A0-A110-4729-B8BF-F537227EB26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596612" y="1898568"/>
            <a:ext cx="2326226" cy="415498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AEBA8EF-8E03-494F-A247-2FFB13FBDC5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596612" y="2538845"/>
            <a:ext cx="2326226" cy="415498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53D0BBB7-2720-4016-A1DF-81F4E52D417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596612" y="3179122"/>
            <a:ext cx="2326226" cy="415498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C533CCFA-6CFE-4408-988D-4E1A2305F91B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596612" y="3819399"/>
            <a:ext cx="2326226" cy="415498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78995F11-4ACA-4114-9627-639BA0ADAE5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596612" y="4459675"/>
            <a:ext cx="2326226" cy="415498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Subhead 2">
            <a:extLst>
              <a:ext uri="{FF2B5EF4-FFF2-40B4-BE49-F238E27FC236}">
                <a16:creationId xmlns:a16="http://schemas.microsoft.com/office/drawing/2014/main" id="{58429D33-B126-40AE-ACF6-B0A36E810AA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0053906" y="1898568"/>
            <a:ext cx="1764000" cy="1241365"/>
          </a:xfrm>
        </p:spPr>
        <p:txBody>
          <a:bodyPr wrap="square">
            <a:spAutoFit/>
          </a:bodyPr>
          <a:lstStyle>
            <a:lvl1pPr algn="r">
              <a:defRPr sz="2000">
                <a:solidFill>
                  <a:schemeClr val="accent2"/>
                </a:solidFill>
                <a:latin typeface="+mj-lt"/>
              </a:defRPr>
            </a:lvl1pPr>
            <a:lvl2pPr algn="r">
              <a:defRPr sz="1400">
                <a:solidFill>
                  <a:schemeClr val="accent2"/>
                </a:solidFill>
              </a:defRPr>
            </a:lvl2pPr>
            <a:lvl3pPr algn="r"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6AA8A781-E3FA-4B6C-B424-F8D38DE6A24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503071" y="1898568"/>
            <a:ext cx="2326226" cy="415498"/>
          </a:xfrm>
        </p:spPr>
        <p:txBody>
          <a:bodyPr wrap="square">
            <a:spAutoFit/>
          </a:bodyPr>
          <a:lstStyle>
            <a:lvl1pPr algn="r">
              <a:spcBef>
                <a:spcPts val="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 algn="r"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6C7B7A08-E14C-4F93-A365-3A7087665A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503071" y="2538845"/>
            <a:ext cx="2326226" cy="415498"/>
          </a:xfrm>
        </p:spPr>
        <p:txBody>
          <a:bodyPr wrap="square">
            <a:spAutoFit/>
          </a:bodyPr>
          <a:lstStyle>
            <a:lvl1pPr algn="r">
              <a:spcBef>
                <a:spcPts val="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 algn="r"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EA752BB0-1280-4D11-9BD5-AD0DE831BDA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503071" y="3179122"/>
            <a:ext cx="2326226" cy="415498"/>
          </a:xfrm>
        </p:spPr>
        <p:txBody>
          <a:bodyPr wrap="square">
            <a:spAutoFit/>
          </a:bodyPr>
          <a:lstStyle>
            <a:lvl1pPr algn="r">
              <a:spcBef>
                <a:spcPts val="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 algn="r"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CFAB4740-E113-4784-9F6A-AFAC15F84AB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503071" y="3819399"/>
            <a:ext cx="2326226" cy="415498"/>
          </a:xfrm>
        </p:spPr>
        <p:txBody>
          <a:bodyPr wrap="square">
            <a:spAutoFit/>
          </a:bodyPr>
          <a:lstStyle>
            <a:lvl1pPr algn="r">
              <a:spcBef>
                <a:spcPts val="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 algn="r"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0848202-3443-462A-A479-E57BAE9E3B4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503071" y="4459675"/>
            <a:ext cx="2326226" cy="415498"/>
          </a:xfrm>
        </p:spPr>
        <p:txBody>
          <a:bodyPr wrap="square">
            <a:spAutoFit/>
          </a:bodyPr>
          <a:lstStyle>
            <a:lvl1pPr algn="r">
              <a:spcBef>
                <a:spcPts val="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 algn="r"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D43A925B-B5CE-4828-B1A0-BC65E8D7B9D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81000" y="5528684"/>
            <a:ext cx="11428406" cy="703524"/>
          </a:xfrm>
          <a:ln>
            <a:noFill/>
          </a:ln>
        </p:spPr>
        <p:txBody>
          <a:bodyPr lIns="720000" tIns="126000" rIns="720000" bIns="144000" anchor="ctr">
            <a:spAutoFit/>
          </a:bodyPr>
          <a:lstStyle>
            <a:lvl1pPr algn="ctr">
              <a:spcBef>
                <a:spcPts val="0"/>
              </a:spcBef>
              <a:defRPr sz="1400">
                <a:latin typeface="+mn-lt"/>
              </a:defRPr>
            </a:lvl1pPr>
          </a:lstStyle>
          <a:p>
            <a:pPr lvl="0"/>
            <a:r>
              <a:rPr lang="en-US"/>
              <a:t>Insert text font size minimum 14 pt </a:t>
            </a:r>
            <a:br>
              <a:rPr lang="en-US"/>
            </a:br>
            <a:r>
              <a:rPr lang="en-US"/>
              <a:t>maximum 2 lines</a:t>
            </a:r>
          </a:p>
        </p:txBody>
      </p:sp>
    </p:spTree>
    <p:extLst>
      <p:ext uri="{BB962C8B-B14F-4D97-AF65-F5344CB8AC3E}">
        <p14:creationId xmlns:p14="http://schemas.microsoft.com/office/powerpoint/2010/main" val="3407147397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1.4 – Gray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7339953-451A-43DA-B8AC-BDF062FA2C5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F74A67-BB87-4D32-9CBF-C06A4B4E2B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 sz="900"/>
          </a:p>
        </p:txBody>
      </p:sp>
      <p:sp>
        <p:nvSpPr>
          <p:cNvPr id="5" name="White BG">
            <a:extLst>
              <a:ext uri="{FF2B5EF4-FFF2-40B4-BE49-F238E27FC236}">
                <a16:creationId xmlns:a16="http://schemas.microsoft.com/office/drawing/2014/main" id="{7D9C9ABB-10BC-4CE5-B723-23947B5984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95" y="352"/>
            <a:ext cx="12191205" cy="2520000"/>
          </a:xfrm>
          <a:custGeom>
            <a:avLst/>
            <a:gdLst/>
            <a:ahLst/>
            <a:cxnLst/>
            <a:rect l="l" t="t" r="r" b="b"/>
            <a:pathLst>
              <a:path w="8631555" h="11308715">
                <a:moveTo>
                  <a:pt x="8631004" y="0"/>
                </a:moveTo>
                <a:lnTo>
                  <a:pt x="0" y="0"/>
                </a:lnTo>
                <a:lnTo>
                  <a:pt x="0" y="11308556"/>
                </a:lnTo>
                <a:lnTo>
                  <a:pt x="8631004" y="11308556"/>
                </a:lnTo>
                <a:lnTo>
                  <a:pt x="8631004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pPr defTabSz="554269">
              <a:defRPr/>
            </a:pPr>
            <a:endParaRPr sz="496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D90DE58-B70F-41B2-BBDB-61220C7425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4000" y="637200"/>
            <a:ext cx="10260163" cy="609398"/>
          </a:xfrm>
        </p:spPr>
        <p:txBody>
          <a:bodyPr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651D2533-1FBB-4331-95DC-B53E6CE8D6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5125" y="1118278"/>
            <a:ext cx="10237863" cy="660144"/>
          </a:xfrm>
        </p:spPr>
        <p:txBody>
          <a:bodyPr wrap="square" tIns="288000">
            <a:spAutoFit/>
          </a:bodyPr>
          <a:lstStyle>
            <a:lvl1pPr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 and align to the baseline of the title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B96E1555-6B0A-4921-A662-E0846F19DC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7425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00E2393-B07F-42EF-A2F0-5A568E8EC6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25142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DD1D6A8-6F7E-4E89-A846-FFB2357040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2859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C21526F8-C820-4CB0-9B09-15B46D0E27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00575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16145363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1.5 – High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7339953-451A-43DA-B8AC-BDF062FA2C5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F74A67-BB87-4D32-9CBF-C06A4B4E2B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 sz="900"/>
          </a:p>
        </p:txBody>
      </p:sp>
      <p:sp>
        <p:nvSpPr>
          <p:cNvPr id="13" name="White BG">
            <a:extLst>
              <a:ext uri="{FF2B5EF4-FFF2-40B4-BE49-F238E27FC236}">
                <a16:creationId xmlns:a16="http://schemas.microsoft.com/office/drawing/2014/main" id="{67E9EE99-514E-49DC-9602-429ABE0B23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95" y="351"/>
            <a:ext cx="12191205" cy="4639382"/>
          </a:xfrm>
          <a:custGeom>
            <a:avLst/>
            <a:gdLst/>
            <a:ahLst/>
            <a:cxnLst/>
            <a:rect l="l" t="t" r="r" b="b"/>
            <a:pathLst>
              <a:path w="8631555" h="11308715">
                <a:moveTo>
                  <a:pt x="8631004" y="0"/>
                </a:moveTo>
                <a:lnTo>
                  <a:pt x="0" y="0"/>
                </a:lnTo>
                <a:lnTo>
                  <a:pt x="0" y="11308556"/>
                </a:lnTo>
                <a:lnTo>
                  <a:pt x="8631004" y="11308556"/>
                </a:lnTo>
                <a:lnTo>
                  <a:pt x="8631004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pPr defTabSz="554269">
              <a:defRPr/>
            </a:pPr>
            <a:endParaRPr sz="496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D90DE58-B70F-41B2-BBDB-61220C7425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4000" y="637200"/>
            <a:ext cx="10215563" cy="609398"/>
          </a:xfrm>
        </p:spPr>
        <p:txBody>
          <a:bodyPr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651D2533-1FBB-4331-95DC-B53E6CE8D6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5125" y="1118278"/>
            <a:ext cx="10215563" cy="660144"/>
          </a:xfrm>
        </p:spPr>
        <p:txBody>
          <a:bodyPr wrap="square" tIns="288000">
            <a:spAutoFit/>
          </a:bodyPr>
          <a:lstStyle>
            <a:lvl1pPr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 and align to the baseline of the title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B96E1555-6B0A-4921-A662-E0846F19DC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7425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00E2393-B07F-42EF-A2F0-5A568E8EC6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25142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DD1D6A8-6F7E-4E89-A846-FFB2357040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2859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C21526F8-C820-4CB0-9B09-15B46D0E27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00575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20161893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–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976400-31B2-465C-830A-C662AD331F36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42C83F-F081-403F-8781-78AA248C0086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9D02A7BB-3DA9-49AD-B463-F482E389B8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637200"/>
            <a:ext cx="4960399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BB506B52-A792-46CB-AD23-6BFF47ED7D6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72000" y="1717675"/>
            <a:ext cx="4933500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box to the baseline of the titl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4C1EC785-CCB5-4B00-8159-C3CBF36EBA1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0647" y="4263616"/>
            <a:ext cx="3345765" cy="1781584"/>
          </a:xfrm>
        </p:spPr>
        <p:txBody>
          <a:bodyPr/>
          <a:lstStyle>
            <a:lvl1pPr>
              <a:defRPr sz="2400">
                <a:solidFill>
                  <a:schemeClr val="accent3"/>
                </a:solidFill>
              </a:defRPr>
            </a:lvl1pPr>
            <a:lvl2pPr>
              <a:spcBef>
                <a:spcPts val="600"/>
              </a:spcBef>
              <a:defRPr sz="1800">
                <a:latin typeface="+mj-lt"/>
              </a:defRPr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heading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37EE336-AE66-4D12-8057-D23DF291B94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480424" y="2000618"/>
            <a:ext cx="3328988" cy="1781584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defRPr sz="1800">
                <a:latin typeface="+mj-lt"/>
              </a:defRPr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heading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6ADE1B1-22F0-4AA7-BD75-0128F3A7F3D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480424" y="4263758"/>
            <a:ext cx="3328988" cy="1781584"/>
          </a:xfrm>
        </p:spPr>
        <p:txBody>
          <a:bodyPr/>
          <a:lstStyle>
            <a:lvl1pPr>
              <a:defRPr sz="2400">
                <a:solidFill>
                  <a:schemeClr val="accent2"/>
                </a:solidFill>
              </a:defRPr>
            </a:lvl1pPr>
            <a:lvl2pPr>
              <a:spcBef>
                <a:spcPts val="600"/>
              </a:spcBef>
              <a:defRPr sz="1800">
                <a:latin typeface="+mj-lt"/>
              </a:defRPr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heading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0543723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– (3) w/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DD01D3B-2773-414C-BAA6-582256E22E4C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B6E46A-272E-45C1-8510-F479C5CE3F0E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4">
            <a:extLst>
              <a:ext uri="{FF2B5EF4-FFF2-40B4-BE49-F238E27FC236}">
                <a16:creationId xmlns:a16="http://schemas.microsoft.com/office/drawing/2014/main" id="{D3DDAF39-EF96-42C6-A956-3506E03B9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637200"/>
            <a:ext cx="5947370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35ABD8A9-32BD-4E7B-99E9-C5381949A6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7843" y="2775347"/>
            <a:ext cx="2564628" cy="583321"/>
          </a:xfrm>
        </p:spPr>
        <p:txBody>
          <a:bodyPr wrap="square" lIns="0" tIns="90000" rIns="0" bIns="0">
            <a:spAutoFit/>
          </a:bodyPr>
          <a:lstStyle>
            <a:lvl1pPr algn="r"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Insert body text, font size at 16 pt minimum 14 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B678B5F7-2E0E-46B6-8B8E-212B09D48E1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327843" y="3859428"/>
            <a:ext cx="2564628" cy="583321"/>
          </a:xfrm>
        </p:spPr>
        <p:txBody>
          <a:bodyPr wrap="square" lIns="0" tIns="90000" rIns="0" bIns="0">
            <a:spAutoFit/>
          </a:bodyPr>
          <a:lstStyle>
            <a:lvl1pPr algn="r"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Insert body text, font size at 16 pt minimum 14 p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506F9B2F-D279-4419-9C16-CF7AADE0459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327843" y="4943508"/>
            <a:ext cx="2564628" cy="583321"/>
          </a:xfrm>
        </p:spPr>
        <p:txBody>
          <a:bodyPr wrap="square" lIns="0" tIns="90000" rIns="0" bIns="0">
            <a:spAutoFit/>
          </a:bodyPr>
          <a:lstStyle>
            <a:lvl1pPr algn="r"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Insert body text, font size at 16 pt minimum 14 pt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114FECE4-44D7-4008-9A4C-F7836F121E2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586304" y="0"/>
            <a:ext cx="4605696" cy="6045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</p:spTree>
    <p:extLst>
      <p:ext uri="{BB962C8B-B14F-4D97-AF65-F5344CB8AC3E}">
        <p14:creationId xmlns:p14="http://schemas.microsoft.com/office/powerpoint/2010/main" val="3075154843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1.2 – Intro left (Gra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Light Gray BG">
            <a:extLst>
              <a:ext uri="{FF2B5EF4-FFF2-40B4-BE49-F238E27FC236}">
                <a16:creationId xmlns:a16="http://schemas.microsoft.com/office/drawing/2014/main" id="{1B9FB4CE-D7D8-4CB0-8B24-AC50958BAF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316412" y="0"/>
            <a:ext cx="7875587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928DD3-6E3F-47C1-A360-5A765E381F6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942691-E4BA-4C20-8388-C8B2E60EC28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CF0030-9139-4E59-8508-7818725896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000" y="969592"/>
            <a:ext cx="3598175" cy="2454518"/>
          </a:xfrm>
        </p:spPr>
        <p:txBody>
          <a:bodyPr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short heading max 3 lines</a:t>
            </a:r>
          </a:p>
        </p:txBody>
      </p:sp>
      <p:sp>
        <p:nvSpPr>
          <p:cNvPr id="26" name="Subtitle">
            <a:extLst>
              <a:ext uri="{FF2B5EF4-FFF2-40B4-BE49-F238E27FC236}">
                <a16:creationId xmlns:a16="http://schemas.microsoft.com/office/drawing/2014/main" id="{F7692922-A1DC-4363-AEB4-52B9860998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356" y="2654463"/>
            <a:ext cx="3580820" cy="1029476"/>
          </a:xfrm>
        </p:spPr>
        <p:txBody>
          <a:bodyPr wrap="square" tIns="288000">
            <a:spAutoFit/>
          </a:bodyPr>
          <a:lstStyle>
            <a:lvl1pPr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to baseline title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F5330425-ADD3-4713-96AF-786F53FCB50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61781" y="3589867"/>
            <a:ext cx="3578394" cy="2170112"/>
          </a:xfrm>
        </p:spPr>
        <p:txBody>
          <a:bodyPr tIns="396000"/>
          <a:lstStyle>
            <a:lvl1pPr>
              <a:defRPr sz="18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360000" indent="-180000">
              <a:buFont typeface="Graphik" panose="020B0503030202060203" pitchFamily="34" charset="0"/>
              <a:buChar char="–"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91564299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1.6 – Intro left, High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7339953-451A-43DA-B8AC-BDF062FA2C5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F74A67-BB87-4D32-9CBF-C06A4B4E2B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 sz="900"/>
          </a:p>
        </p:txBody>
      </p:sp>
      <p:sp>
        <p:nvSpPr>
          <p:cNvPr id="14" name="White BG">
            <a:extLst>
              <a:ext uri="{FF2B5EF4-FFF2-40B4-BE49-F238E27FC236}">
                <a16:creationId xmlns:a16="http://schemas.microsoft.com/office/drawing/2014/main" id="{FB5B0C7F-86AE-4A7F-ADA0-986A3ABAFF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95" y="351"/>
            <a:ext cx="12191205" cy="4639382"/>
          </a:xfrm>
          <a:custGeom>
            <a:avLst/>
            <a:gdLst/>
            <a:ahLst/>
            <a:cxnLst/>
            <a:rect l="l" t="t" r="r" b="b"/>
            <a:pathLst>
              <a:path w="8631555" h="11308715">
                <a:moveTo>
                  <a:pt x="8631004" y="0"/>
                </a:moveTo>
                <a:lnTo>
                  <a:pt x="0" y="0"/>
                </a:lnTo>
                <a:lnTo>
                  <a:pt x="0" y="11308556"/>
                </a:lnTo>
                <a:lnTo>
                  <a:pt x="8631004" y="11308556"/>
                </a:lnTo>
                <a:lnTo>
                  <a:pt x="8631004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pPr defTabSz="554269">
              <a:defRPr/>
            </a:pPr>
            <a:endParaRPr sz="496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D90DE58-B70F-41B2-BBDB-61220C7425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637200"/>
            <a:ext cx="3708197" cy="1828193"/>
          </a:xfrm>
        </p:spPr>
        <p:txBody>
          <a:bodyPr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short heading</a:t>
            </a:r>
            <a:br>
              <a:rPr lang="en-US"/>
            </a:br>
            <a:r>
              <a:rPr lang="en-US"/>
              <a:t>max 3 lines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651D2533-1FBB-4331-95DC-B53E6CE8D6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5125" y="2320042"/>
            <a:ext cx="3685897" cy="1398808"/>
          </a:xfrm>
        </p:spPr>
        <p:txBody>
          <a:bodyPr wrap="square" tIns="288000">
            <a:spAutoFit/>
          </a:bodyPr>
          <a:lstStyle>
            <a:lvl1pPr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 and align to the baseline of the title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B96E1555-6B0A-4921-A662-E0846F19DC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7425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00E2393-B07F-42EF-A2F0-5A568E8EC6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25142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DD1D6A8-6F7E-4E89-A846-FFB2357040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2859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C21526F8-C820-4CB0-9B09-15B46D0E27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00575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614875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6503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– Intro Lef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BF4CFEE-C812-4BBC-AFA4-D75A9323BD61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7321EC-9B79-4B8C-8D40-81C26198832B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BB3F6845-7401-4224-977A-2EB25DE964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663096"/>
            <a:ext cx="3664724" cy="151157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minimum 36 </a:t>
            </a:r>
            <a:r>
              <a:rPr lang="en-US" err="1"/>
              <a:t>pt</a:t>
            </a:r>
            <a:r>
              <a:rPr lang="en-US"/>
              <a:t> max 3 lines</a:t>
            </a:r>
            <a:endParaRPr lang="en-GB"/>
          </a:p>
        </p:txBody>
      </p:sp>
      <p:sp>
        <p:nvSpPr>
          <p:cNvPr id="7" name="Intro">
            <a:extLst>
              <a:ext uri="{FF2B5EF4-FFF2-40B4-BE49-F238E27FC236}">
                <a16:creationId xmlns:a16="http://schemas.microsoft.com/office/drawing/2014/main" id="{930929F5-0A00-4280-B57D-D49190359FF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71383" y="3175476"/>
            <a:ext cx="3664724" cy="2195622"/>
          </a:xfrm>
        </p:spPr>
        <p:txBody>
          <a:bodyPr tIns="28800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800"/>
            </a:lvl2pPr>
            <a:lvl3pPr marL="360000" indent="-180000">
              <a:defRPr sz="1600"/>
            </a:lvl3pPr>
            <a:lvl4pPr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360000" lvl="3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A5AA2DA9-35B5-41E2-A7E2-FCF7BF4109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57117" y="1687798"/>
            <a:ext cx="2952296" cy="847718"/>
          </a:xfrm>
        </p:spPr>
        <p:txBody>
          <a:bodyPr wrap="square" lIns="0" tIns="0" rIns="0" bIns="108000">
            <a:spAutoFit/>
          </a:bodyPr>
          <a:lstStyle>
            <a:lvl1pPr algn="r"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Body text with font size 16 pt, minimum 14 pt, single line spacing, maximum 3 lin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79DDD07-6EB8-4C97-9912-D82CD9BD40F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117" y="3026777"/>
            <a:ext cx="2952296" cy="847718"/>
          </a:xfrm>
        </p:spPr>
        <p:txBody>
          <a:bodyPr wrap="square" lIns="0" tIns="0" rIns="0" bIns="108000">
            <a:spAutoFit/>
          </a:bodyPr>
          <a:lstStyle>
            <a:lvl1pPr algn="r"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Body text with font size 16 pt, minimum 14 pt, single line spacing, maximum 3 lin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44925E0-E27F-44EB-BBF3-86A9BA8FAF7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117" y="4365755"/>
            <a:ext cx="2952296" cy="847718"/>
          </a:xfrm>
        </p:spPr>
        <p:txBody>
          <a:bodyPr wrap="square" lIns="0" tIns="0" rIns="0" bIns="108000">
            <a:spAutoFit/>
          </a:bodyPr>
          <a:lstStyle>
            <a:lvl1pPr algn="r"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Body text with font size 16 pt, minimum 14 pt, single line spacing, maximum 3 lines</a:t>
            </a:r>
          </a:p>
        </p:txBody>
      </p:sp>
    </p:spTree>
    <p:extLst>
      <p:ext uri="{BB962C8B-B14F-4D97-AF65-F5344CB8AC3E}">
        <p14:creationId xmlns:p14="http://schemas.microsoft.com/office/powerpoint/2010/main" val="2777859163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– Intro Lef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F62A2E1-A7B1-47CB-A468-5251498A58AA}"/>
              </a:ext>
            </a:extLst>
          </p:cNvPr>
          <p:cNvSpPr>
            <a:spLocks noGrp="1"/>
          </p:cNvSpPr>
          <p:nvPr>
            <p:ph type="ftr" sz="quarter" idx="57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1B3FC76-E041-4DF1-A62E-55EC4A412FC7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BB3F6845-7401-4224-977A-2EB25DE964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663096"/>
            <a:ext cx="3664724" cy="151157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minimum 36 </a:t>
            </a:r>
            <a:r>
              <a:rPr lang="en-US" err="1"/>
              <a:t>pt</a:t>
            </a:r>
            <a:r>
              <a:rPr lang="en-US"/>
              <a:t> max 3 lines</a:t>
            </a:r>
            <a:endParaRPr lang="en-GB"/>
          </a:p>
        </p:txBody>
      </p:sp>
      <p:sp>
        <p:nvSpPr>
          <p:cNvPr id="7" name="Intro">
            <a:extLst>
              <a:ext uri="{FF2B5EF4-FFF2-40B4-BE49-F238E27FC236}">
                <a16:creationId xmlns:a16="http://schemas.microsoft.com/office/drawing/2014/main" id="{930929F5-0A00-4280-B57D-D49190359FF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71383" y="3175476"/>
            <a:ext cx="3664724" cy="2195622"/>
          </a:xfrm>
        </p:spPr>
        <p:txBody>
          <a:bodyPr tIns="28800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800"/>
            </a:lvl2pPr>
            <a:lvl3pPr marL="360000" indent="-180000">
              <a:defRPr sz="1600"/>
            </a:lvl3pPr>
            <a:lvl4pPr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360000" lvl="3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</p:txBody>
      </p: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81DC1B9D-486D-4778-8E60-3A4B520537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841316" y="946459"/>
            <a:ext cx="2968095" cy="1066959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tx1"/>
                </a:solidFill>
              </a:defRPr>
            </a:lvl1pPr>
            <a:lvl2pPr marL="0" indent="0">
              <a:spcBef>
                <a:spcPts val="400"/>
              </a:spcBef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Insert subhead at 18 pt</a:t>
            </a:r>
          </a:p>
          <a:p>
            <a:pPr lvl="1"/>
            <a:r>
              <a:rPr lang="en-US"/>
              <a:t>Insert text minimum 14 pt </a:t>
            </a:r>
            <a:br>
              <a:rPr lang="en-US"/>
            </a:br>
            <a:r>
              <a:rPr lang="en-US"/>
              <a:t>with single line spacing and maximum 3 lines 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C456350-5A28-472A-9ED3-566467B2BB9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841316" y="2267365"/>
            <a:ext cx="2968095" cy="1066959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tx1"/>
                </a:solidFill>
              </a:defRPr>
            </a:lvl1pPr>
            <a:lvl2pPr marL="0" indent="0">
              <a:spcBef>
                <a:spcPts val="400"/>
              </a:spcBef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Insert subhead at 18 pt</a:t>
            </a:r>
          </a:p>
          <a:p>
            <a:pPr lvl="1"/>
            <a:r>
              <a:rPr lang="en-US"/>
              <a:t>Insert text minimum 14 pt </a:t>
            </a:r>
            <a:br>
              <a:rPr lang="en-US"/>
            </a:br>
            <a:r>
              <a:rPr lang="en-US"/>
              <a:t>with single line spacing and maximum 3 lines 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A56B276-705A-44E0-A58E-B2AC16409DC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841316" y="3588271"/>
            <a:ext cx="2968095" cy="1066959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tx1"/>
                </a:solidFill>
              </a:defRPr>
            </a:lvl1pPr>
            <a:lvl2pPr marL="0" indent="0">
              <a:spcBef>
                <a:spcPts val="400"/>
              </a:spcBef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Insert subhead at 18 pt</a:t>
            </a:r>
          </a:p>
          <a:p>
            <a:pPr lvl="1"/>
            <a:r>
              <a:rPr lang="en-US"/>
              <a:t>Insert text minimum 14 pt </a:t>
            </a:r>
            <a:br>
              <a:rPr lang="en-US"/>
            </a:br>
            <a:r>
              <a:rPr lang="en-US"/>
              <a:t>with single line spacing and maximum 3 lines 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6454A81-CD82-4E0E-97E4-DB77B99B95C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841316" y="4909178"/>
            <a:ext cx="2968095" cy="1066959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tx1"/>
                </a:solidFill>
              </a:defRPr>
            </a:lvl1pPr>
            <a:lvl2pPr marL="0" indent="0">
              <a:spcBef>
                <a:spcPts val="400"/>
              </a:spcBef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Insert subhead at 18 pt</a:t>
            </a:r>
          </a:p>
          <a:p>
            <a:pPr lvl="1"/>
            <a:r>
              <a:rPr lang="en-US"/>
              <a:t>Insert text minimum 14 pt </a:t>
            </a:r>
            <a:br>
              <a:rPr lang="en-US"/>
            </a:br>
            <a:r>
              <a:rPr lang="en-US"/>
              <a:t>with single line spacing and maximum 3 lines </a:t>
            </a:r>
          </a:p>
        </p:txBody>
      </p:sp>
    </p:spTree>
    <p:extLst>
      <p:ext uri="{BB962C8B-B14F-4D97-AF65-F5344CB8AC3E}">
        <p14:creationId xmlns:p14="http://schemas.microsoft.com/office/powerpoint/2010/main" val="2741198745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 Intro – Lef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1FAB6BD-B74D-4B7C-828E-7E1FB0792483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33AA94-8E1D-4492-918F-8FABC9C4181F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BB3F6845-7401-4224-977A-2EB25DE964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663096"/>
            <a:ext cx="3664724" cy="151157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minimum 36 </a:t>
            </a:r>
            <a:r>
              <a:rPr lang="en-US" err="1"/>
              <a:t>pt</a:t>
            </a:r>
            <a:r>
              <a:rPr lang="en-US"/>
              <a:t> max 3 lines</a:t>
            </a:r>
            <a:endParaRPr lang="en-GB"/>
          </a:p>
        </p:txBody>
      </p:sp>
      <p:sp>
        <p:nvSpPr>
          <p:cNvPr id="7" name="Intro">
            <a:extLst>
              <a:ext uri="{FF2B5EF4-FFF2-40B4-BE49-F238E27FC236}">
                <a16:creationId xmlns:a16="http://schemas.microsoft.com/office/drawing/2014/main" id="{930929F5-0A00-4280-B57D-D49190359FF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71383" y="3175476"/>
            <a:ext cx="3664724" cy="2195622"/>
          </a:xfrm>
        </p:spPr>
        <p:txBody>
          <a:bodyPr tIns="28800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800"/>
            </a:lvl2pPr>
            <a:lvl3pPr marL="360000" indent="-180000">
              <a:defRPr sz="1600"/>
            </a:lvl3pPr>
            <a:lvl4pPr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360000" lvl="3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55941797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ons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05F1BE8-FFE8-4211-81DC-48142AF98F46}"/>
              </a:ext>
            </a:extLst>
          </p:cNvPr>
          <p:cNvSpPr/>
          <p:nvPr userDrawn="1"/>
        </p:nvSpPr>
        <p:spPr>
          <a:xfrm>
            <a:off x="5905500" y="0"/>
            <a:ext cx="62864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92DB5A-2E4A-4402-B064-EFFE5E06F9F7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891656-90BE-40E9-808C-CA7B0B2F5D4A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3E4D264-6D4A-4BD5-A7B6-B2EF3F7B20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2048" y="963705"/>
            <a:ext cx="4679190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D7FE724D-C664-48DA-94EA-48C0EE3C9DA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46514" y="2732059"/>
            <a:ext cx="4648227" cy="1029476"/>
          </a:xfrm>
          <a:prstGeom prst="rect">
            <a:avLst/>
          </a:prstGeom>
        </p:spPr>
        <p:txBody>
          <a:bodyPr wrap="square" lIns="0" tIns="288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box to the baseline of the title</a:t>
            </a:r>
          </a:p>
        </p:txBody>
      </p:sp>
      <p:sp>
        <p:nvSpPr>
          <p:cNvPr id="12" name="Intro">
            <a:extLst>
              <a:ext uri="{FF2B5EF4-FFF2-40B4-BE49-F238E27FC236}">
                <a16:creationId xmlns:a16="http://schemas.microsoft.com/office/drawing/2014/main" id="{9E781E2A-2D68-451D-9B4D-46656701DE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0848" y="3981993"/>
            <a:ext cx="4648227" cy="1386000"/>
          </a:xfrm>
        </p:spPr>
        <p:txBody>
          <a:bodyPr tIns="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59371983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tructions (Gray)">
    <p:bg>
      <p:bgPr>
        <a:solidFill>
          <a:schemeClr val="bg2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FF7AD7-9D40-4807-8B50-ACD275AF81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801" y="968400"/>
            <a:ext cx="10580188" cy="4985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7279010D-B6BB-41E2-8D9B-387AD02B802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50846" y="1845963"/>
            <a:ext cx="5254654" cy="4196062"/>
          </a:xfrm>
        </p:spPr>
        <p:txBody>
          <a:bodyPr/>
          <a:lstStyle>
            <a:lvl1pPr>
              <a:defRPr sz="1800"/>
            </a:lvl1pPr>
            <a:lvl2pPr>
              <a:spcAft>
                <a:spcPts val="800"/>
              </a:spcAft>
              <a:defRPr/>
            </a:lvl2pPr>
            <a:lvl4pPr marL="216000" indent="-216000">
              <a:spcAft>
                <a:spcPts val="800"/>
              </a:spcAft>
              <a:buClr>
                <a:schemeClr val="accent1"/>
              </a:buClr>
              <a:buFont typeface="+mj-lt"/>
              <a:buAutoNum type="arabicPeriod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520AB1-69E0-4E86-9E1D-A0D094AA7D8B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F562DD-C1C5-4DF0-A687-4472571A66CF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633344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uide - Icon Libr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54ED3D5-F3C4-4012-A3B3-DA1E96D1386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21 Accenture. All rights reserv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7EBC6DA-31CC-4337-AF6C-0E9FA470CC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CECD371-7C06-488E-AA23-EB47BBF733D9}"/>
              </a:ext>
            </a:extLst>
          </p:cNvPr>
          <p:cNvSpPr txBox="1">
            <a:spLocks/>
          </p:cNvSpPr>
          <p:nvPr userDrawn="1"/>
        </p:nvSpPr>
        <p:spPr>
          <a:xfrm>
            <a:off x="381000" y="381000"/>
            <a:ext cx="11430000" cy="914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Iconography: Monolin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F966297-1DCC-45B0-9DA7-3CE9DE25D2DF}"/>
              </a:ext>
            </a:extLst>
          </p:cNvPr>
          <p:cNvSpPr txBox="1"/>
          <p:nvPr userDrawn="1"/>
        </p:nvSpPr>
        <p:spPr>
          <a:xfrm>
            <a:off x="380999" y="927847"/>
            <a:ext cx="11429981" cy="5002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228600">
              <a:spcAft>
                <a:spcPts val="1200"/>
              </a:spcAft>
            </a:pPr>
            <a:r>
              <a:rPr lang="en-GB" sz="1600"/>
              <a:t>Our expansive asset library including fonts, photography, iconography and custom slides available </a:t>
            </a:r>
            <a:r>
              <a:rPr lang="en-GB" sz="1600">
                <a:solidFill>
                  <a:schemeClr val="accent1"/>
                </a:solidFill>
                <a:hlinkClick r:id="rId2"/>
              </a:rPr>
              <a:t>here</a:t>
            </a:r>
            <a:r>
              <a:rPr lang="en-GB" sz="1600"/>
              <a:t>. </a:t>
            </a:r>
            <a:br>
              <a:rPr lang="en-GB" sz="1600"/>
            </a:br>
            <a:r>
              <a:rPr lang="en-GB" sz="1600"/>
              <a:t>Contact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  <a:hlinkClick r:id="rId3"/>
              </a:rPr>
              <a:t>Amy.Ritz@Accenture.com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lang="en-GB" sz="1600"/>
              <a:t>for further information. Access the icons below through </a:t>
            </a:r>
            <a:r>
              <a:rPr lang="en-GB" sz="1600" b="1">
                <a:solidFill>
                  <a:schemeClr val="accent1"/>
                </a:solidFill>
              </a:rPr>
              <a:t>View &gt; Slide Master</a:t>
            </a:r>
            <a:r>
              <a:rPr lang="en-GB" sz="1600"/>
              <a:t>.</a:t>
            </a:r>
          </a:p>
        </p:txBody>
      </p:sp>
      <p:sp>
        <p:nvSpPr>
          <p:cNvPr id="4" name="Freeform 127">
            <a:extLst>
              <a:ext uri="{FF2B5EF4-FFF2-40B4-BE49-F238E27FC236}">
                <a16:creationId xmlns:a16="http://schemas.microsoft.com/office/drawing/2014/main" id="{80F51A57-4DBA-FA4F-916F-88328E5E013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67063" y="1981658"/>
            <a:ext cx="513948" cy="396598"/>
          </a:xfrm>
          <a:custGeom>
            <a:avLst/>
            <a:gdLst>
              <a:gd name="T0" fmla="*/ 199 w 309"/>
              <a:gd name="T1" fmla="*/ 232 h 244"/>
              <a:gd name="T2" fmla="*/ 222 w 309"/>
              <a:gd name="T3" fmla="*/ 225 h 244"/>
              <a:gd name="T4" fmla="*/ 248 w 309"/>
              <a:gd name="T5" fmla="*/ 202 h 244"/>
              <a:gd name="T6" fmla="*/ 273 w 309"/>
              <a:gd name="T7" fmla="*/ 177 h 244"/>
              <a:gd name="T8" fmla="*/ 308 w 309"/>
              <a:gd name="T9" fmla="*/ 128 h 244"/>
              <a:gd name="T10" fmla="*/ 216 w 309"/>
              <a:gd name="T11" fmla="*/ 12 h 244"/>
              <a:gd name="T12" fmla="*/ 115 w 309"/>
              <a:gd name="T13" fmla="*/ 19 h 244"/>
              <a:gd name="T14" fmla="*/ 3 w 309"/>
              <a:gd name="T15" fmla="*/ 136 h 244"/>
              <a:gd name="T16" fmla="*/ 44 w 309"/>
              <a:gd name="T17" fmla="*/ 199 h 244"/>
              <a:gd name="T18" fmla="*/ 60 w 309"/>
              <a:gd name="T19" fmla="*/ 217 h 244"/>
              <a:gd name="T20" fmla="*/ 82 w 309"/>
              <a:gd name="T21" fmla="*/ 228 h 244"/>
              <a:gd name="T22" fmla="*/ 128 w 309"/>
              <a:gd name="T23" fmla="*/ 244 h 244"/>
              <a:gd name="T24" fmla="*/ 147 w 309"/>
              <a:gd name="T25" fmla="*/ 233 h 244"/>
              <a:gd name="T26" fmla="*/ 122 w 309"/>
              <a:gd name="T27" fmla="*/ 30 h 244"/>
              <a:gd name="T28" fmla="*/ 194 w 309"/>
              <a:gd name="T29" fmla="*/ 20 h 244"/>
              <a:gd name="T30" fmla="*/ 263 w 309"/>
              <a:gd name="T31" fmla="*/ 31 h 244"/>
              <a:gd name="T32" fmla="*/ 278 w 309"/>
              <a:gd name="T33" fmla="*/ 143 h 244"/>
              <a:gd name="T34" fmla="*/ 136 w 309"/>
              <a:gd name="T35" fmla="*/ 85 h 244"/>
              <a:gd name="T36" fmla="*/ 122 w 309"/>
              <a:gd name="T37" fmla="*/ 30 h 244"/>
              <a:gd name="T38" fmla="*/ 45 w 309"/>
              <a:gd name="T39" fmla="*/ 186 h 244"/>
              <a:gd name="T40" fmla="*/ 32 w 309"/>
              <a:gd name="T41" fmla="*/ 155 h 244"/>
              <a:gd name="T42" fmla="*/ 73 w 309"/>
              <a:gd name="T43" fmla="*/ 206 h 244"/>
              <a:gd name="T44" fmla="*/ 57 w 309"/>
              <a:gd name="T45" fmla="*/ 195 h 244"/>
              <a:gd name="T46" fmla="*/ 67 w 309"/>
              <a:gd name="T47" fmla="*/ 172 h 244"/>
              <a:gd name="T48" fmla="*/ 85 w 309"/>
              <a:gd name="T49" fmla="*/ 171 h 244"/>
              <a:gd name="T50" fmla="*/ 73 w 309"/>
              <a:gd name="T51" fmla="*/ 206 h 244"/>
              <a:gd name="T52" fmla="*/ 102 w 309"/>
              <a:gd name="T53" fmla="*/ 221 h 244"/>
              <a:gd name="T54" fmla="*/ 97 w 309"/>
              <a:gd name="T55" fmla="*/ 181 h 244"/>
              <a:gd name="T56" fmla="*/ 110 w 309"/>
              <a:gd name="T57" fmla="*/ 197 h 244"/>
              <a:gd name="T58" fmla="*/ 137 w 309"/>
              <a:gd name="T59" fmla="*/ 219 h 244"/>
              <a:gd name="T60" fmla="*/ 132 w 309"/>
              <a:gd name="T61" fmla="*/ 230 h 244"/>
              <a:gd name="T62" fmla="*/ 115 w 309"/>
              <a:gd name="T63" fmla="*/ 225 h 244"/>
              <a:gd name="T64" fmla="*/ 138 w 309"/>
              <a:gd name="T65" fmla="*/ 205 h 244"/>
              <a:gd name="T66" fmla="*/ 123 w 309"/>
              <a:gd name="T67" fmla="*/ 187 h 244"/>
              <a:gd name="T68" fmla="*/ 98 w 309"/>
              <a:gd name="T69" fmla="*/ 168 h 244"/>
              <a:gd name="T70" fmla="*/ 68 w 309"/>
              <a:gd name="T71" fmla="*/ 152 h 244"/>
              <a:gd name="T72" fmla="*/ 15 w 309"/>
              <a:gd name="T73" fmla="*/ 128 h 244"/>
              <a:gd name="T74" fmla="*/ 107 w 309"/>
              <a:gd name="T75" fmla="*/ 32 h 244"/>
              <a:gd name="T76" fmla="*/ 113 w 309"/>
              <a:gd name="T77" fmla="*/ 116 h 244"/>
              <a:gd name="T78" fmla="*/ 231 w 309"/>
              <a:gd name="T79" fmla="*/ 115 h 244"/>
              <a:gd name="T80" fmla="*/ 264 w 309"/>
              <a:gd name="T81" fmla="*/ 167 h 244"/>
              <a:gd name="T82" fmla="*/ 220 w 309"/>
              <a:gd name="T83" fmla="*/ 145 h 244"/>
              <a:gd name="T84" fmla="*/ 199 w 309"/>
              <a:gd name="T85" fmla="*/ 133 h 244"/>
              <a:gd name="T86" fmla="*/ 246 w 309"/>
              <a:gd name="T87" fmla="*/ 183 h 244"/>
              <a:gd name="T88" fmla="*/ 228 w 309"/>
              <a:gd name="T89" fmla="*/ 197 h 244"/>
              <a:gd name="T90" fmla="*/ 188 w 309"/>
              <a:gd name="T91" fmla="*/ 167 h 244"/>
              <a:gd name="T92" fmla="*/ 219 w 309"/>
              <a:gd name="T93" fmla="*/ 206 h 244"/>
              <a:gd name="T94" fmla="*/ 204 w 309"/>
              <a:gd name="T95" fmla="*/ 219 h 244"/>
              <a:gd name="T96" fmla="*/ 162 w 309"/>
              <a:gd name="T97" fmla="*/ 196 h 244"/>
              <a:gd name="T98" fmla="*/ 188 w 309"/>
              <a:gd name="T99" fmla="*/ 224 h 244"/>
              <a:gd name="T100" fmla="*/ 151 w 309"/>
              <a:gd name="T101" fmla="*/ 220 h 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09" h="244">
                <a:moveTo>
                  <a:pt x="176" y="239"/>
                </a:moveTo>
                <a:cubicBezTo>
                  <a:pt x="181" y="239"/>
                  <a:pt x="184" y="238"/>
                  <a:pt x="188" y="238"/>
                </a:cubicBezTo>
                <a:cubicBezTo>
                  <a:pt x="192" y="236"/>
                  <a:pt x="196" y="235"/>
                  <a:pt x="199" y="232"/>
                </a:cubicBezTo>
                <a:cubicBezTo>
                  <a:pt x="199" y="232"/>
                  <a:pt x="199" y="232"/>
                  <a:pt x="199" y="232"/>
                </a:cubicBezTo>
                <a:cubicBezTo>
                  <a:pt x="199" y="232"/>
                  <a:pt x="199" y="232"/>
                  <a:pt x="199" y="232"/>
                </a:cubicBezTo>
                <a:cubicBezTo>
                  <a:pt x="200" y="232"/>
                  <a:pt x="201" y="232"/>
                  <a:pt x="201" y="232"/>
                </a:cubicBezTo>
                <a:cubicBezTo>
                  <a:pt x="202" y="232"/>
                  <a:pt x="203" y="233"/>
                  <a:pt x="204" y="233"/>
                </a:cubicBezTo>
                <a:cubicBezTo>
                  <a:pt x="210" y="233"/>
                  <a:pt x="217" y="230"/>
                  <a:pt x="222" y="225"/>
                </a:cubicBezTo>
                <a:cubicBezTo>
                  <a:pt x="227" y="221"/>
                  <a:pt x="230" y="216"/>
                  <a:pt x="232" y="210"/>
                </a:cubicBezTo>
                <a:cubicBezTo>
                  <a:pt x="232" y="210"/>
                  <a:pt x="232" y="210"/>
                  <a:pt x="232" y="210"/>
                </a:cubicBezTo>
                <a:cubicBezTo>
                  <a:pt x="232" y="210"/>
                  <a:pt x="232" y="210"/>
                  <a:pt x="232" y="210"/>
                </a:cubicBezTo>
                <a:cubicBezTo>
                  <a:pt x="238" y="209"/>
                  <a:pt x="243" y="206"/>
                  <a:pt x="248" y="202"/>
                </a:cubicBezTo>
                <a:cubicBezTo>
                  <a:pt x="254" y="197"/>
                  <a:pt x="257" y="191"/>
                  <a:pt x="259" y="185"/>
                </a:cubicBezTo>
                <a:cubicBezTo>
                  <a:pt x="259" y="185"/>
                  <a:pt x="259" y="185"/>
                  <a:pt x="259" y="185"/>
                </a:cubicBezTo>
                <a:cubicBezTo>
                  <a:pt x="259" y="185"/>
                  <a:pt x="259" y="185"/>
                  <a:pt x="259" y="185"/>
                </a:cubicBezTo>
                <a:cubicBezTo>
                  <a:pt x="264" y="184"/>
                  <a:pt x="269" y="181"/>
                  <a:pt x="273" y="177"/>
                </a:cubicBezTo>
                <a:cubicBezTo>
                  <a:pt x="280" y="171"/>
                  <a:pt x="284" y="164"/>
                  <a:pt x="285" y="155"/>
                </a:cubicBezTo>
                <a:cubicBezTo>
                  <a:pt x="285" y="155"/>
                  <a:pt x="285" y="155"/>
                  <a:pt x="285" y="155"/>
                </a:cubicBezTo>
                <a:cubicBezTo>
                  <a:pt x="307" y="135"/>
                  <a:pt x="307" y="135"/>
                  <a:pt x="307" y="135"/>
                </a:cubicBezTo>
                <a:cubicBezTo>
                  <a:pt x="308" y="134"/>
                  <a:pt x="309" y="131"/>
                  <a:pt x="308" y="128"/>
                </a:cubicBezTo>
                <a:cubicBezTo>
                  <a:pt x="274" y="23"/>
                  <a:pt x="274" y="23"/>
                  <a:pt x="274" y="23"/>
                </a:cubicBezTo>
                <a:cubicBezTo>
                  <a:pt x="273" y="21"/>
                  <a:pt x="271" y="19"/>
                  <a:pt x="269" y="19"/>
                </a:cubicBezTo>
                <a:cubicBezTo>
                  <a:pt x="269" y="19"/>
                  <a:pt x="269" y="19"/>
                  <a:pt x="269" y="19"/>
                </a:cubicBezTo>
                <a:cubicBezTo>
                  <a:pt x="264" y="18"/>
                  <a:pt x="226" y="12"/>
                  <a:pt x="216" y="12"/>
                </a:cubicBezTo>
                <a:cubicBezTo>
                  <a:pt x="213" y="12"/>
                  <a:pt x="205" y="10"/>
                  <a:pt x="198" y="7"/>
                </a:cubicBezTo>
                <a:cubicBezTo>
                  <a:pt x="185" y="4"/>
                  <a:pt x="171" y="0"/>
                  <a:pt x="162" y="1"/>
                </a:cubicBezTo>
                <a:cubicBezTo>
                  <a:pt x="148" y="2"/>
                  <a:pt x="123" y="15"/>
                  <a:pt x="115" y="19"/>
                </a:cubicBezTo>
                <a:cubicBezTo>
                  <a:pt x="115" y="19"/>
                  <a:pt x="115" y="19"/>
                  <a:pt x="115" y="19"/>
                </a:cubicBezTo>
                <a:cubicBezTo>
                  <a:pt x="45" y="19"/>
                  <a:pt x="45" y="19"/>
                  <a:pt x="45" y="19"/>
                </a:cubicBezTo>
                <a:cubicBezTo>
                  <a:pt x="42" y="19"/>
                  <a:pt x="40" y="21"/>
                  <a:pt x="39" y="23"/>
                </a:cubicBezTo>
                <a:cubicBezTo>
                  <a:pt x="1" y="128"/>
                  <a:pt x="1" y="128"/>
                  <a:pt x="1" y="128"/>
                </a:cubicBezTo>
                <a:cubicBezTo>
                  <a:pt x="0" y="131"/>
                  <a:pt x="1" y="134"/>
                  <a:pt x="3" y="136"/>
                </a:cubicBezTo>
                <a:cubicBezTo>
                  <a:pt x="21" y="148"/>
                  <a:pt x="21" y="148"/>
                  <a:pt x="21" y="148"/>
                </a:cubicBezTo>
                <a:cubicBezTo>
                  <a:pt x="21" y="148"/>
                  <a:pt x="21" y="148"/>
                  <a:pt x="21" y="148"/>
                </a:cubicBezTo>
                <a:cubicBezTo>
                  <a:pt x="16" y="156"/>
                  <a:pt x="11" y="168"/>
                  <a:pt x="14" y="175"/>
                </a:cubicBezTo>
                <a:cubicBezTo>
                  <a:pt x="17" y="184"/>
                  <a:pt x="33" y="196"/>
                  <a:pt x="44" y="199"/>
                </a:cubicBezTo>
                <a:cubicBezTo>
                  <a:pt x="44" y="199"/>
                  <a:pt x="44" y="199"/>
                  <a:pt x="44" y="199"/>
                </a:cubicBezTo>
                <a:cubicBezTo>
                  <a:pt x="44" y="199"/>
                  <a:pt x="44" y="199"/>
                  <a:pt x="44" y="199"/>
                </a:cubicBezTo>
                <a:cubicBezTo>
                  <a:pt x="44" y="200"/>
                  <a:pt x="44" y="201"/>
                  <a:pt x="44" y="201"/>
                </a:cubicBezTo>
                <a:cubicBezTo>
                  <a:pt x="46" y="208"/>
                  <a:pt x="51" y="213"/>
                  <a:pt x="60" y="217"/>
                </a:cubicBezTo>
                <a:cubicBezTo>
                  <a:pt x="65" y="219"/>
                  <a:pt x="70" y="220"/>
                  <a:pt x="74" y="220"/>
                </a:cubicBezTo>
                <a:cubicBezTo>
                  <a:pt x="74" y="220"/>
                  <a:pt x="74" y="220"/>
                  <a:pt x="74" y="220"/>
                </a:cubicBezTo>
                <a:cubicBezTo>
                  <a:pt x="74" y="220"/>
                  <a:pt x="74" y="220"/>
                  <a:pt x="74" y="220"/>
                </a:cubicBezTo>
                <a:cubicBezTo>
                  <a:pt x="76" y="223"/>
                  <a:pt x="79" y="225"/>
                  <a:pt x="82" y="228"/>
                </a:cubicBezTo>
                <a:cubicBezTo>
                  <a:pt x="89" y="233"/>
                  <a:pt x="99" y="235"/>
                  <a:pt x="106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11" y="239"/>
                  <a:pt x="119" y="244"/>
                  <a:pt x="128" y="244"/>
                </a:cubicBezTo>
                <a:cubicBezTo>
                  <a:pt x="128" y="244"/>
                  <a:pt x="128" y="244"/>
                  <a:pt x="128" y="244"/>
                </a:cubicBezTo>
                <a:cubicBezTo>
                  <a:pt x="132" y="244"/>
                  <a:pt x="136" y="243"/>
                  <a:pt x="139" y="241"/>
                </a:cubicBezTo>
                <a:cubicBezTo>
                  <a:pt x="142" y="239"/>
                  <a:pt x="145" y="237"/>
                  <a:pt x="147" y="233"/>
                </a:cubicBezTo>
                <a:cubicBezTo>
                  <a:pt x="147" y="233"/>
                  <a:pt x="147" y="233"/>
                  <a:pt x="147" y="233"/>
                </a:cubicBezTo>
                <a:cubicBezTo>
                  <a:pt x="147" y="233"/>
                  <a:pt x="147" y="233"/>
                  <a:pt x="147" y="233"/>
                </a:cubicBezTo>
                <a:cubicBezTo>
                  <a:pt x="156" y="237"/>
                  <a:pt x="167" y="239"/>
                  <a:pt x="176" y="239"/>
                </a:cubicBezTo>
                <a:close/>
                <a:moveTo>
                  <a:pt x="122" y="30"/>
                </a:moveTo>
                <a:cubicBezTo>
                  <a:pt x="122" y="30"/>
                  <a:pt x="122" y="30"/>
                  <a:pt x="122" y="30"/>
                </a:cubicBezTo>
                <a:cubicBezTo>
                  <a:pt x="132" y="25"/>
                  <a:pt x="153" y="14"/>
                  <a:pt x="163" y="14"/>
                </a:cubicBezTo>
                <a:cubicBezTo>
                  <a:pt x="163" y="14"/>
                  <a:pt x="164" y="14"/>
                  <a:pt x="164" y="14"/>
                </a:cubicBezTo>
                <a:cubicBezTo>
                  <a:pt x="171" y="14"/>
                  <a:pt x="184" y="17"/>
                  <a:pt x="194" y="20"/>
                </a:cubicBezTo>
                <a:cubicBezTo>
                  <a:pt x="194" y="20"/>
                  <a:pt x="194" y="20"/>
                  <a:pt x="194" y="20"/>
                </a:cubicBezTo>
                <a:cubicBezTo>
                  <a:pt x="203" y="23"/>
                  <a:pt x="211" y="25"/>
                  <a:pt x="216" y="25"/>
                </a:cubicBezTo>
                <a:cubicBezTo>
                  <a:pt x="222" y="25"/>
                  <a:pt x="245" y="29"/>
                  <a:pt x="262" y="31"/>
                </a:cubicBezTo>
                <a:cubicBezTo>
                  <a:pt x="263" y="31"/>
                  <a:pt x="263" y="31"/>
                  <a:pt x="263" y="31"/>
                </a:cubicBezTo>
                <a:cubicBezTo>
                  <a:pt x="263" y="31"/>
                  <a:pt x="263" y="31"/>
                  <a:pt x="263" y="31"/>
                </a:cubicBezTo>
                <a:cubicBezTo>
                  <a:pt x="295" y="129"/>
                  <a:pt x="295" y="129"/>
                  <a:pt x="295" y="129"/>
                </a:cubicBezTo>
                <a:cubicBezTo>
                  <a:pt x="294" y="129"/>
                  <a:pt x="294" y="129"/>
                  <a:pt x="294" y="129"/>
                </a:cubicBezTo>
                <a:cubicBezTo>
                  <a:pt x="279" y="143"/>
                  <a:pt x="279" y="143"/>
                  <a:pt x="279" y="143"/>
                </a:cubicBezTo>
                <a:cubicBezTo>
                  <a:pt x="278" y="143"/>
                  <a:pt x="278" y="143"/>
                  <a:pt x="278" y="143"/>
                </a:cubicBezTo>
                <a:cubicBezTo>
                  <a:pt x="241" y="106"/>
                  <a:pt x="241" y="106"/>
                  <a:pt x="241" y="106"/>
                </a:cubicBezTo>
                <a:cubicBezTo>
                  <a:pt x="232" y="96"/>
                  <a:pt x="202" y="64"/>
                  <a:pt x="191" y="61"/>
                </a:cubicBezTo>
                <a:cubicBezTo>
                  <a:pt x="174" y="56"/>
                  <a:pt x="159" y="59"/>
                  <a:pt x="147" y="69"/>
                </a:cubicBezTo>
                <a:cubicBezTo>
                  <a:pt x="142" y="74"/>
                  <a:pt x="139" y="79"/>
                  <a:pt x="136" y="85"/>
                </a:cubicBezTo>
                <a:cubicBezTo>
                  <a:pt x="131" y="94"/>
                  <a:pt x="127" y="102"/>
                  <a:pt x="111" y="103"/>
                </a:cubicBezTo>
                <a:cubicBezTo>
                  <a:pt x="104" y="104"/>
                  <a:pt x="98" y="103"/>
                  <a:pt x="96" y="100"/>
                </a:cubicBezTo>
                <a:cubicBezTo>
                  <a:pt x="94" y="98"/>
                  <a:pt x="94" y="96"/>
                  <a:pt x="95" y="95"/>
                </a:cubicBezTo>
                <a:lnTo>
                  <a:pt x="122" y="30"/>
                </a:lnTo>
                <a:close/>
                <a:moveTo>
                  <a:pt x="52" y="170"/>
                </a:moveTo>
                <a:cubicBezTo>
                  <a:pt x="50" y="175"/>
                  <a:pt x="47" y="180"/>
                  <a:pt x="46" y="186"/>
                </a:cubicBezTo>
                <a:cubicBezTo>
                  <a:pt x="46" y="186"/>
                  <a:pt x="46" y="186"/>
                  <a:pt x="46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9" y="183"/>
                  <a:pt x="28" y="176"/>
                  <a:pt x="26" y="171"/>
                </a:cubicBezTo>
                <a:cubicBezTo>
                  <a:pt x="26" y="171"/>
                  <a:pt x="26" y="171"/>
                  <a:pt x="26" y="171"/>
                </a:cubicBezTo>
                <a:cubicBezTo>
                  <a:pt x="25" y="169"/>
                  <a:pt x="28" y="161"/>
                  <a:pt x="31" y="156"/>
                </a:cubicBezTo>
                <a:cubicBezTo>
                  <a:pt x="32" y="155"/>
                  <a:pt x="32" y="155"/>
                  <a:pt x="32" y="155"/>
                </a:cubicBezTo>
                <a:cubicBezTo>
                  <a:pt x="32" y="155"/>
                  <a:pt x="32" y="155"/>
                  <a:pt x="32" y="155"/>
                </a:cubicBezTo>
                <a:cubicBezTo>
                  <a:pt x="52" y="170"/>
                  <a:pt x="52" y="170"/>
                  <a:pt x="52" y="170"/>
                </a:cubicBezTo>
                <a:close/>
                <a:moveTo>
                  <a:pt x="73" y="206"/>
                </a:moveTo>
                <a:cubicBezTo>
                  <a:pt x="73" y="206"/>
                  <a:pt x="73" y="206"/>
                  <a:pt x="73" y="206"/>
                </a:cubicBezTo>
                <a:cubicBezTo>
                  <a:pt x="73" y="206"/>
                  <a:pt x="72" y="206"/>
                  <a:pt x="72" y="206"/>
                </a:cubicBezTo>
                <a:cubicBezTo>
                  <a:pt x="71" y="206"/>
                  <a:pt x="68" y="206"/>
                  <a:pt x="65" y="205"/>
                </a:cubicBezTo>
                <a:cubicBezTo>
                  <a:pt x="60" y="203"/>
                  <a:pt x="57" y="200"/>
                  <a:pt x="57" y="198"/>
                </a:cubicBezTo>
                <a:cubicBezTo>
                  <a:pt x="57" y="197"/>
                  <a:pt x="57" y="196"/>
                  <a:pt x="57" y="195"/>
                </a:cubicBezTo>
                <a:cubicBezTo>
                  <a:pt x="57" y="195"/>
                  <a:pt x="57" y="194"/>
                  <a:pt x="57" y="194"/>
                </a:cubicBezTo>
                <a:cubicBezTo>
                  <a:pt x="58" y="188"/>
                  <a:pt x="62" y="179"/>
                  <a:pt x="65" y="173"/>
                </a:cubicBezTo>
                <a:cubicBezTo>
                  <a:pt x="65" y="173"/>
                  <a:pt x="65" y="173"/>
                  <a:pt x="65" y="173"/>
                </a:cubicBezTo>
                <a:cubicBezTo>
                  <a:pt x="66" y="173"/>
                  <a:pt x="67" y="172"/>
                  <a:pt x="67" y="172"/>
                </a:cubicBezTo>
                <a:cubicBezTo>
                  <a:pt x="67" y="171"/>
                  <a:pt x="68" y="170"/>
                  <a:pt x="68" y="169"/>
                </a:cubicBezTo>
                <a:cubicBezTo>
                  <a:pt x="68" y="169"/>
                  <a:pt x="68" y="169"/>
                  <a:pt x="68" y="169"/>
                </a:cubicBezTo>
                <a:cubicBezTo>
                  <a:pt x="70" y="166"/>
                  <a:pt x="71" y="165"/>
                  <a:pt x="72" y="164"/>
                </a:cubicBezTo>
                <a:cubicBezTo>
                  <a:pt x="76" y="163"/>
                  <a:pt x="84" y="169"/>
                  <a:pt x="85" y="171"/>
                </a:cubicBezTo>
                <a:cubicBezTo>
                  <a:pt x="85" y="172"/>
                  <a:pt x="85" y="172"/>
                  <a:pt x="85" y="172"/>
                </a:cubicBezTo>
                <a:cubicBezTo>
                  <a:pt x="86" y="172"/>
                  <a:pt x="86" y="173"/>
                  <a:pt x="85" y="175"/>
                </a:cubicBezTo>
                <a:cubicBezTo>
                  <a:pt x="85" y="175"/>
                  <a:pt x="85" y="175"/>
                  <a:pt x="85" y="175"/>
                </a:cubicBezTo>
                <a:lnTo>
                  <a:pt x="73" y="206"/>
                </a:lnTo>
                <a:close/>
                <a:moveTo>
                  <a:pt x="110" y="197"/>
                </a:moveTo>
                <a:cubicBezTo>
                  <a:pt x="110" y="197"/>
                  <a:pt x="110" y="197"/>
                  <a:pt x="110" y="197"/>
                </a:cubicBezTo>
                <a:cubicBezTo>
                  <a:pt x="102" y="221"/>
                  <a:pt x="102" y="221"/>
                  <a:pt x="102" y="221"/>
                </a:cubicBezTo>
                <a:cubicBezTo>
                  <a:pt x="102" y="221"/>
                  <a:pt x="102" y="221"/>
                  <a:pt x="102" y="221"/>
                </a:cubicBezTo>
                <a:cubicBezTo>
                  <a:pt x="99" y="221"/>
                  <a:pt x="94" y="220"/>
                  <a:pt x="90" y="217"/>
                </a:cubicBezTo>
                <a:cubicBezTo>
                  <a:pt x="87" y="215"/>
                  <a:pt x="86" y="214"/>
                  <a:pt x="85" y="212"/>
                </a:cubicBezTo>
                <a:cubicBezTo>
                  <a:pt x="85" y="212"/>
                  <a:pt x="85" y="212"/>
                  <a:pt x="85" y="212"/>
                </a:cubicBezTo>
                <a:cubicBezTo>
                  <a:pt x="97" y="181"/>
                  <a:pt x="97" y="181"/>
                  <a:pt x="97" y="181"/>
                </a:cubicBezTo>
                <a:cubicBezTo>
                  <a:pt x="97" y="181"/>
                  <a:pt x="97" y="181"/>
                  <a:pt x="97" y="181"/>
                </a:cubicBezTo>
                <a:cubicBezTo>
                  <a:pt x="103" y="182"/>
                  <a:pt x="109" y="185"/>
                  <a:pt x="110" y="187"/>
                </a:cubicBezTo>
                <a:cubicBezTo>
                  <a:pt x="110" y="187"/>
                  <a:pt x="110" y="187"/>
                  <a:pt x="110" y="187"/>
                </a:cubicBezTo>
                <a:cubicBezTo>
                  <a:pt x="110" y="188"/>
                  <a:pt x="111" y="191"/>
                  <a:pt x="110" y="197"/>
                </a:cubicBezTo>
                <a:close/>
                <a:moveTo>
                  <a:pt x="138" y="218"/>
                </a:moveTo>
                <a:cubicBezTo>
                  <a:pt x="138" y="218"/>
                  <a:pt x="138" y="218"/>
                  <a:pt x="138" y="218"/>
                </a:cubicBezTo>
                <a:cubicBezTo>
                  <a:pt x="138" y="218"/>
                  <a:pt x="138" y="218"/>
                  <a:pt x="138" y="218"/>
                </a:cubicBezTo>
                <a:cubicBezTo>
                  <a:pt x="138" y="219"/>
                  <a:pt x="137" y="219"/>
                  <a:pt x="137" y="219"/>
                </a:cubicBezTo>
                <a:cubicBezTo>
                  <a:pt x="136" y="221"/>
                  <a:pt x="136" y="223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5" y="227"/>
                  <a:pt x="134" y="229"/>
                  <a:pt x="132" y="230"/>
                </a:cubicBezTo>
                <a:cubicBezTo>
                  <a:pt x="131" y="231"/>
                  <a:pt x="130" y="231"/>
                  <a:pt x="128" y="231"/>
                </a:cubicBezTo>
                <a:cubicBezTo>
                  <a:pt x="124" y="231"/>
                  <a:pt x="118" y="228"/>
                  <a:pt x="115" y="225"/>
                </a:cubicBezTo>
                <a:cubicBezTo>
                  <a:pt x="115" y="225"/>
                  <a:pt x="115" y="225"/>
                  <a:pt x="115" y="225"/>
                </a:cubicBezTo>
                <a:cubicBezTo>
                  <a:pt x="115" y="225"/>
                  <a:pt x="115" y="225"/>
                  <a:pt x="115" y="225"/>
                </a:cubicBezTo>
                <a:cubicBezTo>
                  <a:pt x="122" y="201"/>
                  <a:pt x="122" y="201"/>
                  <a:pt x="122" y="201"/>
                </a:cubicBezTo>
                <a:cubicBezTo>
                  <a:pt x="122" y="201"/>
                  <a:pt x="122" y="201"/>
                  <a:pt x="122" y="201"/>
                </a:cubicBezTo>
                <a:cubicBezTo>
                  <a:pt x="124" y="200"/>
                  <a:pt x="127" y="199"/>
                  <a:pt x="129" y="200"/>
                </a:cubicBezTo>
                <a:cubicBezTo>
                  <a:pt x="132" y="200"/>
                  <a:pt x="137" y="201"/>
                  <a:pt x="138" y="205"/>
                </a:cubicBezTo>
                <a:cubicBezTo>
                  <a:pt x="139" y="208"/>
                  <a:pt x="139" y="213"/>
                  <a:pt x="138" y="218"/>
                </a:cubicBezTo>
                <a:close/>
                <a:moveTo>
                  <a:pt x="131" y="187"/>
                </a:moveTo>
                <a:cubicBezTo>
                  <a:pt x="129" y="187"/>
                  <a:pt x="126" y="187"/>
                  <a:pt x="124" y="187"/>
                </a:cubicBezTo>
                <a:cubicBezTo>
                  <a:pt x="123" y="187"/>
                  <a:pt x="123" y="187"/>
                  <a:pt x="123" y="187"/>
                </a:cubicBezTo>
                <a:cubicBezTo>
                  <a:pt x="123" y="187"/>
                  <a:pt x="123" y="187"/>
                  <a:pt x="123" y="187"/>
                </a:cubicBezTo>
                <a:cubicBezTo>
                  <a:pt x="123" y="185"/>
                  <a:pt x="123" y="184"/>
                  <a:pt x="123" y="184"/>
                </a:cubicBezTo>
                <a:cubicBezTo>
                  <a:pt x="121" y="175"/>
                  <a:pt x="109" y="169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7"/>
                </a:cubicBezTo>
                <a:cubicBezTo>
                  <a:pt x="96" y="162"/>
                  <a:pt x="90" y="156"/>
                  <a:pt x="84" y="154"/>
                </a:cubicBezTo>
                <a:cubicBezTo>
                  <a:pt x="78" y="151"/>
                  <a:pt x="73" y="150"/>
                  <a:pt x="68" y="152"/>
                </a:cubicBezTo>
                <a:cubicBezTo>
                  <a:pt x="65" y="153"/>
                  <a:pt x="63" y="155"/>
                  <a:pt x="60" y="158"/>
                </a:cubicBezTo>
                <a:cubicBezTo>
                  <a:pt x="60" y="159"/>
                  <a:pt x="60" y="159"/>
                  <a:pt x="60" y="159"/>
                </a:cubicBezTo>
                <a:cubicBezTo>
                  <a:pt x="59" y="158"/>
                  <a:pt x="59" y="158"/>
                  <a:pt x="59" y="15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50" y="32"/>
                  <a:pt x="50" y="32"/>
                  <a:pt x="50" y="32"/>
                </a:cubicBezTo>
                <a:cubicBezTo>
                  <a:pt x="107" y="32"/>
                  <a:pt x="107" y="32"/>
                  <a:pt x="107" y="32"/>
                </a:cubicBezTo>
                <a:cubicBezTo>
                  <a:pt x="107" y="32"/>
                  <a:pt x="107" y="32"/>
                  <a:pt x="107" y="32"/>
                </a:cubicBezTo>
                <a:cubicBezTo>
                  <a:pt x="82" y="90"/>
                  <a:pt x="82" y="90"/>
                  <a:pt x="82" y="90"/>
                </a:cubicBezTo>
                <a:cubicBezTo>
                  <a:pt x="82" y="90"/>
                  <a:pt x="82" y="91"/>
                  <a:pt x="82" y="91"/>
                </a:cubicBezTo>
                <a:cubicBezTo>
                  <a:pt x="82" y="92"/>
                  <a:pt x="79" y="101"/>
                  <a:pt x="86" y="108"/>
                </a:cubicBezTo>
                <a:cubicBezTo>
                  <a:pt x="91" y="115"/>
                  <a:pt x="100" y="117"/>
                  <a:pt x="113" y="116"/>
                </a:cubicBezTo>
                <a:cubicBezTo>
                  <a:pt x="135" y="114"/>
                  <a:pt x="142" y="101"/>
                  <a:pt x="148" y="91"/>
                </a:cubicBezTo>
                <a:cubicBezTo>
                  <a:pt x="150" y="86"/>
                  <a:pt x="152" y="82"/>
                  <a:pt x="155" y="79"/>
                </a:cubicBezTo>
                <a:cubicBezTo>
                  <a:pt x="164" y="72"/>
                  <a:pt x="174" y="70"/>
                  <a:pt x="187" y="74"/>
                </a:cubicBezTo>
                <a:cubicBezTo>
                  <a:pt x="193" y="75"/>
                  <a:pt x="214" y="96"/>
                  <a:pt x="231" y="115"/>
                </a:cubicBezTo>
                <a:cubicBezTo>
                  <a:pt x="231" y="115"/>
                  <a:pt x="231" y="115"/>
                  <a:pt x="231" y="115"/>
                </a:cubicBezTo>
                <a:cubicBezTo>
                  <a:pt x="272" y="155"/>
                  <a:pt x="272" y="155"/>
                  <a:pt x="272" y="155"/>
                </a:cubicBezTo>
                <a:cubicBezTo>
                  <a:pt x="272" y="155"/>
                  <a:pt x="272" y="155"/>
                  <a:pt x="272" y="155"/>
                </a:cubicBezTo>
                <a:cubicBezTo>
                  <a:pt x="271" y="159"/>
                  <a:pt x="268" y="164"/>
                  <a:pt x="264" y="167"/>
                </a:cubicBezTo>
                <a:cubicBezTo>
                  <a:pt x="261" y="170"/>
                  <a:pt x="257" y="172"/>
                  <a:pt x="254" y="172"/>
                </a:cubicBezTo>
                <a:cubicBezTo>
                  <a:pt x="254" y="172"/>
                  <a:pt x="254" y="172"/>
                  <a:pt x="254" y="172"/>
                </a:cubicBezTo>
                <a:cubicBezTo>
                  <a:pt x="253" y="172"/>
                  <a:pt x="253" y="172"/>
                  <a:pt x="253" y="172"/>
                </a:cubicBezTo>
                <a:cubicBezTo>
                  <a:pt x="220" y="145"/>
                  <a:pt x="220" y="145"/>
                  <a:pt x="220" y="145"/>
                </a:cubicBezTo>
                <a:cubicBezTo>
                  <a:pt x="217" y="142"/>
                  <a:pt x="212" y="135"/>
                  <a:pt x="212" y="132"/>
                </a:cubicBezTo>
                <a:cubicBezTo>
                  <a:pt x="212" y="128"/>
                  <a:pt x="209" y="126"/>
                  <a:pt x="205" y="126"/>
                </a:cubicBezTo>
                <a:cubicBezTo>
                  <a:pt x="205" y="126"/>
                  <a:pt x="205" y="126"/>
                  <a:pt x="205" y="126"/>
                </a:cubicBezTo>
                <a:cubicBezTo>
                  <a:pt x="201" y="126"/>
                  <a:pt x="199" y="129"/>
                  <a:pt x="199" y="133"/>
                </a:cubicBezTo>
                <a:cubicBezTo>
                  <a:pt x="200" y="142"/>
                  <a:pt x="209" y="152"/>
                  <a:pt x="211" y="154"/>
                </a:cubicBezTo>
                <a:cubicBezTo>
                  <a:pt x="211" y="155"/>
                  <a:pt x="211" y="155"/>
                  <a:pt x="212" y="155"/>
                </a:cubicBezTo>
                <a:cubicBezTo>
                  <a:pt x="245" y="182"/>
                  <a:pt x="245" y="182"/>
                  <a:pt x="245" y="182"/>
                </a:cubicBezTo>
                <a:cubicBezTo>
                  <a:pt x="245" y="182"/>
                  <a:pt x="245" y="183"/>
                  <a:pt x="246" y="183"/>
                </a:cubicBezTo>
                <a:cubicBezTo>
                  <a:pt x="246" y="183"/>
                  <a:pt x="246" y="183"/>
                  <a:pt x="246" y="183"/>
                </a:cubicBezTo>
                <a:cubicBezTo>
                  <a:pt x="246" y="183"/>
                  <a:pt x="246" y="183"/>
                  <a:pt x="246" y="183"/>
                </a:cubicBezTo>
                <a:cubicBezTo>
                  <a:pt x="245" y="186"/>
                  <a:pt x="243" y="189"/>
                  <a:pt x="240" y="192"/>
                </a:cubicBezTo>
                <a:cubicBezTo>
                  <a:pt x="236" y="195"/>
                  <a:pt x="232" y="197"/>
                  <a:pt x="228" y="197"/>
                </a:cubicBezTo>
                <a:cubicBezTo>
                  <a:pt x="228" y="197"/>
                  <a:pt x="228" y="197"/>
                  <a:pt x="228" y="197"/>
                </a:cubicBezTo>
                <a:cubicBezTo>
                  <a:pt x="228" y="197"/>
                  <a:pt x="228" y="197"/>
                  <a:pt x="228" y="197"/>
                </a:cubicBezTo>
                <a:cubicBezTo>
                  <a:pt x="193" y="168"/>
                  <a:pt x="193" y="168"/>
                  <a:pt x="193" y="168"/>
                </a:cubicBezTo>
                <a:cubicBezTo>
                  <a:pt x="192" y="167"/>
                  <a:pt x="190" y="167"/>
                  <a:pt x="188" y="167"/>
                </a:cubicBezTo>
                <a:cubicBezTo>
                  <a:pt x="186" y="167"/>
                  <a:pt x="185" y="168"/>
                  <a:pt x="184" y="169"/>
                </a:cubicBezTo>
                <a:cubicBezTo>
                  <a:pt x="183" y="171"/>
                  <a:pt x="182" y="172"/>
                  <a:pt x="182" y="174"/>
                </a:cubicBezTo>
                <a:cubicBezTo>
                  <a:pt x="182" y="176"/>
                  <a:pt x="183" y="177"/>
                  <a:pt x="185" y="178"/>
                </a:cubicBezTo>
                <a:cubicBezTo>
                  <a:pt x="219" y="206"/>
                  <a:pt x="219" y="206"/>
                  <a:pt x="219" y="206"/>
                </a:cubicBezTo>
                <a:cubicBezTo>
                  <a:pt x="219" y="206"/>
                  <a:pt x="219" y="206"/>
                  <a:pt x="219" y="206"/>
                </a:cubicBezTo>
                <a:cubicBezTo>
                  <a:pt x="218" y="210"/>
                  <a:pt x="216" y="213"/>
                  <a:pt x="213" y="215"/>
                </a:cubicBezTo>
                <a:cubicBezTo>
                  <a:pt x="211" y="218"/>
                  <a:pt x="207" y="219"/>
                  <a:pt x="204" y="219"/>
                </a:cubicBezTo>
                <a:cubicBezTo>
                  <a:pt x="204" y="219"/>
                  <a:pt x="204" y="219"/>
                  <a:pt x="204" y="219"/>
                </a:cubicBezTo>
                <a:cubicBezTo>
                  <a:pt x="204" y="219"/>
                  <a:pt x="204" y="219"/>
                  <a:pt x="204" y="219"/>
                </a:cubicBezTo>
                <a:cubicBezTo>
                  <a:pt x="171" y="194"/>
                  <a:pt x="171" y="194"/>
                  <a:pt x="171" y="194"/>
                </a:cubicBezTo>
                <a:cubicBezTo>
                  <a:pt x="170" y="193"/>
                  <a:pt x="168" y="193"/>
                  <a:pt x="166" y="193"/>
                </a:cubicBezTo>
                <a:cubicBezTo>
                  <a:pt x="165" y="193"/>
                  <a:pt x="163" y="194"/>
                  <a:pt x="162" y="196"/>
                </a:cubicBezTo>
                <a:cubicBezTo>
                  <a:pt x="161" y="197"/>
                  <a:pt x="161" y="199"/>
                  <a:pt x="161" y="201"/>
                </a:cubicBezTo>
                <a:cubicBezTo>
                  <a:pt x="161" y="202"/>
                  <a:pt x="162" y="204"/>
                  <a:pt x="163" y="205"/>
                </a:cubicBezTo>
                <a:cubicBezTo>
                  <a:pt x="188" y="224"/>
                  <a:pt x="188" y="224"/>
                  <a:pt x="188" y="224"/>
                </a:cubicBezTo>
                <a:cubicBezTo>
                  <a:pt x="188" y="224"/>
                  <a:pt x="188" y="224"/>
                  <a:pt x="188" y="224"/>
                </a:cubicBezTo>
                <a:cubicBezTo>
                  <a:pt x="187" y="224"/>
                  <a:pt x="186" y="225"/>
                  <a:pt x="185" y="225"/>
                </a:cubicBezTo>
                <a:cubicBezTo>
                  <a:pt x="182" y="225"/>
                  <a:pt x="179" y="226"/>
                  <a:pt x="176" y="226"/>
                </a:cubicBezTo>
                <a:cubicBezTo>
                  <a:pt x="168" y="226"/>
                  <a:pt x="158" y="223"/>
                  <a:pt x="151" y="220"/>
                </a:cubicBezTo>
                <a:cubicBezTo>
                  <a:pt x="151" y="220"/>
                  <a:pt x="151" y="220"/>
                  <a:pt x="151" y="220"/>
                </a:cubicBezTo>
                <a:cubicBezTo>
                  <a:pt x="151" y="220"/>
                  <a:pt x="151" y="220"/>
                  <a:pt x="151" y="220"/>
                </a:cubicBezTo>
                <a:cubicBezTo>
                  <a:pt x="153" y="212"/>
                  <a:pt x="152" y="205"/>
                  <a:pt x="151" y="201"/>
                </a:cubicBezTo>
                <a:cubicBezTo>
                  <a:pt x="149" y="193"/>
                  <a:pt x="141" y="188"/>
                  <a:pt x="131" y="18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n-lt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E8D8CA6-2132-3B4A-BC60-9F91E4B1458B}"/>
              </a:ext>
            </a:extLst>
          </p:cNvPr>
          <p:cNvGrpSpPr/>
          <p:nvPr userDrawn="1"/>
        </p:nvGrpSpPr>
        <p:grpSpPr>
          <a:xfrm>
            <a:off x="380999" y="1577830"/>
            <a:ext cx="11429980" cy="4734070"/>
            <a:chOff x="380999" y="1577845"/>
            <a:chExt cx="11520823" cy="5122866"/>
          </a:xfrm>
          <a:noFill/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AE293C8-14C3-874B-8890-DD874D9F5187}"/>
                </a:ext>
              </a:extLst>
            </p:cNvPr>
            <p:cNvSpPr/>
            <p:nvPr userDrawn="1"/>
          </p:nvSpPr>
          <p:spPr>
            <a:xfrm>
              <a:off x="380999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956D8B7-72A3-4147-AD60-AFE0126E0C59}"/>
                </a:ext>
              </a:extLst>
            </p:cNvPr>
            <p:cNvSpPr/>
            <p:nvPr userDrawn="1"/>
          </p:nvSpPr>
          <p:spPr>
            <a:xfrm>
              <a:off x="1661715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88FFDCF-08AC-A745-A14B-1FB83D20EF87}"/>
                </a:ext>
              </a:extLst>
            </p:cNvPr>
            <p:cNvSpPr/>
            <p:nvPr userDrawn="1"/>
          </p:nvSpPr>
          <p:spPr>
            <a:xfrm>
              <a:off x="2942432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2B6DE6F-DAF8-E246-AB81-6B639342348F}"/>
                </a:ext>
              </a:extLst>
            </p:cNvPr>
            <p:cNvSpPr/>
            <p:nvPr userDrawn="1"/>
          </p:nvSpPr>
          <p:spPr>
            <a:xfrm>
              <a:off x="4223148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3841CF2-263C-B04E-9960-36397C49999B}"/>
                </a:ext>
              </a:extLst>
            </p:cNvPr>
            <p:cNvSpPr/>
            <p:nvPr userDrawn="1"/>
          </p:nvSpPr>
          <p:spPr>
            <a:xfrm>
              <a:off x="5503865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2987178-6410-AF4D-A95C-0F3F1BDEE23D}"/>
                </a:ext>
              </a:extLst>
            </p:cNvPr>
            <p:cNvSpPr/>
            <p:nvPr userDrawn="1"/>
          </p:nvSpPr>
          <p:spPr>
            <a:xfrm>
              <a:off x="380999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970435B-0CE9-444F-B4A6-D7E0FE1E8098}"/>
                </a:ext>
              </a:extLst>
            </p:cNvPr>
            <p:cNvSpPr/>
            <p:nvPr userDrawn="1"/>
          </p:nvSpPr>
          <p:spPr>
            <a:xfrm>
              <a:off x="1661715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637EA29-2A06-9242-B2F2-EA7F43329956}"/>
                </a:ext>
              </a:extLst>
            </p:cNvPr>
            <p:cNvSpPr/>
            <p:nvPr userDrawn="1"/>
          </p:nvSpPr>
          <p:spPr>
            <a:xfrm>
              <a:off x="2942432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A48AEFC-712D-D044-81E5-6C1E41110759}"/>
                </a:ext>
              </a:extLst>
            </p:cNvPr>
            <p:cNvSpPr/>
            <p:nvPr userDrawn="1"/>
          </p:nvSpPr>
          <p:spPr>
            <a:xfrm>
              <a:off x="4223148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7CBE003-D5E8-864C-98FA-9796248CE2AC}"/>
                </a:ext>
              </a:extLst>
            </p:cNvPr>
            <p:cNvSpPr/>
            <p:nvPr userDrawn="1"/>
          </p:nvSpPr>
          <p:spPr>
            <a:xfrm>
              <a:off x="5503865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ADE82A5-95E4-6C4B-B11D-D53B6705F30D}"/>
                </a:ext>
              </a:extLst>
            </p:cNvPr>
            <p:cNvSpPr/>
            <p:nvPr userDrawn="1"/>
          </p:nvSpPr>
          <p:spPr>
            <a:xfrm>
              <a:off x="380999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D3153DA-7E96-5A48-85FB-7AA1D84749D2}"/>
                </a:ext>
              </a:extLst>
            </p:cNvPr>
            <p:cNvSpPr/>
            <p:nvPr userDrawn="1"/>
          </p:nvSpPr>
          <p:spPr>
            <a:xfrm>
              <a:off x="1661715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84E1B72-B1CA-DE40-964D-0211741FA050}"/>
                </a:ext>
              </a:extLst>
            </p:cNvPr>
            <p:cNvSpPr/>
            <p:nvPr userDrawn="1"/>
          </p:nvSpPr>
          <p:spPr>
            <a:xfrm>
              <a:off x="2942432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DEA1F2-0336-5941-9F8D-A8F560A28115}"/>
                </a:ext>
              </a:extLst>
            </p:cNvPr>
            <p:cNvSpPr/>
            <p:nvPr userDrawn="1"/>
          </p:nvSpPr>
          <p:spPr>
            <a:xfrm>
              <a:off x="4223148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57AB087-9AA7-2D4E-A82A-605B50372D51}"/>
                </a:ext>
              </a:extLst>
            </p:cNvPr>
            <p:cNvSpPr/>
            <p:nvPr userDrawn="1"/>
          </p:nvSpPr>
          <p:spPr>
            <a:xfrm>
              <a:off x="5503865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0F447629-D1B9-0546-851F-E0D5ED605B7A}"/>
                </a:ext>
              </a:extLst>
            </p:cNvPr>
            <p:cNvSpPr/>
            <p:nvPr userDrawn="1"/>
          </p:nvSpPr>
          <p:spPr>
            <a:xfrm>
              <a:off x="6784581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FE9B1291-33A4-EE48-806C-B5D7A1613345}"/>
                </a:ext>
              </a:extLst>
            </p:cNvPr>
            <p:cNvSpPr/>
            <p:nvPr userDrawn="1"/>
          </p:nvSpPr>
          <p:spPr>
            <a:xfrm>
              <a:off x="6784581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9CEBC75-F9B2-DF40-8FAB-B56A760AED4B}"/>
                </a:ext>
              </a:extLst>
            </p:cNvPr>
            <p:cNvSpPr/>
            <p:nvPr userDrawn="1"/>
          </p:nvSpPr>
          <p:spPr>
            <a:xfrm>
              <a:off x="6784581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EE5FF759-951A-054F-9F4A-482FE7225052}"/>
                </a:ext>
              </a:extLst>
            </p:cNvPr>
            <p:cNvSpPr/>
            <p:nvPr userDrawn="1"/>
          </p:nvSpPr>
          <p:spPr>
            <a:xfrm>
              <a:off x="8065298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90EB0590-F226-6748-B645-71C913F9B674}"/>
                </a:ext>
              </a:extLst>
            </p:cNvPr>
            <p:cNvSpPr/>
            <p:nvPr userDrawn="1"/>
          </p:nvSpPr>
          <p:spPr>
            <a:xfrm>
              <a:off x="8065298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5D31B860-B762-A94B-B4E7-355AC4826289}"/>
                </a:ext>
              </a:extLst>
            </p:cNvPr>
            <p:cNvSpPr/>
            <p:nvPr userDrawn="1"/>
          </p:nvSpPr>
          <p:spPr>
            <a:xfrm>
              <a:off x="8065298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82F9D60-F80B-2F4A-9903-3996F96A22C1}"/>
                </a:ext>
              </a:extLst>
            </p:cNvPr>
            <p:cNvSpPr/>
            <p:nvPr userDrawn="1"/>
          </p:nvSpPr>
          <p:spPr>
            <a:xfrm>
              <a:off x="380999" y="5419994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69C6B9A7-FBBB-F541-A935-BD7AF34D2A23}"/>
                </a:ext>
              </a:extLst>
            </p:cNvPr>
            <p:cNvSpPr/>
            <p:nvPr userDrawn="1"/>
          </p:nvSpPr>
          <p:spPr>
            <a:xfrm>
              <a:off x="1661715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D53EEC05-B7DA-1540-9D32-177152835D78}"/>
                </a:ext>
              </a:extLst>
            </p:cNvPr>
            <p:cNvSpPr/>
            <p:nvPr userDrawn="1"/>
          </p:nvSpPr>
          <p:spPr>
            <a:xfrm>
              <a:off x="2942432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4FF87792-0038-E245-A756-AFA193BEC33C}"/>
                </a:ext>
              </a:extLst>
            </p:cNvPr>
            <p:cNvSpPr/>
            <p:nvPr userDrawn="1"/>
          </p:nvSpPr>
          <p:spPr>
            <a:xfrm>
              <a:off x="4223148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63EA47D-7036-6149-BFDD-AE64B4F0440E}"/>
                </a:ext>
              </a:extLst>
            </p:cNvPr>
            <p:cNvSpPr/>
            <p:nvPr userDrawn="1"/>
          </p:nvSpPr>
          <p:spPr>
            <a:xfrm>
              <a:off x="5503865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04CBC1BB-E618-4143-8102-0EE9DB6F72F6}"/>
                </a:ext>
              </a:extLst>
            </p:cNvPr>
            <p:cNvSpPr/>
            <p:nvPr userDrawn="1"/>
          </p:nvSpPr>
          <p:spPr>
            <a:xfrm>
              <a:off x="6784581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16302F22-33DC-404D-B9F7-4999125BE1C0}"/>
                </a:ext>
              </a:extLst>
            </p:cNvPr>
            <p:cNvSpPr/>
            <p:nvPr userDrawn="1"/>
          </p:nvSpPr>
          <p:spPr>
            <a:xfrm>
              <a:off x="8065298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63913E2F-D6C7-6E4C-AF84-F30990D1C5F1}"/>
                </a:ext>
              </a:extLst>
            </p:cNvPr>
            <p:cNvSpPr/>
            <p:nvPr userDrawn="1"/>
          </p:nvSpPr>
          <p:spPr>
            <a:xfrm>
              <a:off x="9343202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98F6AD2D-9784-F642-A106-04B3A189A305}"/>
                </a:ext>
              </a:extLst>
            </p:cNvPr>
            <p:cNvSpPr/>
            <p:nvPr userDrawn="1"/>
          </p:nvSpPr>
          <p:spPr>
            <a:xfrm>
              <a:off x="9343202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15BAA71B-3977-2C45-BFCD-DD42EE282F3A}"/>
                </a:ext>
              </a:extLst>
            </p:cNvPr>
            <p:cNvSpPr/>
            <p:nvPr userDrawn="1"/>
          </p:nvSpPr>
          <p:spPr>
            <a:xfrm>
              <a:off x="9343202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009A6B8D-0BC6-844C-98BC-26714B74B89C}"/>
                </a:ext>
              </a:extLst>
            </p:cNvPr>
            <p:cNvSpPr/>
            <p:nvPr userDrawn="1"/>
          </p:nvSpPr>
          <p:spPr>
            <a:xfrm>
              <a:off x="9343202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D8F3FD9C-200A-6341-94B3-0C1EB6DACAB0}"/>
                </a:ext>
              </a:extLst>
            </p:cNvPr>
            <p:cNvSpPr/>
            <p:nvPr userDrawn="1"/>
          </p:nvSpPr>
          <p:spPr>
            <a:xfrm>
              <a:off x="10621105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138373EE-C7AD-A948-BF2D-EFDCBD86A63D}"/>
                </a:ext>
              </a:extLst>
            </p:cNvPr>
            <p:cNvSpPr/>
            <p:nvPr userDrawn="1"/>
          </p:nvSpPr>
          <p:spPr>
            <a:xfrm>
              <a:off x="10621105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1D9BF3B8-1553-CB43-861A-0C55AC833BFD}"/>
                </a:ext>
              </a:extLst>
            </p:cNvPr>
            <p:cNvSpPr/>
            <p:nvPr userDrawn="1"/>
          </p:nvSpPr>
          <p:spPr>
            <a:xfrm>
              <a:off x="10621105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A6D0F4D3-BA10-E141-99A5-7B49C20DF11A}"/>
                </a:ext>
              </a:extLst>
            </p:cNvPr>
            <p:cNvSpPr/>
            <p:nvPr userDrawn="1"/>
          </p:nvSpPr>
          <p:spPr>
            <a:xfrm>
              <a:off x="10621105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</p:grpSp>
      <p:sp>
        <p:nvSpPr>
          <p:cNvPr id="37" name="Freeform 69">
            <a:extLst>
              <a:ext uri="{FF2B5EF4-FFF2-40B4-BE49-F238E27FC236}">
                <a16:creationId xmlns:a16="http://schemas.microsoft.com/office/drawing/2014/main" id="{3634B592-2BB6-5C4B-A72F-5EE93BA6F81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25653" y="1967482"/>
            <a:ext cx="499664" cy="424950"/>
          </a:xfrm>
          <a:custGeom>
            <a:avLst/>
            <a:gdLst>
              <a:gd name="T0" fmla="*/ 90 w 289"/>
              <a:gd name="T1" fmla="*/ 246 h 246"/>
              <a:gd name="T2" fmla="*/ 86 w 289"/>
              <a:gd name="T3" fmla="*/ 244 h 246"/>
              <a:gd name="T4" fmla="*/ 2 w 289"/>
              <a:gd name="T5" fmla="*/ 160 h 246"/>
              <a:gd name="T6" fmla="*/ 2 w 289"/>
              <a:gd name="T7" fmla="*/ 152 h 246"/>
              <a:gd name="T8" fmla="*/ 44 w 289"/>
              <a:gd name="T9" fmla="*/ 110 h 246"/>
              <a:gd name="T10" fmla="*/ 53 w 289"/>
              <a:gd name="T11" fmla="*/ 110 h 246"/>
              <a:gd name="T12" fmla="*/ 90 w 289"/>
              <a:gd name="T13" fmla="*/ 148 h 246"/>
              <a:gd name="T14" fmla="*/ 236 w 289"/>
              <a:gd name="T15" fmla="*/ 2 h 246"/>
              <a:gd name="T16" fmla="*/ 245 w 289"/>
              <a:gd name="T17" fmla="*/ 2 h 246"/>
              <a:gd name="T18" fmla="*/ 287 w 289"/>
              <a:gd name="T19" fmla="*/ 44 h 246"/>
              <a:gd name="T20" fmla="*/ 287 w 289"/>
              <a:gd name="T21" fmla="*/ 52 h 246"/>
              <a:gd name="T22" fmla="*/ 95 w 289"/>
              <a:gd name="T23" fmla="*/ 244 h 246"/>
              <a:gd name="T24" fmla="*/ 90 w 289"/>
              <a:gd name="T25" fmla="*/ 246 h 246"/>
              <a:gd name="T26" fmla="*/ 15 w 289"/>
              <a:gd name="T27" fmla="*/ 156 h 246"/>
              <a:gd name="T28" fmla="*/ 90 w 289"/>
              <a:gd name="T29" fmla="*/ 232 h 246"/>
              <a:gd name="T30" fmla="*/ 274 w 289"/>
              <a:gd name="T31" fmla="*/ 48 h 246"/>
              <a:gd name="T32" fmla="*/ 240 w 289"/>
              <a:gd name="T33" fmla="*/ 15 h 246"/>
              <a:gd name="T34" fmla="*/ 95 w 289"/>
              <a:gd name="T35" fmla="*/ 160 h 246"/>
              <a:gd name="T36" fmla="*/ 86 w 289"/>
              <a:gd name="T37" fmla="*/ 160 h 246"/>
              <a:gd name="T38" fmla="*/ 48 w 289"/>
              <a:gd name="T39" fmla="*/ 123 h 246"/>
              <a:gd name="T40" fmla="*/ 15 w 289"/>
              <a:gd name="T41" fmla="*/ 156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89" h="246">
                <a:moveTo>
                  <a:pt x="90" y="246"/>
                </a:moveTo>
                <a:cubicBezTo>
                  <a:pt x="89" y="246"/>
                  <a:pt x="87" y="246"/>
                  <a:pt x="86" y="244"/>
                </a:cubicBezTo>
                <a:cubicBezTo>
                  <a:pt x="2" y="160"/>
                  <a:pt x="2" y="160"/>
                  <a:pt x="2" y="160"/>
                </a:cubicBezTo>
                <a:cubicBezTo>
                  <a:pt x="0" y="158"/>
                  <a:pt x="0" y="154"/>
                  <a:pt x="2" y="152"/>
                </a:cubicBezTo>
                <a:cubicBezTo>
                  <a:pt x="44" y="110"/>
                  <a:pt x="44" y="110"/>
                  <a:pt x="44" y="110"/>
                </a:cubicBezTo>
                <a:cubicBezTo>
                  <a:pt x="47" y="108"/>
                  <a:pt x="50" y="108"/>
                  <a:pt x="53" y="110"/>
                </a:cubicBezTo>
                <a:cubicBezTo>
                  <a:pt x="90" y="148"/>
                  <a:pt x="90" y="148"/>
                  <a:pt x="90" y="148"/>
                </a:cubicBezTo>
                <a:cubicBezTo>
                  <a:pt x="236" y="2"/>
                  <a:pt x="236" y="2"/>
                  <a:pt x="236" y="2"/>
                </a:cubicBezTo>
                <a:cubicBezTo>
                  <a:pt x="239" y="0"/>
                  <a:pt x="242" y="0"/>
                  <a:pt x="245" y="2"/>
                </a:cubicBezTo>
                <a:cubicBezTo>
                  <a:pt x="287" y="44"/>
                  <a:pt x="287" y="44"/>
                  <a:pt x="287" y="44"/>
                </a:cubicBezTo>
                <a:cubicBezTo>
                  <a:pt x="289" y="46"/>
                  <a:pt x="289" y="50"/>
                  <a:pt x="287" y="52"/>
                </a:cubicBezTo>
                <a:cubicBezTo>
                  <a:pt x="95" y="244"/>
                  <a:pt x="95" y="244"/>
                  <a:pt x="95" y="244"/>
                </a:cubicBezTo>
                <a:cubicBezTo>
                  <a:pt x="94" y="246"/>
                  <a:pt x="92" y="246"/>
                  <a:pt x="90" y="246"/>
                </a:cubicBezTo>
                <a:close/>
                <a:moveTo>
                  <a:pt x="15" y="156"/>
                </a:moveTo>
                <a:cubicBezTo>
                  <a:pt x="90" y="232"/>
                  <a:pt x="90" y="232"/>
                  <a:pt x="90" y="232"/>
                </a:cubicBezTo>
                <a:cubicBezTo>
                  <a:pt x="274" y="48"/>
                  <a:pt x="274" y="48"/>
                  <a:pt x="274" y="48"/>
                </a:cubicBezTo>
                <a:cubicBezTo>
                  <a:pt x="240" y="15"/>
                  <a:pt x="240" y="15"/>
                  <a:pt x="240" y="15"/>
                </a:cubicBezTo>
                <a:cubicBezTo>
                  <a:pt x="95" y="160"/>
                  <a:pt x="95" y="160"/>
                  <a:pt x="95" y="160"/>
                </a:cubicBezTo>
                <a:cubicBezTo>
                  <a:pt x="92" y="163"/>
                  <a:pt x="89" y="163"/>
                  <a:pt x="86" y="160"/>
                </a:cubicBezTo>
                <a:cubicBezTo>
                  <a:pt x="48" y="123"/>
                  <a:pt x="48" y="123"/>
                  <a:pt x="48" y="123"/>
                </a:cubicBezTo>
                <a:lnTo>
                  <a:pt x="15" y="15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2"/>
              </a:solidFill>
              <a:latin typeface="+mj-lt"/>
            </a:endParaRPr>
          </a:p>
        </p:txBody>
      </p:sp>
      <p:grpSp>
        <p:nvGrpSpPr>
          <p:cNvPr id="91" name="Group 98">
            <a:extLst>
              <a:ext uri="{FF2B5EF4-FFF2-40B4-BE49-F238E27FC236}">
                <a16:creationId xmlns:a16="http://schemas.microsoft.com/office/drawing/2014/main" id="{9AC922D9-7CEE-B448-86D3-66DA557B7FF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2084826" y="5548256"/>
            <a:ext cx="448560" cy="372925"/>
            <a:chOff x="1371" y="1755"/>
            <a:chExt cx="427" cy="355"/>
          </a:xfrm>
          <a:solidFill>
            <a:schemeClr val="accent1"/>
          </a:solidFill>
        </p:grpSpPr>
        <p:sp>
          <p:nvSpPr>
            <p:cNvPr id="92" name="Freeform 99">
              <a:extLst>
                <a:ext uri="{FF2B5EF4-FFF2-40B4-BE49-F238E27FC236}">
                  <a16:creationId xmlns:a16="http://schemas.microsoft.com/office/drawing/2014/main" id="{6DD3FF56-53E8-3945-A690-6D0C81F640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1" y="1755"/>
              <a:ext cx="427" cy="355"/>
            </a:xfrm>
            <a:custGeom>
              <a:avLst/>
              <a:gdLst>
                <a:gd name="T0" fmla="*/ 282 w 288"/>
                <a:gd name="T1" fmla="*/ 240 h 240"/>
                <a:gd name="T2" fmla="*/ 6 w 288"/>
                <a:gd name="T3" fmla="*/ 240 h 240"/>
                <a:gd name="T4" fmla="*/ 0 w 288"/>
                <a:gd name="T5" fmla="*/ 234 h 240"/>
                <a:gd name="T6" fmla="*/ 0 w 288"/>
                <a:gd name="T7" fmla="*/ 6 h 240"/>
                <a:gd name="T8" fmla="*/ 6 w 288"/>
                <a:gd name="T9" fmla="*/ 0 h 240"/>
                <a:gd name="T10" fmla="*/ 282 w 288"/>
                <a:gd name="T11" fmla="*/ 0 h 240"/>
                <a:gd name="T12" fmla="*/ 288 w 288"/>
                <a:gd name="T13" fmla="*/ 6 h 240"/>
                <a:gd name="T14" fmla="*/ 288 w 288"/>
                <a:gd name="T15" fmla="*/ 234 h 240"/>
                <a:gd name="T16" fmla="*/ 282 w 288"/>
                <a:gd name="T17" fmla="*/ 240 h 240"/>
                <a:gd name="T18" fmla="*/ 12 w 288"/>
                <a:gd name="T19" fmla="*/ 228 h 240"/>
                <a:gd name="T20" fmla="*/ 276 w 288"/>
                <a:gd name="T21" fmla="*/ 228 h 240"/>
                <a:gd name="T22" fmla="*/ 276 w 288"/>
                <a:gd name="T23" fmla="*/ 12 h 240"/>
                <a:gd name="T24" fmla="*/ 12 w 288"/>
                <a:gd name="T25" fmla="*/ 12 h 240"/>
                <a:gd name="T26" fmla="*/ 12 w 288"/>
                <a:gd name="T27" fmla="*/ 22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8" h="240">
                  <a:moveTo>
                    <a:pt x="282" y="240"/>
                  </a:moveTo>
                  <a:cubicBezTo>
                    <a:pt x="6" y="240"/>
                    <a:pt x="6" y="240"/>
                    <a:pt x="6" y="240"/>
                  </a:cubicBezTo>
                  <a:cubicBezTo>
                    <a:pt x="3" y="240"/>
                    <a:pt x="0" y="237"/>
                    <a:pt x="0" y="2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234"/>
                    <a:pt x="288" y="234"/>
                    <a:pt x="288" y="234"/>
                  </a:cubicBezTo>
                  <a:cubicBezTo>
                    <a:pt x="288" y="237"/>
                    <a:pt x="285" y="240"/>
                    <a:pt x="282" y="240"/>
                  </a:cubicBezTo>
                  <a:close/>
                  <a:moveTo>
                    <a:pt x="12" y="228"/>
                  </a:moveTo>
                  <a:cubicBezTo>
                    <a:pt x="276" y="228"/>
                    <a:pt x="276" y="228"/>
                    <a:pt x="276" y="228"/>
                  </a:cubicBezTo>
                  <a:cubicBezTo>
                    <a:pt x="276" y="12"/>
                    <a:pt x="276" y="12"/>
                    <a:pt x="27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3" name="Freeform 100">
              <a:extLst>
                <a:ext uri="{FF2B5EF4-FFF2-40B4-BE49-F238E27FC236}">
                  <a16:creationId xmlns:a16="http://schemas.microsoft.com/office/drawing/2014/main" id="{B9DD30D6-7FC5-4E4B-AA29-A488CEB798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7" y="1790"/>
              <a:ext cx="71" cy="71"/>
            </a:xfrm>
            <a:custGeom>
              <a:avLst/>
              <a:gdLst>
                <a:gd name="T0" fmla="*/ 6 w 48"/>
                <a:gd name="T1" fmla="*/ 48 h 48"/>
                <a:gd name="T2" fmla="*/ 0 w 48"/>
                <a:gd name="T3" fmla="*/ 42 h 48"/>
                <a:gd name="T4" fmla="*/ 0 w 48"/>
                <a:gd name="T5" fmla="*/ 6 h 48"/>
                <a:gd name="T6" fmla="*/ 6 w 48"/>
                <a:gd name="T7" fmla="*/ 0 h 48"/>
                <a:gd name="T8" fmla="*/ 42 w 48"/>
                <a:gd name="T9" fmla="*/ 0 h 48"/>
                <a:gd name="T10" fmla="*/ 48 w 48"/>
                <a:gd name="T11" fmla="*/ 6 h 48"/>
                <a:gd name="T12" fmla="*/ 42 w 48"/>
                <a:gd name="T13" fmla="*/ 12 h 48"/>
                <a:gd name="T14" fmla="*/ 12 w 48"/>
                <a:gd name="T15" fmla="*/ 12 h 48"/>
                <a:gd name="T16" fmla="*/ 12 w 48"/>
                <a:gd name="T17" fmla="*/ 42 h 48"/>
                <a:gd name="T18" fmla="*/ 6 w 48"/>
                <a:gd name="T1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4" name="Freeform 101">
              <a:extLst>
                <a:ext uri="{FF2B5EF4-FFF2-40B4-BE49-F238E27FC236}">
                  <a16:creationId xmlns:a16="http://schemas.microsoft.com/office/drawing/2014/main" id="{B598F935-A581-034B-89D4-127294ECE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1" y="1790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36 w 48"/>
                <a:gd name="T3" fmla="*/ 42 h 48"/>
                <a:gd name="T4" fmla="*/ 36 w 48"/>
                <a:gd name="T5" fmla="*/ 12 h 48"/>
                <a:gd name="T6" fmla="*/ 6 w 48"/>
                <a:gd name="T7" fmla="*/ 12 h 48"/>
                <a:gd name="T8" fmla="*/ 0 w 48"/>
                <a:gd name="T9" fmla="*/ 6 h 48"/>
                <a:gd name="T10" fmla="*/ 6 w 48"/>
                <a:gd name="T11" fmla="*/ 0 h 48"/>
                <a:gd name="T12" fmla="*/ 42 w 48"/>
                <a:gd name="T13" fmla="*/ 0 h 48"/>
                <a:gd name="T14" fmla="*/ 48 w 48"/>
                <a:gd name="T15" fmla="*/ 6 h 48"/>
                <a:gd name="T16" fmla="*/ 48 w 48"/>
                <a:gd name="T17" fmla="*/ 42 h 48"/>
                <a:gd name="T18" fmla="*/ 42 w 48"/>
                <a:gd name="T1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39" y="48"/>
                    <a:pt x="36" y="45"/>
                    <a:pt x="36" y="4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5" name="Freeform 102">
              <a:extLst>
                <a:ext uri="{FF2B5EF4-FFF2-40B4-BE49-F238E27FC236}">
                  <a16:creationId xmlns:a16="http://schemas.microsoft.com/office/drawing/2014/main" id="{24EC5BA8-8063-3241-A2BA-5D3F0C810E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7" y="2004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12 w 48"/>
                <a:gd name="T11" fmla="*/ 6 h 48"/>
                <a:gd name="T12" fmla="*/ 12 w 48"/>
                <a:gd name="T13" fmla="*/ 36 h 48"/>
                <a:gd name="T14" fmla="*/ 42 w 48"/>
                <a:gd name="T15" fmla="*/ 36 h 48"/>
                <a:gd name="T16" fmla="*/ 48 w 48"/>
                <a:gd name="T17" fmla="*/ 42 h 48"/>
                <a:gd name="T18" fmla="*/ 42 w 48"/>
                <a:gd name="T1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5" y="36"/>
                    <a:pt x="48" y="39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6" name="Freeform 103">
              <a:extLst>
                <a:ext uri="{FF2B5EF4-FFF2-40B4-BE49-F238E27FC236}">
                  <a16:creationId xmlns:a16="http://schemas.microsoft.com/office/drawing/2014/main" id="{CF8C2DB6-381F-254A-B48E-15AFF4C7C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1" y="2004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6 w 48"/>
                <a:gd name="T7" fmla="*/ 36 h 48"/>
                <a:gd name="T8" fmla="*/ 36 w 48"/>
                <a:gd name="T9" fmla="*/ 36 h 48"/>
                <a:gd name="T10" fmla="*/ 36 w 48"/>
                <a:gd name="T11" fmla="*/ 6 h 48"/>
                <a:gd name="T12" fmla="*/ 42 w 48"/>
                <a:gd name="T13" fmla="*/ 0 h 48"/>
                <a:gd name="T14" fmla="*/ 48 w 48"/>
                <a:gd name="T15" fmla="*/ 6 h 48"/>
                <a:gd name="T16" fmla="*/ 48 w 48"/>
                <a:gd name="T17" fmla="*/ 42 h 48"/>
                <a:gd name="T18" fmla="*/ 42 w 48"/>
                <a:gd name="T1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39"/>
                    <a:pt x="3" y="36"/>
                    <a:pt x="6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9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7" name="Freeform 104">
              <a:extLst>
                <a:ext uri="{FF2B5EF4-FFF2-40B4-BE49-F238E27FC236}">
                  <a16:creationId xmlns:a16="http://schemas.microsoft.com/office/drawing/2014/main" id="{0667E557-C3C5-454F-BFFD-0892A85D11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41" y="1844"/>
              <a:ext cx="286" cy="177"/>
            </a:xfrm>
            <a:custGeom>
              <a:avLst/>
              <a:gdLst>
                <a:gd name="T0" fmla="*/ 97 w 193"/>
                <a:gd name="T1" fmla="*/ 120 h 120"/>
                <a:gd name="T2" fmla="*/ 2 w 193"/>
                <a:gd name="T3" fmla="*/ 64 h 120"/>
                <a:gd name="T4" fmla="*/ 2 w 193"/>
                <a:gd name="T5" fmla="*/ 56 h 120"/>
                <a:gd name="T6" fmla="*/ 97 w 193"/>
                <a:gd name="T7" fmla="*/ 0 h 120"/>
                <a:gd name="T8" fmla="*/ 191 w 193"/>
                <a:gd name="T9" fmla="*/ 56 h 120"/>
                <a:gd name="T10" fmla="*/ 191 w 193"/>
                <a:gd name="T11" fmla="*/ 64 h 120"/>
                <a:gd name="T12" fmla="*/ 97 w 193"/>
                <a:gd name="T13" fmla="*/ 120 h 120"/>
                <a:gd name="T14" fmla="*/ 15 w 193"/>
                <a:gd name="T15" fmla="*/ 60 h 120"/>
                <a:gd name="T16" fmla="*/ 97 w 193"/>
                <a:gd name="T17" fmla="*/ 108 h 120"/>
                <a:gd name="T18" fmla="*/ 179 w 193"/>
                <a:gd name="T19" fmla="*/ 60 h 120"/>
                <a:gd name="T20" fmla="*/ 97 w 193"/>
                <a:gd name="T21" fmla="*/ 12 h 120"/>
                <a:gd name="T22" fmla="*/ 15 w 193"/>
                <a:gd name="T23" fmla="*/ 6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3" h="120">
                  <a:moveTo>
                    <a:pt x="97" y="120"/>
                  </a:moveTo>
                  <a:cubicBezTo>
                    <a:pt x="53" y="120"/>
                    <a:pt x="4" y="66"/>
                    <a:pt x="2" y="64"/>
                  </a:cubicBezTo>
                  <a:cubicBezTo>
                    <a:pt x="0" y="62"/>
                    <a:pt x="0" y="58"/>
                    <a:pt x="2" y="56"/>
                  </a:cubicBezTo>
                  <a:cubicBezTo>
                    <a:pt x="4" y="54"/>
                    <a:pt x="53" y="0"/>
                    <a:pt x="97" y="0"/>
                  </a:cubicBezTo>
                  <a:cubicBezTo>
                    <a:pt x="141" y="0"/>
                    <a:pt x="189" y="54"/>
                    <a:pt x="191" y="56"/>
                  </a:cubicBezTo>
                  <a:cubicBezTo>
                    <a:pt x="193" y="58"/>
                    <a:pt x="193" y="62"/>
                    <a:pt x="191" y="64"/>
                  </a:cubicBezTo>
                  <a:cubicBezTo>
                    <a:pt x="189" y="66"/>
                    <a:pt x="141" y="120"/>
                    <a:pt x="97" y="120"/>
                  </a:cubicBezTo>
                  <a:close/>
                  <a:moveTo>
                    <a:pt x="15" y="60"/>
                  </a:moveTo>
                  <a:cubicBezTo>
                    <a:pt x="27" y="72"/>
                    <a:pt x="64" y="108"/>
                    <a:pt x="97" y="108"/>
                  </a:cubicBezTo>
                  <a:cubicBezTo>
                    <a:pt x="129" y="108"/>
                    <a:pt x="167" y="72"/>
                    <a:pt x="179" y="60"/>
                  </a:cubicBezTo>
                  <a:cubicBezTo>
                    <a:pt x="167" y="48"/>
                    <a:pt x="129" y="12"/>
                    <a:pt x="97" y="12"/>
                  </a:cubicBezTo>
                  <a:cubicBezTo>
                    <a:pt x="64" y="12"/>
                    <a:pt x="27" y="48"/>
                    <a:pt x="15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8" name="Freeform 105">
              <a:extLst>
                <a:ext uri="{FF2B5EF4-FFF2-40B4-BE49-F238E27FC236}">
                  <a16:creationId xmlns:a16="http://schemas.microsoft.com/office/drawing/2014/main" id="{3BB22AA7-DF3C-C443-90C8-1FB2B5423A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1" y="1879"/>
              <a:ext cx="107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9" name="Oval 106">
              <a:extLst>
                <a:ext uri="{FF2B5EF4-FFF2-40B4-BE49-F238E27FC236}">
                  <a16:creationId xmlns:a16="http://schemas.microsoft.com/office/drawing/2014/main" id="{840F5257-5088-364D-878D-3C2254FB2E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7" y="1915"/>
              <a:ext cx="35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111" name="Group 41">
            <a:extLst>
              <a:ext uri="{FF2B5EF4-FFF2-40B4-BE49-F238E27FC236}">
                <a16:creationId xmlns:a16="http://schemas.microsoft.com/office/drawing/2014/main" id="{CAE15CC3-F3B0-4346-93C0-B55CF26740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695631" y="5524348"/>
            <a:ext cx="459581" cy="420743"/>
            <a:chOff x="3439" y="460"/>
            <a:chExt cx="426" cy="390"/>
          </a:xfrm>
          <a:solidFill>
            <a:schemeClr val="accent1"/>
          </a:solidFill>
        </p:grpSpPr>
        <p:sp>
          <p:nvSpPr>
            <p:cNvPr id="112" name="Freeform 42">
              <a:extLst>
                <a:ext uri="{FF2B5EF4-FFF2-40B4-BE49-F238E27FC236}">
                  <a16:creationId xmlns:a16="http://schemas.microsoft.com/office/drawing/2014/main" id="{FC866253-99F8-F940-8BD2-B8A0B5BABF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9" y="584"/>
              <a:ext cx="426" cy="266"/>
            </a:xfrm>
            <a:custGeom>
              <a:avLst/>
              <a:gdLst>
                <a:gd name="T0" fmla="*/ 265 w 288"/>
                <a:gd name="T1" fmla="*/ 180 h 180"/>
                <a:gd name="T2" fmla="*/ 23 w 288"/>
                <a:gd name="T3" fmla="*/ 180 h 180"/>
                <a:gd name="T4" fmla="*/ 0 w 288"/>
                <a:gd name="T5" fmla="*/ 157 h 180"/>
                <a:gd name="T6" fmla="*/ 0 w 288"/>
                <a:gd name="T7" fmla="*/ 6 h 180"/>
                <a:gd name="T8" fmla="*/ 6 w 288"/>
                <a:gd name="T9" fmla="*/ 0 h 180"/>
                <a:gd name="T10" fmla="*/ 282 w 288"/>
                <a:gd name="T11" fmla="*/ 0 h 180"/>
                <a:gd name="T12" fmla="*/ 288 w 288"/>
                <a:gd name="T13" fmla="*/ 6 h 180"/>
                <a:gd name="T14" fmla="*/ 288 w 288"/>
                <a:gd name="T15" fmla="*/ 157 h 180"/>
                <a:gd name="T16" fmla="*/ 265 w 288"/>
                <a:gd name="T17" fmla="*/ 180 h 180"/>
                <a:gd name="T18" fmla="*/ 12 w 288"/>
                <a:gd name="T19" fmla="*/ 12 h 180"/>
                <a:gd name="T20" fmla="*/ 12 w 288"/>
                <a:gd name="T21" fmla="*/ 157 h 180"/>
                <a:gd name="T22" fmla="*/ 23 w 288"/>
                <a:gd name="T23" fmla="*/ 168 h 180"/>
                <a:gd name="T24" fmla="*/ 265 w 288"/>
                <a:gd name="T25" fmla="*/ 168 h 180"/>
                <a:gd name="T26" fmla="*/ 276 w 288"/>
                <a:gd name="T27" fmla="*/ 157 h 180"/>
                <a:gd name="T28" fmla="*/ 276 w 288"/>
                <a:gd name="T29" fmla="*/ 12 h 180"/>
                <a:gd name="T30" fmla="*/ 12 w 288"/>
                <a:gd name="T31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8" h="180">
                  <a:moveTo>
                    <a:pt x="265" y="180"/>
                  </a:moveTo>
                  <a:cubicBezTo>
                    <a:pt x="23" y="180"/>
                    <a:pt x="23" y="180"/>
                    <a:pt x="23" y="180"/>
                  </a:cubicBezTo>
                  <a:cubicBezTo>
                    <a:pt x="10" y="180"/>
                    <a:pt x="0" y="170"/>
                    <a:pt x="0" y="15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157"/>
                    <a:pt x="288" y="157"/>
                    <a:pt x="288" y="157"/>
                  </a:cubicBezTo>
                  <a:cubicBezTo>
                    <a:pt x="288" y="170"/>
                    <a:pt x="277" y="180"/>
                    <a:pt x="265" y="180"/>
                  </a:cubicBezTo>
                  <a:close/>
                  <a:moveTo>
                    <a:pt x="12" y="12"/>
                  </a:moveTo>
                  <a:cubicBezTo>
                    <a:pt x="12" y="157"/>
                    <a:pt x="12" y="157"/>
                    <a:pt x="12" y="157"/>
                  </a:cubicBezTo>
                  <a:cubicBezTo>
                    <a:pt x="12" y="163"/>
                    <a:pt x="17" y="168"/>
                    <a:pt x="23" y="168"/>
                  </a:cubicBezTo>
                  <a:cubicBezTo>
                    <a:pt x="265" y="168"/>
                    <a:pt x="265" y="168"/>
                    <a:pt x="265" y="168"/>
                  </a:cubicBezTo>
                  <a:cubicBezTo>
                    <a:pt x="271" y="168"/>
                    <a:pt x="276" y="163"/>
                    <a:pt x="276" y="157"/>
                  </a:cubicBezTo>
                  <a:cubicBezTo>
                    <a:pt x="276" y="12"/>
                    <a:pt x="276" y="12"/>
                    <a:pt x="276" y="12"/>
                  </a:cubicBez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3" name="Freeform 43">
              <a:extLst>
                <a:ext uri="{FF2B5EF4-FFF2-40B4-BE49-F238E27FC236}">
                  <a16:creationId xmlns:a16="http://schemas.microsoft.com/office/drawing/2014/main" id="{DAD71534-CAEB-4342-9B3B-ACB93687E4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1" y="637"/>
              <a:ext cx="160" cy="160"/>
            </a:xfrm>
            <a:custGeom>
              <a:avLst/>
              <a:gdLst>
                <a:gd name="T0" fmla="*/ 6 w 108"/>
                <a:gd name="T1" fmla="*/ 108 h 108"/>
                <a:gd name="T2" fmla="*/ 3 w 108"/>
                <a:gd name="T3" fmla="*/ 107 h 108"/>
                <a:gd name="T4" fmla="*/ 0 w 108"/>
                <a:gd name="T5" fmla="*/ 102 h 108"/>
                <a:gd name="T6" fmla="*/ 0 w 108"/>
                <a:gd name="T7" fmla="*/ 6 h 108"/>
                <a:gd name="T8" fmla="*/ 3 w 108"/>
                <a:gd name="T9" fmla="*/ 1 h 108"/>
                <a:gd name="T10" fmla="*/ 9 w 108"/>
                <a:gd name="T11" fmla="*/ 1 h 108"/>
                <a:gd name="T12" fmla="*/ 105 w 108"/>
                <a:gd name="T13" fmla="*/ 49 h 108"/>
                <a:gd name="T14" fmla="*/ 108 w 108"/>
                <a:gd name="T15" fmla="*/ 54 h 108"/>
                <a:gd name="T16" fmla="*/ 105 w 108"/>
                <a:gd name="T17" fmla="*/ 60 h 108"/>
                <a:gd name="T18" fmla="*/ 9 w 108"/>
                <a:gd name="T19" fmla="*/ 108 h 108"/>
                <a:gd name="T20" fmla="*/ 6 w 108"/>
                <a:gd name="T21" fmla="*/ 108 h 108"/>
                <a:gd name="T22" fmla="*/ 12 w 108"/>
                <a:gd name="T23" fmla="*/ 16 h 108"/>
                <a:gd name="T24" fmla="*/ 12 w 108"/>
                <a:gd name="T25" fmla="*/ 93 h 108"/>
                <a:gd name="T26" fmla="*/ 88 w 108"/>
                <a:gd name="T27" fmla="*/ 54 h 108"/>
                <a:gd name="T28" fmla="*/ 12 w 108"/>
                <a:gd name="T29" fmla="*/ 1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8" h="108">
                  <a:moveTo>
                    <a:pt x="6" y="108"/>
                  </a:moveTo>
                  <a:cubicBezTo>
                    <a:pt x="5" y="108"/>
                    <a:pt x="4" y="108"/>
                    <a:pt x="3" y="107"/>
                  </a:cubicBezTo>
                  <a:cubicBezTo>
                    <a:pt x="1" y="106"/>
                    <a:pt x="0" y="104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0"/>
                    <a:pt x="9" y="1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7" y="50"/>
                    <a:pt x="108" y="52"/>
                    <a:pt x="108" y="54"/>
                  </a:cubicBezTo>
                  <a:cubicBezTo>
                    <a:pt x="108" y="57"/>
                    <a:pt x="107" y="59"/>
                    <a:pt x="105" y="60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8" y="108"/>
                    <a:pt x="7" y="108"/>
                    <a:pt x="6" y="108"/>
                  </a:cubicBezTo>
                  <a:close/>
                  <a:moveTo>
                    <a:pt x="12" y="16"/>
                  </a:moveTo>
                  <a:cubicBezTo>
                    <a:pt x="12" y="93"/>
                    <a:pt x="12" y="93"/>
                    <a:pt x="12" y="93"/>
                  </a:cubicBezTo>
                  <a:cubicBezTo>
                    <a:pt x="88" y="54"/>
                    <a:pt x="88" y="54"/>
                    <a:pt x="88" y="54"/>
                  </a:cubicBezTo>
                  <a:lnTo>
                    <a:pt x="1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4" name="Freeform 44">
              <a:extLst>
                <a:ext uri="{FF2B5EF4-FFF2-40B4-BE49-F238E27FC236}">
                  <a16:creationId xmlns:a16="http://schemas.microsoft.com/office/drawing/2014/main" id="{69604E24-F016-194E-9E2B-1ACF8EBA52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9" y="460"/>
              <a:ext cx="426" cy="106"/>
            </a:xfrm>
            <a:custGeom>
              <a:avLst/>
              <a:gdLst>
                <a:gd name="T0" fmla="*/ 282 w 288"/>
                <a:gd name="T1" fmla="*/ 72 h 72"/>
                <a:gd name="T2" fmla="*/ 6 w 288"/>
                <a:gd name="T3" fmla="*/ 72 h 72"/>
                <a:gd name="T4" fmla="*/ 0 w 288"/>
                <a:gd name="T5" fmla="*/ 66 h 72"/>
                <a:gd name="T6" fmla="*/ 0 w 288"/>
                <a:gd name="T7" fmla="*/ 18 h 72"/>
                <a:gd name="T8" fmla="*/ 18 w 288"/>
                <a:gd name="T9" fmla="*/ 0 h 72"/>
                <a:gd name="T10" fmla="*/ 270 w 288"/>
                <a:gd name="T11" fmla="*/ 0 h 72"/>
                <a:gd name="T12" fmla="*/ 288 w 288"/>
                <a:gd name="T13" fmla="*/ 18 h 72"/>
                <a:gd name="T14" fmla="*/ 288 w 288"/>
                <a:gd name="T15" fmla="*/ 66 h 72"/>
                <a:gd name="T16" fmla="*/ 282 w 288"/>
                <a:gd name="T17" fmla="*/ 72 h 72"/>
                <a:gd name="T18" fmla="*/ 12 w 288"/>
                <a:gd name="T19" fmla="*/ 60 h 72"/>
                <a:gd name="T20" fmla="*/ 276 w 288"/>
                <a:gd name="T21" fmla="*/ 60 h 72"/>
                <a:gd name="T22" fmla="*/ 276 w 288"/>
                <a:gd name="T23" fmla="*/ 18 h 72"/>
                <a:gd name="T24" fmla="*/ 270 w 288"/>
                <a:gd name="T25" fmla="*/ 12 h 72"/>
                <a:gd name="T26" fmla="*/ 18 w 288"/>
                <a:gd name="T27" fmla="*/ 12 h 72"/>
                <a:gd name="T28" fmla="*/ 12 w 288"/>
                <a:gd name="T29" fmla="*/ 18 h 72"/>
                <a:gd name="T30" fmla="*/ 12 w 288"/>
                <a:gd name="T31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8" h="72">
                  <a:moveTo>
                    <a:pt x="282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70"/>
                    <a:pt x="0" y="6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80" y="0"/>
                    <a:pt x="288" y="8"/>
                    <a:pt x="288" y="18"/>
                  </a:cubicBezTo>
                  <a:cubicBezTo>
                    <a:pt x="288" y="66"/>
                    <a:pt x="288" y="66"/>
                    <a:pt x="288" y="66"/>
                  </a:cubicBezTo>
                  <a:cubicBezTo>
                    <a:pt x="288" y="70"/>
                    <a:pt x="285" y="72"/>
                    <a:pt x="282" y="72"/>
                  </a:cubicBezTo>
                  <a:close/>
                  <a:moveTo>
                    <a:pt x="12" y="60"/>
                  </a:moveTo>
                  <a:cubicBezTo>
                    <a:pt x="276" y="60"/>
                    <a:pt x="276" y="60"/>
                    <a:pt x="276" y="60"/>
                  </a:cubicBezTo>
                  <a:cubicBezTo>
                    <a:pt x="276" y="18"/>
                    <a:pt x="276" y="18"/>
                    <a:pt x="276" y="18"/>
                  </a:cubicBezTo>
                  <a:cubicBezTo>
                    <a:pt x="276" y="15"/>
                    <a:pt x="273" y="12"/>
                    <a:pt x="270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5" y="12"/>
                    <a:pt x="12" y="15"/>
                    <a:pt x="12" y="18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5" name="Freeform 45">
              <a:extLst>
                <a:ext uri="{FF2B5EF4-FFF2-40B4-BE49-F238E27FC236}">
                  <a16:creationId xmlns:a16="http://schemas.microsoft.com/office/drawing/2014/main" id="{0272F795-CB5C-EC40-AB73-8271C831B7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2" y="463"/>
              <a:ext cx="92" cy="91"/>
            </a:xfrm>
            <a:custGeom>
              <a:avLst/>
              <a:gdLst>
                <a:gd name="T0" fmla="*/ 12 w 92"/>
                <a:gd name="T1" fmla="*/ 91 h 91"/>
                <a:gd name="T2" fmla="*/ 0 w 92"/>
                <a:gd name="T3" fmla="*/ 80 h 91"/>
                <a:gd name="T4" fmla="*/ 80 w 92"/>
                <a:gd name="T5" fmla="*/ 0 h 91"/>
                <a:gd name="T6" fmla="*/ 92 w 92"/>
                <a:gd name="T7" fmla="*/ 11 h 91"/>
                <a:gd name="T8" fmla="*/ 12 w 92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91">
                  <a:moveTo>
                    <a:pt x="12" y="91"/>
                  </a:moveTo>
                  <a:lnTo>
                    <a:pt x="0" y="80"/>
                  </a:lnTo>
                  <a:lnTo>
                    <a:pt x="80" y="0"/>
                  </a:lnTo>
                  <a:lnTo>
                    <a:pt x="92" y="11"/>
                  </a:lnTo>
                  <a:lnTo>
                    <a:pt x="12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6" name="Freeform 46">
              <a:extLst>
                <a:ext uri="{FF2B5EF4-FFF2-40B4-BE49-F238E27FC236}">
                  <a16:creationId xmlns:a16="http://schemas.microsoft.com/office/drawing/2014/main" id="{58894E59-5B8C-E746-BE36-282800DC2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" y="463"/>
              <a:ext cx="101" cy="102"/>
            </a:xfrm>
            <a:custGeom>
              <a:avLst/>
              <a:gdLst>
                <a:gd name="T0" fmla="*/ 12 w 101"/>
                <a:gd name="T1" fmla="*/ 102 h 102"/>
                <a:gd name="T2" fmla="*/ 0 w 101"/>
                <a:gd name="T3" fmla="*/ 88 h 102"/>
                <a:gd name="T4" fmla="*/ 89 w 101"/>
                <a:gd name="T5" fmla="*/ 0 h 102"/>
                <a:gd name="T6" fmla="*/ 101 w 101"/>
                <a:gd name="T7" fmla="*/ 11 h 102"/>
                <a:gd name="T8" fmla="*/ 12 w 101"/>
                <a:gd name="T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2">
                  <a:moveTo>
                    <a:pt x="12" y="102"/>
                  </a:moveTo>
                  <a:lnTo>
                    <a:pt x="0" y="88"/>
                  </a:lnTo>
                  <a:lnTo>
                    <a:pt x="89" y="0"/>
                  </a:lnTo>
                  <a:lnTo>
                    <a:pt x="101" y="11"/>
                  </a:lnTo>
                  <a:lnTo>
                    <a:pt x="12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7" name="Freeform 47">
              <a:extLst>
                <a:ext uri="{FF2B5EF4-FFF2-40B4-BE49-F238E27FC236}">
                  <a16:creationId xmlns:a16="http://schemas.microsoft.com/office/drawing/2014/main" id="{89C3B5C2-0698-134A-8C5B-F8C984B3D3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6" y="463"/>
              <a:ext cx="101" cy="102"/>
            </a:xfrm>
            <a:custGeom>
              <a:avLst/>
              <a:gdLst>
                <a:gd name="T0" fmla="*/ 12 w 101"/>
                <a:gd name="T1" fmla="*/ 102 h 102"/>
                <a:gd name="T2" fmla="*/ 0 w 101"/>
                <a:gd name="T3" fmla="*/ 88 h 102"/>
                <a:gd name="T4" fmla="*/ 89 w 101"/>
                <a:gd name="T5" fmla="*/ 0 h 102"/>
                <a:gd name="T6" fmla="*/ 101 w 101"/>
                <a:gd name="T7" fmla="*/ 11 h 102"/>
                <a:gd name="T8" fmla="*/ 12 w 101"/>
                <a:gd name="T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2">
                  <a:moveTo>
                    <a:pt x="12" y="102"/>
                  </a:moveTo>
                  <a:lnTo>
                    <a:pt x="0" y="88"/>
                  </a:lnTo>
                  <a:lnTo>
                    <a:pt x="89" y="0"/>
                  </a:lnTo>
                  <a:lnTo>
                    <a:pt x="101" y="11"/>
                  </a:lnTo>
                  <a:lnTo>
                    <a:pt x="12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8" name="Freeform 48">
              <a:extLst>
                <a:ext uri="{FF2B5EF4-FFF2-40B4-BE49-F238E27FC236}">
                  <a16:creationId xmlns:a16="http://schemas.microsoft.com/office/drawing/2014/main" id="{98ED0FAF-2170-CC4B-893D-B4DFEB1E98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7" y="463"/>
              <a:ext cx="101" cy="102"/>
            </a:xfrm>
            <a:custGeom>
              <a:avLst/>
              <a:gdLst>
                <a:gd name="T0" fmla="*/ 12 w 101"/>
                <a:gd name="T1" fmla="*/ 102 h 102"/>
                <a:gd name="T2" fmla="*/ 0 w 101"/>
                <a:gd name="T3" fmla="*/ 88 h 102"/>
                <a:gd name="T4" fmla="*/ 89 w 101"/>
                <a:gd name="T5" fmla="*/ 0 h 102"/>
                <a:gd name="T6" fmla="*/ 101 w 101"/>
                <a:gd name="T7" fmla="*/ 11 h 102"/>
                <a:gd name="T8" fmla="*/ 12 w 101"/>
                <a:gd name="T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2">
                  <a:moveTo>
                    <a:pt x="12" y="102"/>
                  </a:moveTo>
                  <a:lnTo>
                    <a:pt x="0" y="88"/>
                  </a:lnTo>
                  <a:lnTo>
                    <a:pt x="89" y="0"/>
                  </a:lnTo>
                  <a:lnTo>
                    <a:pt x="101" y="11"/>
                  </a:lnTo>
                  <a:lnTo>
                    <a:pt x="12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9" name="Freeform 49">
              <a:extLst>
                <a:ext uri="{FF2B5EF4-FFF2-40B4-BE49-F238E27FC236}">
                  <a16:creationId xmlns:a16="http://schemas.microsoft.com/office/drawing/2014/main" id="{E93B3885-01CD-824B-9BBD-D9A7BC873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8" y="463"/>
              <a:ext cx="100" cy="100"/>
            </a:xfrm>
            <a:custGeom>
              <a:avLst/>
              <a:gdLst>
                <a:gd name="T0" fmla="*/ 12 w 100"/>
                <a:gd name="T1" fmla="*/ 100 h 100"/>
                <a:gd name="T2" fmla="*/ 0 w 100"/>
                <a:gd name="T3" fmla="*/ 88 h 100"/>
                <a:gd name="T4" fmla="*/ 89 w 100"/>
                <a:gd name="T5" fmla="*/ 0 h 100"/>
                <a:gd name="T6" fmla="*/ 100 w 100"/>
                <a:gd name="T7" fmla="*/ 11 h 100"/>
                <a:gd name="T8" fmla="*/ 12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12" y="100"/>
                  </a:moveTo>
                  <a:lnTo>
                    <a:pt x="0" y="88"/>
                  </a:lnTo>
                  <a:lnTo>
                    <a:pt x="89" y="0"/>
                  </a:lnTo>
                  <a:lnTo>
                    <a:pt x="100" y="11"/>
                  </a:lnTo>
                  <a:lnTo>
                    <a:pt x="12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20" name="Freeform 50">
              <a:extLst>
                <a:ext uri="{FF2B5EF4-FFF2-40B4-BE49-F238E27FC236}">
                  <a16:creationId xmlns:a16="http://schemas.microsoft.com/office/drawing/2014/main" id="{4B94C46B-FB83-4F43-83C7-AC36E95C6A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9" y="480"/>
              <a:ext cx="83" cy="83"/>
            </a:xfrm>
            <a:custGeom>
              <a:avLst/>
              <a:gdLst>
                <a:gd name="T0" fmla="*/ 12 w 83"/>
                <a:gd name="T1" fmla="*/ 83 h 83"/>
                <a:gd name="T2" fmla="*/ 0 w 83"/>
                <a:gd name="T3" fmla="*/ 71 h 83"/>
                <a:gd name="T4" fmla="*/ 71 w 83"/>
                <a:gd name="T5" fmla="*/ 0 h 83"/>
                <a:gd name="T6" fmla="*/ 83 w 83"/>
                <a:gd name="T7" fmla="*/ 12 h 83"/>
                <a:gd name="T8" fmla="*/ 12 w 83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83">
                  <a:moveTo>
                    <a:pt x="12" y="83"/>
                  </a:moveTo>
                  <a:lnTo>
                    <a:pt x="0" y="71"/>
                  </a:lnTo>
                  <a:lnTo>
                    <a:pt x="71" y="0"/>
                  </a:lnTo>
                  <a:lnTo>
                    <a:pt x="83" y="12"/>
                  </a:lnTo>
                  <a:lnTo>
                    <a:pt x="12" y="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</p:grpSp>
      <p:grpSp>
        <p:nvGrpSpPr>
          <p:cNvPr id="121" name="Group 10">
            <a:extLst>
              <a:ext uri="{FF2B5EF4-FFF2-40B4-BE49-F238E27FC236}">
                <a16:creationId xmlns:a16="http://schemas.microsoft.com/office/drawing/2014/main" id="{EDE454D0-8C87-B549-B592-7DDDDDA65FA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965185" y="5500310"/>
            <a:ext cx="467720" cy="468818"/>
            <a:chOff x="1374" y="442"/>
            <a:chExt cx="425" cy="426"/>
          </a:xfrm>
          <a:solidFill>
            <a:schemeClr val="accent1"/>
          </a:solidFill>
        </p:grpSpPr>
        <p:sp>
          <p:nvSpPr>
            <p:cNvPr id="122" name="Freeform 11">
              <a:extLst>
                <a:ext uri="{FF2B5EF4-FFF2-40B4-BE49-F238E27FC236}">
                  <a16:creationId xmlns:a16="http://schemas.microsoft.com/office/drawing/2014/main" id="{81B4BA5C-5D57-5243-95A0-B0939E1031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4" y="442"/>
              <a:ext cx="425" cy="426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4 h 288"/>
                <a:gd name="T4" fmla="*/ 144 w 288"/>
                <a:gd name="T5" fmla="*/ 0 h 288"/>
                <a:gd name="T6" fmla="*/ 288 w 288"/>
                <a:gd name="T7" fmla="*/ 144 h 288"/>
                <a:gd name="T8" fmla="*/ 144 w 288"/>
                <a:gd name="T9" fmla="*/ 288 h 288"/>
                <a:gd name="T10" fmla="*/ 144 w 288"/>
                <a:gd name="T11" fmla="*/ 12 h 288"/>
                <a:gd name="T12" fmla="*/ 12 w 288"/>
                <a:gd name="T13" fmla="*/ 144 h 288"/>
                <a:gd name="T14" fmla="*/ 144 w 288"/>
                <a:gd name="T15" fmla="*/ 276 h 288"/>
                <a:gd name="T16" fmla="*/ 276 w 288"/>
                <a:gd name="T17" fmla="*/ 144 h 288"/>
                <a:gd name="T18" fmla="*/ 144 w 288"/>
                <a:gd name="T19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4" y="288"/>
                    <a:pt x="0" y="223"/>
                    <a:pt x="0" y="144"/>
                  </a:cubicBezTo>
                  <a:cubicBezTo>
                    <a:pt x="0" y="64"/>
                    <a:pt x="64" y="0"/>
                    <a:pt x="144" y="0"/>
                  </a:cubicBezTo>
                  <a:cubicBezTo>
                    <a:pt x="223" y="0"/>
                    <a:pt x="288" y="64"/>
                    <a:pt x="288" y="144"/>
                  </a:cubicBezTo>
                  <a:cubicBezTo>
                    <a:pt x="288" y="223"/>
                    <a:pt x="223" y="288"/>
                    <a:pt x="144" y="288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71"/>
                    <a:pt x="12" y="144"/>
                  </a:cubicBezTo>
                  <a:cubicBezTo>
                    <a:pt x="12" y="216"/>
                    <a:pt x="71" y="276"/>
                    <a:pt x="144" y="276"/>
                  </a:cubicBezTo>
                  <a:cubicBezTo>
                    <a:pt x="216" y="276"/>
                    <a:pt x="276" y="216"/>
                    <a:pt x="276" y="144"/>
                  </a:cubicBezTo>
                  <a:cubicBezTo>
                    <a:pt x="276" y="71"/>
                    <a:pt x="216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23" name="Freeform 12">
              <a:extLst>
                <a:ext uri="{FF2B5EF4-FFF2-40B4-BE49-F238E27FC236}">
                  <a16:creationId xmlns:a16="http://schemas.microsoft.com/office/drawing/2014/main" id="{DBE386C7-E758-5C4A-95CF-157D349ABD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6" y="565"/>
              <a:ext cx="177" cy="179"/>
            </a:xfrm>
            <a:custGeom>
              <a:avLst/>
              <a:gdLst>
                <a:gd name="T0" fmla="*/ 6 w 120"/>
                <a:gd name="T1" fmla="*/ 121 h 121"/>
                <a:gd name="T2" fmla="*/ 2 w 120"/>
                <a:gd name="T3" fmla="*/ 120 h 121"/>
                <a:gd name="T4" fmla="*/ 0 w 120"/>
                <a:gd name="T5" fmla="*/ 115 h 121"/>
                <a:gd name="T6" fmla="*/ 0 w 120"/>
                <a:gd name="T7" fmla="*/ 7 h 121"/>
                <a:gd name="T8" fmla="*/ 2 w 120"/>
                <a:gd name="T9" fmla="*/ 2 h 121"/>
                <a:gd name="T10" fmla="*/ 8 w 120"/>
                <a:gd name="T11" fmla="*/ 1 h 121"/>
                <a:gd name="T12" fmla="*/ 116 w 120"/>
                <a:gd name="T13" fmla="*/ 55 h 121"/>
                <a:gd name="T14" fmla="*/ 120 w 120"/>
                <a:gd name="T15" fmla="*/ 61 h 121"/>
                <a:gd name="T16" fmla="*/ 116 w 120"/>
                <a:gd name="T17" fmla="*/ 66 h 121"/>
                <a:gd name="T18" fmla="*/ 8 w 120"/>
                <a:gd name="T19" fmla="*/ 120 h 121"/>
                <a:gd name="T20" fmla="*/ 6 w 120"/>
                <a:gd name="T21" fmla="*/ 121 h 121"/>
                <a:gd name="T22" fmla="*/ 12 w 120"/>
                <a:gd name="T23" fmla="*/ 16 h 121"/>
                <a:gd name="T24" fmla="*/ 12 w 120"/>
                <a:gd name="T25" fmla="*/ 105 h 121"/>
                <a:gd name="T26" fmla="*/ 100 w 120"/>
                <a:gd name="T27" fmla="*/ 61 h 121"/>
                <a:gd name="T28" fmla="*/ 12 w 120"/>
                <a:gd name="T29" fmla="*/ 1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0" h="121">
                  <a:moveTo>
                    <a:pt x="6" y="121"/>
                  </a:moveTo>
                  <a:cubicBezTo>
                    <a:pt x="5" y="121"/>
                    <a:pt x="3" y="120"/>
                    <a:pt x="2" y="120"/>
                  </a:cubicBezTo>
                  <a:cubicBezTo>
                    <a:pt x="1" y="119"/>
                    <a:pt x="0" y="117"/>
                    <a:pt x="0" y="11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4" y="0"/>
                    <a:pt x="6" y="0"/>
                    <a:pt x="8" y="1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18" y="56"/>
                    <a:pt x="120" y="58"/>
                    <a:pt x="120" y="61"/>
                  </a:cubicBezTo>
                  <a:cubicBezTo>
                    <a:pt x="120" y="63"/>
                    <a:pt x="118" y="65"/>
                    <a:pt x="116" y="66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7" y="120"/>
                    <a:pt x="7" y="121"/>
                    <a:pt x="6" y="121"/>
                  </a:cubicBezTo>
                  <a:close/>
                  <a:moveTo>
                    <a:pt x="12" y="16"/>
                  </a:moveTo>
                  <a:cubicBezTo>
                    <a:pt x="12" y="105"/>
                    <a:pt x="12" y="105"/>
                    <a:pt x="12" y="105"/>
                  </a:cubicBezTo>
                  <a:cubicBezTo>
                    <a:pt x="100" y="61"/>
                    <a:pt x="100" y="61"/>
                    <a:pt x="100" y="61"/>
                  </a:cubicBezTo>
                  <a:lnTo>
                    <a:pt x="1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124" name="Group 87">
            <a:extLst>
              <a:ext uri="{FF2B5EF4-FFF2-40B4-BE49-F238E27FC236}">
                <a16:creationId xmlns:a16="http://schemas.microsoft.com/office/drawing/2014/main" id="{6BDE5202-854C-CC41-965A-533F32430AE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599644" y="1930124"/>
            <a:ext cx="499666" cy="499666"/>
            <a:chOff x="5510" y="1717"/>
            <a:chExt cx="428" cy="428"/>
          </a:xfrm>
          <a:solidFill>
            <a:schemeClr val="accent1"/>
          </a:solidFill>
        </p:grpSpPr>
        <p:sp>
          <p:nvSpPr>
            <p:cNvPr id="125" name="Freeform 88">
              <a:extLst>
                <a:ext uri="{FF2B5EF4-FFF2-40B4-BE49-F238E27FC236}">
                  <a16:creationId xmlns:a16="http://schemas.microsoft.com/office/drawing/2014/main" id="{5B0A10F8-A96B-5844-8703-D5883AC79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2" y="1717"/>
              <a:ext cx="366" cy="339"/>
            </a:xfrm>
            <a:custGeom>
              <a:avLst/>
              <a:gdLst>
                <a:gd name="T0" fmla="*/ 66 w 247"/>
                <a:gd name="T1" fmla="*/ 229 h 229"/>
                <a:gd name="T2" fmla="*/ 62 w 247"/>
                <a:gd name="T3" fmla="*/ 227 h 229"/>
                <a:gd name="T4" fmla="*/ 2 w 247"/>
                <a:gd name="T5" fmla="*/ 167 h 229"/>
                <a:gd name="T6" fmla="*/ 2 w 247"/>
                <a:gd name="T7" fmla="*/ 159 h 229"/>
                <a:gd name="T8" fmla="*/ 10 w 247"/>
                <a:gd name="T9" fmla="*/ 159 h 229"/>
                <a:gd name="T10" fmla="*/ 66 w 247"/>
                <a:gd name="T11" fmla="*/ 214 h 229"/>
                <a:gd name="T12" fmla="*/ 235 w 247"/>
                <a:gd name="T13" fmla="*/ 3 h 229"/>
                <a:gd name="T14" fmla="*/ 244 w 247"/>
                <a:gd name="T15" fmla="*/ 3 h 229"/>
                <a:gd name="T16" fmla="*/ 245 w 247"/>
                <a:gd name="T17" fmla="*/ 11 h 229"/>
                <a:gd name="T18" fmla="*/ 71 w 247"/>
                <a:gd name="T19" fmla="*/ 227 h 229"/>
                <a:gd name="T20" fmla="*/ 66 w 247"/>
                <a:gd name="T21" fmla="*/ 229 h 229"/>
                <a:gd name="T22" fmla="*/ 66 w 247"/>
                <a:gd name="T23" fmla="*/ 2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7" h="229">
                  <a:moveTo>
                    <a:pt x="66" y="229"/>
                  </a:moveTo>
                  <a:cubicBezTo>
                    <a:pt x="65" y="229"/>
                    <a:pt x="63" y="229"/>
                    <a:pt x="62" y="227"/>
                  </a:cubicBezTo>
                  <a:cubicBezTo>
                    <a:pt x="2" y="167"/>
                    <a:pt x="2" y="167"/>
                    <a:pt x="2" y="167"/>
                  </a:cubicBezTo>
                  <a:cubicBezTo>
                    <a:pt x="0" y="165"/>
                    <a:pt x="0" y="161"/>
                    <a:pt x="2" y="159"/>
                  </a:cubicBezTo>
                  <a:cubicBezTo>
                    <a:pt x="4" y="157"/>
                    <a:pt x="8" y="157"/>
                    <a:pt x="10" y="159"/>
                  </a:cubicBezTo>
                  <a:cubicBezTo>
                    <a:pt x="66" y="214"/>
                    <a:pt x="66" y="214"/>
                    <a:pt x="66" y="214"/>
                  </a:cubicBezTo>
                  <a:cubicBezTo>
                    <a:pt x="235" y="3"/>
                    <a:pt x="235" y="3"/>
                    <a:pt x="235" y="3"/>
                  </a:cubicBezTo>
                  <a:cubicBezTo>
                    <a:pt x="238" y="1"/>
                    <a:pt x="241" y="0"/>
                    <a:pt x="244" y="3"/>
                  </a:cubicBezTo>
                  <a:cubicBezTo>
                    <a:pt x="246" y="5"/>
                    <a:pt x="247" y="8"/>
                    <a:pt x="245" y="11"/>
                  </a:cubicBezTo>
                  <a:cubicBezTo>
                    <a:pt x="71" y="227"/>
                    <a:pt x="71" y="227"/>
                    <a:pt x="71" y="227"/>
                  </a:cubicBezTo>
                  <a:cubicBezTo>
                    <a:pt x="70" y="228"/>
                    <a:pt x="68" y="229"/>
                    <a:pt x="66" y="229"/>
                  </a:cubicBezTo>
                  <a:cubicBezTo>
                    <a:pt x="66" y="229"/>
                    <a:pt x="66" y="229"/>
                    <a:pt x="66" y="2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  <a:latin typeface="+mj-lt"/>
              </a:endParaRPr>
            </a:p>
          </p:txBody>
        </p:sp>
        <p:sp>
          <p:nvSpPr>
            <p:cNvPr id="126" name="Freeform 89">
              <a:extLst>
                <a:ext uri="{FF2B5EF4-FFF2-40B4-BE49-F238E27FC236}">
                  <a16:creationId xmlns:a16="http://schemas.microsoft.com/office/drawing/2014/main" id="{04185316-B34F-294A-A34C-BE4AAF5B7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0" y="1808"/>
              <a:ext cx="337" cy="337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165 w 228"/>
                <a:gd name="T7" fmla="*/ 12 h 228"/>
                <a:gd name="T8" fmla="*/ 168 w 228"/>
                <a:gd name="T9" fmla="*/ 20 h 228"/>
                <a:gd name="T10" fmla="*/ 159 w 228"/>
                <a:gd name="T11" fmla="*/ 23 h 228"/>
                <a:gd name="T12" fmla="*/ 114 w 228"/>
                <a:gd name="T13" fmla="*/ 12 h 228"/>
                <a:gd name="T14" fmla="*/ 12 w 228"/>
                <a:gd name="T15" fmla="*/ 114 h 228"/>
                <a:gd name="T16" fmla="*/ 114 w 228"/>
                <a:gd name="T17" fmla="*/ 216 h 228"/>
                <a:gd name="T18" fmla="*/ 216 w 228"/>
                <a:gd name="T19" fmla="*/ 114 h 228"/>
                <a:gd name="T20" fmla="*/ 214 w 228"/>
                <a:gd name="T21" fmla="*/ 92 h 228"/>
                <a:gd name="T22" fmla="*/ 218 w 228"/>
                <a:gd name="T23" fmla="*/ 84 h 228"/>
                <a:gd name="T24" fmla="*/ 225 w 228"/>
                <a:gd name="T25" fmla="*/ 89 h 228"/>
                <a:gd name="T26" fmla="*/ 228 w 228"/>
                <a:gd name="T27" fmla="*/ 114 h 228"/>
                <a:gd name="T28" fmla="*/ 114 w 228"/>
                <a:gd name="T29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32" y="0"/>
                    <a:pt x="149" y="4"/>
                    <a:pt x="165" y="12"/>
                  </a:cubicBezTo>
                  <a:cubicBezTo>
                    <a:pt x="168" y="14"/>
                    <a:pt x="169" y="17"/>
                    <a:pt x="168" y="20"/>
                  </a:cubicBezTo>
                  <a:cubicBezTo>
                    <a:pt x="166" y="23"/>
                    <a:pt x="162" y="24"/>
                    <a:pt x="159" y="23"/>
                  </a:cubicBezTo>
                  <a:cubicBezTo>
                    <a:pt x="145" y="16"/>
                    <a:pt x="130" y="12"/>
                    <a:pt x="114" y="12"/>
                  </a:cubicBez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107"/>
                    <a:pt x="215" y="99"/>
                    <a:pt x="214" y="92"/>
                  </a:cubicBezTo>
                  <a:cubicBezTo>
                    <a:pt x="213" y="88"/>
                    <a:pt x="215" y="85"/>
                    <a:pt x="218" y="84"/>
                  </a:cubicBezTo>
                  <a:cubicBezTo>
                    <a:pt x="221" y="84"/>
                    <a:pt x="225" y="86"/>
                    <a:pt x="225" y="89"/>
                  </a:cubicBezTo>
                  <a:cubicBezTo>
                    <a:pt x="227" y="97"/>
                    <a:pt x="228" y="106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  <a:latin typeface="+mj-lt"/>
              </a:endParaRPr>
            </a:p>
          </p:txBody>
        </p:sp>
      </p:grpSp>
      <p:grpSp>
        <p:nvGrpSpPr>
          <p:cNvPr id="127" name="Group 78">
            <a:extLst>
              <a:ext uri="{FF2B5EF4-FFF2-40B4-BE49-F238E27FC236}">
                <a16:creationId xmlns:a16="http://schemas.microsoft.com/office/drawing/2014/main" id="{11722946-2303-184D-8463-D62F3154D89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953323" y="1958607"/>
            <a:ext cx="332545" cy="442701"/>
            <a:chOff x="5561" y="440"/>
            <a:chExt cx="320" cy="426"/>
          </a:xfrm>
          <a:solidFill>
            <a:schemeClr val="accent1"/>
          </a:solidFill>
        </p:grpSpPr>
        <p:sp>
          <p:nvSpPr>
            <p:cNvPr id="128" name="Freeform 79">
              <a:extLst>
                <a:ext uri="{FF2B5EF4-FFF2-40B4-BE49-F238E27FC236}">
                  <a16:creationId xmlns:a16="http://schemas.microsoft.com/office/drawing/2014/main" id="{B5E1DA5A-F0CE-4447-9220-974C2855E0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1" y="440"/>
              <a:ext cx="320" cy="426"/>
            </a:xfrm>
            <a:custGeom>
              <a:avLst/>
              <a:gdLst>
                <a:gd name="T0" fmla="*/ 210 w 216"/>
                <a:gd name="T1" fmla="*/ 288 h 288"/>
                <a:gd name="T2" fmla="*/ 6 w 216"/>
                <a:gd name="T3" fmla="*/ 288 h 288"/>
                <a:gd name="T4" fmla="*/ 0 w 216"/>
                <a:gd name="T5" fmla="*/ 282 h 288"/>
                <a:gd name="T6" fmla="*/ 0 w 216"/>
                <a:gd name="T7" fmla="*/ 6 h 288"/>
                <a:gd name="T8" fmla="*/ 6 w 216"/>
                <a:gd name="T9" fmla="*/ 0 h 288"/>
                <a:gd name="T10" fmla="*/ 138 w 216"/>
                <a:gd name="T11" fmla="*/ 0 h 288"/>
                <a:gd name="T12" fmla="*/ 142 w 216"/>
                <a:gd name="T13" fmla="*/ 2 h 288"/>
                <a:gd name="T14" fmla="*/ 214 w 216"/>
                <a:gd name="T15" fmla="*/ 74 h 288"/>
                <a:gd name="T16" fmla="*/ 216 w 216"/>
                <a:gd name="T17" fmla="*/ 78 h 288"/>
                <a:gd name="T18" fmla="*/ 216 w 216"/>
                <a:gd name="T19" fmla="*/ 282 h 288"/>
                <a:gd name="T20" fmla="*/ 210 w 216"/>
                <a:gd name="T21" fmla="*/ 288 h 288"/>
                <a:gd name="T22" fmla="*/ 12 w 216"/>
                <a:gd name="T23" fmla="*/ 276 h 288"/>
                <a:gd name="T24" fmla="*/ 204 w 216"/>
                <a:gd name="T25" fmla="*/ 276 h 288"/>
                <a:gd name="T26" fmla="*/ 204 w 216"/>
                <a:gd name="T27" fmla="*/ 81 h 288"/>
                <a:gd name="T28" fmla="*/ 136 w 216"/>
                <a:gd name="T29" fmla="*/ 12 h 288"/>
                <a:gd name="T30" fmla="*/ 12 w 216"/>
                <a:gd name="T31" fmla="*/ 12 h 288"/>
                <a:gd name="T32" fmla="*/ 12 w 216"/>
                <a:gd name="T33" fmla="*/ 27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6" h="288">
                  <a:moveTo>
                    <a:pt x="210" y="288"/>
                  </a:moveTo>
                  <a:cubicBezTo>
                    <a:pt x="6" y="288"/>
                    <a:pt x="6" y="288"/>
                    <a:pt x="6" y="288"/>
                  </a:cubicBezTo>
                  <a:cubicBezTo>
                    <a:pt x="3" y="288"/>
                    <a:pt x="0" y="286"/>
                    <a:pt x="0" y="28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0" y="0"/>
                    <a:pt x="141" y="1"/>
                    <a:pt x="142" y="2"/>
                  </a:cubicBezTo>
                  <a:cubicBezTo>
                    <a:pt x="214" y="74"/>
                    <a:pt x="214" y="74"/>
                    <a:pt x="214" y="74"/>
                  </a:cubicBezTo>
                  <a:cubicBezTo>
                    <a:pt x="216" y="75"/>
                    <a:pt x="216" y="77"/>
                    <a:pt x="216" y="78"/>
                  </a:cubicBezTo>
                  <a:cubicBezTo>
                    <a:pt x="216" y="282"/>
                    <a:pt x="216" y="282"/>
                    <a:pt x="216" y="282"/>
                  </a:cubicBezTo>
                  <a:cubicBezTo>
                    <a:pt x="216" y="286"/>
                    <a:pt x="214" y="288"/>
                    <a:pt x="210" y="288"/>
                  </a:cubicBezTo>
                  <a:close/>
                  <a:moveTo>
                    <a:pt x="12" y="276"/>
                  </a:moveTo>
                  <a:cubicBezTo>
                    <a:pt x="204" y="276"/>
                    <a:pt x="204" y="276"/>
                    <a:pt x="204" y="276"/>
                  </a:cubicBezTo>
                  <a:cubicBezTo>
                    <a:pt x="204" y="81"/>
                    <a:pt x="204" y="81"/>
                    <a:pt x="204" y="81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29" name="Freeform 80">
              <a:extLst>
                <a:ext uri="{FF2B5EF4-FFF2-40B4-BE49-F238E27FC236}">
                  <a16:creationId xmlns:a16="http://schemas.microsoft.com/office/drawing/2014/main" id="{ABA3B36B-BE79-3540-89D8-3AD859FC58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440"/>
              <a:ext cx="124" cy="125"/>
            </a:xfrm>
            <a:custGeom>
              <a:avLst/>
              <a:gdLst>
                <a:gd name="T0" fmla="*/ 78 w 84"/>
                <a:gd name="T1" fmla="*/ 84 h 84"/>
                <a:gd name="T2" fmla="*/ 6 w 84"/>
                <a:gd name="T3" fmla="*/ 84 h 84"/>
                <a:gd name="T4" fmla="*/ 0 w 84"/>
                <a:gd name="T5" fmla="*/ 78 h 84"/>
                <a:gd name="T6" fmla="*/ 0 w 84"/>
                <a:gd name="T7" fmla="*/ 6 h 84"/>
                <a:gd name="T8" fmla="*/ 6 w 84"/>
                <a:gd name="T9" fmla="*/ 0 h 84"/>
                <a:gd name="T10" fmla="*/ 12 w 84"/>
                <a:gd name="T11" fmla="*/ 6 h 84"/>
                <a:gd name="T12" fmla="*/ 12 w 84"/>
                <a:gd name="T13" fmla="*/ 72 h 84"/>
                <a:gd name="T14" fmla="*/ 78 w 84"/>
                <a:gd name="T15" fmla="*/ 72 h 84"/>
                <a:gd name="T16" fmla="*/ 84 w 84"/>
                <a:gd name="T17" fmla="*/ 78 h 84"/>
                <a:gd name="T18" fmla="*/ 78 w 84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78" y="84"/>
                  </a:moveTo>
                  <a:cubicBezTo>
                    <a:pt x="6" y="84"/>
                    <a:pt x="6" y="84"/>
                    <a:pt x="6" y="84"/>
                  </a:cubicBezTo>
                  <a:cubicBezTo>
                    <a:pt x="3" y="84"/>
                    <a:pt x="0" y="82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82" y="72"/>
                    <a:pt x="84" y="75"/>
                    <a:pt x="84" y="78"/>
                  </a:cubicBezTo>
                  <a:cubicBezTo>
                    <a:pt x="84" y="82"/>
                    <a:pt x="82" y="84"/>
                    <a:pt x="78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0" name="Freeform 81">
              <a:extLst>
                <a:ext uri="{FF2B5EF4-FFF2-40B4-BE49-F238E27FC236}">
                  <a16:creationId xmlns:a16="http://schemas.microsoft.com/office/drawing/2014/main" id="{25C5AFD0-4C23-1A40-A6D1-BE0869FC76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1" y="618"/>
              <a:ext cx="89" cy="17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1" name="Freeform 82">
              <a:extLst>
                <a:ext uri="{FF2B5EF4-FFF2-40B4-BE49-F238E27FC236}">
                  <a16:creationId xmlns:a16="http://schemas.microsoft.com/office/drawing/2014/main" id="{D412E5BA-BAFD-7249-9FD7-E1C872BD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1" y="689"/>
              <a:ext cx="89" cy="17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2" name="Freeform 83">
              <a:extLst>
                <a:ext uri="{FF2B5EF4-FFF2-40B4-BE49-F238E27FC236}">
                  <a16:creationId xmlns:a16="http://schemas.microsoft.com/office/drawing/2014/main" id="{427BAFDA-991B-DF4F-A7FE-4061E7986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1" y="760"/>
              <a:ext cx="89" cy="17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3" name="Freeform 84">
              <a:extLst>
                <a:ext uri="{FF2B5EF4-FFF2-40B4-BE49-F238E27FC236}">
                  <a16:creationId xmlns:a16="http://schemas.microsoft.com/office/drawing/2014/main" id="{B4508F28-8BDC-9245-9C66-6834A3DEB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4" y="582"/>
              <a:ext cx="91" cy="62"/>
            </a:xfrm>
            <a:custGeom>
              <a:avLst/>
              <a:gdLst>
                <a:gd name="T0" fmla="*/ 24 w 61"/>
                <a:gd name="T1" fmla="*/ 42 h 42"/>
                <a:gd name="T2" fmla="*/ 20 w 61"/>
                <a:gd name="T3" fmla="*/ 41 h 42"/>
                <a:gd name="T4" fmla="*/ 2 w 61"/>
                <a:gd name="T5" fmla="*/ 23 h 42"/>
                <a:gd name="T6" fmla="*/ 2 w 61"/>
                <a:gd name="T7" fmla="*/ 14 h 42"/>
                <a:gd name="T8" fmla="*/ 10 w 61"/>
                <a:gd name="T9" fmla="*/ 14 h 42"/>
                <a:gd name="T10" fmla="*/ 24 w 61"/>
                <a:gd name="T11" fmla="*/ 28 h 42"/>
                <a:gd name="T12" fmla="*/ 50 w 61"/>
                <a:gd name="T13" fmla="*/ 2 h 42"/>
                <a:gd name="T14" fmla="*/ 58 w 61"/>
                <a:gd name="T15" fmla="*/ 2 h 42"/>
                <a:gd name="T16" fmla="*/ 58 w 61"/>
                <a:gd name="T17" fmla="*/ 11 h 42"/>
                <a:gd name="T18" fmla="*/ 28 w 61"/>
                <a:gd name="T19" fmla="*/ 41 h 42"/>
                <a:gd name="T20" fmla="*/ 24 w 61"/>
                <a:gd name="T2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42">
                  <a:moveTo>
                    <a:pt x="24" y="42"/>
                  </a:moveTo>
                  <a:cubicBezTo>
                    <a:pt x="23" y="42"/>
                    <a:pt x="21" y="42"/>
                    <a:pt x="20" y="4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0"/>
                    <a:pt x="0" y="17"/>
                    <a:pt x="2" y="14"/>
                  </a:cubicBezTo>
                  <a:cubicBezTo>
                    <a:pt x="4" y="12"/>
                    <a:pt x="8" y="12"/>
                    <a:pt x="10" y="14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2" y="0"/>
                    <a:pt x="56" y="0"/>
                    <a:pt x="58" y="2"/>
                  </a:cubicBezTo>
                  <a:cubicBezTo>
                    <a:pt x="61" y="5"/>
                    <a:pt x="61" y="8"/>
                    <a:pt x="58" y="1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7" y="42"/>
                    <a:pt x="26" y="42"/>
                    <a:pt x="24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4" name="Freeform 85">
              <a:extLst>
                <a:ext uri="{FF2B5EF4-FFF2-40B4-BE49-F238E27FC236}">
                  <a16:creationId xmlns:a16="http://schemas.microsoft.com/office/drawing/2014/main" id="{4B821B86-B791-D441-90DA-D286CAEB5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4" y="653"/>
              <a:ext cx="91" cy="62"/>
            </a:xfrm>
            <a:custGeom>
              <a:avLst/>
              <a:gdLst>
                <a:gd name="T0" fmla="*/ 24 w 61"/>
                <a:gd name="T1" fmla="*/ 42 h 42"/>
                <a:gd name="T2" fmla="*/ 20 w 61"/>
                <a:gd name="T3" fmla="*/ 41 h 42"/>
                <a:gd name="T4" fmla="*/ 2 w 61"/>
                <a:gd name="T5" fmla="*/ 23 h 42"/>
                <a:gd name="T6" fmla="*/ 2 w 61"/>
                <a:gd name="T7" fmla="*/ 14 h 42"/>
                <a:gd name="T8" fmla="*/ 10 w 61"/>
                <a:gd name="T9" fmla="*/ 14 h 42"/>
                <a:gd name="T10" fmla="*/ 24 w 61"/>
                <a:gd name="T11" fmla="*/ 28 h 42"/>
                <a:gd name="T12" fmla="*/ 50 w 61"/>
                <a:gd name="T13" fmla="*/ 2 h 42"/>
                <a:gd name="T14" fmla="*/ 58 w 61"/>
                <a:gd name="T15" fmla="*/ 2 h 42"/>
                <a:gd name="T16" fmla="*/ 58 w 61"/>
                <a:gd name="T17" fmla="*/ 11 h 42"/>
                <a:gd name="T18" fmla="*/ 28 w 61"/>
                <a:gd name="T19" fmla="*/ 41 h 42"/>
                <a:gd name="T20" fmla="*/ 24 w 61"/>
                <a:gd name="T2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42">
                  <a:moveTo>
                    <a:pt x="24" y="42"/>
                  </a:moveTo>
                  <a:cubicBezTo>
                    <a:pt x="23" y="42"/>
                    <a:pt x="21" y="42"/>
                    <a:pt x="20" y="4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0"/>
                    <a:pt x="0" y="17"/>
                    <a:pt x="2" y="14"/>
                  </a:cubicBezTo>
                  <a:cubicBezTo>
                    <a:pt x="4" y="12"/>
                    <a:pt x="8" y="12"/>
                    <a:pt x="10" y="14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2" y="0"/>
                    <a:pt x="56" y="0"/>
                    <a:pt x="58" y="2"/>
                  </a:cubicBezTo>
                  <a:cubicBezTo>
                    <a:pt x="61" y="5"/>
                    <a:pt x="61" y="8"/>
                    <a:pt x="58" y="1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7" y="42"/>
                    <a:pt x="26" y="42"/>
                    <a:pt x="24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5" name="Freeform 86">
              <a:extLst>
                <a:ext uri="{FF2B5EF4-FFF2-40B4-BE49-F238E27FC236}">
                  <a16:creationId xmlns:a16="http://schemas.microsoft.com/office/drawing/2014/main" id="{0961530D-62F0-7F40-BD08-0D4F17005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4" y="724"/>
              <a:ext cx="91" cy="62"/>
            </a:xfrm>
            <a:custGeom>
              <a:avLst/>
              <a:gdLst>
                <a:gd name="T0" fmla="*/ 24 w 61"/>
                <a:gd name="T1" fmla="*/ 42 h 42"/>
                <a:gd name="T2" fmla="*/ 20 w 61"/>
                <a:gd name="T3" fmla="*/ 41 h 42"/>
                <a:gd name="T4" fmla="*/ 2 w 61"/>
                <a:gd name="T5" fmla="*/ 23 h 42"/>
                <a:gd name="T6" fmla="*/ 2 w 61"/>
                <a:gd name="T7" fmla="*/ 14 h 42"/>
                <a:gd name="T8" fmla="*/ 10 w 61"/>
                <a:gd name="T9" fmla="*/ 14 h 42"/>
                <a:gd name="T10" fmla="*/ 24 w 61"/>
                <a:gd name="T11" fmla="*/ 28 h 42"/>
                <a:gd name="T12" fmla="*/ 50 w 61"/>
                <a:gd name="T13" fmla="*/ 2 h 42"/>
                <a:gd name="T14" fmla="*/ 58 w 61"/>
                <a:gd name="T15" fmla="*/ 2 h 42"/>
                <a:gd name="T16" fmla="*/ 58 w 61"/>
                <a:gd name="T17" fmla="*/ 11 h 42"/>
                <a:gd name="T18" fmla="*/ 28 w 61"/>
                <a:gd name="T19" fmla="*/ 41 h 42"/>
                <a:gd name="T20" fmla="*/ 24 w 61"/>
                <a:gd name="T2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42">
                  <a:moveTo>
                    <a:pt x="24" y="42"/>
                  </a:moveTo>
                  <a:cubicBezTo>
                    <a:pt x="23" y="42"/>
                    <a:pt x="21" y="42"/>
                    <a:pt x="20" y="4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0"/>
                    <a:pt x="0" y="17"/>
                    <a:pt x="2" y="14"/>
                  </a:cubicBezTo>
                  <a:cubicBezTo>
                    <a:pt x="4" y="12"/>
                    <a:pt x="8" y="12"/>
                    <a:pt x="10" y="14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2" y="0"/>
                    <a:pt x="56" y="0"/>
                    <a:pt x="58" y="2"/>
                  </a:cubicBezTo>
                  <a:cubicBezTo>
                    <a:pt x="61" y="5"/>
                    <a:pt x="61" y="8"/>
                    <a:pt x="58" y="1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7" y="42"/>
                    <a:pt x="26" y="42"/>
                    <a:pt x="24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136" name="Group 45">
            <a:extLst>
              <a:ext uri="{FF2B5EF4-FFF2-40B4-BE49-F238E27FC236}">
                <a16:creationId xmlns:a16="http://schemas.microsoft.com/office/drawing/2014/main" id="{516FF822-0AC6-8F49-982F-1D1D7300DD4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83204" y="3116889"/>
            <a:ext cx="481666" cy="481666"/>
            <a:chOff x="5507" y="439"/>
            <a:chExt cx="426" cy="426"/>
          </a:xfrm>
          <a:solidFill>
            <a:schemeClr val="accent1"/>
          </a:solidFill>
        </p:grpSpPr>
        <p:sp>
          <p:nvSpPr>
            <p:cNvPr id="137" name="Freeform 46">
              <a:extLst>
                <a:ext uri="{FF2B5EF4-FFF2-40B4-BE49-F238E27FC236}">
                  <a16:creationId xmlns:a16="http://schemas.microsoft.com/office/drawing/2014/main" id="{F4B73D59-02E7-6541-B93C-C6650620AA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6" y="652"/>
              <a:ext cx="124" cy="124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66" y="0"/>
                    <a:pt x="84" y="18"/>
                    <a:pt x="84" y="42"/>
                  </a:cubicBezTo>
                  <a:cubicBezTo>
                    <a:pt x="84" y="65"/>
                    <a:pt x="66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6" y="12"/>
                    <a:pt x="12" y="25"/>
                    <a:pt x="12" y="42"/>
                  </a:cubicBezTo>
                  <a:cubicBezTo>
                    <a:pt x="12" y="58"/>
                    <a:pt x="26" y="72"/>
                    <a:pt x="42" y="72"/>
                  </a:cubicBezTo>
                  <a:cubicBezTo>
                    <a:pt x="59" y="72"/>
                    <a:pt x="72" y="58"/>
                    <a:pt x="72" y="42"/>
                  </a:cubicBezTo>
                  <a:cubicBezTo>
                    <a:pt x="72" y="25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8" name="Freeform 47">
              <a:extLst>
                <a:ext uri="{FF2B5EF4-FFF2-40B4-BE49-F238E27FC236}">
                  <a16:creationId xmlns:a16="http://schemas.microsoft.com/office/drawing/2014/main" id="{A069EDB2-D1F1-4B46-9633-D4A833BD8A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9" y="492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9" name="Freeform 48">
              <a:extLst>
                <a:ext uri="{FF2B5EF4-FFF2-40B4-BE49-F238E27FC236}">
                  <a16:creationId xmlns:a16="http://schemas.microsoft.com/office/drawing/2014/main" id="{28E39315-063A-D84B-9973-3C71C544EA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" y="563"/>
              <a:ext cx="302" cy="302"/>
            </a:xfrm>
            <a:custGeom>
              <a:avLst/>
              <a:gdLst>
                <a:gd name="T0" fmla="*/ 79 w 204"/>
                <a:gd name="T1" fmla="*/ 204 h 204"/>
                <a:gd name="T2" fmla="*/ 73 w 204"/>
                <a:gd name="T3" fmla="*/ 180 h 204"/>
                <a:gd name="T4" fmla="*/ 34 w 204"/>
                <a:gd name="T5" fmla="*/ 176 h 204"/>
                <a:gd name="T6" fmla="*/ 2 w 204"/>
                <a:gd name="T7" fmla="*/ 132 h 204"/>
                <a:gd name="T8" fmla="*/ 19 w 204"/>
                <a:gd name="T9" fmla="*/ 115 h 204"/>
                <a:gd name="T10" fmla="*/ 19 w 204"/>
                <a:gd name="T11" fmla="*/ 88 h 204"/>
                <a:gd name="T12" fmla="*/ 2 w 204"/>
                <a:gd name="T13" fmla="*/ 76 h 204"/>
                <a:gd name="T14" fmla="*/ 26 w 204"/>
                <a:gd name="T15" fmla="*/ 30 h 204"/>
                <a:gd name="T16" fmla="*/ 50 w 204"/>
                <a:gd name="T17" fmla="*/ 36 h 204"/>
                <a:gd name="T18" fmla="*/ 73 w 204"/>
                <a:gd name="T19" fmla="*/ 6 h 204"/>
                <a:gd name="T20" fmla="*/ 127 w 204"/>
                <a:gd name="T21" fmla="*/ 0 h 204"/>
                <a:gd name="T22" fmla="*/ 133 w 204"/>
                <a:gd name="T23" fmla="*/ 23 h 204"/>
                <a:gd name="T24" fmla="*/ 170 w 204"/>
                <a:gd name="T25" fmla="*/ 28 h 204"/>
                <a:gd name="T26" fmla="*/ 179 w 204"/>
                <a:gd name="T27" fmla="*/ 30 h 204"/>
                <a:gd name="T28" fmla="*/ 200 w 204"/>
                <a:gd name="T29" fmla="*/ 80 h 204"/>
                <a:gd name="T30" fmla="*/ 186 w 204"/>
                <a:gd name="T31" fmla="*/ 102 h 204"/>
                <a:gd name="T32" fmla="*/ 201 w 204"/>
                <a:gd name="T33" fmla="*/ 124 h 204"/>
                <a:gd name="T34" fmla="*/ 179 w 204"/>
                <a:gd name="T35" fmla="*/ 173 h 204"/>
                <a:gd name="T36" fmla="*/ 171 w 204"/>
                <a:gd name="T37" fmla="*/ 176 h 204"/>
                <a:gd name="T38" fmla="*/ 133 w 204"/>
                <a:gd name="T39" fmla="*/ 180 h 204"/>
                <a:gd name="T40" fmla="*/ 127 w 204"/>
                <a:gd name="T41" fmla="*/ 204 h 204"/>
                <a:gd name="T42" fmla="*/ 121 w 204"/>
                <a:gd name="T43" fmla="*/ 192 h 204"/>
                <a:gd name="T44" fmla="*/ 126 w 204"/>
                <a:gd name="T45" fmla="*/ 170 h 204"/>
                <a:gd name="T46" fmla="*/ 158 w 204"/>
                <a:gd name="T47" fmla="*/ 154 h 204"/>
                <a:gd name="T48" fmla="*/ 189 w 204"/>
                <a:gd name="T49" fmla="*/ 131 h 204"/>
                <a:gd name="T50" fmla="*/ 173 w 204"/>
                <a:gd name="T51" fmla="*/ 117 h 204"/>
                <a:gd name="T52" fmla="*/ 173 w 204"/>
                <a:gd name="T53" fmla="*/ 87 h 204"/>
                <a:gd name="T54" fmla="*/ 189 w 204"/>
                <a:gd name="T55" fmla="*/ 72 h 204"/>
                <a:gd name="T56" fmla="*/ 158 w 204"/>
                <a:gd name="T57" fmla="*/ 49 h 204"/>
                <a:gd name="T58" fmla="*/ 126 w 204"/>
                <a:gd name="T59" fmla="*/ 33 h 204"/>
                <a:gd name="T60" fmla="*/ 121 w 204"/>
                <a:gd name="T61" fmla="*/ 12 h 204"/>
                <a:gd name="T62" fmla="*/ 85 w 204"/>
                <a:gd name="T63" fmla="*/ 27 h 204"/>
                <a:gd name="T64" fmla="*/ 55 w 204"/>
                <a:gd name="T65" fmla="*/ 48 h 204"/>
                <a:gd name="T66" fmla="*/ 34 w 204"/>
                <a:gd name="T67" fmla="*/ 41 h 204"/>
                <a:gd name="T68" fmla="*/ 29 w 204"/>
                <a:gd name="T69" fmla="*/ 80 h 204"/>
                <a:gd name="T70" fmla="*/ 30 w 204"/>
                <a:gd name="T71" fmla="*/ 102 h 204"/>
                <a:gd name="T72" fmla="*/ 29 w 204"/>
                <a:gd name="T73" fmla="*/ 123 h 204"/>
                <a:gd name="T74" fmla="*/ 33 w 204"/>
                <a:gd name="T75" fmla="*/ 162 h 204"/>
                <a:gd name="T76" fmla="*/ 55 w 204"/>
                <a:gd name="T77" fmla="*/ 155 h 204"/>
                <a:gd name="T78" fmla="*/ 85 w 204"/>
                <a:gd name="T79" fmla="*/ 17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4" h="204">
                  <a:moveTo>
                    <a:pt x="127" y="204"/>
                  </a:moveTo>
                  <a:cubicBezTo>
                    <a:pt x="79" y="204"/>
                    <a:pt x="79" y="204"/>
                    <a:pt x="79" y="204"/>
                  </a:cubicBezTo>
                  <a:cubicBezTo>
                    <a:pt x="76" y="204"/>
                    <a:pt x="73" y="201"/>
                    <a:pt x="73" y="198"/>
                  </a:cubicBezTo>
                  <a:cubicBezTo>
                    <a:pt x="73" y="180"/>
                    <a:pt x="73" y="180"/>
                    <a:pt x="73" y="180"/>
                  </a:cubicBezTo>
                  <a:cubicBezTo>
                    <a:pt x="65" y="177"/>
                    <a:pt x="57" y="173"/>
                    <a:pt x="50" y="167"/>
                  </a:cubicBezTo>
                  <a:cubicBezTo>
                    <a:pt x="34" y="176"/>
                    <a:pt x="34" y="176"/>
                    <a:pt x="34" y="176"/>
                  </a:cubicBezTo>
                  <a:cubicBezTo>
                    <a:pt x="31" y="177"/>
                    <a:pt x="28" y="176"/>
                    <a:pt x="26" y="173"/>
                  </a:cubicBezTo>
                  <a:cubicBezTo>
                    <a:pt x="2" y="132"/>
                    <a:pt x="2" y="132"/>
                    <a:pt x="2" y="132"/>
                  </a:cubicBezTo>
                  <a:cubicBezTo>
                    <a:pt x="0" y="129"/>
                    <a:pt x="1" y="125"/>
                    <a:pt x="4" y="124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11"/>
                    <a:pt x="18" y="106"/>
                    <a:pt x="18" y="102"/>
                  </a:cubicBezTo>
                  <a:cubicBezTo>
                    <a:pt x="18" y="97"/>
                    <a:pt x="19" y="93"/>
                    <a:pt x="19" y="88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3" y="79"/>
                    <a:pt x="2" y="78"/>
                    <a:pt x="2" y="76"/>
                  </a:cubicBezTo>
                  <a:cubicBezTo>
                    <a:pt x="1" y="74"/>
                    <a:pt x="1" y="73"/>
                    <a:pt x="2" y="71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8" y="27"/>
                    <a:pt x="32" y="26"/>
                    <a:pt x="34" y="28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7" y="30"/>
                    <a:pt x="65" y="26"/>
                    <a:pt x="73" y="23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73" y="2"/>
                    <a:pt x="76" y="0"/>
                    <a:pt x="79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1" y="0"/>
                    <a:pt x="133" y="2"/>
                    <a:pt x="133" y="6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42" y="26"/>
                    <a:pt x="149" y="31"/>
                    <a:pt x="156" y="36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2" y="27"/>
                    <a:pt x="173" y="27"/>
                    <a:pt x="175" y="27"/>
                  </a:cubicBezTo>
                  <a:cubicBezTo>
                    <a:pt x="177" y="27"/>
                    <a:pt x="178" y="28"/>
                    <a:pt x="179" y="30"/>
                  </a:cubicBezTo>
                  <a:cubicBezTo>
                    <a:pt x="203" y="71"/>
                    <a:pt x="203" y="71"/>
                    <a:pt x="203" y="71"/>
                  </a:cubicBezTo>
                  <a:cubicBezTo>
                    <a:pt x="204" y="74"/>
                    <a:pt x="203" y="78"/>
                    <a:pt x="200" y="80"/>
                  </a:cubicBezTo>
                  <a:cubicBezTo>
                    <a:pt x="185" y="88"/>
                    <a:pt x="185" y="88"/>
                    <a:pt x="185" y="88"/>
                  </a:cubicBezTo>
                  <a:cubicBezTo>
                    <a:pt x="186" y="93"/>
                    <a:pt x="186" y="97"/>
                    <a:pt x="186" y="102"/>
                  </a:cubicBezTo>
                  <a:cubicBezTo>
                    <a:pt x="186" y="106"/>
                    <a:pt x="186" y="111"/>
                    <a:pt x="185" y="115"/>
                  </a:cubicBezTo>
                  <a:cubicBezTo>
                    <a:pt x="201" y="124"/>
                    <a:pt x="201" y="124"/>
                    <a:pt x="201" y="124"/>
                  </a:cubicBezTo>
                  <a:cubicBezTo>
                    <a:pt x="203" y="125"/>
                    <a:pt x="204" y="129"/>
                    <a:pt x="203" y="132"/>
                  </a:cubicBezTo>
                  <a:cubicBezTo>
                    <a:pt x="179" y="173"/>
                    <a:pt x="179" y="173"/>
                    <a:pt x="179" y="173"/>
                  </a:cubicBezTo>
                  <a:cubicBezTo>
                    <a:pt x="178" y="175"/>
                    <a:pt x="177" y="176"/>
                    <a:pt x="175" y="176"/>
                  </a:cubicBezTo>
                  <a:cubicBezTo>
                    <a:pt x="174" y="177"/>
                    <a:pt x="172" y="176"/>
                    <a:pt x="171" y="176"/>
                  </a:cubicBezTo>
                  <a:cubicBezTo>
                    <a:pt x="156" y="167"/>
                    <a:pt x="156" y="167"/>
                    <a:pt x="156" y="167"/>
                  </a:cubicBezTo>
                  <a:cubicBezTo>
                    <a:pt x="149" y="173"/>
                    <a:pt x="142" y="177"/>
                    <a:pt x="133" y="180"/>
                  </a:cubicBezTo>
                  <a:cubicBezTo>
                    <a:pt x="133" y="198"/>
                    <a:pt x="133" y="198"/>
                    <a:pt x="133" y="198"/>
                  </a:cubicBezTo>
                  <a:cubicBezTo>
                    <a:pt x="133" y="201"/>
                    <a:pt x="131" y="204"/>
                    <a:pt x="127" y="204"/>
                  </a:cubicBezTo>
                  <a:close/>
                  <a:moveTo>
                    <a:pt x="85" y="192"/>
                  </a:moveTo>
                  <a:cubicBezTo>
                    <a:pt x="121" y="192"/>
                    <a:pt x="121" y="192"/>
                    <a:pt x="121" y="192"/>
                  </a:cubicBezTo>
                  <a:cubicBezTo>
                    <a:pt x="121" y="176"/>
                    <a:pt x="121" y="176"/>
                    <a:pt x="121" y="176"/>
                  </a:cubicBezTo>
                  <a:cubicBezTo>
                    <a:pt x="121" y="173"/>
                    <a:pt x="123" y="171"/>
                    <a:pt x="126" y="170"/>
                  </a:cubicBezTo>
                  <a:cubicBezTo>
                    <a:pt x="136" y="167"/>
                    <a:pt x="143" y="162"/>
                    <a:pt x="151" y="155"/>
                  </a:cubicBezTo>
                  <a:cubicBezTo>
                    <a:pt x="153" y="153"/>
                    <a:pt x="156" y="153"/>
                    <a:pt x="158" y="154"/>
                  </a:cubicBezTo>
                  <a:cubicBezTo>
                    <a:pt x="172" y="162"/>
                    <a:pt x="172" y="162"/>
                    <a:pt x="172" y="162"/>
                  </a:cubicBezTo>
                  <a:cubicBezTo>
                    <a:pt x="189" y="131"/>
                    <a:pt x="189" y="131"/>
                    <a:pt x="189" y="131"/>
                  </a:cubicBezTo>
                  <a:cubicBezTo>
                    <a:pt x="176" y="123"/>
                    <a:pt x="176" y="123"/>
                    <a:pt x="176" y="123"/>
                  </a:cubicBezTo>
                  <a:cubicBezTo>
                    <a:pt x="173" y="122"/>
                    <a:pt x="172" y="119"/>
                    <a:pt x="173" y="117"/>
                  </a:cubicBezTo>
                  <a:cubicBezTo>
                    <a:pt x="174" y="112"/>
                    <a:pt x="174" y="107"/>
                    <a:pt x="174" y="102"/>
                  </a:cubicBezTo>
                  <a:cubicBezTo>
                    <a:pt x="174" y="97"/>
                    <a:pt x="174" y="92"/>
                    <a:pt x="173" y="87"/>
                  </a:cubicBezTo>
                  <a:cubicBezTo>
                    <a:pt x="172" y="84"/>
                    <a:pt x="173" y="81"/>
                    <a:pt x="176" y="80"/>
                  </a:cubicBezTo>
                  <a:cubicBezTo>
                    <a:pt x="189" y="72"/>
                    <a:pt x="189" y="72"/>
                    <a:pt x="189" y="72"/>
                  </a:cubicBezTo>
                  <a:cubicBezTo>
                    <a:pt x="171" y="41"/>
                    <a:pt x="171" y="41"/>
                    <a:pt x="171" y="41"/>
                  </a:cubicBezTo>
                  <a:cubicBezTo>
                    <a:pt x="158" y="49"/>
                    <a:pt x="158" y="49"/>
                    <a:pt x="158" y="49"/>
                  </a:cubicBezTo>
                  <a:cubicBezTo>
                    <a:pt x="156" y="50"/>
                    <a:pt x="153" y="50"/>
                    <a:pt x="151" y="48"/>
                  </a:cubicBezTo>
                  <a:cubicBezTo>
                    <a:pt x="143" y="41"/>
                    <a:pt x="136" y="36"/>
                    <a:pt x="126" y="33"/>
                  </a:cubicBezTo>
                  <a:cubicBezTo>
                    <a:pt x="123" y="33"/>
                    <a:pt x="121" y="30"/>
                    <a:pt x="121" y="27"/>
                  </a:cubicBezTo>
                  <a:cubicBezTo>
                    <a:pt x="121" y="12"/>
                    <a:pt x="121" y="12"/>
                    <a:pt x="121" y="12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85" y="27"/>
                    <a:pt x="85" y="27"/>
                    <a:pt x="85" y="27"/>
                  </a:cubicBezTo>
                  <a:cubicBezTo>
                    <a:pt x="85" y="30"/>
                    <a:pt x="83" y="32"/>
                    <a:pt x="81" y="33"/>
                  </a:cubicBezTo>
                  <a:cubicBezTo>
                    <a:pt x="71" y="36"/>
                    <a:pt x="63" y="40"/>
                    <a:pt x="55" y="48"/>
                  </a:cubicBezTo>
                  <a:cubicBezTo>
                    <a:pt x="53" y="50"/>
                    <a:pt x="50" y="50"/>
                    <a:pt x="48" y="49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16" y="72"/>
                    <a:pt x="16" y="72"/>
                    <a:pt x="16" y="72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31" y="81"/>
                    <a:pt x="33" y="84"/>
                    <a:pt x="32" y="87"/>
                  </a:cubicBezTo>
                  <a:cubicBezTo>
                    <a:pt x="31" y="92"/>
                    <a:pt x="30" y="97"/>
                    <a:pt x="30" y="102"/>
                  </a:cubicBezTo>
                  <a:cubicBezTo>
                    <a:pt x="30" y="107"/>
                    <a:pt x="31" y="112"/>
                    <a:pt x="32" y="117"/>
                  </a:cubicBezTo>
                  <a:cubicBezTo>
                    <a:pt x="33" y="119"/>
                    <a:pt x="31" y="122"/>
                    <a:pt x="29" y="123"/>
                  </a:cubicBezTo>
                  <a:cubicBezTo>
                    <a:pt x="15" y="131"/>
                    <a:pt x="15" y="131"/>
                    <a:pt x="15" y="131"/>
                  </a:cubicBezTo>
                  <a:cubicBezTo>
                    <a:pt x="33" y="162"/>
                    <a:pt x="33" y="162"/>
                    <a:pt x="33" y="162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50" y="153"/>
                    <a:pt x="53" y="153"/>
                    <a:pt x="55" y="155"/>
                  </a:cubicBezTo>
                  <a:cubicBezTo>
                    <a:pt x="63" y="163"/>
                    <a:pt x="71" y="167"/>
                    <a:pt x="81" y="170"/>
                  </a:cubicBezTo>
                  <a:cubicBezTo>
                    <a:pt x="83" y="171"/>
                    <a:pt x="85" y="173"/>
                    <a:pt x="85" y="176"/>
                  </a:cubicBezTo>
                  <a:lnTo>
                    <a:pt x="85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40" name="Freeform 49">
              <a:extLst>
                <a:ext uri="{FF2B5EF4-FFF2-40B4-BE49-F238E27FC236}">
                  <a16:creationId xmlns:a16="http://schemas.microsoft.com/office/drawing/2014/main" id="{25703F0B-4AFB-1142-AB77-64647188DC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57" y="439"/>
              <a:ext cx="176" cy="178"/>
            </a:xfrm>
            <a:custGeom>
              <a:avLst/>
              <a:gdLst>
                <a:gd name="T0" fmla="*/ 48 w 119"/>
                <a:gd name="T1" fmla="*/ 120 h 120"/>
                <a:gd name="T2" fmla="*/ 42 w 119"/>
                <a:gd name="T3" fmla="*/ 104 h 120"/>
                <a:gd name="T4" fmla="*/ 21 w 119"/>
                <a:gd name="T5" fmla="*/ 102 h 120"/>
                <a:gd name="T6" fmla="*/ 1 w 119"/>
                <a:gd name="T7" fmla="*/ 79 h 120"/>
                <a:gd name="T8" fmla="*/ 4 w 119"/>
                <a:gd name="T9" fmla="*/ 71 h 120"/>
                <a:gd name="T10" fmla="*/ 11 w 119"/>
                <a:gd name="T11" fmla="*/ 60 h 120"/>
                <a:gd name="T12" fmla="*/ 4 w 119"/>
                <a:gd name="T13" fmla="*/ 48 h 120"/>
                <a:gd name="T14" fmla="*/ 2 w 119"/>
                <a:gd name="T15" fmla="*/ 40 h 120"/>
                <a:gd name="T16" fmla="*/ 22 w 119"/>
                <a:gd name="T17" fmla="*/ 17 h 120"/>
                <a:gd name="T18" fmla="*/ 42 w 119"/>
                <a:gd name="T19" fmla="*/ 15 h 120"/>
                <a:gd name="T20" fmla="*/ 48 w 119"/>
                <a:gd name="T21" fmla="*/ 0 h 120"/>
                <a:gd name="T22" fmla="*/ 78 w 119"/>
                <a:gd name="T23" fmla="*/ 6 h 120"/>
                <a:gd name="T24" fmla="*/ 89 w 119"/>
                <a:gd name="T25" fmla="*/ 22 h 120"/>
                <a:gd name="T26" fmla="*/ 102 w 119"/>
                <a:gd name="T27" fmla="*/ 16 h 120"/>
                <a:gd name="T28" fmla="*/ 117 w 119"/>
                <a:gd name="T29" fmla="*/ 40 h 120"/>
                <a:gd name="T30" fmla="*/ 107 w 119"/>
                <a:gd name="T31" fmla="*/ 53 h 120"/>
                <a:gd name="T32" fmla="*/ 107 w 119"/>
                <a:gd name="T33" fmla="*/ 66 h 120"/>
                <a:gd name="T34" fmla="*/ 117 w 119"/>
                <a:gd name="T35" fmla="*/ 79 h 120"/>
                <a:gd name="T36" fmla="*/ 102 w 119"/>
                <a:gd name="T37" fmla="*/ 103 h 120"/>
                <a:gd name="T38" fmla="*/ 89 w 119"/>
                <a:gd name="T39" fmla="*/ 97 h 120"/>
                <a:gd name="T40" fmla="*/ 78 w 119"/>
                <a:gd name="T41" fmla="*/ 114 h 120"/>
                <a:gd name="T42" fmla="*/ 54 w 119"/>
                <a:gd name="T43" fmla="*/ 108 h 120"/>
                <a:gd name="T44" fmla="*/ 66 w 119"/>
                <a:gd name="T45" fmla="*/ 100 h 120"/>
                <a:gd name="T46" fmla="*/ 84 w 119"/>
                <a:gd name="T47" fmla="*/ 86 h 120"/>
                <a:gd name="T48" fmla="*/ 98 w 119"/>
                <a:gd name="T49" fmla="*/ 89 h 120"/>
                <a:gd name="T50" fmla="*/ 97 w 119"/>
                <a:gd name="T51" fmla="*/ 75 h 120"/>
                <a:gd name="T52" fmla="*/ 95 w 119"/>
                <a:gd name="T53" fmla="*/ 60 h 120"/>
                <a:gd name="T54" fmla="*/ 97 w 119"/>
                <a:gd name="T55" fmla="*/ 45 h 120"/>
                <a:gd name="T56" fmla="*/ 98 w 119"/>
                <a:gd name="T57" fmla="*/ 31 h 120"/>
                <a:gd name="T58" fmla="*/ 84 w 119"/>
                <a:gd name="T59" fmla="*/ 34 h 120"/>
                <a:gd name="T60" fmla="*/ 66 w 119"/>
                <a:gd name="T61" fmla="*/ 19 h 120"/>
                <a:gd name="T62" fmla="*/ 54 w 119"/>
                <a:gd name="T63" fmla="*/ 12 h 120"/>
                <a:gd name="T64" fmla="*/ 50 w 119"/>
                <a:gd name="T65" fmla="*/ 25 h 120"/>
                <a:gd name="T66" fmla="*/ 28 w 119"/>
                <a:gd name="T67" fmla="*/ 34 h 120"/>
                <a:gd name="T68" fmla="*/ 15 w 119"/>
                <a:gd name="T69" fmla="*/ 41 h 120"/>
                <a:gd name="T70" fmla="*/ 24 w 119"/>
                <a:gd name="T71" fmla="*/ 51 h 120"/>
                <a:gd name="T72" fmla="*/ 24 w 119"/>
                <a:gd name="T73" fmla="*/ 68 h 120"/>
                <a:gd name="T74" fmla="*/ 15 w 119"/>
                <a:gd name="T75" fmla="*/ 78 h 120"/>
                <a:gd name="T76" fmla="*/ 28 w 119"/>
                <a:gd name="T77" fmla="*/ 85 h 120"/>
                <a:gd name="T78" fmla="*/ 50 w 119"/>
                <a:gd name="T79" fmla="*/ 94 h 120"/>
                <a:gd name="T80" fmla="*/ 54 w 119"/>
                <a:gd name="T81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" h="120">
                  <a:moveTo>
                    <a:pt x="72" y="120"/>
                  </a:moveTo>
                  <a:cubicBezTo>
                    <a:pt x="48" y="120"/>
                    <a:pt x="48" y="120"/>
                    <a:pt x="48" y="120"/>
                  </a:cubicBezTo>
                  <a:cubicBezTo>
                    <a:pt x="45" y="120"/>
                    <a:pt x="42" y="117"/>
                    <a:pt x="42" y="114"/>
                  </a:cubicBezTo>
                  <a:cubicBezTo>
                    <a:pt x="42" y="104"/>
                    <a:pt x="42" y="104"/>
                    <a:pt x="42" y="104"/>
                  </a:cubicBezTo>
                  <a:cubicBezTo>
                    <a:pt x="38" y="102"/>
                    <a:pt x="34" y="100"/>
                    <a:pt x="30" y="97"/>
                  </a:cubicBezTo>
                  <a:cubicBezTo>
                    <a:pt x="21" y="102"/>
                    <a:pt x="21" y="102"/>
                    <a:pt x="21" y="102"/>
                  </a:cubicBezTo>
                  <a:cubicBezTo>
                    <a:pt x="19" y="104"/>
                    <a:pt x="15" y="103"/>
                    <a:pt x="13" y="100"/>
                  </a:cubicBezTo>
                  <a:cubicBezTo>
                    <a:pt x="1" y="79"/>
                    <a:pt x="1" y="79"/>
                    <a:pt x="1" y="79"/>
                  </a:cubicBezTo>
                  <a:cubicBezTo>
                    <a:pt x="1" y="78"/>
                    <a:pt x="0" y="76"/>
                    <a:pt x="1" y="75"/>
                  </a:cubicBezTo>
                  <a:cubicBezTo>
                    <a:pt x="1" y="73"/>
                    <a:pt x="2" y="72"/>
                    <a:pt x="4" y="71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4"/>
                    <a:pt x="11" y="62"/>
                    <a:pt x="11" y="60"/>
                  </a:cubicBezTo>
                  <a:cubicBezTo>
                    <a:pt x="11" y="57"/>
                    <a:pt x="12" y="55"/>
                    <a:pt x="12" y="53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2" y="47"/>
                    <a:pt x="1" y="46"/>
                    <a:pt x="1" y="45"/>
                  </a:cubicBezTo>
                  <a:cubicBezTo>
                    <a:pt x="0" y="43"/>
                    <a:pt x="1" y="41"/>
                    <a:pt x="2" y="40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6"/>
                    <a:pt x="19" y="15"/>
                    <a:pt x="22" y="17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4" y="19"/>
                    <a:pt x="38" y="17"/>
                    <a:pt x="42" y="15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2"/>
                    <a:pt x="45" y="0"/>
                    <a:pt x="48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6" y="0"/>
                    <a:pt x="78" y="2"/>
                    <a:pt x="78" y="6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2" y="17"/>
                    <a:pt x="86" y="19"/>
                    <a:pt x="89" y="22"/>
                  </a:cubicBezTo>
                  <a:cubicBezTo>
                    <a:pt x="97" y="17"/>
                    <a:pt x="97" y="17"/>
                    <a:pt x="97" y="17"/>
                  </a:cubicBezTo>
                  <a:cubicBezTo>
                    <a:pt x="98" y="16"/>
                    <a:pt x="100" y="16"/>
                    <a:pt x="102" y="16"/>
                  </a:cubicBezTo>
                  <a:cubicBezTo>
                    <a:pt x="103" y="17"/>
                    <a:pt x="105" y="18"/>
                    <a:pt x="105" y="19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9" y="43"/>
                    <a:pt x="118" y="47"/>
                    <a:pt x="115" y="48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07" y="55"/>
                    <a:pt x="107" y="57"/>
                    <a:pt x="107" y="60"/>
                  </a:cubicBezTo>
                  <a:cubicBezTo>
                    <a:pt x="107" y="62"/>
                    <a:pt x="107" y="64"/>
                    <a:pt x="107" y="66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8" y="73"/>
                    <a:pt x="119" y="76"/>
                    <a:pt x="117" y="7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5" y="101"/>
                    <a:pt x="103" y="102"/>
                    <a:pt x="102" y="103"/>
                  </a:cubicBezTo>
                  <a:cubicBezTo>
                    <a:pt x="100" y="103"/>
                    <a:pt x="99" y="103"/>
                    <a:pt x="97" y="102"/>
                  </a:cubicBezTo>
                  <a:cubicBezTo>
                    <a:pt x="89" y="97"/>
                    <a:pt x="89" y="97"/>
                    <a:pt x="89" y="97"/>
                  </a:cubicBezTo>
                  <a:cubicBezTo>
                    <a:pt x="86" y="100"/>
                    <a:pt x="82" y="102"/>
                    <a:pt x="78" y="104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8" y="117"/>
                    <a:pt x="76" y="120"/>
                    <a:pt x="72" y="120"/>
                  </a:cubicBezTo>
                  <a:close/>
                  <a:moveTo>
                    <a:pt x="54" y="108"/>
                  </a:moveTo>
                  <a:cubicBezTo>
                    <a:pt x="66" y="108"/>
                    <a:pt x="66" y="108"/>
                    <a:pt x="66" y="108"/>
                  </a:cubicBezTo>
                  <a:cubicBezTo>
                    <a:pt x="66" y="100"/>
                    <a:pt x="66" y="100"/>
                    <a:pt x="66" y="100"/>
                  </a:cubicBezTo>
                  <a:cubicBezTo>
                    <a:pt x="66" y="97"/>
                    <a:pt x="68" y="95"/>
                    <a:pt x="70" y="94"/>
                  </a:cubicBezTo>
                  <a:cubicBezTo>
                    <a:pt x="76" y="93"/>
                    <a:pt x="80" y="90"/>
                    <a:pt x="84" y="86"/>
                  </a:cubicBezTo>
                  <a:cubicBezTo>
                    <a:pt x="86" y="84"/>
                    <a:pt x="89" y="84"/>
                    <a:pt x="92" y="85"/>
                  </a:cubicBezTo>
                  <a:cubicBezTo>
                    <a:pt x="98" y="89"/>
                    <a:pt x="98" y="89"/>
                    <a:pt x="98" y="89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97" y="75"/>
                    <a:pt x="97" y="75"/>
                    <a:pt x="97" y="75"/>
                  </a:cubicBezTo>
                  <a:cubicBezTo>
                    <a:pt x="95" y="73"/>
                    <a:pt x="94" y="71"/>
                    <a:pt x="94" y="68"/>
                  </a:cubicBezTo>
                  <a:cubicBezTo>
                    <a:pt x="95" y="65"/>
                    <a:pt x="95" y="62"/>
                    <a:pt x="95" y="60"/>
                  </a:cubicBezTo>
                  <a:cubicBezTo>
                    <a:pt x="95" y="57"/>
                    <a:pt x="95" y="54"/>
                    <a:pt x="94" y="51"/>
                  </a:cubicBezTo>
                  <a:cubicBezTo>
                    <a:pt x="94" y="49"/>
                    <a:pt x="95" y="46"/>
                    <a:pt x="97" y="45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98" y="31"/>
                    <a:pt x="98" y="31"/>
                    <a:pt x="98" y="31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89" y="36"/>
                    <a:pt x="86" y="35"/>
                    <a:pt x="84" y="34"/>
                  </a:cubicBezTo>
                  <a:cubicBezTo>
                    <a:pt x="80" y="30"/>
                    <a:pt x="76" y="27"/>
                    <a:pt x="70" y="25"/>
                  </a:cubicBezTo>
                  <a:cubicBezTo>
                    <a:pt x="68" y="24"/>
                    <a:pt x="66" y="22"/>
                    <a:pt x="66" y="19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4" y="22"/>
                    <a:pt x="53" y="24"/>
                    <a:pt x="50" y="25"/>
                  </a:cubicBezTo>
                  <a:cubicBezTo>
                    <a:pt x="44" y="27"/>
                    <a:pt x="39" y="30"/>
                    <a:pt x="35" y="34"/>
                  </a:cubicBezTo>
                  <a:cubicBezTo>
                    <a:pt x="33" y="35"/>
                    <a:pt x="30" y="36"/>
                    <a:pt x="28" y="34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4" y="46"/>
                    <a:pt x="25" y="49"/>
                    <a:pt x="24" y="51"/>
                  </a:cubicBezTo>
                  <a:cubicBezTo>
                    <a:pt x="24" y="54"/>
                    <a:pt x="23" y="57"/>
                    <a:pt x="23" y="60"/>
                  </a:cubicBezTo>
                  <a:cubicBezTo>
                    <a:pt x="23" y="62"/>
                    <a:pt x="24" y="65"/>
                    <a:pt x="24" y="68"/>
                  </a:cubicBezTo>
                  <a:cubicBezTo>
                    <a:pt x="25" y="71"/>
                    <a:pt x="24" y="73"/>
                    <a:pt x="22" y="7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0" y="84"/>
                    <a:pt x="33" y="84"/>
                    <a:pt x="35" y="86"/>
                  </a:cubicBezTo>
                  <a:cubicBezTo>
                    <a:pt x="39" y="89"/>
                    <a:pt x="44" y="92"/>
                    <a:pt x="50" y="94"/>
                  </a:cubicBezTo>
                  <a:cubicBezTo>
                    <a:pt x="53" y="95"/>
                    <a:pt x="54" y="97"/>
                    <a:pt x="54" y="100"/>
                  </a:cubicBezTo>
                  <a:lnTo>
                    <a:pt x="5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141" name="Group 79">
            <a:extLst>
              <a:ext uri="{FF2B5EF4-FFF2-40B4-BE49-F238E27FC236}">
                <a16:creationId xmlns:a16="http://schemas.microsoft.com/office/drawing/2014/main" id="{F01FD265-4EA3-E648-9E9F-F7ED57259CE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8644" y="3186991"/>
            <a:ext cx="481666" cy="341462"/>
            <a:chOff x="3437" y="1784"/>
            <a:chExt cx="426" cy="302"/>
          </a:xfrm>
          <a:solidFill>
            <a:schemeClr val="accent1"/>
          </a:solidFill>
        </p:grpSpPr>
        <p:sp>
          <p:nvSpPr>
            <p:cNvPr id="142" name="Freeform 80">
              <a:extLst>
                <a:ext uri="{FF2B5EF4-FFF2-40B4-BE49-F238E27FC236}">
                  <a16:creationId xmlns:a16="http://schemas.microsoft.com/office/drawing/2014/main" id="{AD563135-6D41-B34F-8DBF-9789C1D2FC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4" y="1962"/>
              <a:ext cx="72" cy="70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3" name="Freeform 81">
              <a:extLst>
                <a:ext uri="{FF2B5EF4-FFF2-40B4-BE49-F238E27FC236}">
                  <a16:creationId xmlns:a16="http://schemas.microsoft.com/office/drawing/2014/main" id="{8E14FF8C-207B-F447-B912-AC19E0458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" y="1880"/>
              <a:ext cx="108" cy="107"/>
            </a:xfrm>
            <a:custGeom>
              <a:avLst/>
              <a:gdLst>
                <a:gd name="T0" fmla="*/ 7 w 73"/>
                <a:gd name="T1" fmla="*/ 72 h 72"/>
                <a:gd name="T2" fmla="*/ 3 w 73"/>
                <a:gd name="T3" fmla="*/ 70 h 72"/>
                <a:gd name="T4" fmla="*/ 3 w 73"/>
                <a:gd name="T5" fmla="*/ 62 h 72"/>
                <a:gd name="T6" fmla="*/ 62 w 73"/>
                <a:gd name="T7" fmla="*/ 2 h 72"/>
                <a:gd name="T8" fmla="*/ 71 w 73"/>
                <a:gd name="T9" fmla="*/ 2 h 72"/>
                <a:gd name="T10" fmla="*/ 71 w 73"/>
                <a:gd name="T11" fmla="*/ 11 h 72"/>
                <a:gd name="T12" fmla="*/ 11 w 73"/>
                <a:gd name="T13" fmla="*/ 70 h 72"/>
                <a:gd name="T14" fmla="*/ 7 w 73"/>
                <a:gd name="T1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72">
                  <a:moveTo>
                    <a:pt x="7" y="72"/>
                  </a:moveTo>
                  <a:cubicBezTo>
                    <a:pt x="5" y="72"/>
                    <a:pt x="4" y="72"/>
                    <a:pt x="3" y="70"/>
                  </a:cubicBezTo>
                  <a:cubicBezTo>
                    <a:pt x="0" y="68"/>
                    <a:pt x="0" y="64"/>
                    <a:pt x="3" y="62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4" y="0"/>
                    <a:pt x="68" y="0"/>
                    <a:pt x="71" y="2"/>
                  </a:cubicBezTo>
                  <a:cubicBezTo>
                    <a:pt x="73" y="5"/>
                    <a:pt x="73" y="9"/>
                    <a:pt x="71" y="11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10" y="72"/>
                    <a:pt x="9" y="72"/>
                    <a:pt x="7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4" name="Freeform 82">
              <a:extLst>
                <a:ext uri="{FF2B5EF4-FFF2-40B4-BE49-F238E27FC236}">
                  <a16:creationId xmlns:a16="http://schemas.microsoft.com/office/drawing/2014/main" id="{D89E874B-0787-064A-B6EE-771B86487C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2" y="1997"/>
              <a:ext cx="54" cy="18"/>
            </a:xfrm>
            <a:custGeom>
              <a:avLst/>
              <a:gdLst>
                <a:gd name="T0" fmla="*/ 30 w 36"/>
                <a:gd name="T1" fmla="*/ 12 h 12"/>
                <a:gd name="T2" fmla="*/ 6 w 36"/>
                <a:gd name="T3" fmla="*/ 12 h 12"/>
                <a:gd name="T4" fmla="*/ 0 w 36"/>
                <a:gd name="T5" fmla="*/ 6 h 12"/>
                <a:gd name="T6" fmla="*/ 6 w 36"/>
                <a:gd name="T7" fmla="*/ 0 h 12"/>
                <a:gd name="T8" fmla="*/ 30 w 36"/>
                <a:gd name="T9" fmla="*/ 0 h 12"/>
                <a:gd name="T10" fmla="*/ 36 w 36"/>
                <a:gd name="T11" fmla="*/ 6 h 12"/>
                <a:gd name="T12" fmla="*/ 30 w 3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9"/>
                    <a:pt x="34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5" name="Freeform 83">
              <a:extLst>
                <a:ext uri="{FF2B5EF4-FFF2-40B4-BE49-F238E27FC236}">
                  <a16:creationId xmlns:a16="http://schemas.microsoft.com/office/drawing/2014/main" id="{B0BBC9BB-9478-DD40-9544-993DEB7E0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4" y="1997"/>
              <a:ext cx="54" cy="18"/>
            </a:xfrm>
            <a:custGeom>
              <a:avLst/>
              <a:gdLst>
                <a:gd name="T0" fmla="*/ 30 w 36"/>
                <a:gd name="T1" fmla="*/ 12 h 12"/>
                <a:gd name="T2" fmla="*/ 6 w 36"/>
                <a:gd name="T3" fmla="*/ 12 h 12"/>
                <a:gd name="T4" fmla="*/ 0 w 36"/>
                <a:gd name="T5" fmla="*/ 6 h 12"/>
                <a:gd name="T6" fmla="*/ 6 w 36"/>
                <a:gd name="T7" fmla="*/ 0 h 12"/>
                <a:gd name="T8" fmla="*/ 30 w 36"/>
                <a:gd name="T9" fmla="*/ 0 h 12"/>
                <a:gd name="T10" fmla="*/ 36 w 36"/>
                <a:gd name="T11" fmla="*/ 6 h 12"/>
                <a:gd name="T12" fmla="*/ 30 w 3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9"/>
                    <a:pt x="34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6" name="Freeform 84">
              <a:extLst>
                <a:ext uri="{FF2B5EF4-FFF2-40B4-BE49-F238E27FC236}">
                  <a16:creationId xmlns:a16="http://schemas.microsoft.com/office/drawing/2014/main" id="{52E27719-BDA4-694D-83C1-C827D694B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4" y="1922"/>
              <a:ext cx="52" cy="32"/>
            </a:xfrm>
            <a:custGeom>
              <a:avLst/>
              <a:gdLst>
                <a:gd name="T0" fmla="*/ 6 w 35"/>
                <a:gd name="T1" fmla="*/ 22 h 22"/>
                <a:gd name="T2" fmla="*/ 1 w 35"/>
                <a:gd name="T3" fmla="*/ 19 h 22"/>
                <a:gd name="T4" fmla="*/ 4 w 35"/>
                <a:gd name="T5" fmla="*/ 11 h 22"/>
                <a:gd name="T6" fmla="*/ 26 w 35"/>
                <a:gd name="T7" fmla="*/ 2 h 22"/>
                <a:gd name="T8" fmla="*/ 34 w 35"/>
                <a:gd name="T9" fmla="*/ 5 h 22"/>
                <a:gd name="T10" fmla="*/ 31 w 35"/>
                <a:gd name="T11" fmla="*/ 13 h 22"/>
                <a:gd name="T12" fmla="*/ 9 w 35"/>
                <a:gd name="T13" fmla="*/ 22 h 22"/>
                <a:gd name="T14" fmla="*/ 6 w 35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2">
                  <a:moveTo>
                    <a:pt x="6" y="22"/>
                  </a:moveTo>
                  <a:cubicBezTo>
                    <a:pt x="4" y="22"/>
                    <a:pt x="2" y="21"/>
                    <a:pt x="1" y="19"/>
                  </a:cubicBezTo>
                  <a:cubicBezTo>
                    <a:pt x="0" y="16"/>
                    <a:pt x="1" y="12"/>
                    <a:pt x="4" y="11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9" y="0"/>
                    <a:pt x="33" y="2"/>
                    <a:pt x="34" y="5"/>
                  </a:cubicBezTo>
                  <a:cubicBezTo>
                    <a:pt x="35" y="8"/>
                    <a:pt x="34" y="11"/>
                    <a:pt x="31" y="13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8" y="22"/>
                    <a:pt x="7" y="22"/>
                    <a:pt x="6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7" name="Freeform 85">
              <a:extLst>
                <a:ext uri="{FF2B5EF4-FFF2-40B4-BE49-F238E27FC236}">
                  <a16:creationId xmlns:a16="http://schemas.microsoft.com/office/drawing/2014/main" id="{FF113834-5F02-6A41-9F8F-FFF2D91F56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" y="1832"/>
              <a:ext cx="34" cy="51"/>
            </a:xfrm>
            <a:custGeom>
              <a:avLst/>
              <a:gdLst>
                <a:gd name="T0" fmla="*/ 7 w 23"/>
                <a:gd name="T1" fmla="*/ 35 h 35"/>
                <a:gd name="T2" fmla="*/ 4 w 23"/>
                <a:gd name="T3" fmla="*/ 34 h 35"/>
                <a:gd name="T4" fmla="*/ 1 w 23"/>
                <a:gd name="T5" fmla="*/ 26 h 35"/>
                <a:gd name="T6" fmla="*/ 10 w 23"/>
                <a:gd name="T7" fmla="*/ 4 h 35"/>
                <a:gd name="T8" fmla="*/ 18 w 23"/>
                <a:gd name="T9" fmla="*/ 1 h 35"/>
                <a:gd name="T10" fmla="*/ 21 w 23"/>
                <a:gd name="T11" fmla="*/ 9 h 35"/>
                <a:gd name="T12" fmla="*/ 12 w 23"/>
                <a:gd name="T13" fmla="*/ 31 h 35"/>
                <a:gd name="T14" fmla="*/ 7 w 23"/>
                <a:gd name="T1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5">
                  <a:moveTo>
                    <a:pt x="7" y="35"/>
                  </a:moveTo>
                  <a:cubicBezTo>
                    <a:pt x="6" y="35"/>
                    <a:pt x="5" y="35"/>
                    <a:pt x="4" y="34"/>
                  </a:cubicBezTo>
                  <a:cubicBezTo>
                    <a:pt x="1" y="33"/>
                    <a:pt x="0" y="29"/>
                    <a:pt x="1" y="2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2" y="1"/>
                    <a:pt x="15" y="0"/>
                    <a:pt x="18" y="1"/>
                  </a:cubicBezTo>
                  <a:cubicBezTo>
                    <a:pt x="21" y="2"/>
                    <a:pt x="23" y="6"/>
                    <a:pt x="21" y="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1" y="33"/>
                    <a:pt x="9" y="35"/>
                    <a:pt x="7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8" name="Freeform 86">
              <a:extLst>
                <a:ext uri="{FF2B5EF4-FFF2-40B4-BE49-F238E27FC236}">
                  <a16:creationId xmlns:a16="http://schemas.microsoft.com/office/drawing/2014/main" id="{1F6BA6DB-8682-D240-BADC-571C019851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1" y="1820"/>
              <a:ext cx="18" cy="53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10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9" name="Freeform 87">
              <a:extLst>
                <a:ext uri="{FF2B5EF4-FFF2-40B4-BE49-F238E27FC236}">
                  <a16:creationId xmlns:a16="http://schemas.microsoft.com/office/drawing/2014/main" id="{FE697EC8-E5DA-6C49-A676-2F10E8AEA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6" y="1832"/>
              <a:ext cx="34" cy="51"/>
            </a:xfrm>
            <a:custGeom>
              <a:avLst/>
              <a:gdLst>
                <a:gd name="T0" fmla="*/ 16 w 23"/>
                <a:gd name="T1" fmla="*/ 35 h 35"/>
                <a:gd name="T2" fmla="*/ 10 w 23"/>
                <a:gd name="T3" fmla="*/ 31 h 35"/>
                <a:gd name="T4" fmla="*/ 1 w 23"/>
                <a:gd name="T5" fmla="*/ 9 h 35"/>
                <a:gd name="T6" fmla="*/ 4 w 23"/>
                <a:gd name="T7" fmla="*/ 1 h 35"/>
                <a:gd name="T8" fmla="*/ 12 w 23"/>
                <a:gd name="T9" fmla="*/ 4 h 35"/>
                <a:gd name="T10" fmla="*/ 21 w 23"/>
                <a:gd name="T11" fmla="*/ 26 h 35"/>
                <a:gd name="T12" fmla="*/ 18 w 23"/>
                <a:gd name="T13" fmla="*/ 34 h 35"/>
                <a:gd name="T14" fmla="*/ 16 w 23"/>
                <a:gd name="T1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5">
                  <a:moveTo>
                    <a:pt x="16" y="35"/>
                  </a:moveTo>
                  <a:cubicBezTo>
                    <a:pt x="13" y="35"/>
                    <a:pt x="11" y="33"/>
                    <a:pt x="10" y="31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6"/>
                    <a:pt x="1" y="2"/>
                    <a:pt x="4" y="1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3" y="29"/>
                    <a:pt x="21" y="33"/>
                    <a:pt x="18" y="34"/>
                  </a:cubicBezTo>
                  <a:cubicBezTo>
                    <a:pt x="17" y="35"/>
                    <a:pt x="17" y="35"/>
                    <a:pt x="16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50" name="Freeform 88">
              <a:extLst>
                <a:ext uri="{FF2B5EF4-FFF2-40B4-BE49-F238E27FC236}">
                  <a16:creationId xmlns:a16="http://schemas.microsoft.com/office/drawing/2014/main" id="{12D6C954-2EF3-BD42-BFB7-359D0D4F6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1" y="1869"/>
              <a:ext cx="45" cy="42"/>
            </a:xfrm>
            <a:custGeom>
              <a:avLst/>
              <a:gdLst>
                <a:gd name="T0" fmla="*/ 24 w 30"/>
                <a:gd name="T1" fmla="*/ 29 h 29"/>
                <a:gd name="T2" fmla="*/ 19 w 30"/>
                <a:gd name="T3" fmla="*/ 27 h 29"/>
                <a:gd name="T4" fmla="*/ 2 w 30"/>
                <a:gd name="T5" fmla="*/ 10 h 29"/>
                <a:gd name="T6" fmla="*/ 2 w 30"/>
                <a:gd name="T7" fmla="*/ 2 h 29"/>
                <a:gd name="T8" fmla="*/ 11 w 30"/>
                <a:gd name="T9" fmla="*/ 2 h 29"/>
                <a:gd name="T10" fmla="*/ 28 w 30"/>
                <a:gd name="T11" fmla="*/ 19 h 29"/>
                <a:gd name="T12" fmla="*/ 28 w 30"/>
                <a:gd name="T13" fmla="*/ 27 h 29"/>
                <a:gd name="T14" fmla="*/ 24 w 30"/>
                <a:gd name="T1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29">
                  <a:moveTo>
                    <a:pt x="24" y="29"/>
                  </a:moveTo>
                  <a:cubicBezTo>
                    <a:pt x="22" y="29"/>
                    <a:pt x="21" y="29"/>
                    <a:pt x="19" y="27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30" y="21"/>
                    <a:pt x="30" y="25"/>
                    <a:pt x="28" y="27"/>
                  </a:cubicBezTo>
                  <a:cubicBezTo>
                    <a:pt x="27" y="29"/>
                    <a:pt x="25" y="29"/>
                    <a:pt x="24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51" name="Freeform 89">
              <a:extLst>
                <a:ext uri="{FF2B5EF4-FFF2-40B4-BE49-F238E27FC236}">
                  <a16:creationId xmlns:a16="http://schemas.microsoft.com/office/drawing/2014/main" id="{A35B7786-D1F2-4549-A514-FD155D87A2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4" y="1922"/>
              <a:ext cx="54" cy="32"/>
            </a:xfrm>
            <a:custGeom>
              <a:avLst/>
              <a:gdLst>
                <a:gd name="T0" fmla="*/ 29 w 36"/>
                <a:gd name="T1" fmla="*/ 22 h 22"/>
                <a:gd name="T2" fmla="*/ 27 w 36"/>
                <a:gd name="T3" fmla="*/ 22 h 22"/>
                <a:gd name="T4" fmla="*/ 5 w 36"/>
                <a:gd name="T5" fmla="*/ 13 h 22"/>
                <a:gd name="T6" fmla="*/ 1 w 36"/>
                <a:gd name="T7" fmla="*/ 5 h 22"/>
                <a:gd name="T8" fmla="*/ 9 w 36"/>
                <a:gd name="T9" fmla="*/ 2 h 22"/>
                <a:gd name="T10" fmla="*/ 31 w 36"/>
                <a:gd name="T11" fmla="*/ 11 h 22"/>
                <a:gd name="T12" fmla="*/ 35 w 36"/>
                <a:gd name="T13" fmla="*/ 19 h 22"/>
                <a:gd name="T14" fmla="*/ 29 w 36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22">
                  <a:moveTo>
                    <a:pt x="29" y="22"/>
                  </a:moveTo>
                  <a:cubicBezTo>
                    <a:pt x="28" y="22"/>
                    <a:pt x="28" y="22"/>
                    <a:pt x="27" y="22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1"/>
                    <a:pt x="0" y="8"/>
                    <a:pt x="1" y="5"/>
                  </a:cubicBezTo>
                  <a:cubicBezTo>
                    <a:pt x="3" y="2"/>
                    <a:pt x="6" y="0"/>
                    <a:pt x="9" y="2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4" y="12"/>
                    <a:pt x="36" y="16"/>
                    <a:pt x="35" y="19"/>
                  </a:cubicBezTo>
                  <a:cubicBezTo>
                    <a:pt x="34" y="21"/>
                    <a:pt x="31" y="22"/>
                    <a:pt x="29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52" name="Freeform 90">
              <a:extLst>
                <a:ext uri="{FF2B5EF4-FFF2-40B4-BE49-F238E27FC236}">
                  <a16:creationId xmlns:a16="http://schemas.microsoft.com/office/drawing/2014/main" id="{184AEB09-EB08-604B-AC9C-43039EE91D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7" y="1784"/>
              <a:ext cx="426" cy="302"/>
            </a:xfrm>
            <a:custGeom>
              <a:avLst/>
              <a:gdLst>
                <a:gd name="T0" fmla="*/ 282 w 288"/>
                <a:gd name="T1" fmla="*/ 204 h 204"/>
                <a:gd name="T2" fmla="*/ 6 w 288"/>
                <a:gd name="T3" fmla="*/ 204 h 204"/>
                <a:gd name="T4" fmla="*/ 0 w 288"/>
                <a:gd name="T5" fmla="*/ 198 h 204"/>
                <a:gd name="T6" fmla="*/ 0 w 288"/>
                <a:gd name="T7" fmla="*/ 144 h 204"/>
                <a:gd name="T8" fmla="*/ 144 w 288"/>
                <a:gd name="T9" fmla="*/ 0 h 204"/>
                <a:gd name="T10" fmla="*/ 288 w 288"/>
                <a:gd name="T11" fmla="*/ 144 h 204"/>
                <a:gd name="T12" fmla="*/ 288 w 288"/>
                <a:gd name="T13" fmla="*/ 198 h 204"/>
                <a:gd name="T14" fmla="*/ 282 w 288"/>
                <a:gd name="T15" fmla="*/ 204 h 204"/>
                <a:gd name="T16" fmla="*/ 12 w 288"/>
                <a:gd name="T17" fmla="*/ 192 h 204"/>
                <a:gd name="T18" fmla="*/ 276 w 288"/>
                <a:gd name="T19" fmla="*/ 192 h 204"/>
                <a:gd name="T20" fmla="*/ 276 w 288"/>
                <a:gd name="T21" fmla="*/ 144 h 204"/>
                <a:gd name="T22" fmla="*/ 144 w 288"/>
                <a:gd name="T23" fmla="*/ 12 h 204"/>
                <a:gd name="T24" fmla="*/ 12 w 288"/>
                <a:gd name="T25" fmla="*/ 144 h 204"/>
                <a:gd name="T26" fmla="*/ 12 w 288"/>
                <a:gd name="T27" fmla="*/ 19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8" h="204">
                  <a:moveTo>
                    <a:pt x="282" y="204"/>
                  </a:move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64"/>
                    <a:pt x="65" y="0"/>
                    <a:pt x="144" y="0"/>
                  </a:cubicBezTo>
                  <a:cubicBezTo>
                    <a:pt x="224" y="0"/>
                    <a:pt x="288" y="64"/>
                    <a:pt x="288" y="144"/>
                  </a:cubicBezTo>
                  <a:cubicBezTo>
                    <a:pt x="288" y="198"/>
                    <a:pt x="288" y="198"/>
                    <a:pt x="288" y="198"/>
                  </a:cubicBezTo>
                  <a:cubicBezTo>
                    <a:pt x="288" y="201"/>
                    <a:pt x="286" y="204"/>
                    <a:pt x="282" y="204"/>
                  </a:cubicBezTo>
                  <a:close/>
                  <a:moveTo>
                    <a:pt x="12" y="192"/>
                  </a:moveTo>
                  <a:cubicBezTo>
                    <a:pt x="276" y="192"/>
                    <a:pt x="276" y="192"/>
                    <a:pt x="276" y="192"/>
                  </a:cubicBezTo>
                  <a:cubicBezTo>
                    <a:pt x="276" y="144"/>
                    <a:pt x="276" y="144"/>
                    <a:pt x="276" y="144"/>
                  </a:cubicBezTo>
                  <a:cubicBezTo>
                    <a:pt x="276" y="71"/>
                    <a:pt x="217" y="12"/>
                    <a:pt x="144" y="12"/>
                  </a:cubicBezTo>
                  <a:cubicBezTo>
                    <a:pt x="71" y="12"/>
                    <a:pt x="12" y="71"/>
                    <a:pt x="12" y="144"/>
                  </a:cubicBezTo>
                  <a:lnTo>
                    <a:pt x="12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</p:grpSp>
      <p:grpSp>
        <p:nvGrpSpPr>
          <p:cNvPr id="153" name="Group 59">
            <a:extLst>
              <a:ext uri="{FF2B5EF4-FFF2-40B4-BE49-F238E27FC236}">
                <a16:creationId xmlns:a16="http://schemas.microsoft.com/office/drawing/2014/main" id="{892D387B-5AA1-8044-8D45-614FDCB30B6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2075617" y="3217044"/>
            <a:ext cx="466978" cy="281356"/>
            <a:chOff x="6554" y="532"/>
            <a:chExt cx="400" cy="241"/>
          </a:xfrm>
          <a:solidFill>
            <a:schemeClr val="accent1"/>
          </a:solidFill>
        </p:grpSpPr>
        <p:sp>
          <p:nvSpPr>
            <p:cNvPr id="154" name="Freeform 60">
              <a:extLst>
                <a:ext uri="{FF2B5EF4-FFF2-40B4-BE49-F238E27FC236}">
                  <a16:creationId xmlns:a16="http://schemas.microsoft.com/office/drawing/2014/main" id="{CA82DAE1-B4D6-1142-8988-789C66AB55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" y="532"/>
              <a:ext cx="400" cy="241"/>
            </a:xfrm>
            <a:custGeom>
              <a:avLst/>
              <a:gdLst>
                <a:gd name="T0" fmla="*/ 6 w 271"/>
                <a:gd name="T1" fmla="*/ 163 h 163"/>
                <a:gd name="T2" fmla="*/ 2 w 271"/>
                <a:gd name="T3" fmla="*/ 161 h 163"/>
                <a:gd name="T4" fmla="*/ 2 w 271"/>
                <a:gd name="T5" fmla="*/ 153 h 163"/>
                <a:gd name="T6" fmla="*/ 98 w 271"/>
                <a:gd name="T7" fmla="*/ 45 h 163"/>
                <a:gd name="T8" fmla="*/ 106 w 271"/>
                <a:gd name="T9" fmla="*/ 44 h 163"/>
                <a:gd name="T10" fmla="*/ 174 w 271"/>
                <a:gd name="T11" fmla="*/ 100 h 163"/>
                <a:gd name="T12" fmla="*/ 260 w 271"/>
                <a:gd name="T13" fmla="*/ 3 h 163"/>
                <a:gd name="T14" fmla="*/ 268 w 271"/>
                <a:gd name="T15" fmla="*/ 2 h 163"/>
                <a:gd name="T16" fmla="*/ 269 w 271"/>
                <a:gd name="T17" fmla="*/ 11 h 163"/>
                <a:gd name="T18" fmla="*/ 179 w 271"/>
                <a:gd name="T19" fmla="*/ 113 h 163"/>
                <a:gd name="T20" fmla="*/ 171 w 271"/>
                <a:gd name="T21" fmla="*/ 113 h 163"/>
                <a:gd name="T22" fmla="*/ 103 w 271"/>
                <a:gd name="T23" fmla="*/ 57 h 163"/>
                <a:gd name="T24" fmla="*/ 11 w 271"/>
                <a:gd name="T25" fmla="*/ 161 h 163"/>
                <a:gd name="T26" fmla="*/ 6 w 271"/>
                <a:gd name="T2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1" h="163">
                  <a:moveTo>
                    <a:pt x="6" y="163"/>
                  </a:moveTo>
                  <a:cubicBezTo>
                    <a:pt x="5" y="163"/>
                    <a:pt x="4" y="162"/>
                    <a:pt x="2" y="161"/>
                  </a:cubicBezTo>
                  <a:cubicBezTo>
                    <a:pt x="0" y="159"/>
                    <a:pt x="0" y="155"/>
                    <a:pt x="2" y="153"/>
                  </a:cubicBezTo>
                  <a:cubicBezTo>
                    <a:pt x="98" y="45"/>
                    <a:pt x="98" y="45"/>
                    <a:pt x="98" y="45"/>
                  </a:cubicBezTo>
                  <a:cubicBezTo>
                    <a:pt x="100" y="42"/>
                    <a:pt x="104" y="42"/>
                    <a:pt x="106" y="44"/>
                  </a:cubicBezTo>
                  <a:cubicBezTo>
                    <a:pt x="174" y="100"/>
                    <a:pt x="174" y="100"/>
                    <a:pt x="174" y="100"/>
                  </a:cubicBezTo>
                  <a:cubicBezTo>
                    <a:pt x="260" y="3"/>
                    <a:pt x="260" y="3"/>
                    <a:pt x="260" y="3"/>
                  </a:cubicBezTo>
                  <a:cubicBezTo>
                    <a:pt x="262" y="0"/>
                    <a:pt x="266" y="0"/>
                    <a:pt x="268" y="2"/>
                  </a:cubicBezTo>
                  <a:cubicBezTo>
                    <a:pt x="271" y="5"/>
                    <a:pt x="271" y="8"/>
                    <a:pt x="269" y="11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77" y="115"/>
                    <a:pt x="173" y="116"/>
                    <a:pt x="171" y="113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1" y="161"/>
                    <a:pt x="11" y="161"/>
                    <a:pt x="11" y="161"/>
                  </a:cubicBezTo>
                  <a:cubicBezTo>
                    <a:pt x="10" y="162"/>
                    <a:pt x="8" y="163"/>
                    <a:pt x="6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55" name="Freeform 61">
              <a:extLst>
                <a:ext uri="{FF2B5EF4-FFF2-40B4-BE49-F238E27FC236}">
                  <a16:creationId xmlns:a16="http://schemas.microsoft.com/office/drawing/2014/main" id="{F6DD371E-5D02-AF4E-8FE8-2BC519C317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2" y="534"/>
              <a:ext cx="141" cy="124"/>
            </a:xfrm>
            <a:custGeom>
              <a:avLst/>
              <a:gdLst>
                <a:gd name="T0" fmla="*/ 89 w 95"/>
                <a:gd name="T1" fmla="*/ 84 h 84"/>
                <a:gd name="T2" fmla="*/ 83 w 95"/>
                <a:gd name="T3" fmla="*/ 78 h 84"/>
                <a:gd name="T4" fmla="*/ 83 w 95"/>
                <a:gd name="T5" fmla="*/ 12 h 84"/>
                <a:gd name="T6" fmla="*/ 6 w 95"/>
                <a:gd name="T7" fmla="*/ 12 h 84"/>
                <a:gd name="T8" fmla="*/ 0 w 95"/>
                <a:gd name="T9" fmla="*/ 6 h 84"/>
                <a:gd name="T10" fmla="*/ 6 w 95"/>
                <a:gd name="T11" fmla="*/ 0 h 84"/>
                <a:gd name="T12" fmla="*/ 89 w 95"/>
                <a:gd name="T13" fmla="*/ 0 h 84"/>
                <a:gd name="T14" fmla="*/ 95 w 95"/>
                <a:gd name="T15" fmla="*/ 6 h 84"/>
                <a:gd name="T16" fmla="*/ 95 w 95"/>
                <a:gd name="T17" fmla="*/ 78 h 84"/>
                <a:gd name="T18" fmla="*/ 89 w 95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" h="84">
                  <a:moveTo>
                    <a:pt x="89" y="84"/>
                  </a:moveTo>
                  <a:cubicBezTo>
                    <a:pt x="86" y="84"/>
                    <a:pt x="83" y="81"/>
                    <a:pt x="83" y="78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3" y="0"/>
                    <a:pt x="95" y="3"/>
                    <a:pt x="95" y="6"/>
                  </a:cubicBezTo>
                  <a:cubicBezTo>
                    <a:pt x="95" y="78"/>
                    <a:pt x="95" y="78"/>
                    <a:pt x="95" y="78"/>
                  </a:cubicBezTo>
                  <a:cubicBezTo>
                    <a:pt x="95" y="81"/>
                    <a:pt x="93" y="84"/>
                    <a:pt x="89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</p:grpSp>
      <p:grpSp>
        <p:nvGrpSpPr>
          <p:cNvPr id="156" name="Group 60">
            <a:extLst>
              <a:ext uri="{FF2B5EF4-FFF2-40B4-BE49-F238E27FC236}">
                <a16:creationId xmlns:a16="http://schemas.microsoft.com/office/drawing/2014/main" id="{909B4C50-0B6B-F940-B96B-0F025E25749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329567" y="3117577"/>
            <a:ext cx="491836" cy="480291"/>
            <a:chOff x="6726" y="600"/>
            <a:chExt cx="426" cy="416"/>
          </a:xfrm>
          <a:solidFill>
            <a:schemeClr val="accent1"/>
          </a:solidFill>
        </p:grpSpPr>
        <p:sp>
          <p:nvSpPr>
            <p:cNvPr id="157" name="Freeform 61">
              <a:extLst>
                <a:ext uri="{FF2B5EF4-FFF2-40B4-BE49-F238E27FC236}">
                  <a16:creationId xmlns:a16="http://schemas.microsoft.com/office/drawing/2014/main" id="{9C3A8E24-140A-A045-9B50-E9B4681002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6" y="999"/>
              <a:ext cx="426" cy="17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10"/>
                    <a:pt x="285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62">
              <a:extLst>
                <a:ext uri="{FF2B5EF4-FFF2-40B4-BE49-F238E27FC236}">
                  <a16:creationId xmlns:a16="http://schemas.microsoft.com/office/drawing/2014/main" id="{7B95F1FD-5650-BC4B-808D-C3715C5F40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44" y="912"/>
              <a:ext cx="71" cy="104"/>
            </a:xfrm>
            <a:custGeom>
              <a:avLst/>
              <a:gdLst>
                <a:gd name="T0" fmla="*/ 42 w 48"/>
                <a:gd name="T1" fmla="*/ 72 h 72"/>
                <a:gd name="T2" fmla="*/ 6 w 48"/>
                <a:gd name="T3" fmla="*/ 72 h 72"/>
                <a:gd name="T4" fmla="*/ 0 w 48"/>
                <a:gd name="T5" fmla="*/ 66 h 72"/>
                <a:gd name="T6" fmla="*/ 0 w 48"/>
                <a:gd name="T7" fmla="*/ 6 h 72"/>
                <a:gd name="T8" fmla="*/ 6 w 48"/>
                <a:gd name="T9" fmla="*/ 0 h 72"/>
                <a:gd name="T10" fmla="*/ 42 w 48"/>
                <a:gd name="T11" fmla="*/ 0 h 72"/>
                <a:gd name="T12" fmla="*/ 48 w 48"/>
                <a:gd name="T13" fmla="*/ 6 h 72"/>
                <a:gd name="T14" fmla="*/ 48 w 48"/>
                <a:gd name="T15" fmla="*/ 66 h 72"/>
                <a:gd name="T16" fmla="*/ 42 w 48"/>
                <a:gd name="T17" fmla="*/ 72 h 72"/>
                <a:gd name="T18" fmla="*/ 12 w 48"/>
                <a:gd name="T19" fmla="*/ 60 h 72"/>
                <a:gd name="T20" fmla="*/ 36 w 48"/>
                <a:gd name="T21" fmla="*/ 60 h 72"/>
                <a:gd name="T22" fmla="*/ 36 w 48"/>
                <a:gd name="T23" fmla="*/ 12 h 72"/>
                <a:gd name="T24" fmla="*/ 12 w 48"/>
                <a:gd name="T25" fmla="*/ 12 h 72"/>
                <a:gd name="T26" fmla="*/ 12 w 48"/>
                <a:gd name="T2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72">
                  <a:moveTo>
                    <a:pt x="42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2" y="72"/>
                    <a:pt x="0" y="70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70"/>
                    <a:pt x="45" y="72"/>
                    <a:pt x="42" y="72"/>
                  </a:cubicBezTo>
                  <a:close/>
                  <a:moveTo>
                    <a:pt x="12" y="60"/>
                  </a:moveTo>
                  <a:cubicBezTo>
                    <a:pt x="36" y="60"/>
                    <a:pt x="36" y="60"/>
                    <a:pt x="36" y="6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63">
              <a:extLst>
                <a:ext uri="{FF2B5EF4-FFF2-40B4-BE49-F238E27FC236}">
                  <a16:creationId xmlns:a16="http://schemas.microsoft.com/office/drawing/2014/main" id="{0ACA05DC-D168-ED4A-8F9D-48683873D7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50" y="826"/>
              <a:ext cx="71" cy="190"/>
            </a:xfrm>
            <a:custGeom>
              <a:avLst/>
              <a:gdLst>
                <a:gd name="T0" fmla="*/ 42 w 48"/>
                <a:gd name="T1" fmla="*/ 132 h 132"/>
                <a:gd name="T2" fmla="*/ 6 w 48"/>
                <a:gd name="T3" fmla="*/ 132 h 132"/>
                <a:gd name="T4" fmla="*/ 0 w 48"/>
                <a:gd name="T5" fmla="*/ 126 h 132"/>
                <a:gd name="T6" fmla="*/ 0 w 48"/>
                <a:gd name="T7" fmla="*/ 6 h 132"/>
                <a:gd name="T8" fmla="*/ 6 w 48"/>
                <a:gd name="T9" fmla="*/ 0 h 132"/>
                <a:gd name="T10" fmla="*/ 42 w 48"/>
                <a:gd name="T11" fmla="*/ 0 h 132"/>
                <a:gd name="T12" fmla="*/ 48 w 48"/>
                <a:gd name="T13" fmla="*/ 6 h 132"/>
                <a:gd name="T14" fmla="*/ 48 w 48"/>
                <a:gd name="T15" fmla="*/ 126 h 132"/>
                <a:gd name="T16" fmla="*/ 42 w 48"/>
                <a:gd name="T17" fmla="*/ 132 h 132"/>
                <a:gd name="T18" fmla="*/ 12 w 48"/>
                <a:gd name="T19" fmla="*/ 120 h 132"/>
                <a:gd name="T20" fmla="*/ 36 w 48"/>
                <a:gd name="T21" fmla="*/ 120 h 132"/>
                <a:gd name="T22" fmla="*/ 36 w 48"/>
                <a:gd name="T23" fmla="*/ 12 h 132"/>
                <a:gd name="T24" fmla="*/ 12 w 48"/>
                <a:gd name="T25" fmla="*/ 12 h 132"/>
                <a:gd name="T26" fmla="*/ 12 w 48"/>
                <a:gd name="T27" fmla="*/ 12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32">
                  <a:moveTo>
                    <a:pt x="42" y="132"/>
                  </a:moveTo>
                  <a:cubicBezTo>
                    <a:pt x="6" y="132"/>
                    <a:pt x="6" y="132"/>
                    <a:pt x="6" y="132"/>
                  </a:cubicBezTo>
                  <a:cubicBezTo>
                    <a:pt x="2" y="132"/>
                    <a:pt x="0" y="130"/>
                    <a:pt x="0" y="1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126"/>
                    <a:pt x="48" y="126"/>
                    <a:pt x="48" y="126"/>
                  </a:cubicBezTo>
                  <a:cubicBezTo>
                    <a:pt x="48" y="130"/>
                    <a:pt x="45" y="132"/>
                    <a:pt x="42" y="132"/>
                  </a:cubicBezTo>
                  <a:close/>
                  <a:moveTo>
                    <a:pt x="12" y="120"/>
                  </a:moveTo>
                  <a:cubicBezTo>
                    <a:pt x="36" y="120"/>
                    <a:pt x="36" y="120"/>
                    <a:pt x="36" y="12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64">
              <a:extLst>
                <a:ext uri="{FF2B5EF4-FFF2-40B4-BE49-F238E27FC236}">
                  <a16:creationId xmlns:a16="http://schemas.microsoft.com/office/drawing/2014/main" id="{DEACE061-660B-B846-81F5-5CAC95D88A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7" y="860"/>
              <a:ext cx="71" cy="156"/>
            </a:xfrm>
            <a:custGeom>
              <a:avLst/>
              <a:gdLst>
                <a:gd name="T0" fmla="*/ 42 w 48"/>
                <a:gd name="T1" fmla="*/ 108 h 108"/>
                <a:gd name="T2" fmla="*/ 6 w 48"/>
                <a:gd name="T3" fmla="*/ 108 h 108"/>
                <a:gd name="T4" fmla="*/ 0 w 48"/>
                <a:gd name="T5" fmla="*/ 102 h 108"/>
                <a:gd name="T6" fmla="*/ 0 w 48"/>
                <a:gd name="T7" fmla="*/ 6 h 108"/>
                <a:gd name="T8" fmla="*/ 6 w 48"/>
                <a:gd name="T9" fmla="*/ 0 h 108"/>
                <a:gd name="T10" fmla="*/ 42 w 48"/>
                <a:gd name="T11" fmla="*/ 0 h 108"/>
                <a:gd name="T12" fmla="*/ 48 w 48"/>
                <a:gd name="T13" fmla="*/ 6 h 108"/>
                <a:gd name="T14" fmla="*/ 48 w 48"/>
                <a:gd name="T15" fmla="*/ 102 h 108"/>
                <a:gd name="T16" fmla="*/ 42 w 48"/>
                <a:gd name="T17" fmla="*/ 108 h 108"/>
                <a:gd name="T18" fmla="*/ 12 w 48"/>
                <a:gd name="T19" fmla="*/ 96 h 108"/>
                <a:gd name="T20" fmla="*/ 36 w 48"/>
                <a:gd name="T21" fmla="*/ 96 h 108"/>
                <a:gd name="T22" fmla="*/ 36 w 48"/>
                <a:gd name="T23" fmla="*/ 12 h 108"/>
                <a:gd name="T24" fmla="*/ 12 w 48"/>
                <a:gd name="T25" fmla="*/ 12 h 108"/>
                <a:gd name="T26" fmla="*/ 12 w 48"/>
                <a:gd name="T27" fmla="*/ 9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08">
                  <a:moveTo>
                    <a:pt x="42" y="108"/>
                  </a:moveTo>
                  <a:cubicBezTo>
                    <a:pt x="6" y="108"/>
                    <a:pt x="6" y="108"/>
                    <a:pt x="6" y="108"/>
                  </a:cubicBezTo>
                  <a:cubicBezTo>
                    <a:pt x="2" y="108"/>
                    <a:pt x="0" y="106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102"/>
                    <a:pt x="48" y="102"/>
                    <a:pt x="48" y="102"/>
                  </a:cubicBezTo>
                  <a:cubicBezTo>
                    <a:pt x="48" y="106"/>
                    <a:pt x="45" y="108"/>
                    <a:pt x="42" y="108"/>
                  </a:cubicBezTo>
                  <a:close/>
                  <a:moveTo>
                    <a:pt x="12" y="96"/>
                  </a:moveTo>
                  <a:cubicBezTo>
                    <a:pt x="36" y="96"/>
                    <a:pt x="36" y="96"/>
                    <a:pt x="36" y="9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65">
              <a:extLst>
                <a:ext uri="{FF2B5EF4-FFF2-40B4-BE49-F238E27FC236}">
                  <a16:creationId xmlns:a16="http://schemas.microsoft.com/office/drawing/2014/main" id="{6C1EFCFD-1918-4C4B-9CE7-E8EFB1D43A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63" y="739"/>
              <a:ext cx="71" cy="277"/>
            </a:xfrm>
            <a:custGeom>
              <a:avLst/>
              <a:gdLst>
                <a:gd name="T0" fmla="*/ 42 w 48"/>
                <a:gd name="T1" fmla="*/ 192 h 192"/>
                <a:gd name="T2" fmla="*/ 6 w 48"/>
                <a:gd name="T3" fmla="*/ 192 h 192"/>
                <a:gd name="T4" fmla="*/ 0 w 48"/>
                <a:gd name="T5" fmla="*/ 186 h 192"/>
                <a:gd name="T6" fmla="*/ 0 w 48"/>
                <a:gd name="T7" fmla="*/ 6 h 192"/>
                <a:gd name="T8" fmla="*/ 6 w 48"/>
                <a:gd name="T9" fmla="*/ 0 h 192"/>
                <a:gd name="T10" fmla="*/ 42 w 48"/>
                <a:gd name="T11" fmla="*/ 0 h 192"/>
                <a:gd name="T12" fmla="*/ 48 w 48"/>
                <a:gd name="T13" fmla="*/ 6 h 192"/>
                <a:gd name="T14" fmla="*/ 48 w 48"/>
                <a:gd name="T15" fmla="*/ 186 h 192"/>
                <a:gd name="T16" fmla="*/ 42 w 48"/>
                <a:gd name="T17" fmla="*/ 192 h 192"/>
                <a:gd name="T18" fmla="*/ 12 w 48"/>
                <a:gd name="T19" fmla="*/ 180 h 192"/>
                <a:gd name="T20" fmla="*/ 36 w 48"/>
                <a:gd name="T21" fmla="*/ 180 h 192"/>
                <a:gd name="T22" fmla="*/ 36 w 48"/>
                <a:gd name="T23" fmla="*/ 12 h 192"/>
                <a:gd name="T24" fmla="*/ 12 w 48"/>
                <a:gd name="T25" fmla="*/ 12 h 192"/>
                <a:gd name="T26" fmla="*/ 12 w 48"/>
                <a:gd name="T27" fmla="*/ 18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92">
                  <a:moveTo>
                    <a:pt x="42" y="192"/>
                  </a:moveTo>
                  <a:cubicBezTo>
                    <a:pt x="6" y="192"/>
                    <a:pt x="6" y="192"/>
                    <a:pt x="6" y="192"/>
                  </a:cubicBezTo>
                  <a:cubicBezTo>
                    <a:pt x="2" y="192"/>
                    <a:pt x="0" y="190"/>
                    <a:pt x="0" y="18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186"/>
                    <a:pt x="48" y="186"/>
                    <a:pt x="48" y="186"/>
                  </a:cubicBezTo>
                  <a:cubicBezTo>
                    <a:pt x="48" y="190"/>
                    <a:pt x="45" y="192"/>
                    <a:pt x="42" y="192"/>
                  </a:cubicBezTo>
                  <a:close/>
                  <a:moveTo>
                    <a:pt x="12" y="180"/>
                  </a:moveTo>
                  <a:cubicBezTo>
                    <a:pt x="36" y="180"/>
                    <a:pt x="36" y="180"/>
                    <a:pt x="36" y="18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66">
              <a:extLst>
                <a:ext uri="{FF2B5EF4-FFF2-40B4-BE49-F238E27FC236}">
                  <a16:creationId xmlns:a16="http://schemas.microsoft.com/office/drawing/2014/main" id="{E3276A80-6E12-C248-A63A-BDDBCB6DC2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53" y="774"/>
              <a:ext cx="53" cy="52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2"/>
                    <a:pt x="14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67">
              <a:extLst>
                <a:ext uri="{FF2B5EF4-FFF2-40B4-BE49-F238E27FC236}">
                  <a16:creationId xmlns:a16="http://schemas.microsoft.com/office/drawing/2014/main" id="{FA66DBB2-838B-4C4A-BA40-168FEF0708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59" y="687"/>
              <a:ext cx="53" cy="52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2"/>
                    <a:pt x="14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68">
              <a:extLst>
                <a:ext uri="{FF2B5EF4-FFF2-40B4-BE49-F238E27FC236}">
                  <a16:creationId xmlns:a16="http://schemas.microsoft.com/office/drawing/2014/main" id="{93019F76-8284-AF42-815A-EE8C56616E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66" y="722"/>
              <a:ext cx="53" cy="52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2"/>
                    <a:pt x="14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69">
              <a:extLst>
                <a:ext uri="{FF2B5EF4-FFF2-40B4-BE49-F238E27FC236}">
                  <a16:creationId xmlns:a16="http://schemas.microsoft.com/office/drawing/2014/main" id="{994737E9-AB00-4844-A2D9-0292808793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72" y="600"/>
              <a:ext cx="54" cy="52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2"/>
                    <a:pt x="14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70">
              <a:extLst>
                <a:ext uri="{FF2B5EF4-FFF2-40B4-BE49-F238E27FC236}">
                  <a16:creationId xmlns:a16="http://schemas.microsoft.com/office/drawing/2014/main" id="{31011639-86D2-1945-816C-189049420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2" y="714"/>
              <a:ext cx="99" cy="84"/>
            </a:xfrm>
            <a:custGeom>
              <a:avLst/>
              <a:gdLst>
                <a:gd name="T0" fmla="*/ 7 w 67"/>
                <a:gd name="T1" fmla="*/ 58 h 58"/>
                <a:gd name="T2" fmla="*/ 2 w 67"/>
                <a:gd name="T3" fmla="*/ 56 h 58"/>
                <a:gd name="T4" fmla="*/ 3 w 67"/>
                <a:gd name="T5" fmla="*/ 47 h 58"/>
                <a:gd name="T6" fmla="*/ 57 w 67"/>
                <a:gd name="T7" fmla="*/ 3 h 58"/>
                <a:gd name="T8" fmla="*/ 65 w 67"/>
                <a:gd name="T9" fmla="*/ 3 h 58"/>
                <a:gd name="T10" fmla="*/ 64 w 67"/>
                <a:gd name="T11" fmla="*/ 12 h 58"/>
                <a:gd name="T12" fmla="*/ 11 w 67"/>
                <a:gd name="T13" fmla="*/ 56 h 58"/>
                <a:gd name="T14" fmla="*/ 7 w 67"/>
                <a:gd name="T1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58">
                  <a:moveTo>
                    <a:pt x="7" y="58"/>
                  </a:moveTo>
                  <a:cubicBezTo>
                    <a:pt x="5" y="58"/>
                    <a:pt x="3" y="57"/>
                    <a:pt x="2" y="56"/>
                  </a:cubicBezTo>
                  <a:cubicBezTo>
                    <a:pt x="0" y="53"/>
                    <a:pt x="0" y="49"/>
                    <a:pt x="3" y="47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9" y="0"/>
                    <a:pt x="63" y="1"/>
                    <a:pt x="65" y="3"/>
                  </a:cubicBezTo>
                  <a:cubicBezTo>
                    <a:pt x="67" y="6"/>
                    <a:pt x="67" y="10"/>
                    <a:pt x="64" y="12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0" y="57"/>
                    <a:pt x="8" y="58"/>
                    <a:pt x="7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71">
              <a:extLst>
                <a:ext uri="{FF2B5EF4-FFF2-40B4-BE49-F238E27FC236}">
                  <a16:creationId xmlns:a16="http://schemas.microsoft.com/office/drawing/2014/main" id="{351419A5-CCB8-0F4A-A9D8-85EBBC43D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2" y="708"/>
              <a:ext cx="93" cy="44"/>
            </a:xfrm>
            <a:custGeom>
              <a:avLst/>
              <a:gdLst>
                <a:gd name="T0" fmla="*/ 57 w 63"/>
                <a:gd name="T1" fmla="*/ 30 h 30"/>
                <a:gd name="T2" fmla="*/ 55 w 63"/>
                <a:gd name="T3" fmla="*/ 29 h 30"/>
                <a:gd name="T4" fmla="*/ 5 w 63"/>
                <a:gd name="T5" fmla="*/ 13 h 30"/>
                <a:gd name="T6" fmla="*/ 1 w 63"/>
                <a:gd name="T7" fmla="*/ 5 h 30"/>
                <a:gd name="T8" fmla="*/ 9 w 63"/>
                <a:gd name="T9" fmla="*/ 2 h 30"/>
                <a:gd name="T10" fmla="*/ 58 w 63"/>
                <a:gd name="T11" fmla="*/ 18 h 30"/>
                <a:gd name="T12" fmla="*/ 62 w 63"/>
                <a:gd name="T13" fmla="*/ 26 h 30"/>
                <a:gd name="T14" fmla="*/ 57 w 63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30">
                  <a:moveTo>
                    <a:pt x="57" y="30"/>
                  </a:moveTo>
                  <a:cubicBezTo>
                    <a:pt x="56" y="30"/>
                    <a:pt x="55" y="30"/>
                    <a:pt x="55" y="29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6" y="0"/>
                    <a:pt x="9" y="2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62" y="19"/>
                    <a:pt x="63" y="23"/>
                    <a:pt x="62" y="26"/>
                  </a:cubicBezTo>
                  <a:cubicBezTo>
                    <a:pt x="61" y="28"/>
                    <a:pt x="59" y="30"/>
                    <a:pt x="57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72">
              <a:extLst>
                <a:ext uri="{FF2B5EF4-FFF2-40B4-BE49-F238E27FC236}">
                  <a16:creationId xmlns:a16="http://schemas.microsoft.com/office/drawing/2014/main" id="{E9D27936-5D5D-614F-8C1C-7B1D6C8F53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4" y="630"/>
              <a:ext cx="103" cy="113"/>
            </a:xfrm>
            <a:custGeom>
              <a:avLst/>
              <a:gdLst>
                <a:gd name="T0" fmla="*/ 6 w 70"/>
                <a:gd name="T1" fmla="*/ 78 h 78"/>
                <a:gd name="T2" fmla="*/ 3 w 70"/>
                <a:gd name="T3" fmla="*/ 77 h 78"/>
                <a:gd name="T4" fmla="*/ 2 w 70"/>
                <a:gd name="T5" fmla="*/ 68 h 78"/>
                <a:gd name="T6" fmla="*/ 58 w 70"/>
                <a:gd name="T7" fmla="*/ 3 h 78"/>
                <a:gd name="T8" fmla="*/ 67 w 70"/>
                <a:gd name="T9" fmla="*/ 2 h 78"/>
                <a:gd name="T10" fmla="*/ 67 w 70"/>
                <a:gd name="T11" fmla="*/ 10 h 78"/>
                <a:gd name="T12" fmla="*/ 11 w 70"/>
                <a:gd name="T13" fmla="*/ 76 h 78"/>
                <a:gd name="T14" fmla="*/ 6 w 70"/>
                <a:gd name="T1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78">
                  <a:moveTo>
                    <a:pt x="6" y="78"/>
                  </a:moveTo>
                  <a:cubicBezTo>
                    <a:pt x="5" y="78"/>
                    <a:pt x="4" y="78"/>
                    <a:pt x="3" y="77"/>
                  </a:cubicBezTo>
                  <a:cubicBezTo>
                    <a:pt x="0" y="75"/>
                    <a:pt x="0" y="71"/>
                    <a:pt x="2" y="68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60" y="0"/>
                    <a:pt x="64" y="0"/>
                    <a:pt x="67" y="2"/>
                  </a:cubicBezTo>
                  <a:cubicBezTo>
                    <a:pt x="69" y="4"/>
                    <a:pt x="70" y="8"/>
                    <a:pt x="67" y="10"/>
                  </a:cubicBezTo>
                  <a:cubicBezTo>
                    <a:pt x="11" y="76"/>
                    <a:pt x="11" y="76"/>
                    <a:pt x="11" y="76"/>
                  </a:cubicBezTo>
                  <a:cubicBezTo>
                    <a:pt x="10" y="78"/>
                    <a:pt x="8" y="78"/>
                    <a:pt x="6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9" name="Group 147">
            <a:extLst>
              <a:ext uri="{FF2B5EF4-FFF2-40B4-BE49-F238E27FC236}">
                <a16:creationId xmlns:a16="http://schemas.microsoft.com/office/drawing/2014/main" id="{1A45C7C7-247A-8046-A96E-AD1F982C8EF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2982" y="4317934"/>
            <a:ext cx="492991" cy="480291"/>
            <a:chOff x="4660" y="3155"/>
            <a:chExt cx="427" cy="416"/>
          </a:xfrm>
          <a:solidFill>
            <a:schemeClr val="accent1"/>
          </a:solidFill>
        </p:grpSpPr>
        <p:sp>
          <p:nvSpPr>
            <p:cNvPr id="170" name="Freeform 148">
              <a:extLst>
                <a:ext uri="{FF2B5EF4-FFF2-40B4-BE49-F238E27FC236}">
                  <a16:creationId xmlns:a16="http://schemas.microsoft.com/office/drawing/2014/main" id="{8E8C409B-9E97-C84A-B9D3-A35AAE508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2" y="3213"/>
              <a:ext cx="75" cy="72"/>
            </a:xfrm>
            <a:custGeom>
              <a:avLst/>
              <a:gdLst>
                <a:gd name="T0" fmla="*/ 7 w 51"/>
                <a:gd name="T1" fmla="*/ 50 h 50"/>
                <a:gd name="T2" fmla="*/ 3 w 51"/>
                <a:gd name="T3" fmla="*/ 48 h 50"/>
                <a:gd name="T4" fmla="*/ 3 w 51"/>
                <a:gd name="T5" fmla="*/ 40 h 50"/>
                <a:gd name="T6" fmla="*/ 40 w 51"/>
                <a:gd name="T7" fmla="*/ 3 h 50"/>
                <a:gd name="T8" fmla="*/ 49 w 51"/>
                <a:gd name="T9" fmla="*/ 3 h 50"/>
                <a:gd name="T10" fmla="*/ 49 w 51"/>
                <a:gd name="T11" fmla="*/ 11 h 50"/>
                <a:gd name="T12" fmla="*/ 11 w 51"/>
                <a:gd name="T13" fmla="*/ 48 h 50"/>
                <a:gd name="T14" fmla="*/ 7 w 51"/>
                <a:gd name="T1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0">
                  <a:moveTo>
                    <a:pt x="7" y="50"/>
                  </a:moveTo>
                  <a:cubicBezTo>
                    <a:pt x="6" y="50"/>
                    <a:pt x="4" y="49"/>
                    <a:pt x="3" y="48"/>
                  </a:cubicBezTo>
                  <a:cubicBezTo>
                    <a:pt x="0" y="46"/>
                    <a:pt x="0" y="42"/>
                    <a:pt x="3" y="40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2" y="0"/>
                    <a:pt x="46" y="0"/>
                    <a:pt x="49" y="3"/>
                  </a:cubicBezTo>
                  <a:cubicBezTo>
                    <a:pt x="51" y="5"/>
                    <a:pt x="51" y="9"/>
                    <a:pt x="49" y="11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0" y="49"/>
                    <a:pt x="9" y="50"/>
                    <a:pt x="7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1" name="Freeform 149">
              <a:extLst>
                <a:ext uri="{FF2B5EF4-FFF2-40B4-BE49-F238E27FC236}">
                  <a16:creationId xmlns:a16="http://schemas.microsoft.com/office/drawing/2014/main" id="{DA0B5ECD-870E-4848-9CD3-F2A48AAED9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8" y="3155"/>
              <a:ext cx="89" cy="87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2" name="Freeform 150">
              <a:extLst>
                <a:ext uri="{FF2B5EF4-FFF2-40B4-BE49-F238E27FC236}">
                  <a16:creationId xmlns:a16="http://schemas.microsoft.com/office/drawing/2014/main" id="{F35591AC-ECAA-6A44-8F99-819ED52E6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0" y="3457"/>
              <a:ext cx="57" cy="55"/>
            </a:xfrm>
            <a:custGeom>
              <a:avLst/>
              <a:gdLst>
                <a:gd name="T0" fmla="*/ 32 w 39"/>
                <a:gd name="T1" fmla="*/ 38 h 38"/>
                <a:gd name="T2" fmla="*/ 28 w 39"/>
                <a:gd name="T3" fmla="*/ 36 h 38"/>
                <a:gd name="T4" fmla="*/ 2 w 39"/>
                <a:gd name="T5" fmla="*/ 11 h 38"/>
                <a:gd name="T6" fmla="*/ 2 w 39"/>
                <a:gd name="T7" fmla="*/ 2 h 38"/>
                <a:gd name="T8" fmla="*/ 11 w 39"/>
                <a:gd name="T9" fmla="*/ 2 h 38"/>
                <a:gd name="T10" fmla="*/ 36 w 39"/>
                <a:gd name="T11" fmla="*/ 28 h 38"/>
                <a:gd name="T12" fmla="*/ 36 w 39"/>
                <a:gd name="T13" fmla="*/ 36 h 38"/>
                <a:gd name="T14" fmla="*/ 32 w 39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8">
                  <a:moveTo>
                    <a:pt x="32" y="38"/>
                  </a:moveTo>
                  <a:cubicBezTo>
                    <a:pt x="30" y="38"/>
                    <a:pt x="29" y="37"/>
                    <a:pt x="28" y="36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9" y="30"/>
                    <a:pt x="39" y="34"/>
                    <a:pt x="36" y="36"/>
                  </a:cubicBezTo>
                  <a:cubicBezTo>
                    <a:pt x="35" y="37"/>
                    <a:pt x="33" y="38"/>
                    <a:pt x="32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3" name="Freeform 151">
              <a:extLst>
                <a:ext uri="{FF2B5EF4-FFF2-40B4-BE49-F238E27FC236}">
                  <a16:creationId xmlns:a16="http://schemas.microsoft.com/office/drawing/2014/main" id="{7C40EEF9-FCC2-A541-B120-A451408799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8" y="3485"/>
              <a:ext cx="89" cy="86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4" name="Freeform 152">
              <a:extLst>
                <a:ext uri="{FF2B5EF4-FFF2-40B4-BE49-F238E27FC236}">
                  <a16:creationId xmlns:a16="http://schemas.microsoft.com/office/drawing/2014/main" id="{A9892F93-4546-3D4E-B74D-759D573B70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" y="3213"/>
              <a:ext cx="75" cy="72"/>
            </a:xfrm>
            <a:custGeom>
              <a:avLst/>
              <a:gdLst>
                <a:gd name="T0" fmla="*/ 44 w 51"/>
                <a:gd name="T1" fmla="*/ 50 h 50"/>
                <a:gd name="T2" fmla="*/ 40 w 51"/>
                <a:gd name="T3" fmla="*/ 48 h 50"/>
                <a:gd name="T4" fmla="*/ 3 w 51"/>
                <a:gd name="T5" fmla="*/ 11 h 50"/>
                <a:gd name="T6" fmla="*/ 2 w 51"/>
                <a:gd name="T7" fmla="*/ 3 h 50"/>
                <a:gd name="T8" fmla="*/ 11 w 51"/>
                <a:gd name="T9" fmla="*/ 3 h 50"/>
                <a:gd name="T10" fmla="*/ 48 w 51"/>
                <a:gd name="T11" fmla="*/ 40 h 50"/>
                <a:gd name="T12" fmla="*/ 48 w 51"/>
                <a:gd name="T13" fmla="*/ 48 h 50"/>
                <a:gd name="T14" fmla="*/ 44 w 51"/>
                <a:gd name="T1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0">
                  <a:moveTo>
                    <a:pt x="44" y="50"/>
                  </a:moveTo>
                  <a:cubicBezTo>
                    <a:pt x="43" y="50"/>
                    <a:pt x="41" y="49"/>
                    <a:pt x="40" y="48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51" y="42"/>
                    <a:pt x="51" y="46"/>
                    <a:pt x="48" y="48"/>
                  </a:cubicBezTo>
                  <a:cubicBezTo>
                    <a:pt x="47" y="49"/>
                    <a:pt x="46" y="50"/>
                    <a:pt x="44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5" name="Freeform 153">
              <a:extLst>
                <a:ext uri="{FF2B5EF4-FFF2-40B4-BE49-F238E27FC236}">
                  <a16:creationId xmlns:a16="http://schemas.microsoft.com/office/drawing/2014/main" id="{FC0B3E8E-2558-BE41-ADEB-7D5023F6BD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0" y="3155"/>
              <a:ext cx="89" cy="87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6" name="Freeform 154">
              <a:extLst>
                <a:ext uri="{FF2B5EF4-FFF2-40B4-BE49-F238E27FC236}">
                  <a16:creationId xmlns:a16="http://schemas.microsoft.com/office/drawing/2014/main" id="{AF5CD9F4-8D4C-B94E-A070-7BA0E2494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1" y="3457"/>
              <a:ext cx="56" cy="55"/>
            </a:xfrm>
            <a:custGeom>
              <a:avLst/>
              <a:gdLst>
                <a:gd name="T0" fmla="*/ 6 w 38"/>
                <a:gd name="T1" fmla="*/ 38 h 38"/>
                <a:gd name="T2" fmla="*/ 2 w 38"/>
                <a:gd name="T3" fmla="*/ 36 h 38"/>
                <a:gd name="T4" fmla="*/ 2 w 38"/>
                <a:gd name="T5" fmla="*/ 28 h 38"/>
                <a:gd name="T6" fmla="*/ 27 w 38"/>
                <a:gd name="T7" fmla="*/ 2 h 38"/>
                <a:gd name="T8" fmla="*/ 36 w 38"/>
                <a:gd name="T9" fmla="*/ 2 h 38"/>
                <a:gd name="T10" fmla="*/ 36 w 38"/>
                <a:gd name="T11" fmla="*/ 11 h 38"/>
                <a:gd name="T12" fmla="*/ 10 w 38"/>
                <a:gd name="T13" fmla="*/ 36 h 38"/>
                <a:gd name="T14" fmla="*/ 6 w 38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8">
                  <a:moveTo>
                    <a:pt x="6" y="38"/>
                  </a:moveTo>
                  <a:cubicBezTo>
                    <a:pt x="5" y="38"/>
                    <a:pt x="3" y="37"/>
                    <a:pt x="2" y="36"/>
                  </a:cubicBezTo>
                  <a:cubicBezTo>
                    <a:pt x="0" y="34"/>
                    <a:pt x="0" y="30"/>
                    <a:pt x="2" y="28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30" y="0"/>
                    <a:pt x="33" y="0"/>
                    <a:pt x="36" y="2"/>
                  </a:cubicBezTo>
                  <a:cubicBezTo>
                    <a:pt x="38" y="4"/>
                    <a:pt x="38" y="8"/>
                    <a:pt x="36" y="11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9" y="37"/>
                    <a:pt x="8" y="38"/>
                    <a:pt x="6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7" name="Freeform 155">
              <a:extLst>
                <a:ext uri="{FF2B5EF4-FFF2-40B4-BE49-F238E27FC236}">
                  <a16:creationId xmlns:a16="http://schemas.microsoft.com/office/drawing/2014/main" id="{B1B15CB0-A7E5-BC4F-A0BC-F0DE234CCD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0" y="3485"/>
              <a:ext cx="89" cy="86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8" name="Freeform 156">
              <a:extLst>
                <a:ext uri="{FF2B5EF4-FFF2-40B4-BE49-F238E27FC236}">
                  <a16:creationId xmlns:a16="http://schemas.microsoft.com/office/drawing/2014/main" id="{67AB54EA-1D00-BA41-A554-14265C9BA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4" y="3346"/>
              <a:ext cx="72" cy="17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9" name="Freeform 157">
              <a:extLst>
                <a:ext uri="{FF2B5EF4-FFF2-40B4-BE49-F238E27FC236}">
                  <a16:creationId xmlns:a16="http://schemas.microsoft.com/office/drawing/2014/main" id="{7CFDB85D-494A-024F-86F2-B6983F221C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8" y="3311"/>
              <a:ext cx="89" cy="87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80" name="Freeform 158">
              <a:extLst>
                <a:ext uri="{FF2B5EF4-FFF2-40B4-BE49-F238E27FC236}">
                  <a16:creationId xmlns:a16="http://schemas.microsoft.com/office/drawing/2014/main" id="{29B1044C-E2D2-6641-83C4-F6039E8C3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1" y="3346"/>
              <a:ext cx="71" cy="17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81" name="Freeform 159">
              <a:extLst>
                <a:ext uri="{FF2B5EF4-FFF2-40B4-BE49-F238E27FC236}">
                  <a16:creationId xmlns:a16="http://schemas.microsoft.com/office/drawing/2014/main" id="{D04495BF-6265-7A4F-9624-AF37EE9A7B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0" y="3311"/>
              <a:ext cx="89" cy="87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82" name="Oval 160">
              <a:extLst>
                <a:ext uri="{FF2B5EF4-FFF2-40B4-BE49-F238E27FC236}">
                  <a16:creationId xmlns:a16="http://schemas.microsoft.com/office/drawing/2014/main" id="{0DCD1D92-34C0-2940-9188-97E05488F3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0" y="3434"/>
              <a:ext cx="29" cy="2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83" name="Freeform 161">
              <a:extLst>
                <a:ext uri="{FF2B5EF4-FFF2-40B4-BE49-F238E27FC236}">
                  <a16:creationId xmlns:a16="http://schemas.microsoft.com/office/drawing/2014/main" id="{7619177A-DB0B-F247-9FF6-F0476A03D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1" y="3275"/>
              <a:ext cx="107" cy="146"/>
            </a:xfrm>
            <a:custGeom>
              <a:avLst/>
              <a:gdLst>
                <a:gd name="T0" fmla="*/ 36 w 72"/>
                <a:gd name="T1" fmla="*/ 101 h 101"/>
                <a:gd name="T2" fmla="*/ 30 w 72"/>
                <a:gd name="T3" fmla="*/ 95 h 101"/>
                <a:gd name="T4" fmla="*/ 30 w 72"/>
                <a:gd name="T5" fmla="*/ 65 h 101"/>
                <a:gd name="T6" fmla="*/ 36 w 72"/>
                <a:gd name="T7" fmla="*/ 59 h 101"/>
                <a:gd name="T8" fmla="*/ 60 w 72"/>
                <a:gd name="T9" fmla="*/ 36 h 101"/>
                <a:gd name="T10" fmla="*/ 36 w 72"/>
                <a:gd name="T11" fmla="*/ 12 h 101"/>
                <a:gd name="T12" fmla="*/ 12 w 72"/>
                <a:gd name="T13" fmla="*/ 36 h 101"/>
                <a:gd name="T14" fmla="*/ 6 w 72"/>
                <a:gd name="T15" fmla="*/ 42 h 101"/>
                <a:gd name="T16" fmla="*/ 0 w 72"/>
                <a:gd name="T17" fmla="*/ 36 h 101"/>
                <a:gd name="T18" fmla="*/ 36 w 72"/>
                <a:gd name="T19" fmla="*/ 0 h 101"/>
                <a:gd name="T20" fmla="*/ 72 w 72"/>
                <a:gd name="T21" fmla="*/ 36 h 101"/>
                <a:gd name="T22" fmla="*/ 42 w 72"/>
                <a:gd name="T23" fmla="*/ 71 h 101"/>
                <a:gd name="T24" fmla="*/ 42 w 72"/>
                <a:gd name="T25" fmla="*/ 95 h 101"/>
                <a:gd name="T26" fmla="*/ 36 w 72"/>
                <a:gd name="T2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101">
                  <a:moveTo>
                    <a:pt x="36" y="101"/>
                  </a:moveTo>
                  <a:cubicBezTo>
                    <a:pt x="33" y="101"/>
                    <a:pt x="30" y="99"/>
                    <a:pt x="30" y="9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2"/>
                    <a:pt x="33" y="59"/>
                    <a:pt x="36" y="59"/>
                  </a:cubicBezTo>
                  <a:cubicBezTo>
                    <a:pt x="49" y="59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ubicBezTo>
                    <a:pt x="23" y="12"/>
                    <a:pt x="12" y="23"/>
                    <a:pt x="12" y="36"/>
                  </a:cubicBezTo>
                  <a:cubicBezTo>
                    <a:pt x="12" y="39"/>
                    <a:pt x="10" y="42"/>
                    <a:pt x="6" y="42"/>
                  </a:cubicBezTo>
                  <a:cubicBezTo>
                    <a:pt x="3" y="42"/>
                    <a:pt x="0" y="39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3"/>
                    <a:pt x="59" y="68"/>
                    <a:pt x="42" y="71"/>
                  </a:cubicBezTo>
                  <a:cubicBezTo>
                    <a:pt x="42" y="95"/>
                    <a:pt x="42" y="95"/>
                    <a:pt x="42" y="95"/>
                  </a:cubicBezTo>
                  <a:cubicBezTo>
                    <a:pt x="42" y="99"/>
                    <a:pt x="39" y="101"/>
                    <a:pt x="36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185" name="Group 98">
            <a:extLst>
              <a:ext uri="{FF2B5EF4-FFF2-40B4-BE49-F238E27FC236}">
                <a16:creationId xmlns:a16="http://schemas.microsoft.com/office/drawing/2014/main" id="{7C33E39D-1B8D-8E4E-9D4F-DA8DD65CA1F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323794" y="4324704"/>
            <a:ext cx="503382" cy="466750"/>
            <a:chOff x="348" y="3011"/>
            <a:chExt cx="426" cy="395"/>
          </a:xfrm>
          <a:solidFill>
            <a:schemeClr val="accent1"/>
          </a:solidFill>
        </p:grpSpPr>
        <p:sp>
          <p:nvSpPr>
            <p:cNvPr id="186" name="Freeform 99">
              <a:extLst>
                <a:ext uri="{FF2B5EF4-FFF2-40B4-BE49-F238E27FC236}">
                  <a16:creationId xmlns:a16="http://schemas.microsoft.com/office/drawing/2014/main" id="{AD8832E6-74B8-124A-AD34-263F9478BA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" y="3011"/>
              <a:ext cx="426" cy="395"/>
            </a:xfrm>
            <a:custGeom>
              <a:avLst/>
              <a:gdLst>
                <a:gd name="T0" fmla="*/ 16 w 288"/>
                <a:gd name="T1" fmla="*/ 267 h 267"/>
                <a:gd name="T2" fmla="*/ 12 w 288"/>
                <a:gd name="T3" fmla="*/ 265 h 267"/>
                <a:gd name="T4" fmla="*/ 11 w 288"/>
                <a:gd name="T5" fmla="*/ 258 h 267"/>
                <a:gd name="T6" fmla="*/ 40 w 288"/>
                <a:gd name="T7" fmla="*/ 201 h 267"/>
                <a:gd name="T8" fmla="*/ 0 w 288"/>
                <a:gd name="T9" fmla="*/ 119 h 267"/>
                <a:gd name="T10" fmla="*/ 144 w 288"/>
                <a:gd name="T11" fmla="*/ 0 h 267"/>
                <a:gd name="T12" fmla="*/ 288 w 288"/>
                <a:gd name="T13" fmla="*/ 119 h 267"/>
                <a:gd name="T14" fmla="*/ 144 w 288"/>
                <a:gd name="T15" fmla="*/ 237 h 267"/>
                <a:gd name="T16" fmla="*/ 96 w 288"/>
                <a:gd name="T17" fmla="*/ 231 h 267"/>
                <a:gd name="T18" fmla="*/ 19 w 288"/>
                <a:gd name="T19" fmla="*/ 267 h 267"/>
                <a:gd name="T20" fmla="*/ 16 w 288"/>
                <a:gd name="T21" fmla="*/ 267 h 267"/>
                <a:gd name="T22" fmla="*/ 144 w 288"/>
                <a:gd name="T23" fmla="*/ 12 h 267"/>
                <a:gd name="T24" fmla="*/ 12 w 288"/>
                <a:gd name="T25" fmla="*/ 119 h 267"/>
                <a:gd name="T26" fmla="*/ 51 w 288"/>
                <a:gd name="T27" fmla="*/ 194 h 267"/>
                <a:gd name="T28" fmla="*/ 52 w 288"/>
                <a:gd name="T29" fmla="*/ 202 h 267"/>
                <a:gd name="T30" fmla="*/ 29 w 288"/>
                <a:gd name="T31" fmla="*/ 248 h 267"/>
                <a:gd name="T32" fmla="*/ 93 w 288"/>
                <a:gd name="T33" fmla="*/ 219 h 267"/>
                <a:gd name="T34" fmla="*/ 97 w 288"/>
                <a:gd name="T35" fmla="*/ 218 h 267"/>
                <a:gd name="T36" fmla="*/ 144 w 288"/>
                <a:gd name="T37" fmla="*/ 225 h 267"/>
                <a:gd name="T38" fmla="*/ 276 w 288"/>
                <a:gd name="T39" fmla="*/ 119 h 267"/>
                <a:gd name="T40" fmla="*/ 144 w 288"/>
                <a:gd name="T41" fmla="*/ 1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8" h="267">
                  <a:moveTo>
                    <a:pt x="16" y="267"/>
                  </a:moveTo>
                  <a:cubicBezTo>
                    <a:pt x="14" y="267"/>
                    <a:pt x="13" y="267"/>
                    <a:pt x="12" y="265"/>
                  </a:cubicBezTo>
                  <a:cubicBezTo>
                    <a:pt x="10" y="263"/>
                    <a:pt x="9" y="261"/>
                    <a:pt x="11" y="258"/>
                  </a:cubicBezTo>
                  <a:cubicBezTo>
                    <a:pt x="40" y="201"/>
                    <a:pt x="40" y="201"/>
                    <a:pt x="40" y="201"/>
                  </a:cubicBezTo>
                  <a:cubicBezTo>
                    <a:pt x="14" y="179"/>
                    <a:pt x="0" y="150"/>
                    <a:pt x="0" y="119"/>
                  </a:cubicBezTo>
                  <a:cubicBezTo>
                    <a:pt x="0" y="53"/>
                    <a:pt x="64" y="0"/>
                    <a:pt x="144" y="0"/>
                  </a:cubicBezTo>
                  <a:cubicBezTo>
                    <a:pt x="223" y="0"/>
                    <a:pt x="288" y="53"/>
                    <a:pt x="288" y="119"/>
                  </a:cubicBezTo>
                  <a:cubicBezTo>
                    <a:pt x="288" y="184"/>
                    <a:pt x="223" y="237"/>
                    <a:pt x="144" y="237"/>
                  </a:cubicBezTo>
                  <a:cubicBezTo>
                    <a:pt x="127" y="237"/>
                    <a:pt x="111" y="235"/>
                    <a:pt x="96" y="231"/>
                  </a:cubicBezTo>
                  <a:cubicBezTo>
                    <a:pt x="19" y="267"/>
                    <a:pt x="19" y="267"/>
                    <a:pt x="19" y="267"/>
                  </a:cubicBezTo>
                  <a:cubicBezTo>
                    <a:pt x="18" y="267"/>
                    <a:pt x="17" y="267"/>
                    <a:pt x="16" y="267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60"/>
                    <a:pt x="12" y="119"/>
                  </a:cubicBezTo>
                  <a:cubicBezTo>
                    <a:pt x="12" y="147"/>
                    <a:pt x="26" y="174"/>
                    <a:pt x="51" y="194"/>
                  </a:cubicBezTo>
                  <a:cubicBezTo>
                    <a:pt x="53" y="196"/>
                    <a:pt x="54" y="199"/>
                    <a:pt x="52" y="202"/>
                  </a:cubicBezTo>
                  <a:cubicBezTo>
                    <a:pt x="29" y="248"/>
                    <a:pt x="29" y="248"/>
                    <a:pt x="29" y="248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4" y="218"/>
                    <a:pt x="96" y="218"/>
                    <a:pt x="97" y="218"/>
                  </a:cubicBezTo>
                  <a:cubicBezTo>
                    <a:pt x="112" y="223"/>
                    <a:pt x="128" y="225"/>
                    <a:pt x="144" y="225"/>
                  </a:cubicBezTo>
                  <a:cubicBezTo>
                    <a:pt x="216" y="225"/>
                    <a:pt x="276" y="178"/>
                    <a:pt x="276" y="119"/>
                  </a:cubicBezTo>
                  <a:cubicBezTo>
                    <a:pt x="276" y="60"/>
                    <a:pt x="216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87" name="Freeform 100">
              <a:extLst>
                <a:ext uri="{FF2B5EF4-FFF2-40B4-BE49-F238E27FC236}">
                  <a16:creationId xmlns:a16="http://schemas.microsoft.com/office/drawing/2014/main" id="{8A44DBE0-E9B2-D848-B6E3-CCE472D44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" y="3092"/>
              <a:ext cx="124" cy="145"/>
            </a:xfrm>
            <a:custGeom>
              <a:avLst/>
              <a:gdLst>
                <a:gd name="T0" fmla="*/ 42 w 84"/>
                <a:gd name="T1" fmla="*/ 98 h 98"/>
                <a:gd name="T2" fmla="*/ 36 w 84"/>
                <a:gd name="T3" fmla="*/ 92 h 98"/>
                <a:gd name="T4" fmla="*/ 36 w 84"/>
                <a:gd name="T5" fmla="*/ 77 h 98"/>
                <a:gd name="T6" fmla="*/ 42 w 84"/>
                <a:gd name="T7" fmla="*/ 71 h 98"/>
                <a:gd name="T8" fmla="*/ 72 w 84"/>
                <a:gd name="T9" fmla="*/ 42 h 98"/>
                <a:gd name="T10" fmla="*/ 42 w 84"/>
                <a:gd name="T11" fmla="*/ 12 h 98"/>
                <a:gd name="T12" fmla="*/ 12 w 84"/>
                <a:gd name="T13" fmla="*/ 43 h 98"/>
                <a:gd name="T14" fmla="*/ 6 w 84"/>
                <a:gd name="T15" fmla="*/ 49 h 98"/>
                <a:gd name="T16" fmla="*/ 0 w 84"/>
                <a:gd name="T17" fmla="*/ 43 h 98"/>
                <a:gd name="T18" fmla="*/ 42 w 84"/>
                <a:gd name="T19" fmla="*/ 0 h 98"/>
                <a:gd name="T20" fmla="*/ 84 w 84"/>
                <a:gd name="T21" fmla="*/ 42 h 98"/>
                <a:gd name="T22" fmla="*/ 48 w 84"/>
                <a:gd name="T23" fmla="*/ 83 h 98"/>
                <a:gd name="T24" fmla="*/ 48 w 84"/>
                <a:gd name="T25" fmla="*/ 92 h 98"/>
                <a:gd name="T26" fmla="*/ 42 w 84"/>
                <a:gd name="T27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98">
                  <a:moveTo>
                    <a:pt x="42" y="98"/>
                  </a:moveTo>
                  <a:cubicBezTo>
                    <a:pt x="38" y="98"/>
                    <a:pt x="36" y="95"/>
                    <a:pt x="36" y="92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4"/>
                    <a:pt x="38" y="71"/>
                    <a:pt x="42" y="71"/>
                  </a:cubicBezTo>
                  <a:cubicBezTo>
                    <a:pt x="58" y="71"/>
                    <a:pt x="72" y="58"/>
                    <a:pt x="72" y="42"/>
                  </a:cubicBezTo>
                  <a:cubicBezTo>
                    <a:pt x="72" y="25"/>
                    <a:pt x="58" y="12"/>
                    <a:pt x="42" y="12"/>
                  </a:cubicBezTo>
                  <a:cubicBezTo>
                    <a:pt x="25" y="12"/>
                    <a:pt x="12" y="26"/>
                    <a:pt x="12" y="43"/>
                  </a:cubicBezTo>
                  <a:cubicBezTo>
                    <a:pt x="12" y="46"/>
                    <a:pt x="9" y="49"/>
                    <a:pt x="6" y="49"/>
                  </a:cubicBezTo>
                  <a:cubicBezTo>
                    <a:pt x="2" y="49"/>
                    <a:pt x="0" y="46"/>
                    <a:pt x="0" y="43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2"/>
                    <a:pt x="68" y="80"/>
                    <a:pt x="48" y="83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48" y="95"/>
                    <a:pt x="45" y="98"/>
                    <a:pt x="42" y="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88" name="Oval 101">
              <a:extLst>
                <a:ext uri="{FF2B5EF4-FFF2-40B4-BE49-F238E27FC236}">
                  <a16:creationId xmlns:a16="http://schemas.microsoft.com/office/drawing/2014/main" id="{AC4C9687-F04A-6D47-9FC0-46BA1393FC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2" y="3250"/>
              <a:ext cx="36" cy="3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189" name="Group 133">
            <a:extLst>
              <a:ext uri="{FF2B5EF4-FFF2-40B4-BE49-F238E27FC236}">
                <a16:creationId xmlns:a16="http://schemas.microsoft.com/office/drawing/2014/main" id="{E59F227F-CDAA-2645-BBA5-7162A1A03A9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69996" y="4304038"/>
            <a:ext cx="508082" cy="508082"/>
            <a:chOff x="5508" y="2995"/>
            <a:chExt cx="427" cy="427"/>
          </a:xfrm>
          <a:solidFill>
            <a:schemeClr val="accent1"/>
          </a:solidFill>
        </p:grpSpPr>
        <p:sp>
          <p:nvSpPr>
            <p:cNvPr id="190" name="Freeform 134">
              <a:extLst>
                <a:ext uri="{FF2B5EF4-FFF2-40B4-BE49-F238E27FC236}">
                  <a16:creationId xmlns:a16="http://schemas.microsoft.com/office/drawing/2014/main" id="{B7172BEF-887A-9048-B469-007E20F8B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" y="2995"/>
              <a:ext cx="285" cy="249"/>
            </a:xfrm>
            <a:custGeom>
              <a:avLst/>
              <a:gdLst>
                <a:gd name="T0" fmla="*/ 90 w 192"/>
                <a:gd name="T1" fmla="*/ 168 h 168"/>
                <a:gd name="T2" fmla="*/ 87 w 192"/>
                <a:gd name="T3" fmla="*/ 168 h 168"/>
                <a:gd name="T4" fmla="*/ 84 w 192"/>
                <a:gd name="T5" fmla="*/ 162 h 168"/>
                <a:gd name="T6" fmla="*/ 84 w 192"/>
                <a:gd name="T7" fmla="*/ 120 h 168"/>
                <a:gd name="T8" fmla="*/ 72 w 192"/>
                <a:gd name="T9" fmla="*/ 120 h 168"/>
                <a:gd name="T10" fmla="*/ 72 w 192"/>
                <a:gd name="T11" fmla="*/ 108 h 168"/>
                <a:gd name="T12" fmla="*/ 90 w 192"/>
                <a:gd name="T13" fmla="*/ 108 h 168"/>
                <a:gd name="T14" fmla="*/ 96 w 192"/>
                <a:gd name="T15" fmla="*/ 114 h 168"/>
                <a:gd name="T16" fmla="*/ 96 w 192"/>
                <a:gd name="T17" fmla="*/ 148 h 168"/>
                <a:gd name="T18" fmla="*/ 138 w 192"/>
                <a:gd name="T19" fmla="*/ 110 h 168"/>
                <a:gd name="T20" fmla="*/ 142 w 192"/>
                <a:gd name="T21" fmla="*/ 108 h 168"/>
                <a:gd name="T22" fmla="*/ 180 w 192"/>
                <a:gd name="T23" fmla="*/ 108 h 168"/>
                <a:gd name="T24" fmla="*/ 180 w 192"/>
                <a:gd name="T25" fmla="*/ 12 h 168"/>
                <a:gd name="T26" fmla="*/ 12 w 192"/>
                <a:gd name="T27" fmla="*/ 12 h 168"/>
                <a:gd name="T28" fmla="*/ 12 w 192"/>
                <a:gd name="T29" fmla="*/ 54 h 168"/>
                <a:gd name="T30" fmla="*/ 0 w 192"/>
                <a:gd name="T31" fmla="*/ 54 h 168"/>
                <a:gd name="T32" fmla="*/ 0 w 192"/>
                <a:gd name="T33" fmla="*/ 6 h 168"/>
                <a:gd name="T34" fmla="*/ 6 w 192"/>
                <a:gd name="T35" fmla="*/ 0 h 168"/>
                <a:gd name="T36" fmla="*/ 186 w 192"/>
                <a:gd name="T37" fmla="*/ 0 h 168"/>
                <a:gd name="T38" fmla="*/ 192 w 192"/>
                <a:gd name="T39" fmla="*/ 6 h 168"/>
                <a:gd name="T40" fmla="*/ 192 w 192"/>
                <a:gd name="T41" fmla="*/ 114 h 168"/>
                <a:gd name="T42" fmla="*/ 186 w 192"/>
                <a:gd name="T43" fmla="*/ 120 h 168"/>
                <a:gd name="T44" fmla="*/ 144 w 192"/>
                <a:gd name="T45" fmla="*/ 120 h 168"/>
                <a:gd name="T46" fmla="*/ 94 w 192"/>
                <a:gd name="T47" fmla="*/ 166 h 168"/>
                <a:gd name="T48" fmla="*/ 90 w 192"/>
                <a:gd name="T4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2" h="168">
                  <a:moveTo>
                    <a:pt x="90" y="168"/>
                  </a:moveTo>
                  <a:cubicBezTo>
                    <a:pt x="89" y="168"/>
                    <a:pt x="88" y="168"/>
                    <a:pt x="87" y="168"/>
                  </a:cubicBezTo>
                  <a:cubicBezTo>
                    <a:pt x="85" y="167"/>
                    <a:pt x="84" y="164"/>
                    <a:pt x="84" y="162"/>
                  </a:cubicBezTo>
                  <a:cubicBezTo>
                    <a:pt x="84" y="120"/>
                    <a:pt x="84" y="120"/>
                    <a:pt x="84" y="120"/>
                  </a:cubicBezTo>
                  <a:cubicBezTo>
                    <a:pt x="72" y="120"/>
                    <a:pt x="72" y="120"/>
                    <a:pt x="72" y="120"/>
                  </a:cubicBezTo>
                  <a:cubicBezTo>
                    <a:pt x="72" y="108"/>
                    <a:pt x="72" y="108"/>
                    <a:pt x="72" y="108"/>
                  </a:cubicBezTo>
                  <a:cubicBezTo>
                    <a:pt x="90" y="108"/>
                    <a:pt x="90" y="108"/>
                    <a:pt x="90" y="108"/>
                  </a:cubicBezTo>
                  <a:cubicBezTo>
                    <a:pt x="93" y="108"/>
                    <a:pt x="96" y="111"/>
                    <a:pt x="96" y="114"/>
                  </a:cubicBezTo>
                  <a:cubicBezTo>
                    <a:pt x="96" y="148"/>
                    <a:pt x="96" y="148"/>
                    <a:pt x="96" y="148"/>
                  </a:cubicBezTo>
                  <a:cubicBezTo>
                    <a:pt x="138" y="110"/>
                    <a:pt x="138" y="110"/>
                    <a:pt x="138" y="110"/>
                  </a:cubicBezTo>
                  <a:cubicBezTo>
                    <a:pt x="139" y="109"/>
                    <a:pt x="140" y="108"/>
                    <a:pt x="142" y="108"/>
                  </a:cubicBezTo>
                  <a:cubicBezTo>
                    <a:pt x="180" y="108"/>
                    <a:pt x="180" y="108"/>
                    <a:pt x="180" y="108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9" y="0"/>
                    <a:pt x="192" y="3"/>
                    <a:pt x="192" y="6"/>
                  </a:cubicBezTo>
                  <a:cubicBezTo>
                    <a:pt x="192" y="114"/>
                    <a:pt x="192" y="114"/>
                    <a:pt x="192" y="114"/>
                  </a:cubicBezTo>
                  <a:cubicBezTo>
                    <a:pt x="192" y="117"/>
                    <a:pt x="189" y="120"/>
                    <a:pt x="186" y="120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94" y="166"/>
                    <a:pt x="94" y="166"/>
                    <a:pt x="94" y="166"/>
                  </a:cubicBezTo>
                  <a:cubicBezTo>
                    <a:pt x="93" y="167"/>
                    <a:pt x="91" y="168"/>
                    <a:pt x="90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91" name="Rectangle 135">
              <a:extLst>
                <a:ext uri="{FF2B5EF4-FFF2-40B4-BE49-F238E27FC236}">
                  <a16:creationId xmlns:a16="http://schemas.microsoft.com/office/drawing/2014/main" id="{1FB3B654-0FC6-174C-A116-B31706E9D7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6" y="3084"/>
              <a:ext cx="18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92" name="Rectangle 136">
              <a:extLst>
                <a:ext uri="{FF2B5EF4-FFF2-40B4-BE49-F238E27FC236}">
                  <a16:creationId xmlns:a16="http://schemas.microsoft.com/office/drawing/2014/main" id="{9946ABE7-23E6-9B4E-B0D7-4ECCCED32A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3" y="3084"/>
              <a:ext cx="17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93" name="Rectangle 137">
              <a:extLst>
                <a:ext uri="{FF2B5EF4-FFF2-40B4-BE49-F238E27FC236}">
                  <a16:creationId xmlns:a16="http://schemas.microsoft.com/office/drawing/2014/main" id="{39F0F16D-8FEF-344E-AADA-A92E5B937D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39" y="3084"/>
              <a:ext cx="18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94" name="Freeform 138">
              <a:extLst>
                <a:ext uri="{FF2B5EF4-FFF2-40B4-BE49-F238E27FC236}">
                  <a16:creationId xmlns:a16="http://schemas.microsoft.com/office/drawing/2014/main" id="{FDA36911-8FD6-754B-8C4F-BF81FB3448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8" y="3120"/>
              <a:ext cx="285" cy="302"/>
            </a:xfrm>
            <a:custGeom>
              <a:avLst/>
              <a:gdLst>
                <a:gd name="T0" fmla="*/ 186 w 192"/>
                <a:gd name="T1" fmla="*/ 204 h 204"/>
                <a:gd name="T2" fmla="*/ 6 w 192"/>
                <a:gd name="T3" fmla="*/ 204 h 204"/>
                <a:gd name="T4" fmla="*/ 0 w 192"/>
                <a:gd name="T5" fmla="*/ 198 h 204"/>
                <a:gd name="T6" fmla="*/ 0 w 192"/>
                <a:gd name="T7" fmla="*/ 168 h 204"/>
                <a:gd name="T8" fmla="*/ 25 w 192"/>
                <a:gd name="T9" fmla="*/ 147 h 204"/>
                <a:gd name="T10" fmla="*/ 66 w 192"/>
                <a:gd name="T11" fmla="*/ 128 h 204"/>
                <a:gd name="T12" fmla="*/ 66 w 192"/>
                <a:gd name="T13" fmla="*/ 111 h 204"/>
                <a:gd name="T14" fmla="*/ 54 w 192"/>
                <a:gd name="T15" fmla="*/ 83 h 204"/>
                <a:gd name="T16" fmla="*/ 45 w 192"/>
                <a:gd name="T17" fmla="*/ 66 h 204"/>
                <a:gd name="T18" fmla="*/ 52 w 192"/>
                <a:gd name="T19" fmla="*/ 50 h 204"/>
                <a:gd name="T20" fmla="*/ 49 w 192"/>
                <a:gd name="T21" fmla="*/ 22 h 204"/>
                <a:gd name="T22" fmla="*/ 61 w 192"/>
                <a:gd name="T23" fmla="*/ 18 h 204"/>
                <a:gd name="T24" fmla="*/ 101 w 192"/>
                <a:gd name="T25" fmla="*/ 0 h 204"/>
                <a:gd name="T26" fmla="*/ 142 w 192"/>
                <a:gd name="T27" fmla="*/ 23 h 204"/>
                <a:gd name="T28" fmla="*/ 139 w 192"/>
                <a:gd name="T29" fmla="*/ 51 h 204"/>
                <a:gd name="T30" fmla="*/ 142 w 192"/>
                <a:gd name="T31" fmla="*/ 54 h 204"/>
                <a:gd name="T32" fmla="*/ 144 w 192"/>
                <a:gd name="T33" fmla="*/ 65 h 204"/>
                <a:gd name="T34" fmla="*/ 137 w 192"/>
                <a:gd name="T35" fmla="*/ 82 h 204"/>
                <a:gd name="T36" fmla="*/ 126 w 192"/>
                <a:gd name="T37" fmla="*/ 111 h 204"/>
                <a:gd name="T38" fmla="*/ 126 w 192"/>
                <a:gd name="T39" fmla="*/ 128 h 204"/>
                <a:gd name="T40" fmla="*/ 167 w 192"/>
                <a:gd name="T41" fmla="*/ 147 h 204"/>
                <a:gd name="T42" fmla="*/ 192 w 192"/>
                <a:gd name="T43" fmla="*/ 168 h 204"/>
                <a:gd name="T44" fmla="*/ 192 w 192"/>
                <a:gd name="T45" fmla="*/ 198 h 204"/>
                <a:gd name="T46" fmla="*/ 186 w 192"/>
                <a:gd name="T47" fmla="*/ 204 h 204"/>
                <a:gd name="T48" fmla="*/ 12 w 192"/>
                <a:gd name="T49" fmla="*/ 192 h 204"/>
                <a:gd name="T50" fmla="*/ 180 w 192"/>
                <a:gd name="T51" fmla="*/ 192 h 204"/>
                <a:gd name="T52" fmla="*/ 180 w 192"/>
                <a:gd name="T53" fmla="*/ 169 h 204"/>
                <a:gd name="T54" fmla="*/ 118 w 192"/>
                <a:gd name="T55" fmla="*/ 138 h 204"/>
                <a:gd name="T56" fmla="*/ 114 w 192"/>
                <a:gd name="T57" fmla="*/ 132 h 204"/>
                <a:gd name="T58" fmla="*/ 114 w 192"/>
                <a:gd name="T59" fmla="*/ 108 h 204"/>
                <a:gd name="T60" fmla="*/ 118 w 192"/>
                <a:gd name="T61" fmla="*/ 102 h 204"/>
                <a:gd name="T62" fmla="*/ 118 w 192"/>
                <a:gd name="T63" fmla="*/ 102 h 204"/>
                <a:gd name="T64" fmla="*/ 125 w 192"/>
                <a:gd name="T65" fmla="*/ 78 h 204"/>
                <a:gd name="T66" fmla="*/ 130 w 192"/>
                <a:gd name="T67" fmla="*/ 72 h 204"/>
                <a:gd name="T68" fmla="*/ 132 w 192"/>
                <a:gd name="T69" fmla="*/ 61 h 204"/>
                <a:gd name="T70" fmla="*/ 131 w 192"/>
                <a:gd name="T71" fmla="*/ 60 h 204"/>
                <a:gd name="T72" fmla="*/ 125 w 192"/>
                <a:gd name="T73" fmla="*/ 54 h 204"/>
                <a:gd name="T74" fmla="*/ 127 w 192"/>
                <a:gd name="T75" fmla="*/ 48 h 204"/>
                <a:gd name="T76" fmla="*/ 130 w 192"/>
                <a:gd name="T77" fmla="*/ 25 h 204"/>
                <a:gd name="T78" fmla="*/ 101 w 192"/>
                <a:gd name="T79" fmla="*/ 12 h 204"/>
                <a:gd name="T80" fmla="*/ 71 w 192"/>
                <a:gd name="T81" fmla="*/ 25 h 204"/>
                <a:gd name="T82" fmla="*/ 64 w 192"/>
                <a:gd name="T83" fmla="*/ 30 h 204"/>
                <a:gd name="T84" fmla="*/ 58 w 192"/>
                <a:gd name="T85" fmla="*/ 30 h 204"/>
                <a:gd name="T86" fmla="*/ 63 w 192"/>
                <a:gd name="T87" fmla="*/ 46 h 204"/>
                <a:gd name="T88" fmla="*/ 66 w 192"/>
                <a:gd name="T89" fmla="*/ 54 h 204"/>
                <a:gd name="T90" fmla="*/ 60 w 192"/>
                <a:gd name="T91" fmla="*/ 60 h 204"/>
                <a:gd name="T92" fmla="*/ 57 w 192"/>
                <a:gd name="T93" fmla="*/ 66 h 204"/>
                <a:gd name="T94" fmla="*/ 60 w 192"/>
                <a:gd name="T95" fmla="*/ 72 h 204"/>
                <a:gd name="T96" fmla="*/ 66 w 192"/>
                <a:gd name="T97" fmla="*/ 78 h 204"/>
                <a:gd name="T98" fmla="*/ 74 w 192"/>
                <a:gd name="T99" fmla="*/ 102 h 204"/>
                <a:gd name="T100" fmla="*/ 78 w 192"/>
                <a:gd name="T101" fmla="*/ 108 h 204"/>
                <a:gd name="T102" fmla="*/ 78 w 192"/>
                <a:gd name="T103" fmla="*/ 132 h 204"/>
                <a:gd name="T104" fmla="*/ 74 w 192"/>
                <a:gd name="T105" fmla="*/ 138 h 204"/>
                <a:gd name="T106" fmla="*/ 12 w 192"/>
                <a:gd name="T107" fmla="*/ 169 h 204"/>
                <a:gd name="T108" fmla="*/ 12 w 192"/>
                <a:gd name="T109" fmla="*/ 19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2" h="204">
                  <a:moveTo>
                    <a:pt x="186" y="204"/>
                  </a:move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0" y="164"/>
                    <a:pt x="2" y="159"/>
                    <a:pt x="25" y="147"/>
                  </a:cubicBezTo>
                  <a:cubicBezTo>
                    <a:pt x="36" y="141"/>
                    <a:pt x="51" y="134"/>
                    <a:pt x="66" y="128"/>
                  </a:cubicBezTo>
                  <a:cubicBezTo>
                    <a:pt x="66" y="111"/>
                    <a:pt x="66" y="111"/>
                    <a:pt x="66" y="111"/>
                  </a:cubicBezTo>
                  <a:cubicBezTo>
                    <a:pt x="61" y="108"/>
                    <a:pt x="55" y="100"/>
                    <a:pt x="54" y="83"/>
                  </a:cubicBezTo>
                  <a:cubicBezTo>
                    <a:pt x="48" y="80"/>
                    <a:pt x="45" y="74"/>
                    <a:pt x="45" y="66"/>
                  </a:cubicBezTo>
                  <a:cubicBezTo>
                    <a:pt x="45" y="59"/>
                    <a:pt x="48" y="53"/>
                    <a:pt x="52" y="50"/>
                  </a:cubicBezTo>
                  <a:cubicBezTo>
                    <a:pt x="48" y="42"/>
                    <a:pt x="43" y="30"/>
                    <a:pt x="49" y="22"/>
                  </a:cubicBezTo>
                  <a:cubicBezTo>
                    <a:pt x="52" y="19"/>
                    <a:pt x="56" y="17"/>
                    <a:pt x="61" y="18"/>
                  </a:cubicBezTo>
                  <a:cubicBezTo>
                    <a:pt x="68" y="5"/>
                    <a:pt x="86" y="0"/>
                    <a:pt x="101" y="0"/>
                  </a:cubicBezTo>
                  <a:cubicBezTo>
                    <a:pt x="117" y="0"/>
                    <a:pt x="138" y="6"/>
                    <a:pt x="142" y="23"/>
                  </a:cubicBezTo>
                  <a:cubicBezTo>
                    <a:pt x="145" y="34"/>
                    <a:pt x="141" y="44"/>
                    <a:pt x="139" y="51"/>
                  </a:cubicBezTo>
                  <a:cubicBezTo>
                    <a:pt x="140" y="52"/>
                    <a:pt x="141" y="53"/>
                    <a:pt x="142" y="54"/>
                  </a:cubicBezTo>
                  <a:cubicBezTo>
                    <a:pt x="143" y="57"/>
                    <a:pt x="144" y="61"/>
                    <a:pt x="144" y="65"/>
                  </a:cubicBezTo>
                  <a:cubicBezTo>
                    <a:pt x="144" y="72"/>
                    <a:pt x="142" y="79"/>
                    <a:pt x="137" y="82"/>
                  </a:cubicBezTo>
                  <a:cubicBezTo>
                    <a:pt x="136" y="100"/>
                    <a:pt x="130" y="108"/>
                    <a:pt x="126" y="111"/>
                  </a:cubicBezTo>
                  <a:cubicBezTo>
                    <a:pt x="126" y="128"/>
                    <a:pt x="126" y="128"/>
                    <a:pt x="126" y="128"/>
                  </a:cubicBezTo>
                  <a:cubicBezTo>
                    <a:pt x="140" y="134"/>
                    <a:pt x="155" y="141"/>
                    <a:pt x="167" y="147"/>
                  </a:cubicBezTo>
                  <a:cubicBezTo>
                    <a:pt x="190" y="159"/>
                    <a:pt x="192" y="164"/>
                    <a:pt x="192" y="168"/>
                  </a:cubicBezTo>
                  <a:cubicBezTo>
                    <a:pt x="192" y="198"/>
                    <a:pt x="192" y="198"/>
                    <a:pt x="192" y="198"/>
                  </a:cubicBezTo>
                  <a:cubicBezTo>
                    <a:pt x="192" y="201"/>
                    <a:pt x="189" y="204"/>
                    <a:pt x="186" y="204"/>
                  </a:cubicBezTo>
                  <a:close/>
                  <a:moveTo>
                    <a:pt x="12" y="192"/>
                  </a:moveTo>
                  <a:cubicBezTo>
                    <a:pt x="180" y="192"/>
                    <a:pt x="180" y="192"/>
                    <a:pt x="180" y="192"/>
                  </a:cubicBezTo>
                  <a:cubicBezTo>
                    <a:pt x="180" y="169"/>
                    <a:pt x="180" y="169"/>
                    <a:pt x="180" y="169"/>
                  </a:cubicBezTo>
                  <a:cubicBezTo>
                    <a:pt x="175" y="164"/>
                    <a:pt x="149" y="150"/>
                    <a:pt x="118" y="138"/>
                  </a:cubicBezTo>
                  <a:cubicBezTo>
                    <a:pt x="115" y="137"/>
                    <a:pt x="114" y="134"/>
                    <a:pt x="114" y="132"/>
                  </a:cubicBezTo>
                  <a:cubicBezTo>
                    <a:pt x="114" y="108"/>
                    <a:pt x="114" y="108"/>
                    <a:pt x="114" y="108"/>
                  </a:cubicBezTo>
                  <a:cubicBezTo>
                    <a:pt x="114" y="106"/>
                    <a:pt x="115" y="103"/>
                    <a:pt x="11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02"/>
                    <a:pt x="125" y="98"/>
                    <a:pt x="125" y="78"/>
                  </a:cubicBezTo>
                  <a:cubicBezTo>
                    <a:pt x="125" y="75"/>
                    <a:pt x="127" y="72"/>
                    <a:pt x="130" y="72"/>
                  </a:cubicBezTo>
                  <a:cubicBezTo>
                    <a:pt x="132" y="71"/>
                    <a:pt x="133" y="65"/>
                    <a:pt x="132" y="61"/>
                  </a:cubicBezTo>
                  <a:cubicBezTo>
                    <a:pt x="131" y="60"/>
                    <a:pt x="131" y="60"/>
                    <a:pt x="131" y="60"/>
                  </a:cubicBezTo>
                  <a:cubicBezTo>
                    <a:pt x="127" y="60"/>
                    <a:pt x="125" y="57"/>
                    <a:pt x="125" y="54"/>
                  </a:cubicBezTo>
                  <a:cubicBezTo>
                    <a:pt x="125" y="52"/>
                    <a:pt x="125" y="51"/>
                    <a:pt x="127" y="48"/>
                  </a:cubicBezTo>
                  <a:cubicBezTo>
                    <a:pt x="129" y="43"/>
                    <a:pt x="133" y="34"/>
                    <a:pt x="130" y="25"/>
                  </a:cubicBezTo>
                  <a:cubicBezTo>
                    <a:pt x="128" y="17"/>
                    <a:pt x="114" y="12"/>
                    <a:pt x="101" y="12"/>
                  </a:cubicBezTo>
                  <a:cubicBezTo>
                    <a:pt x="87" y="12"/>
                    <a:pt x="73" y="17"/>
                    <a:pt x="71" y="25"/>
                  </a:cubicBezTo>
                  <a:cubicBezTo>
                    <a:pt x="70" y="29"/>
                    <a:pt x="67" y="31"/>
                    <a:pt x="64" y="30"/>
                  </a:cubicBezTo>
                  <a:cubicBezTo>
                    <a:pt x="60" y="29"/>
                    <a:pt x="58" y="30"/>
                    <a:pt x="58" y="30"/>
                  </a:cubicBezTo>
                  <a:cubicBezTo>
                    <a:pt x="58" y="31"/>
                    <a:pt x="58" y="35"/>
                    <a:pt x="63" y="46"/>
                  </a:cubicBezTo>
                  <a:cubicBezTo>
                    <a:pt x="65" y="50"/>
                    <a:pt x="66" y="52"/>
                    <a:pt x="66" y="54"/>
                  </a:cubicBezTo>
                  <a:cubicBezTo>
                    <a:pt x="66" y="57"/>
                    <a:pt x="63" y="60"/>
                    <a:pt x="60" y="60"/>
                  </a:cubicBezTo>
                  <a:cubicBezTo>
                    <a:pt x="58" y="60"/>
                    <a:pt x="57" y="64"/>
                    <a:pt x="57" y="66"/>
                  </a:cubicBezTo>
                  <a:cubicBezTo>
                    <a:pt x="57" y="69"/>
                    <a:pt x="58" y="72"/>
                    <a:pt x="60" y="72"/>
                  </a:cubicBezTo>
                  <a:cubicBezTo>
                    <a:pt x="63" y="72"/>
                    <a:pt x="66" y="75"/>
                    <a:pt x="66" y="78"/>
                  </a:cubicBezTo>
                  <a:cubicBezTo>
                    <a:pt x="66" y="98"/>
                    <a:pt x="74" y="102"/>
                    <a:pt x="74" y="102"/>
                  </a:cubicBezTo>
                  <a:cubicBezTo>
                    <a:pt x="76" y="103"/>
                    <a:pt x="78" y="105"/>
                    <a:pt x="78" y="108"/>
                  </a:cubicBezTo>
                  <a:cubicBezTo>
                    <a:pt x="78" y="132"/>
                    <a:pt x="78" y="132"/>
                    <a:pt x="78" y="132"/>
                  </a:cubicBezTo>
                  <a:cubicBezTo>
                    <a:pt x="78" y="134"/>
                    <a:pt x="76" y="137"/>
                    <a:pt x="74" y="138"/>
                  </a:cubicBezTo>
                  <a:cubicBezTo>
                    <a:pt x="43" y="150"/>
                    <a:pt x="16" y="164"/>
                    <a:pt x="12" y="169"/>
                  </a:cubicBezTo>
                  <a:lnTo>
                    <a:pt x="12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210" name="Group 128">
            <a:extLst>
              <a:ext uri="{FF2B5EF4-FFF2-40B4-BE49-F238E27FC236}">
                <a16:creationId xmlns:a16="http://schemas.microsoft.com/office/drawing/2014/main" id="{22F35C7D-7426-D643-BA01-1D590EC1589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2055661" y="4309988"/>
            <a:ext cx="506890" cy="496182"/>
            <a:chOff x="4478" y="2999"/>
            <a:chExt cx="426" cy="417"/>
          </a:xfrm>
          <a:solidFill>
            <a:schemeClr val="accent1"/>
          </a:solidFill>
        </p:grpSpPr>
        <p:sp>
          <p:nvSpPr>
            <p:cNvPr id="211" name="Freeform 129">
              <a:extLst>
                <a:ext uri="{FF2B5EF4-FFF2-40B4-BE49-F238E27FC236}">
                  <a16:creationId xmlns:a16="http://schemas.microsoft.com/office/drawing/2014/main" id="{EB8F390E-DD96-5545-9F4B-5D56F498E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8" y="2999"/>
              <a:ext cx="320" cy="293"/>
            </a:xfrm>
            <a:custGeom>
              <a:avLst/>
              <a:gdLst>
                <a:gd name="T0" fmla="*/ 12 w 216"/>
                <a:gd name="T1" fmla="*/ 198 h 198"/>
                <a:gd name="T2" fmla="*/ 7 w 216"/>
                <a:gd name="T3" fmla="*/ 196 h 198"/>
                <a:gd name="T4" fmla="*/ 6 w 216"/>
                <a:gd name="T5" fmla="*/ 189 h 198"/>
                <a:gd name="T6" fmla="*/ 28 w 216"/>
                <a:gd name="T7" fmla="*/ 151 h 198"/>
                <a:gd name="T8" fmla="*/ 0 w 216"/>
                <a:gd name="T9" fmla="*/ 89 h 198"/>
                <a:gd name="T10" fmla="*/ 108 w 216"/>
                <a:gd name="T11" fmla="*/ 0 h 198"/>
                <a:gd name="T12" fmla="*/ 216 w 216"/>
                <a:gd name="T13" fmla="*/ 89 h 198"/>
                <a:gd name="T14" fmla="*/ 204 w 216"/>
                <a:gd name="T15" fmla="*/ 89 h 198"/>
                <a:gd name="T16" fmla="*/ 108 w 216"/>
                <a:gd name="T17" fmla="*/ 12 h 198"/>
                <a:gd name="T18" fmla="*/ 12 w 216"/>
                <a:gd name="T19" fmla="*/ 89 h 198"/>
                <a:gd name="T20" fmla="*/ 39 w 216"/>
                <a:gd name="T21" fmla="*/ 145 h 198"/>
                <a:gd name="T22" fmla="*/ 41 w 216"/>
                <a:gd name="T23" fmla="*/ 153 h 198"/>
                <a:gd name="T24" fmla="*/ 25 w 216"/>
                <a:gd name="T25" fmla="*/ 180 h 198"/>
                <a:gd name="T26" fmla="*/ 69 w 216"/>
                <a:gd name="T27" fmla="*/ 162 h 198"/>
                <a:gd name="T28" fmla="*/ 73 w 216"/>
                <a:gd name="T29" fmla="*/ 162 h 198"/>
                <a:gd name="T30" fmla="*/ 90 w 216"/>
                <a:gd name="T31" fmla="*/ 166 h 198"/>
                <a:gd name="T32" fmla="*/ 88 w 216"/>
                <a:gd name="T33" fmla="*/ 178 h 198"/>
                <a:gd name="T34" fmla="*/ 72 w 216"/>
                <a:gd name="T35" fmla="*/ 174 h 198"/>
                <a:gd name="T36" fmla="*/ 14 w 216"/>
                <a:gd name="T37" fmla="*/ 198 h 198"/>
                <a:gd name="T38" fmla="*/ 12 w 216"/>
                <a:gd name="T3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6" h="198">
                  <a:moveTo>
                    <a:pt x="12" y="198"/>
                  </a:moveTo>
                  <a:cubicBezTo>
                    <a:pt x="10" y="198"/>
                    <a:pt x="8" y="197"/>
                    <a:pt x="7" y="196"/>
                  </a:cubicBezTo>
                  <a:cubicBezTo>
                    <a:pt x="5" y="194"/>
                    <a:pt x="5" y="191"/>
                    <a:pt x="6" y="189"/>
                  </a:cubicBezTo>
                  <a:cubicBezTo>
                    <a:pt x="28" y="151"/>
                    <a:pt x="28" y="151"/>
                    <a:pt x="28" y="151"/>
                  </a:cubicBezTo>
                  <a:cubicBezTo>
                    <a:pt x="10" y="135"/>
                    <a:pt x="0" y="113"/>
                    <a:pt x="0" y="89"/>
                  </a:cubicBezTo>
                  <a:cubicBezTo>
                    <a:pt x="0" y="40"/>
                    <a:pt x="48" y="0"/>
                    <a:pt x="108" y="0"/>
                  </a:cubicBezTo>
                  <a:cubicBezTo>
                    <a:pt x="167" y="0"/>
                    <a:pt x="216" y="40"/>
                    <a:pt x="216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4" y="47"/>
                    <a:pt x="161" y="12"/>
                    <a:pt x="108" y="12"/>
                  </a:cubicBezTo>
                  <a:cubicBezTo>
                    <a:pt x="55" y="12"/>
                    <a:pt x="12" y="47"/>
                    <a:pt x="12" y="89"/>
                  </a:cubicBezTo>
                  <a:cubicBezTo>
                    <a:pt x="12" y="111"/>
                    <a:pt x="22" y="131"/>
                    <a:pt x="39" y="145"/>
                  </a:cubicBezTo>
                  <a:cubicBezTo>
                    <a:pt x="42" y="147"/>
                    <a:pt x="42" y="150"/>
                    <a:pt x="41" y="153"/>
                  </a:cubicBezTo>
                  <a:cubicBezTo>
                    <a:pt x="25" y="180"/>
                    <a:pt x="25" y="180"/>
                    <a:pt x="25" y="180"/>
                  </a:cubicBezTo>
                  <a:cubicBezTo>
                    <a:pt x="69" y="162"/>
                    <a:pt x="69" y="162"/>
                    <a:pt x="69" y="162"/>
                  </a:cubicBezTo>
                  <a:cubicBezTo>
                    <a:pt x="71" y="162"/>
                    <a:pt x="72" y="162"/>
                    <a:pt x="73" y="162"/>
                  </a:cubicBezTo>
                  <a:cubicBezTo>
                    <a:pt x="79" y="164"/>
                    <a:pt x="84" y="165"/>
                    <a:pt x="90" y="166"/>
                  </a:cubicBezTo>
                  <a:cubicBezTo>
                    <a:pt x="88" y="178"/>
                    <a:pt x="88" y="178"/>
                    <a:pt x="88" y="178"/>
                  </a:cubicBezTo>
                  <a:cubicBezTo>
                    <a:pt x="83" y="177"/>
                    <a:pt x="77" y="176"/>
                    <a:pt x="72" y="174"/>
                  </a:cubicBezTo>
                  <a:cubicBezTo>
                    <a:pt x="14" y="198"/>
                    <a:pt x="14" y="198"/>
                    <a:pt x="14" y="198"/>
                  </a:cubicBezTo>
                  <a:cubicBezTo>
                    <a:pt x="13" y="198"/>
                    <a:pt x="12" y="198"/>
                    <a:pt x="12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212" name="Freeform 130">
              <a:extLst>
                <a:ext uri="{FF2B5EF4-FFF2-40B4-BE49-F238E27FC236}">
                  <a16:creationId xmlns:a16="http://schemas.microsoft.com/office/drawing/2014/main" id="{7E54516C-265B-F84F-9AC7-C2472BCC10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38" y="3167"/>
              <a:ext cx="266" cy="249"/>
            </a:xfrm>
            <a:custGeom>
              <a:avLst/>
              <a:gdLst>
                <a:gd name="T0" fmla="*/ 168 w 180"/>
                <a:gd name="T1" fmla="*/ 168 h 168"/>
                <a:gd name="T2" fmla="*/ 166 w 180"/>
                <a:gd name="T3" fmla="*/ 168 h 168"/>
                <a:gd name="T4" fmla="*/ 120 w 180"/>
                <a:gd name="T5" fmla="*/ 151 h 168"/>
                <a:gd name="T6" fmla="*/ 37 w 180"/>
                <a:gd name="T7" fmla="*/ 143 h 168"/>
                <a:gd name="T8" fmla="*/ 0 w 180"/>
                <a:gd name="T9" fmla="*/ 78 h 168"/>
                <a:gd name="T10" fmla="*/ 90 w 180"/>
                <a:gd name="T11" fmla="*/ 0 h 168"/>
                <a:gd name="T12" fmla="*/ 180 w 180"/>
                <a:gd name="T13" fmla="*/ 78 h 168"/>
                <a:gd name="T14" fmla="*/ 157 w 180"/>
                <a:gd name="T15" fmla="*/ 128 h 168"/>
                <a:gd name="T16" fmla="*/ 173 w 180"/>
                <a:gd name="T17" fmla="*/ 159 h 168"/>
                <a:gd name="T18" fmla="*/ 172 w 180"/>
                <a:gd name="T19" fmla="*/ 166 h 168"/>
                <a:gd name="T20" fmla="*/ 168 w 180"/>
                <a:gd name="T21" fmla="*/ 168 h 168"/>
                <a:gd name="T22" fmla="*/ 120 w 180"/>
                <a:gd name="T23" fmla="*/ 138 h 168"/>
                <a:gd name="T24" fmla="*/ 122 w 180"/>
                <a:gd name="T25" fmla="*/ 138 h 168"/>
                <a:gd name="T26" fmla="*/ 155 w 180"/>
                <a:gd name="T27" fmla="*/ 151 h 168"/>
                <a:gd name="T28" fmla="*/ 144 w 180"/>
                <a:gd name="T29" fmla="*/ 129 h 168"/>
                <a:gd name="T30" fmla="*/ 146 w 180"/>
                <a:gd name="T31" fmla="*/ 121 h 168"/>
                <a:gd name="T32" fmla="*/ 168 w 180"/>
                <a:gd name="T33" fmla="*/ 78 h 168"/>
                <a:gd name="T34" fmla="*/ 90 w 180"/>
                <a:gd name="T35" fmla="*/ 12 h 168"/>
                <a:gd name="T36" fmla="*/ 12 w 180"/>
                <a:gd name="T37" fmla="*/ 78 h 168"/>
                <a:gd name="T38" fmla="*/ 43 w 180"/>
                <a:gd name="T39" fmla="*/ 133 h 168"/>
                <a:gd name="T40" fmla="*/ 117 w 180"/>
                <a:gd name="T41" fmla="*/ 139 h 168"/>
                <a:gd name="T42" fmla="*/ 120 w 180"/>
                <a:gd name="T43" fmla="*/ 13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0" h="168">
                  <a:moveTo>
                    <a:pt x="168" y="168"/>
                  </a:moveTo>
                  <a:cubicBezTo>
                    <a:pt x="167" y="168"/>
                    <a:pt x="166" y="168"/>
                    <a:pt x="166" y="168"/>
                  </a:cubicBezTo>
                  <a:cubicBezTo>
                    <a:pt x="120" y="151"/>
                    <a:pt x="120" y="151"/>
                    <a:pt x="120" y="151"/>
                  </a:cubicBezTo>
                  <a:cubicBezTo>
                    <a:pt x="92" y="162"/>
                    <a:pt x="62" y="159"/>
                    <a:pt x="37" y="143"/>
                  </a:cubicBezTo>
                  <a:cubicBezTo>
                    <a:pt x="13" y="128"/>
                    <a:pt x="0" y="104"/>
                    <a:pt x="0" y="78"/>
                  </a:cubicBezTo>
                  <a:cubicBezTo>
                    <a:pt x="0" y="36"/>
                    <a:pt x="41" y="0"/>
                    <a:pt x="90" y="0"/>
                  </a:cubicBezTo>
                  <a:cubicBezTo>
                    <a:pt x="138" y="0"/>
                    <a:pt x="180" y="36"/>
                    <a:pt x="180" y="78"/>
                  </a:cubicBezTo>
                  <a:cubicBezTo>
                    <a:pt x="180" y="97"/>
                    <a:pt x="172" y="114"/>
                    <a:pt x="157" y="128"/>
                  </a:cubicBezTo>
                  <a:cubicBezTo>
                    <a:pt x="173" y="159"/>
                    <a:pt x="173" y="159"/>
                    <a:pt x="173" y="159"/>
                  </a:cubicBezTo>
                  <a:cubicBezTo>
                    <a:pt x="174" y="162"/>
                    <a:pt x="174" y="164"/>
                    <a:pt x="172" y="166"/>
                  </a:cubicBezTo>
                  <a:cubicBezTo>
                    <a:pt x="171" y="167"/>
                    <a:pt x="169" y="168"/>
                    <a:pt x="168" y="168"/>
                  </a:cubicBezTo>
                  <a:close/>
                  <a:moveTo>
                    <a:pt x="120" y="138"/>
                  </a:moveTo>
                  <a:cubicBezTo>
                    <a:pt x="120" y="138"/>
                    <a:pt x="121" y="138"/>
                    <a:pt x="122" y="138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44" y="129"/>
                    <a:pt x="144" y="129"/>
                    <a:pt x="144" y="129"/>
                  </a:cubicBezTo>
                  <a:cubicBezTo>
                    <a:pt x="143" y="126"/>
                    <a:pt x="144" y="123"/>
                    <a:pt x="146" y="121"/>
                  </a:cubicBezTo>
                  <a:cubicBezTo>
                    <a:pt x="160" y="110"/>
                    <a:pt x="168" y="95"/>
                    <a:pt x="168" y="78"/>
                  </a:cubicBezTo>
                  <a:cubicBezTo>
                    <a:pt x="168" y="42"/>
                    <a:pt x="132" y="12"/>
                    <a:pt x="90" y="12"/>
                  </a:cubicBezTo>
                  <a:cubicBezTo>
                    <a:pt x="47" y="12"/>
                    <a:pt x="12" y="42"/>
                    <a:pt x="12" y="78"/>
                  </a:cubicBezTo>
                  <a:cubicBezTo>
                    <a:pt x="12" y="99"/>
                    <a:pt x="23" y="120"/>
                    <a:pt x="43" y="133"/>
                  </a:cubicBezTo>
                  <a:cubicBezTo>
                    <a:pt x="65" y="147"/>
                    <a:pt x="93" y="149"/>
                    <a:pt x="117" y="139"/>
                  </a:cubicBezTo>
                  <a:cubicBezTo>
                    <a:pt x="118" y="138"/>
                    <a:pt x="119" y="138"/>
                    <a:pt x="120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218" name="Group 4">
            <a:extLst>
              <a:ext uri="{FF2B5EF4-FFF2-40B4-BE49-F238E27FC236}">
                <a16:creationId xmlns:a16="http://schemas.microsoft.com/office/drawing/2014/main" id="{6624F93D-A5D3-9049-9233-B5F6165978B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871933" y="3163253"/>
            <a:ext cx="495324" cy="388938"/>
            <a:chOff x="526" y="708"/>
            <a:chExt cx="433" cy="340"/>
          </a:xfrm>
          <a:solidFill>
            <a:schemeClr val="accent1"/>
          </a:solidFill>
        </p:grpSpPr>
        <p:sp>
          <p:nvSpPr>
            <p:cNvPr id="219" name="Freeform 5">
              <a:extLst>
                <a:ext uri="{FF2B5EF4-FFF2-40B4-BE49-F238E27FC236}">
                  <a16:creationId xmlns:a16="http://schemas.microsoft.com/office/drawing/2014/main" id="{2E8CDAC4-7731-2447-B17D-B9E13B8CEA8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" y="760"/>
              <a:ext cx="19" cy="288"/>
            </a:xfrm>
            <a:custGeom>
              <a:avLst/>
              <a:gdLst>
                <a:gd name="T0" fmla="*/ 6 w 12"/>
                <a:gd name="T1" fmla="*/ 193 h 193"/>
                <a:gd name="T2" fmla="*/ 0 w 12"/>
                <a:gd name="T3" fmla="*/ 187 h 193"/>
                <a:gd name="T4" fmla="*/ 0 w 12"/>
                <a:gd name="T5" fmla="*/ 6 h 193"/>
                <a:gd name="T6" fmla="*/ 6 w 12"/>
                <a:gd name="T7" fmla="*/ 0 h 193"/>
                <a:gd name="T8" fmla="*/ 12 w 12"/>
                <a:gd name="T9" fmla="*/ 6 h 193"/>
                <a:gd name="T10" fmla="*/ 12 w 12"/>
                <a:gd name="T11" fmla="*/ 187 h 193"/>
                <a:gd name="T12" fmla="*/ 6 w 12"/>
                <a:gd name="T13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93">
                  <a:moveTo>
                    <a:pt x="6" y="193"/>
                  </a:moveTo>
                  <a:cubicBezTo>
                    <a:pt x="3" y="193"/>
                    <a:pt x="0" y="191"/>
                    <a:pt x="0" y="18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7"/>
                    <a:pt x="12" y="187"/>
                    <a:pt x="12" y="187"/>
                  </a:cubicBezTo>
                  <a:cubicBezTo>
                    <a:pt x="12" y="191"/>
                    <a:pt x="9" y="193"/>
                    <a:pt x="6" y="1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6">
              <a:extLst>
                <a:ext uri="{FF2B5EF4-FFF2-40B4-BE49-F238E27FC236}">
                  <a16:creationId xmlns:a16="http://schemas.microsoft.com/office/drawing/2014/main" id="{A2C94C49-2544-FA47-B321-D1783FB63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" y="1030"/>
              <a:ext cx="126" cy="18"/>
            </a:xfrm>
            <a:custGeom>
              <a:avLst/>
              <a:gdLst>
                <a:gd name="T0" fmla="*/ 76 w 82"/>
                <a:gd name="T1" fmla="*/ 12 h 12"/>
                <a:gd name="T2" fmla="*/ 6 w 82"/>
                <a:gd name="T3" fmla="*/ 12 h 12"/>
                <a:gd name="T4" fmla="*/ 0 w 82"/>
                <a:gd name="T5" fmla="*/ 6 h 12"/>
                <a:gd name="T6" fmla="*/ 6 w 82"/>
                <a:gd name="T7" fmla="*/ 0 h 12"/>
                <a:gd name="T8" fmla="*/ 76 w 82"/>
                <a:gd name="T9" fmla="*/ 0 h 12"/>
                <a:gd name="T10" fmla="*/ 82 w 82"/>
                <a:gd name="T11" fmla="*/ 6 h 12"/>
                <a:gd name="T12" fmla="*/ 76 w 8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12">
                  <a:moveTo>
                    <a:pt x="7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9" y="0"/>
                    <a:pt x="82" y="3"/>
                    <a:pt x="82" y="6"/>
                  </a:cubicBezTo>
                  <a:cubicBezTo>
                    <a:pt x="82" y="10"/>
                    <a:pt x="79" y="12"/>
                    <a:pt x="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7">
              <a:extLst>
                <a:ext uri="{FF2B5EF4-FFF2-40B4-BE49-F238E27FC236}">
                  <a16:creationId xmlns:a16="http://schemas.microsoft.com/office/drawing/2014/main" id="{781D715F-F7E0-F543-B710-788014F08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" y="727"/>
              <a:ext cx="146" cy="161"/>
            </a:xfrm>
            <a:custGeom>
              <a:avLst/>
              <a:gdLst>
                <a:gd name="T0" fmla="*/ 88 w 95"/>
                <a:gd name="T1" fmla="*/ 107 h 108"/>
                <a:gd name="T2" fmla="*/ 83 w 95"/>
                <a:gd name="T3" fmla="*/ 104 h 108"/>
                <a:gd name="T4" fmla="*/ 47 w 95"/>
                <a:gd name="T5" fmla="*/ 21 h 108"/>
                <a:gd name="T6" fmla="*/ 12 w 95"/>
                <a:gd name="T7" fmla="*/ 104 h 108"/>
                <a:gd name="T8" fmla="*/ 4 w 95"/>
                <a:gd name="T9" fmla="*/ 107 h 108"/>
                <a:gd name="T10" fmla="*/ 1 w 95"/>
                <a:gd name="T11" fmla="*/ 99 h 108"/>
                <a:gd name="T12" fmla="*/ 42 w 95"/>
                <a:gd name="T13" fmla="*/ 3 h 108"/>
                <a:gd name="T14" fmla="*/ 47 w 95"/>
                <a:gd name="T15" fmla="*/ 0 h 108"/>
                <a:gd name="T16" fmla="*/ 47 w 95"/>
                <a:gd name="T17" fmla="*/ 0 h 108"/>
                <a:gd name="T18" fmla="*/ 53 w 95"/>
                <a:gd name="T19" fmla="*/ 3 h 108"/>
                <a:gd name="T20" fmla="*/ 94 w 95"/>
                <a:gd name="T21" fmla="*/ 99 h 108"/>
                <a:gd name="T22" fmla="*/ 90 w 95"/>
                <a:gd name="T23" fmla="*/ 107 h 108"/>
                <a:gd name="T24" fmla="*/ 88 w 95"/>
                <a:gd name="T25" fmla="*/ 10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" h="108">
                  <a:moveTo>
                    <a:pt x="88" y="107"/>
                  </a:moveTo>
                  <a:cubicBezTo>
                    <a:pt x="86" y="107"/>
                    <a:pt x="84" y="106"/>
                    <a:pt x="83" y="10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1" y="107"/>
                    <a:pt x="7" y="108"/>
                    <a:pt x="4" y="107"/>
                  </a:cubicBezTo>
                  <a:cubicBezTo>
                    <a:pt x="1" y="105"/>
                    <a:pt x="0" y="102"/>
                    <a:pt x="1" y="99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3" y="1"/>
                    <a:pt x="45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0" y="0"/>
                    <a:pt x="52" y="1"/>
                    <a:pt x="53" y="3"/>
                  </a:cubicBezTo>
                  <a:cubicBezTo>
                    <a:pt x="94" y="99"/>
                    <a:pt x="94" y="99"/>
                    <a:pt x="94" y="99"/>
                  </a:cubicBezTo>
                  <a:cubicBezTo>
                    <a:pt x="95" y="102"/>
                    <a:pt x="94" y="105"/>
                    <a:pt x="90" y="107"/>
                  </a:cubicBezTo>
                  <a:cubicBezTo>
                    <a:pt x="90" y="107"/>
                    <a:pt x="89" y="107"/>
                    <a:pt x="88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8">
              <a:extLst>
                <a:ext uri="{FF2B5EF4-FFF2-40B4-BE49-F238E27FC236}">
                  <a16:creationId xmlns:a16="http://schemas.microsoft.com/office/drawing/2014/main" id="{0449EDE6-204A-E142-A345-649467F3CC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" y="708"/>
              <a:ext cx="73" cy="70"/>
            </a:xfrm>
            <a:custGeom>
              <a:avLst/>
              <a:gdLst>
                <a:gd name="T0" fmla="*/ 24 w 48"/>
                <a:gd name="T1" fmla="*/ 47 h 47"/>
                <a:gd name="T2" fmla="*/ 0 w 48"/>
                <a:gd name="T3" fmla="*/ 24 h 47"/>
                <a:gd name="T4" fmla="*/ 24 w 48"/>
                <a:gd name="T5" fmla="*/ 0 h 47"/>
                <a:gd name="T6" fmla="*/ 48 w 48"/>
                <a:gd name="T7" fmla="*/ 24 h 47"/>
                <a:gd name="T8" fmla="*/ 24 w 48"/>
                <a:gd name="T9" fmla="*/ 47 h 47"/>
                <a:gd name="T10" fmla="*/ 24 w 48"/>
                <a:gd name="T11" fmla="*/ 12 h 47"/>
                <a:gd name="T12" fmla="*/ 12 w 48"/>
                <a:gd name="T13" fmla="*/ 24 h 47"/>
                <a:gd name="T14" fmla="*/ 24 w 48"/>
                <a:gd name="T15" fmla="*/ 35 h 47"/>
                <a:gd name="T16" fmla="*/ 36 w 48"/>
                <a:gd name="T17" fmla="*/ 24 h 47"/>
                <a:gd name="T18" fmla="*/ 24 w 48"/>
                <a:gd name="T19" fmla="*/ 1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7">
                  <a:moveTo>
                    <a:pt x="24" y="47"/>
                  </a:moveTo>
                  <a:cubicBezTo>
                    <a:pt x="11" y="47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7"/>
                    <a:pt x="24" y="47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5"/>
                    <a:pt x="24" y="35"/>
                  </a:cubicBezTo>
                  <a:cubicBezTo>
                    <a:pt x="30" y="35"/>
                    <a:pt x="36" y="30"/>
                    <a:pt x="36" y="24"/>
                  </a:cubicBezTo>
                  <a:cubicBezTo>
                    <a:pt x="36" y="17"/>
                    <a:pt x="30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9">
              <a:extLst>
                <a:ext uri="{FF2B5EF4-FFF2-40B4-BE49-F238E27FC236}">
                  <a16:creationId xmlns:a16="http://schemas.microsoft.com/office/drawing/2014/main" id="{E4CF1E8A-68D5-C344-B526-2ACB3B2BED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" y="869"/>
              <a:ext cx="142" cy="84"/>
            </a:xfrm>
            <a:custGeom>
              <a:avLst/>
              <a:gdLst>
                <a:gd name="T0" fmla="*/ 46 w 93"/>
                <a:gd name="T1" fmla="*/ 56 h 56"/>
                <a:gd name="T2" fmla="*/ 0 w 93"/>
                <a:gd name="T3" fmla="*/ 6 h 56"/>
                <a:gd name="T4" fmla="*/ 6 w 93"/>
                <a:gd name="T5" fmla="*/ 0 h 56"/>
                <a:gd name="T6" fmla="*/ 87 w 93"/>
                <a:gd name="T7" fmla="*/ 0 h 56"/>
                <a:gd name="T8" fmla="*/ 93 w 93"/>
                <a:gd name="T9" fmla="*/ 6 h 56"/>
                <a:gd name="T10" fmla="*/ 46 w 93"/>
                <a:gd name="T11" fmla="*/ 56 h 56"/>
                <a:gd name="T12" fmla="*/ 12 w 93"/>
                <a:gd name="T13" fmla="*/ 12 h 56"/>
                <a:gd name="T14" fmla="*/ 46 w 93"/>
                <a:gd name="T15" fmla="*/ 44 h 56"/>
                <a:gd name="T16" fmla="*/ 81 w 93"/>
                <a:gd name="T17" fmla="*/ 12 h 56"/>
                <a:gd name="T18" fmla="*/ 12 w 93"/>
                <a:gd name="T19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" h="56">
                  <a:moveTo>
                    <a:pt x="46" y="56"/>
                  </a:moveTo>
                  <a:cubicBezTo>
                    <a:pt x="20" y="56"/>
                    <a:pt x="0" y="35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91" y="0"/>
                    <a:pt x="93" y="3"/>
                    <a:pt x="93" y="6"/>
                  </a:cubicBezTo>
                  <a:cubicBezTo>
                    <a:pt x="93" y="35"/>
                    <a:pt x="73" y="56"/>
                    <a:pt x="46" y="56"/>
                  </a:cubicBezTo>
                  <a:close/>
                  <a:moveTo>
                    <a:pt x="12" y="12"/>
                  </a:moveTo>
                  <a:cubicBezTo>
                    <a:pt x="14" y="31"/>
                    <a:pt x="28" y="44"/>
                    <a:pt x="46" y="44"/>
                  </a:cubicBezTo>
                  <a:cubicBezTo>
                    <a:pt x="64" y="44"/>
                    <a:pt x="78" y="31"/>
                    <a:pt x="81" y="12"/>
                  </a:cubicBez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10">
              <a:extLst>
                <a:ext uri="{FF2B5EF4-FFF2-40B4-BE49-F238E27FC236}">
                  <a16:creationId xmlns:a16="http://schemas.microsoft.com/office/drawing/2014/main" id="{58AF212D-5CEA-A842-96AF-38B282583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" y="726"/>
              <a:ext cx="146" cy="162"/>
            </a:xfrm>
            <a:custGeom>
              <a:avLst/>
              <a:gdLst>
                <a:gd name="T0" fmla="*/ 6 w 95"/>
                <a:gd name="T1" fmla="*/ 108 h 109"/>
                <a:gd name="T2" fmla="*/ 4 w 95"/>
                <a:gd name="T3" fmla="*/ 108 h 109"/>
                <a:gd name="T4" fmla="*/ 1 w 95"/>
                <a:gd name="T5" fmla="*/ 100 h 109"/>
                <a:gd name="T6" fmla="*/ 42 w 95"/>
                <a:gd name="T7" fmla="*/ 4 h 109"/>
                <a:gd name="T8" fmla="*/ 47 w 95"/>
                <a:gd name="T9" fmla="*/ 0 h 109"/>
                <a:gd name="T10" fmla="*/ 47 w 95"/>
                <a:gd name="T11" fmla="*/ 0 h 109"/>
                <a:gd name="T12" fmla="*/ 53 w 95"/>
                <a:gd name="T13" fmla="*/ 4 h 109"/>
                <a:gd name="T14" fmla="*/ 94 w 95"/>
                <a:gd name="T15" fmla="*/ 100 h 109"/>
                <a:gd name="T16" fmla="*/ 90 w 95"/>
                <a:gd name="T17" fmla="*/ 108 h 109"/>
                <a:gd name="T18" fmla="*/ 83 w 95"/>
                <a:gd name="T19" fmla="*/ 105 h 109"/>
                <a:gd name="T20" fmla="*/ 47 w 95"/>
                <a:gd name="T21" fmla="*/ 22 h 109"/>
                <a:gd name="T22" fmla="*/ 12 w 95"/>
                <a:gd name="T23" fmla="*/ 105 h 109"/>
                <a:gd name="T24" fmla="*/ 6 w 95"/>
                <a:gd name="T25" fmla="*/ 108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" h="109">
                  <a:moveTo>
                    <a:pt x="6" y="108"/>
                  </a:moveTo>
                  <a:cubicBezTo>
                    <a:pt x="6" y="108"/>
                    <a:pt x="5" y="108"/>
                    <a:pt x="4" y="108"/>
                  </a:cubicBezTo>
                  <a:cubicBezTo>
                    <a:pt x="1" y="106"/>
                    <a:pt x="0" y="103"/>
                    <a:pt x="1" y="100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3" y="2"/>
                    <a:pt x="45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0" y="0"/>
                    <a:pt x="52" y="2"/>
                    <a:pt x="53" y="4"/>
                  </a:cubicBezTo>
                  <a:cubicBezTo>
                    <a:pt x="94" y="100"/>
                    <a:pt x="94" y="100"/>
                    <a:pt x="94" y="100"/>
                  </a:cubicBezTo>
                  <a:cubicBezTo>
                    <a:pt x="95" y="103"/>
                    <a:pt x="93" y="106"/>
                    <a:pt x="90" y="108"/>
                  </a:cubicBezTo>
                  <a:cubicBezTo>
                    <a:pt x="87" y="109"/>
                    <a:pt x="84" y="108"/>
                    <a:pt x="83" y="105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12" y="105"/>
                    <a:pt x="12" y="105"/>
                    <a:pt x="12" y="105"/>
                  </a:cubicBezTo>
                  <a:cubicBezTo>
                    <a:pt x="11" y="107"/>
                    <a:pt x="9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11">
              <a:extLst>
                <a:ext uri="{FF2B5EF4-FFF2-40B4-BE49-F238E27FC236}">
                  <a16:creationId xmlns:a16="http://schemas.microsoft.com/office/drawing/2014/main" id="{9067C848-4E37-864F-8284-E48FC9AB41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3" y="869"/>
              <a:ext cx="144" cy="84"/>
            </a:xfrm>
            <a:custGeom>
              <a:avLst/>
              <a:gdLst>
                <a:gd name="T0" fmla="*/ 47 w 94"/>
                <a:gd name="T1" fmla="*/ 56 h 56"/>
                <a:gd name="T2" fmla="*/ 0 w 94"/>
                <a:gd name="T3" fmla="*/ 6 h 56"/>
                <a:gd name="T4" fmla="*/ 6 w 94"/>
                <a:gd name="T5" fmla="*/ 0 h 56"/>
                <a:gd name="T6" fmla="*/ 88 w 94"/>
                <a:gd name="T7" fmla="*/ 0 h 56"/>
                <a:gd name="T8" fmla="*/ 92 w 94"/>
                <a:gd name="T9" fmla="*/ 2 h 56"/>
                <a:gd name="T10" fmla="*/ 94 w 94"/>
                <a:gd name="T11" fmla="*/ 6 h 56"/>
                <a:gd name="T12" fmla="*/ 47 w 94"/>
                <a:gd name="T13" fmla="*/ 56 h 56"/>
                <a:gd name="T14" fmla="*/ 13 w 94"/>
                <a:gd name="T15" fmla="*/ 12 h 56"/>
                <a:gd name="T16" fmla="*/ 47 w 94"/>
                <a:gd name="T17" fmla="*/ 44 h 56"/>
                <a:gd name="T18" fmla="*/ 82 w 94"/>
                <a:gd name="T19" fmla="*/ 12 h 56"/>
                <a:gd name="T20" fmla="*/ 13 w 94"/>
                <a:gd name="T21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56">
                  <a:moveTo>
                    <a:pt x="47" y="56"/>
                  </a:moveTo>
                  <a:cubicBezTo>
                    <a:pt x="21" y="56"/>
                    <a:pt x="0" y="35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0" y="0"/>
                    <a:pt x="91" y="1"/>
                    <a:pt x="92" y="2"/>
                  </a:cubicBezTo>
                  <a:cubicBezTo>
                    <a:pt x="93" y="3"/>
                    <a:pt x="94" y="5"/>
                    <a:pt x="94" y="6"/>
                  </a:cubicBezTo>
                  <a:cubicBezTo>
                    <a:pt x="94" y="34"/>
                    <a:pt x="74" y="56"/>
                    <a:pt x="47" y="56"/>
                  </a:cubicBezTo>
                  <a:close/>
                  <a:moveTo>
                    <a:pt x="13" y="12"/>
                  </a:moveTo>
                  <a:cubicBezTo>
                    <a:pt x="15" y="31"/>
                    <a:pt x="29" y="44"/>
                    <a:pt x="47" y="44"/>
                  </a:cubicBezTo>
                  <a:cubicBezTo>
                    <a:pt x="65" y="44"/>
                    <a:pt x="79" y="31"/>
                    <a:pt x="82" y="12"/>
                  </a:cubicBezTo>
                  <a:lnTo>
                    <a:pt x="1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12">
              <a:extLst>
                <a:ext uri="{FF2B5EF4-FFF2-40B4-BE49-F238E27FC236}">
                  <a16:creationId xmlns:a16="http://schemas.microsoft.com/office/drawing/2014/main" id="{9A7B4980-F4B3-A149-A900-28415FEB8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" y="726"/>
              <a:ext cx="153" cy="18"/>
            </a:xfrm>
            <a:custGeom>
              <a:avLst/>
              <a:gdLst>
                <a:gd name="T0" fmla="*/ 94 w 100"/>
                <a:gd name="T1" fmla="*/ 12 h 12"/>
                <a:gd name="T2" fmla="*/ 6 w 100"/>
                <a:gd name="T3" fmla="*/ 12 h 12"/>
                <a:gd name="T4" fmla="*/ 0 w 100"/>
                <a:gd name="T5" fmla="*/ 6 h 12"/>
                <a:gd name="T6" fmla="*/ 6 w 100"/>
                <a:gd name="T7" fmla="*/ 0 h 12"/>
                <a:gd name="T8" fmla="*/ 94 w 100"/>
                <a:gd name="T9" fmla="*/ 0 h 12"/>
                <a:gd name="T10" fmla="*/ 100 w 100"/>
                <a:gd name="T11" fmla="*/ 6 h 12"/>
                <a:gd name="T12" fmla="*/ 94 w 10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12">
                  <a:moveTo>
                    <a:pt x="9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8" y="0"/>
                    <a:pt x="100" y="3"/>
                    <a:pt x="100" y="6"/>
                  </a:cubicBezTo>
                  <a:cubicBezTo>
                    <a:pt x="100" y="10"/>
                    <a:pt x="98" y="12"/>
                    <a:pt x="9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13">
              <a:extLst>
                <a:ext uri="{FF2B5EF4-FFF2-40B4-BE49-F238E27FC236}">
                  <a16:creationId xmlns:a16="http://schemas.microsoft.com/office/drawing/2014/main" id="{CD6B0A6B-597F-4E4C-A0FC-EFC38B204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" y="726"/>
              <a:ext cx="172" cy="18"/>
            </a:xfrm>
            <a:custGeom>
              <a:avLst/>
              <a:gdLst>
                <a:gd name="T0" fmla="*/ 106 w 112"/>
                <a:gd name="T1" fmla="*/ 12 h 12"/>
                <a:gd name="T2" fmla="*/ 6 w 112"/>
                <a:gd name="T3" fmla="*/ 12 h 12"/>
                <a:gd name="T4" fmla="*/ 0 w 112"/>
                <a:gd name="T5" fmla="*/ 6 h 12"/>
                <a:gd name="T6" fmla="*/ 6 w 112"/>
                <a:gd name="T7" fmla="*/ 0 h 12"/>
                <a:gd name="T8" fmla="*/ 106 w 112"/>
                <a:gd name="T9" fmla="*/ 0 h 12"/>
                <a:gd name="T10" fmla="*/ 112 w 112"/>
                <a:gd name="T11" fmla="*/ 6 h 12"/>
                <a:gd name="T12" fmla="*/ 106 w 11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12">
                  <a:moveTo>
                    <a:pt x="10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9" y="0"/>
                    <a:pt x="112" y="3"/>
                    <a:pt x="112" y="6"/>
                  </a:cubicBezTo>
                  <a:cubicBezTo>
                    <a:pt x="112" y="9"/>
                    <a:pt x="109" y="12"/>
                    <a:pt x="10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4" name="Group 127">
            <a:extLst>
              <a:ext uri="{FF2B5EF4-FFF2-40B4-BE49-F238E27FC236}">
                <a16:creationId xmlns:a16="http://schemas.microsoft.com/office/drawing/2014/main" id="{26DA099A-68DD-4F43-8FC7-141CAF6D1F9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145733" y="3130536"/>
            <a:ext cx="464916" cy="454373"/>
            <a:chOff x="4656" y="1821"/>
            <a:chExt cx="441" cy="431"/>
          </a:xfrm>
          <a:solidFill>
            <a:schemeClr val="accent1"/>
          </a:solidFill>
        </p:grpSpPr>
        <p:sp>
          <p:nvSpPr>
            <p:cNvPr id="235" name="Freeform 128">
              <a:extLst>
                <a:ext uri="{FF2B5EF4-FFF2-40B4-BE49-F238E27FC236}">
                  <a16:creationId xmlns:a16="http://schemas.microsoft.com/office/drawing/2014/main" id="{78927280-4152-A345-AA5D-215134AE8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2" y="2037"/>
              <a:ext cx="415" cy="215"/>
            </a:xfrm>
            <a:custGeom>
              <a:avLst/>
              <a:gdLst>
                <a:gd name="T0" fmla="*/ 7 w 271"/>
                <a:gd name="T1" fmla="*/ 144 h 144"/>
                <a:gd name="T2" fmla="*/ 2 w 271"/>
                <a:gd name="T3" fmla="*/ 142 h 144"/>
                <a:gd name="T4" fmla="*/ 3 w 271"/>
                <a:gd name="T5" fmla="*/ 134 h 144"/>
                <a:gd name="T6" fmla="*/ 111 w 271"/>
                <a:gd name="T7" fmla="*/ 38 h 144"/>
                <a:gd name="T8" fmla="*/ 119 w 271"/>
                <a:gd name="T9" fmla="*/ 38 h 144"/>
                <a:gd name="T10" fmla="*/ 175 w 271"/>
                <a:gd name="T11" fmla="*/ 83 h 144"/>
                <a:gd name="T12" fmla="*/ 261 w 271"/>
                <a:gd name="T13" fmla="*/ 2 h 144"/>
                <a:gd name="T14" fmla="*/ 269 w 271"/>
                <a:gd name="T15" fmla="*/ 3 h 144"/>
                <a:gd name="T16" fmla="*/ 269 w 271"/>
                <a:gd name="T17" fmla="*/ 11 h 144"/>
                <a:gd name="T18" fmla="*/ 179 w 271"/>
                <a:gd name="T19" fmla="*/ 95 h 144"/>
                <a:gd name="T20" fmla="*/ 171 w 271"/>
                <a:gd name="T21" fmla="*/ 95 h 144"/>
                <a:gd name="T22" fmla="*/ 115 w 271"/>
                <a:gd name="T23" fmla="*/ 50 h 144"/>
                <a:gd name="T24" fmla="*/ 11 w 271"/>
                <a:gd name="T25" fmla="*/ 143 h 144"/>
                <a:gd name="T26" fmla="*/ 7 w 271"/>
                <a:gd name="T27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1" h="144">
                  <a:moveTo>
                    <a:pt x="7" y="144"/>
                  </a:moveTo>
                  <a:cubicBezTo>
                    <a:pt x="5" y="144"/>
                    <a:pt x="4" y="144"/>
                    <a:pt x="2" y="142"/>
                  </a:cubicBezTo>
                  <a:cubicBezTo>
                    <a:pt x="0" y="140"/>
                    <a:pt x="0" y="136"/>
                    <a:pt x="3" y="134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3" y="36"/>
                    <a:pt x="116" y="36"/>
                    <a:pt x="119" y="38"/>
                  </a:cubicBezTo>
                  <a:cubicBezTo>
                    <a:pt x="175" y="83"/>
                    <a:pt x="175" y="83"/>
                    <a:pt x="175" y="83"/>
                  </a:cubicBezTo>
                  <a:cubicBezTo>
                    <a:pt x="261" y="2"/>
                    <a:pt x="261" y="2"/>
                    <a:pt x="261" y="2"/>
                  </a:cubicBezTo>
                  <a:cubicBezTo>
                    <a:pt x="263" y="0"/>
                    <a:pt x="267" y="0"/>
                    <a:pt x="269" y="3"/>
                  </a:cubicBezTo>
                  <a:cubicBezTo>
                    <a:pt x="271" y="5"/>
                    <a:pt x="271" y="9"/>
                    <a:pt x="269" y="11"/>
                  </a:cubicBezTo>
                  <a:cubicBezTo>
                    <a:pt x="179" y="95"/>
                    <a:pt x="179" y="95"/>
                    <a:pt x="179" y="95"/>
                  </a:cubicBezTo>
                  <a:cubicBezTo>
                    <a:pt x="177" y="97"/>
                    <a:pt x="173" y="97"/>
                    <a:pt x="171" y="95"/>
                  </a:cubicBezTo>
                  <a:cubicBezTo>
                    <a:pt x="115" y="50"/>
                    <a:pt x="115" y="50"/>
                    <a:pt x="115" y="50"/>
                  </a:cubicBezTo>
                  <a:cubicBezTo>
                    <a:pt x="11" y="143"/>
                    <a:pt x="11" y="143"/>
                    <a:pt x="11" y="143"/>
                  </a:cubicBezTo>
                  <a:cubicBezTo>
                    <a:pt x="10" y="144"/>
                    <a:pt x="8" y="144"/>
                    <a:pt x="7" y="1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36" name="Freeform 129">
              <a:extLst>
                <a:ext uri="{FF2B5EF4-FFF2-40B4-BE49-F238E27FC236}">
                  <a16:creationId xmlns:a16="http://schemas.microsoft.com/office/drawing/2014/main" id="{7096CC96-16F5-7E42-AA31-AC96F5CDD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7" y="2038"/>
              <a:ext cx="90" cy="90"/>
            </a:xfrm>
            <a:custGeom>
              <a:avLst/>
              <a:gdLst>
                <a:gd name="T0" fmla="*/ 53 w 59"/>
                <a:gd name="T1" fmla="*/ 60 h 60"/>
                <a:gd name="T2" fmla="*/ 47 w 59"/>
                <a:gd name="T3" fmla="*/ 54 h 60"/>
                <a:gd name="T4" fmla="*/ 47 w 59"/>
                <a:gd name="T5" fmla="*/ 12 h 60"/>
                <a:gd name="T6" fmla="*/ 6 w 59"/>
                <a:gd name="T7" fmla="*/ 12 h 60"/>
                <a:gd name="T8" fmla="*/ 0 w 59"/>
                <a:gd name="T9" fmla="*/ 6 h 60"/>
                <a:gd name="T10" fmla="*/ 6 w 59"/>
                <a:gd name="T11" fmla="*/ 0 h 60"/>
                <a:gd name="T12" fmla="*/ 53 w 59"/>
                <a:gd name="T13" fmla="*/ 0 h 60"/>
                <a:gd name="T14" fmla="*/ 59 w 59"/>
                <a:gd name="T15" fmla="*/ 6 h 60"/>
                <a:gd name="T16" fmla="*/ 59 w 59"/>
                <a:gd name="T17" fmla="*/ 54 h 60"/>
                <a:gd name="T18" fmla="*/ 53 w 59"/>
                <a:gd name="T1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60">
                  <a:moveTo>
                    <a:pt x="53" y="60"/>
                  </a:moveTo>
                  <a:cubicBezTo>
                    <a:pt x="50" y="60"/>
                    <a:pt x="47" y="57"/>
                    <a:pt x="47" y="54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6" y="0"/>
                    <a:pt x="59" y="2"/>
                    <a:pt x="59" y="6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9" y="57"/>
                    <a:pt x="56" y="60"/>
                    <a:pt x="53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37" name="Freeform 130">
              <a:extLst>
                <a:ext uri="{FF2B5EF4-FFF2-40B4-BE49-F238E27FC236}">
                  <a16:creationId xmlns:a16="http://schemas.microsoft.com/office/drawing/2014/main" id="{8C889260-9971-2F40-8AA7-F1A4FF7B8A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6" y="1821"/>
              <a:ext cx="331" cy="307"/>
            </a:xfrm>
            <a:custGeom>
              <a:avLst/>
              <a:gdLst>
                <a:gd name="T0" fmla="*/ 60 w 216"/>
                <a:gd name="T1" fmla="*/ 205 h 205"/>
                <a:gd name="T2" fmla="*/ 57 w 216"/>
                <a:gd name="T3" fmla="*/ 204 h 205"/>
                <a:gd name="T4" fmla="*/ 0 w 216"/>
                <a:gd name="T5" fmla="*/ 108 h 205"/>
                <a:gd name="T6" fmla="*/ 108 w 216"/>
                <a:gd name="T7" fmla="*/ 0 h 205"/>
                <a:gd name="T8" fmla="*/ 216 w 216"/>
                <a:gd name="T9" fmla="*/ 108 h 205"/>
                <a:gd name="T10" fmla="*/ 196 w 216"/>
                <a:gd name="T11" fmla="*/ 171 h 205"/>
                <a:gd name="T12" fmla="*/ 188 w 216"/>
                <a:gd name="T13" fmla="*/ 172 h 205"/>
                <a:gd name="T14" fmla="*/ 186 w 216"/>
                <a:gd name="T15" fmla="*/ 164 h 205"/>
                <a:gd name="T16" fmla="*/ 204 w 216"/>
                <a:gd name="T17" fmla="*/ 108 h 205"/>
                <a:gd name="T18" fmla="*/ 108 w 216"/>
                <a:gd name="T19" fmla="*/ 12 h 205"/>
                <a:gd name="T20" fmla="*/ 12 w 216"/>
                <a:gd name="T21" fmla="*/ 108 h 205"/>
                <a:gd name="T22" fmla="*/ 63 w 216"/>
                <a:gd name="T23" fmla="*/ 193 h 205"/>
                <a:gd name="T24" fmla="*/ 65 w 216"/>
                <a:gd name="T25" fmla="*/ 201 h 205"/>
                <a:gd name="T26" fmla="*/ 60 w 216"/>
                <a:gd name="T27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6" h="205">
                  <a:moveTo>
                    <a:pt x="60" y="205"/>
                  </a:moveTo>
                  <a:cubicBezTo>
                    <a:pt x="59" y="205"/>
                    <a:pt x="58" y="204"/>
                    <a:pt x="57" y="204"/>
                  </a:cubicBezTo>
                  <a:cubicBezTo>
                    <a:pt x="22" y="185"/>
                    <a:pt x="0" y="148"/>
                    <a:pt x="0" y="108"/>
                  </a:cubicBezTo>
                  <a:cubicBezTo>
                    <a:pt x="0" y="49"/>
                    <a:pt x="48" y="0"/>
                    <a:pt x="108" y="0"/>
                  </a:cubicBezTo>
                  <a:cubicBezTo>
                    <a:pt x="167" y="0"/>
                    <a:pt x="216" y="49"/>
                    <a:pt x="216" y="108"/>
                  </a:cubicBezTo>
                  <a:cubicBezTo>
                    <a:pt x="216" y="131"/>
                    <a:pt x="209" y="153"/>
                    <a:pt x="196" y="171"/>
                  </a:cubicBezTo>
                  <a:cubicBezTo>
                    <a:pt x="194" y="173"/>
                    <a:pt x="190" y="174"/>
                    <a:pt x="188" y="172"/>
                  </a:cubicBezTo>
                  <a:cubicBezTo>
                    <a:pt x="185" y="170"/>
                    <a:pt x="184" y="167"/>
                    <a:pt x="186" y="164"/>
                  </a:cubicBezTo>
                  <a:cubicBezTo>
                    <a:pt x="198" y="148"/>
                    <a:pt x="204" y="128"/>
                    <a:pt x="204" y="108"/>
                  </a:cubicBezTo>
                  <a:cubicBezTo>
                    <a:pt x="204" y="56"/>
                    <a:pt x="161" y="12"/>
                    <a:pt x="108" y="12"/>
                  </a:cubicBezTo>
                  <a:cubicBezTo>
                    <a:pt x="55" y="12"/>
                    <a:pt x="12" y="56"/>
                    <a:pt x="12" y="108"/>
                  </a:cubicBezTo>
                  <a:cubicBezTo>
                    <a:pt x="12" y="144"/>
                    <a:pt x="31" y="177"/>
                    <a:pt x="63" y="193"/>
                  </a:cubicBezTo>
                  <a:cubicBezTo>
                    <a:pt x="66" y="195"/>
                    <a:pt x="67" y="198"/>
                    <a:pt x="65" y="201"/>
                  </a:cubicBezTo>
                  <a:cubicBezTo>
                    <a:pt x="64" y="203"/>
                    <a:pt x="62" y="205"/>
                    <a:pt x="60" y="2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38" name="Freeform 131">
              <a:extLst>
                <a:ext uri="{FF2B5EF4-FFF2-40B4-BE49-F238E27FC236}">
                  <a16:creationId xmlns:a16="http://schemas.microsoft.com/office/drawing/2014/main" id="{A5D47A1B-2141-4945-9F0E-589BB8088B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2" y="2035"/>
              <a:ext cx="19" cy="39"/>
            </a:xfrm>
            <a:custGeom>
              <a:avLst/>
              <a:gdLst>
                <a:gd name="T0" fmla="*/ 6 w 12"/>
                <a:gd name="T1" fmla="*/ 26 h 26"/>
                <a:gd name="T2" fmla="*/ 0 w 12"/>
                <a:gd name="T3" fmla="*/ 20 h 26"/>
                <a:gd name="T4" fmla="*/ 0 w 12"/>
                <a:gd name="T5" fmla="*/ 6 h 26"/>
                <a:gd name="T6" fmla="*/ 6 w 12"/>
                <a:gd name="T7" fmla="*/ 0 h 26"/>
                <a:gd name="T8" fmla="*/ 12 w 12"/>
                <a:gd name="T9" fmla="*/ 6 h 26"/>
                <a:gd name="T10" fmla="*/ 12 w 12"/>
                <a:gd name="T11" fmla="*/ 20 h 26"/>
                <a:gd name="T12" fmla="*/ 6 w 12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6">
                  <a:moveTo>
                    <a:pt x="6" y="26"/>
                  </a:moveTo>
                  <a:cubicBezTo>
                    <a:pt x="3" y="26"/>
                    <a:pt x="0" y="23"/>
                    <a:pt x="0" y="2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3"/>
                    <a:pt x="9" y="26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39" name="Freeform 132">
              <a:extLst>
                <a:ext uri="{FF2B5EF4-FFF2-40B4-BE49-F238E27FC236}">
                  <a16:creationId xmlns:a16="http://schemas.microsoft.com/office/drawing/2014/main" id="{C5C6BBAC-F34B-7C43-9879-1B7567B25F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2" y="1893"/>
              <a:ext cx="19" cy="39"/>
            </a:xfrm>
            <a:custGeom>
              <a:avLst/>
              <a:gdLst>
                <a:gd name="T0" fmla="*/ 6 w 12"/>
                <a:gd name="T1" fmla="*/ 26 h 26"/>
                <a:gd name="T2" fmla="*/ 0 w 12"/>
                <a:gd name="T3" fmla="*/ 20 h 26"/>
                <a:gd name="T4" fmla="*/ 0 w 12"/>
                <a:gd name="T5" fmla="*/ 6 h 26"/>
                <a:gd name="T6" fmla="*/ 6 w 12"/>
                <a:gd name="T7" fmla="*/ 0 h 26"/>
                <a:gd name="T8" fmla="*/ 12 w 12"/>
                <a:gd name="T9" fmla="*/ 6 h 26"/>
                <a:gd name="T10" fmla="*/ 12 w 12"/>
                <a:gd name="T11" fmla="*/ 20 h 26"/>
                <a:gd name="T12" fmla="*/ 6 w 12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6">
                  <a:moveTo>
                    <a:pt x="6" y="26"/>
                  </a:moveTo>
                  <a:cubicBezTo>
                    <a:pt x="3" y="26"/>
                    <a:pt x="0" y="23"/>
                    <a:pt x="0" y="2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3"/>
                    <a:pt x="9" y="26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40" name="Freeform 133">
              <a:extLst>
                <a:ext uri="{FF2B5EF4-FFF2-40B4-BE49-F238E27FC236}">
                  <a16:creationId xmlns:a16="http://schemas.microsoft.com/office/drawing/2014/main" id="{0E22282C-227B-014F-891F-C55AF7AEC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0" y="1914"/>
              <a:ext cx="81" cy="139"/>
            </a:xfrm>
            <a:custGeom>
              <a:avLst/>
              <a:gdLst>
                <a:gd name="T0" fmla="*/ 27 w 53"/>
                <a:gd name="T1" fmla="*/ 93 h 93"/>
                <a:gd name="T2" fmla="*/ 0 w 53"/>
                <a:gd name="T3" fmla="*/ 67 h 93"/>
                <a:gd name="T4" fmla="*/ 6 w 53"/>
                <a:gd name="T5" fmla="*/ 61 h 93"/>
                <a:gd name="T6" fmla="*/ 12 w 53"/>
                <a:gd name="T7" fmla="*/ 67 h 93"/>
                <a:gd name="T8" fmla="*/ 27 w 53"/>
                <a:gd name="T9" fmla="*/ 81 h 93"/>
                <a:gd name="T10" fmla="*/ 41 w 53"/>
                <a:gd name="T11" fmla="*/ 67 h 93"/>
                <a:gd name="T12" fmla="*/ 27 w 53"/>
                <a:gd name="T13" fmla="*/ 52 h 93"/>
                <a:gd name="T14" fmla="*/ 0 w 53"/>
                <a:gd name="T15" fmla="*/ 26 h 93"/>
                <a:gd name="T16" fmla="*/ 27 w 53"/>
                <a:gd name="T17" fmla="*/ 0 h 93"/>
                <a:gd name="T18" fmla="*/ 53 w 53"/>
                <a:gd name="T19" fmla="*/ 26 h 93"/>
                <a:gd name="T20" fmla="*/ 47 w 53"/>
                <a:gd name="T21" fmla="*/ 32 h 93"/>
                <a:gd name="T22" fmla="*/ 41 w 53"/>
                <a:gd name="T23" fmla="*/ 26 h 93"/>
                <a:gd name="T24" fmla="*/ 27 w 53"/>
                <a:gd name="T25" fmla="*/ 12 h 93"/>
                <a:gd name="T26" fmla="*/ 12 w 53"/>
                <a:gd name="T27" fmla="*/ 26 h 93"/>
                <a:gd name="T28" fmla="*/ 27 w 53"/>
                <a:gd name="T29" fmla="*/ 40 h 93"/>
                <a:gd name="T30" fmla="*/ 53 w 53"/>
                <a:gd name="T31" fmla="*/ 67 h 93"/>
                <a:gd name="T32" fmla="*/ 27 w 53"/>
                <a:gd name="T33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93">
                  <a:moveTo>
                    <a:pt x="27" y="93"/>
                  </a:moveTo>
                  <a:cubicBezTo>
                    <a:pt x="12" y="93"/>
                    <a:pt x="0" y="81"/>
                    <a:pt x="0" y="67"/>
                  </a:cubicBezTo>
                  <a:cubicBezTo>
                    <a:pt x="0" y="64"/>
                    <a:pt x="3" y="61"/>
                    <a:pt x="6" y="61"/>
                  </a:cubicBezTo>
                  <a:cubicBezTo>
                    <a:pt x="10" y="61"/>
                    <a:pt x="12" y="64"/>
                    <a:pt x="12" y="67"/>
                  </a:cubicBezTo>
                  <a:cubicBezTo>
                    <a:pt x="12" y="75"/>
                    <a:pt x="19" y="81"/>
                    <a:pt x="27" y="81"/>
                  </a:cubicBezTo>
                  <a:cubicBezTo>
                    <a:pt x="35" y="81"/>
                    <a:pt x="41" y="75"/>
                    <a:pt x="41" y="67"/>
                  </a:cubicBezTo>
                  <a:cubicBezTo>
                    <a:pt x="41" y="59"/>
                    <a:pt x="35" y="52"/>
                    <a:pt x="27" y="52"/>
                  </a:cubicBezTo>
                  <a:cubicBezTo>
                    <a:pt x="12" y="52"/>
                    <a:pt x="0" y="41"/>
                    <a:pt x="0" y="26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1" y="0"/>
                    <a:pt x="53" y="12"/>
                    <a:pt x="53" y="26"/>
                  </a:cubicBezTo>
                  <a:cubicBezTo>
                    <a:pt x="53" y="29"/>
                    <a:pt x="51" y="32"/>
                    <a:pt x="47" y="32"/>
                  </a:cubicBezTo>
                  <a:cubicBezTo>
                    <a:pt x="44" y="32"/>
                    <a:pt x="41" y="29"/>
                    <a:pt x="41" y="26"/>
                  </a:cubicBezTo>
                  <a:cubicBezTo>
                    <a:pt x="41" y="18"/>
                    <a:pt x="35" y="12"/>
                    <a:pt x="27" y="12"/>
                  </a:cubicBezTo>
                  <a:cubicBezTo>
                    <a:pt x="19" y="12"/>
                    <a:pt x="12" y="18"/>
                    <a:pt x="12" y="26"/>
                  </a:cubicBezTo>
                  <a:cubicBezTo>
                    <a:pt x="12" y="34"/>
                    <a:pt x="19" y="40"/>
                    <a:pt x="27" y="40"/>
                  </a:cubicBezTo>
                  <a:cubicBezTo>
                    <a:pt x="41" y="40"/>
                    <a:pt x="53" y="52"/>
                    <a:pt x="53" y="67"/>
                  </a:cubicBezTo>
                  <a:cubicBezTo>
                    <a:pt x="53" y="81"/>
                    <a:pt x="41" y="93"/>
                    <a:pt x="27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241" name="Group 21">
            <a:extLst>
              <a:ext uri="{FF2B5EF4-FFF2-40B4-BE49-F238E27FC236}">
                <a16:creationId xmlns:a16="http://schemas.microsoft.com/office/drawing/2014/main" id="{DF8633A8-0907-CE44-BEF9-83365247F28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420433" y="3170602"/>
            <a:ext cx="473118" cy="374241"/>
            <a:chOff x="526" y="695"/>
            <a:chExt cx="445" cy="352"/>
          </a:xfrm>
          <a:solidFill>
            <a:schemeClr val="accent1"/>
          </a:solidFill>
        </p:grpSpPr>
        <p:sp>
          <p:nvSpPr>
            <p:cNvPr id="242" name="Freeform 241">
              <a:extLst>
                <a:ext uri="{FF2B5EF4-FFF2-40B4-BE49-F238E27FC236}">
                  <a16:creationId xmlns:a16="http://schemas.microsoft.com/office/drawing/2014/main" id="{0AA12124-D907-9A4D-80E8-82D0A9B109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" y="741"/>
              <a:ext cx="382" cy="306"/>
            </a:xfrm>
            <a:custGeom>
              <a:avLst/>
              <a:gdLst>
                <a:gd name="T0" fmla="*/ 243 w 250"/>
                <a:gd name="T1" fmla="*/ 191 h 204"/>
                <a:gd name="T2" fmla="*/ 13 w 250"/>
                <a:gd name="T3" fmla="*/ 191 h 204"/>
                <a:gd name="T4" fmla="*/ 13 w 250"/>
                <a:gd name="T5" fmla="*/ 8 h 204"/>
                <a:gd name="T6" fmla="*/ 7 w 250"/>
                <a:gd name="T7" fmla="*/ 0 h 204"/>
                <a:gd name="T8" fmla="*/ 0 w 250"/>
                <a:gd name="T9" fmla="*/ 8 h 204"/>
                <a:gd name="T10" fmla="*/ 0 w 250"/>
                <a:gd name="T11" fmla="*/ 198 h 204"/>
                <a:gd name="T12" fmla="*/ 7 w 250"/>
                <a:gd name="T13" fmla="*/ 204 h 204"/>
                <a:gd name="T14" fmla="*/ 243 w 250"/>
                <a:gd name="T15" fmla="*/ 204 h 204"/>
                <a:gd name="T16" fmla="*/ 250 w 250"/>
                <a:gd name="T17" fmla="*/ 198 h 204"/>
                <a:gd name="T18" fmla="*/ 243 w 250"/>
                <a:gd name="T19" fmla="*/ 19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04">
                  <a:moveTo>
                    <a:pt x="243" y="191"/>
                  </a:moveTo>
                  <a:cubicBezTo>
                    <a:pt x="13" y="191"/>
                    <a:pt x="13" y="191"/>
                    <a:pt x="13" y="191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4"/>
                    <a:pt x="10" y="0"/>
                    <a:pt x="7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0" y="201"/>
                    <a:pt x="3" y="204"/>
                    <a:pt x="7" y="204"/>
                  </a:cubicBezTo>
                  <a:cubicBezTo>
                    <a:pt x="243" y="204"/>
                    <a:pt x="243" y="204"/>
                    <a:pt x="243" y="204"/>
                  </a:cubicBezTo>
                  <a:cubicBezTo>
                    <a:pt x="247" y="204"/>
                    <a:pt x="250" y="201"/>
                    <a:pt x="250" y="198"/>
                  </a:cubicBezTo>
                  <a:cubicBezTo>
                    <a:pt x="250" y="194"/>
                    <a:pt x="247" y="191"/>
                    <a:pt x="243" y="1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242">
              <a:extLst>
                <a:ext uri="{FF2B5EF4-FFF2-40B4-BE49-F238E27FC236}">
                  <a16:creationId xmlns:a16="http://schemas.microsoft.com/office/drawing/2014/main" id="{F4562066-1535-0A41-9AF3-02D89DD896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3" y="695"/>
              <a:ext cx="398" cy="284"/>
            </a:xfrm>
            <a:custGeom>
              <a:avLst/>
              <a:gdLst>
                <a:gd name="T0" fmla="*/ 208 w 260"/>
                <a:gd name="T1" fmla="*/ 0 h 190"/>
                <a:gd name="T2" fmla="*/ 157 w 260"/>
                <a:gd name="T3" fmla="*/ 51 h 190"/>
                <a:gd name="T4" fmla="*/ 173 w 260"/>
                <a:gd name="T5" fmla="*/ 89 h 190"/>
                <a:gd name="T6" fmla="*/ 149 w 260"/>
                <a:gd name="T7" fmla="*/ 122 h 190"/>
                <a:gd name="T8" fmla="*/ 139 w 260"/>
                <a:gd name="T9" fmla="*/ 120 h 190"/>
                <a:gd name="T10" fmla="*/ 122 w 260"/>
                <a:gd name="T11" fmla="*/ 126 h 190"/>
                <a:gd name="T12" fmla="*/ 104 w 260"/>
                <a:gd name="T13" fmla="*/ 113 h 190"/>
                <a:gd name="T14" fmla="*/ 106 w 260"/>
                <a:gd name="T15" fmla="*/ 104 h 190"/>
                <a:gd name="T16" fmla="*/ 80 w 260"/>
                <a:gd name="T17" fmla="*/ 78 h 190"/>
                <a:gd name="T18" fmla="*/ 55 w 260"/>
                <a:gd name="T19" fmla="*/ 104 h 190"/>
                <a:gd name="T20" fmla="*/ 59 w 260"/>
                <a:gd name="T21" fmla="*/ 118 h 190"/>
                <a:gd name="T22" fmla="*/ 37 w 260"/>
                <a:gd name="T23" fmla="*/ 141 h 190"/>
                <a:gd name="T24" fmla="*/ 26 w 260"/>
                <a:gd name="T25" fmla="*/ 139 h 190"/>
                <a:gd name="T26" fmla="*/ 0 w 260"/>
                <a:gd name="T27" fmla="*/ 164 h 190"/>
                <a:gd name="T28" fmla="*/ 26 w 260"/>
                <a:gd name="T29" fmla="*/ 190 h 190"/>
                <a:gd name="T30" fmla="*/ 52 w 260"/>
                <a:gd name="T31" fmla="*/ 164 h 190"/>
                <a:gd name="T32" fmla="*/ 47 w 260"/>
                <a:gd name="T33" fmla="*/ 150 h 190"/>
                <a:gd name="T34" fmla="*/ 69 w 260"/>
                <a:gd name="T35" fmla="*/ 127 h 190"/>
                <a:gd name="T36" fmla="*/ 80 w 260"/>
                <a:gd name="T37" fmla="*/ 130 h 190"/>
                <a:gd name="T38" fmla="*/ 97 w 260"/>
                <a:gd name="T39" fmla="*/ 123 h 190"/>
                <a:gd name="T40" fmla="*/ 115 w 260"/>
                <a:gd name="T41" fmla="*/ 137 h 190"/>
                <a:gd name="T42" fmla="*/ 113 w 260"/>
                <a:gd name="T43" fmla="*/ 146 h 190"/>
                <a:gd name="T44" fmla="*/ 139 w 260"/>
                <a:gd name="T45" fmla="*/ 171 h 190"/>
                <a:gd name="T46" fmla="*/ 165 w 260"/>
                <a:gd name="T47" fmla="*/ 146 h 190"/>
                <a:gd name="T48" fmla="*/ 159 w 260"/>
                <a:gd name="T49" fmla="*/ 130 h 190"/>
                <a:gd name="T50" fmla="*/ 183 w 260"/>
                <a:gd name="T51" fmla="*/ 97 h 190"/>
                <a:gd name="T52" fmla="*/ 208 w 260"/>
                <a:gd name="T53" fmla="*/ 103 h 190"/>
                <a:gd name="T54" fmla="*/ 260 w 260"/>
                <a:gd name="T55" fmla="*/ 51 h 190"/>
                <a:gd name="T56" fmla="*/ 208 w 260"/>
                <a:gd name="T57" fmla="*/ 0 h 190"/>
                <a:gd name="T58" fmla="*/ 38 w 260"/>
                <a:gd name="T59" fmla="*/ 164 h 190"/>
                <a:gd name="T60" fmla="*/ 26 w 260"/>
                <a:gd name="T61" fmla="*/ 177 h 190"/>
                <a:gd name="T62" fmla="*/ 13 w 260"/>
                <a:gd name="T63" fmla="*/ 164 h 190"/>
                <a:gd name="T64" fmla="*/ 26 w 260"/>
                <a:gd name="T65" fmla="*/ 152 h 190"/>
                <a:gd name="T66" fmla="*/ 28 w 260"/>
                <a:gd name="T67" fmla="*/ 152 h 190"/>
                <a:gd name="T68" fmla="*/ 37 w 260"/>
                <a:gd name="T69" fmla="*/ 161 h 190"/>
                <a:gd name="T70" fmla="*/ 38 w 260"/>
                <a:gd name="T71" fmla="*/ 164 h 190"/>
                <a:gd name="T72" fmla="*/ 80 w 260"/>
                <a:gd name="T73" fmla="*/ 116 h 190"/>
                <a:gd name="T74" fmla="*/ 78 w 260"/>
                <a:gd name="T75" fmla="*/ 116 h 190"/>
                <a:gd name="T76" fmla="*/ 69 w 260"/>
                <a:gd name="T77" fmla="*/ 107 h 190"/>
                <a:gd name="T78" fmla="*/ 69 w 260"/>
                <a:gd name="T79" fmla="*/ 104 h 190"/>
                <a:gd name="T80" fmla="*/ 80 w 260"/>
                <a:gd name="T81" fmla="*/ 91 h 190"/>
                <a:gd name="T82" fmla="*/ 93 w 260"/>
                <a:gd name="T83" fmla="*/ 104 h 190"/>
                <a:gd name="T84" fmla="*/ 93 w 260"/>
                <a:gd name="T85" fmla="*/ 105 h 190"/>
                <a:gd name="T86" fmla="*/ 85 w 260"/>
                <a:gd name="T87" fmla="*/ 115 h 190"/>
                <a:gd name="T88" fmla="*/ 80 w 260"/>
                <a:gd name="T89" fmla="*/ 116 h 190"/>
                <a:gd name="T90" fmla="*/ 151 w 260"/>
                <a:gd name="T91" fmla="*/ 146 h 190"/>
                <a:gd name="T92" fmla="*/ 139 w 260"/>
                <a:gd name="T93" fmla="*/ 158 h 190"/>
                <a:gd name="T94" fmla="*/ 126 w 260"/>
                <a:gd name="T95" fmla="*/ 146 h 190"/>
                <a:gd name="T96" fmla="*/ 126 w 260"/>
                <a:gd name="T97" fmla="*/ 145 h 190"/>
                <a:gd name="T98" fmla="*/ 134 w 260"/>
                <a:gd name="T99" fmla="*/ 134 h 190"/>
                <a:gd name="T100" fmla="*/ 139 w 260"/>
                <a:gd name="T101" fmla="*/ 133 h 190"/>
                <a:gd name="T102" fmla="*/ 140 w 260"/>
                <a:gd name="T103" fmla="*/ 133 h 190"/>
                <a:gd name="T104" fmla="*/ 151 w 260"/>
                <a:gd name="T105" fmla="*/ 141 h 190"/>
                <a:gd name="T106" fmla="*/ 151 w 260"/>
                <a:gd name="T107" fmla="*/ 146 h 190"/>
                <a:gd name="T108" fmla="*/ 208 w 260"/>
                <a:gd name="T109" fmla="*/ 90 h 190"/>
                <a:gd name="T110" fmla="*/ 191 w 260"/>
                <a:gd name="T111" fmla="*/ 86 h 190"/>
                <a:gd name="T112" fmla="*/ 181 w 260"/>
                <a:gd name="T113" fmla="*/ 78 h 190"/>
                <a:gd name="T114" fmla="*/ 170 w 260"/>
                <a:gd name="T115" fmla="*/ 51 h 190"/>
                <a:gd name="T116" fmla="*/ 208 w 260"/>
                <a:gd name="T117" fmla="*/ 13 h 190"/>
                <a:gd name="T118" fmla="*/ 247 w 260"/>
                <a:gd name="T119" fmla="*/ 51 h 190"/>
                <a:gd name="T120" fmla="*/ 208 w 260"/>
                <a:gd name="T121" fmla="*/ 9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0" h="190">
                  <a:moveTo>
                    <a:pt x="208" y="0"/>
                  </a:moveTo>
                  <a:cubicBezTo>
                    <a:pt x="180" y="0"/>
                    <a:pt x="157" y="23"/>
                    <a:pt x="157" y="51"/>
                  </a:cubicBezTo>
                  <a:cubicBezTo>
                    <a:pt x="157" y="66"/>
                    <a:pt x="163" y="80"/>
                    <a:pt x="173" y="89"/>
                  </a:cubicBezTo>
                  <a:cubicBezTo>
                    <a:pt x="149" y="122"/>
                    <a:pt x="149" y="122"/>
                    <a:pt x="149" y="122"/>
                  </a:cubicBezTo>
                  <a:cubicBezTo>
                    <a:pt x="145" y="121"/>
                    <a:pt x="142" y="120"/>
                    <a:pt x="139" y="120"/>
                  </a:cubicBezTo>
                  <a:cubicBezTo>
                    <a:pt x="133" y="120"/>
                    <a:pt x="126" y="122"/>
                    <a:pt x="122" y="126"/>
                  </a:cubicBezTo>
                  <a:cubicBezTo>
                    <a:pt x="104" y="113"/>
                    <a:pt x="104" y="113"/>
                    <a:pt x="104" y="113"/>
                  </a:cubicBezTo>
                  <a:cubicBezTo>
                    <a:pt x="106" y="110"/>
                    <a:pt x="106" y="107"/>
                    <a:pt x="106" y="104"/>
                  </a:cubicBezTo>
                  <a:cubicBezTo>
                    <a:pt x="106" y="90"/>
                    <a:pt x="94" y="78"/>
                    <a:pt x="80" y="78"/>
                  </a:cubicBezTo>
                  <a:cubicBezTo>
                    <a:pt x="67" y="78"/>
                    <a:pt x="55" y="90"/>
                    <a:pt x="55" y="104"/>
                  </a:cubicBezTo>
                  <a:cubicBezTo>
                    <a:pt x="55" y="109"/>
                    <a:pt x="56" y="114"/>
                    <a:pt x="59" y="118"/>
                  </a:cubicBezTo>
                  <a:cubicBezTo>
                    <a:pt x="37" y="141"/>
                    <a:pt x="37" y="141"/>
                    <a:pt x="37" y="141"/>
                  </a:cubicBezTo>
                  <a:cubicBezTo>
                    <a:pt x="34" y="139"/>
                    <a:pt x="30" y="139"/>
                    <a:pt x="26" y="139"/>
                  </a:cubicBezTo>
                  <a:cubicBezTo>
                    <a:pt x="12" y="139"/>
                    <a:pt x="0" y="150"/>
                    <a:pt x="0" y="164"/>
                  </a:cubicBezTo>
                  <a:cubicBezTo>
                    <a:pt x="0" y="179"/>
                    <a:pt x="12" y="190"/>
                    <a:pt x="26" y="190"/>
                  </a:cubicBezTo>
                  <a:cubicBezTo>
                    <a:pt x="40" y="190"/>
                    <a:pt x="52" y="179"/>
                    <a:pt x="52" y="164"/>
                  </a:cubicBezTo>
                  <a:cubicBezTo>
                    <a:pt x="52" y="159"/>
                    <a:pt x="50" y="155"/>
                    <a:pt x="47" y="150"/>
                  </a:cubicBezTo>
                  <a:cubicBezTo>
                    <a:pt x="69" y="127"/>
                    <a:pt x="69" y="127"/>
                    <a:pt x="69" y="127"/>
                  </a:cubicBezTo>
                  <a:cubicBezTo>
                    <a:pt x="72" y="129"/>
                    <a:pt x="77" y="130"/>
                    <a:pt x="80" y="130"/>
                  </a:cubicBezTo>
                  <a:cubicBezTo>
                    <a:pt x="86" y="130"/>
                    <a:pt x="93" y="127"/>
                    <a:pt x="97" y="123"/>
                  </a:cubicBezTo>
                  <a:cubicBezTo>
                    <a:pt x="115" y="137"/>
                    <a:pt x="115" y="137"/>
                    <a:pt x="115" y="137"/>
                  </a:cubicBezTo>
                  <a:cubicBezTo>
                    <a:pt x="114" y="139"/>
                    <a:pt x="113" y="142"/>
                    <a:pt x="113" y="146"/>
                  </a:cubicBezTo>
                  <a:cubicBezTo>
                    <a:pt x="113" y="159"/>
                    <a:pt x="125" y="171"/>
                    <a:pt x="139" y="171"/>
                  </a:cubicBezTo>
                  <a:cubicBezTo>
                    <a:pt x="153" y="171"/>
                    <a:pt x="165" y="159"/>
                    <a:pt x="165" y="146"/>
                  </a:cubicBezTo>
                  <a:cubicBezTo>
                    <a:pt x="165" y="139"/>
                    <a:pt x="162" y="134"/>
                    <a:pt x="159" y="130"/>
                  </a:cubicBezTo>
                  <a:cubicBezTo>
                    <a:pt x="183" y="97"/>
                    <a:pt x="183" y="97"/>
                    <a:pt x="183" y="97"/>
                  </a:cubicBezTo>
                  <a:cubicBezTo>
                    <a:pt x="191" y="101"/>
                    <a:pt x="199" y="103"/>
                    <a:pt x="208" y="103"/>
                  </a:cubicBezTo>
                  <a:cubicBezTo>
                    <a:pt x="237" y="103"/>
                    <a:pt x="260" y="80"/>
                    <a:pt x="260" y="51"/>
                  </a:cubicBezTo>
                  <a:cubicBezTo>
                    <a:pt x="260" y="23"/>
                    <a:pt x="237" y="0"/>
                    <a:pt x="208" y="0"/>
                  </a:cubicBezTo>
                  <a:close/>
                  <a:moveTo>
                    <a:pt x="38" y="164"/>
                  </a:moveTo>
                  <a:cubicBezTo>
                    <a:pt x="38" y="172"/>
                    <a:pt x="33" y="177"/>
                    <a:pt x="26" y="177"/>
                  </a:cubicBezTo>
                  <a:cubicBezTo>
                    <a:pt x="19" y="177"/>
                    <a:pt x="13" y="172"/>
                    <a:pt x="13" y="164"/>
                  </a:cubicBezTo>
                  <a:cubicBezTo>
                    <a:pt x="13" y="157"/>
                    <a:pt x="19" y="152"/>
                    <a:pt x="26" y="152"/>
                  </a:cubicBezTo>
                  <a:cubicBezTo>
                    <a:pt x="27" y="152"/>
                    <a:pt x="28" y="152"/>
                    <a:pt x="28" y="152"/>
                  </a:cubicBezTo>
                  <a:cubicBezTo>
                    <a:pt x="33" y="153"/>
                    <a:pt x="37" y="156"/>
                    <a:pt x="37" y="161"/>
                  </a:cubicBezTo>
                  <a:cubicBezTo>
                    <a:pt x="38" y="162"/>
                    <a:pt x="38" y="164"/>
                    <a:pt x="38" y="164"/>
                  </a:cubicBezTo>
                  <a:close/>
                  <a:moveTo>
                    <a:pt x="80" y="116"/>
                  </a:moveTo>
                  <a:cubicBezTo>
                    <a:pt x="80" y="116"/>
                    <a:pt x="79" y="116"/>
                    <a:pt x="78" y="116"/>
                  </a:cubicBezTo>
                  <a:cubicBezTo>
                    <a:pt x="74" y="115"/>
                    <a:pt x="69" y="112"/>
                    <a:pt x="69" y="107"/>
                  </a:cubicBezTo>
                  <a:cubicBezTo>
                    <a:pt x="69" y="106"/>
                    <a:pt x="69" y="105"/>
                    <a:pt x="69" y="104"/>
                  </a:cubicBezTo>
                  <a:cubicBezTo>
                    <a:pt x="69" y="97"/>
                    <a:pt x="74" y="91"/>
                    <a:pt x="80" y="91"/>
                  </a:cubicBezTo>
                  <a:cubicBezTo>
                    <a:pt x="87" y="91"/>
                    <a:pt x="93" y="97"/>
                    <a:pt x="93" y="104"/>
                  </a:cubicBezTo>
                  <a:cubicBezTo>
                    <a:pt x="93" y="105"/>
                    <a:pt x="93" y="105"/>
                    <a:pt x="93" y="105"/>
                  </a:cubicBezTo>
                  <a:cubicBezTo>
                    <a:pt x="93" y="109"/>
                    <a:pt x="90" y="114"/>
                    <a:pt x="85" y="115"/>
                  </a:cubicBezTo>
                  <a:cubicBezTo>
                    <a:pt x="84" y="116"/>
                    <a:pt x="82" y="116"/>
                    <a:pt x="80" y="116"/>
                  </a:cubicBezTo>
                  <a:close/>
                  <a:moveTo>
                    <a:pt x="151" y="146"/>
                  </a:moveTo>
                  <a:cubicBezTo>
                    <a:pt x="151" y="152"/>
                    <a:pt x="145" y="158"/>
                    <a:pt x="139" y="158"/>
                  </a:cubicBezTo>
                  <a:cubicBezTo>
                    <a:pt x="132" y="158"/>
                    <a:pt x="126" y="152"/>
                    <a:pt x="126" y="146"/>
                  </a:cubicBezTo>
                  <a:cubicBezTo>
                    <a:pt x="126" y="145"/>
                    <a:pt x="126" y="145"/>
                    <a:pt x="126" y="145"/>
                  </a:cubicBezTo>
                  <a:cubicBezTo>
                    <a:pt x="126" y="139"/>
                    <a:pt x="130" y="136"/>
                    <a:pt x="134" y="134"/>
                  </a:cubicBezTo>
                  <a:cubicBezTo>
                    <a:pt x="135" y="133"/>
                    <a:pt x="137" y="133"/>
                    <a:pt x="139" y="133"/>
                  </a:cubicBezTo>
                  <a:cubicBezTo>
                    <a:pt x="140" y="133"/>
                    <a:pt x="140" y="133"/>
                    <a:pt x="140" y="133"/>
                  </a:cubicBezTo>
                  <a:cubicBezTo>
                    <a:pt x="144" y="133"/>
                    <a:pt x="149" y="137"/>
                    <a:pt x="151" y="141"/>
                  </a:cubicBezTo>
                  <a:cubicBezTo>
                    <a:pt x="151" y="142"/>
                    <a:pt x="151" y="144"/>
                    <a:pt x="151" y="146"/>
                  </a:cubicBezTo>
                  <a:close/>
                  <a:moveTo>
                    <a:pt x="208" y="90"/>
                  </a:moveTo>
                  <a:cubicBezTo>
                    <a:pt x="202" y="90"/>
                    <a:pt x="197" y="89"/>
                    <a:pt x="191" y="86"/>
                  </a:cubicBezTo>
                  <a:cubicBezTo>
                    <a:pt x="188" y="84"/>
                    <a:pt x="184" y="82"/>
                    <a:pt x="181" y="78"/>
                  </a:cubicBezTo>
                  <a:cubicBezTo>
                    <a:pt x="175" y="72"/>
                    <a:pt x="170" y="62"/>
                    <a:pt x="170" y="51"/>
                  </a:cubicBezTo>
                  <a:cubicBezTo>
                    <a:pt x="170" y="30"/>
                    <a:pt x="187" y="13"/>
                    <a:pt x="208" y="13"/>
                  </a:cubicBezTo>
                  <a:cubicBezTo>
                    <a:pt x="230" y="13"/>
                    <a:pt x="247" y="30"/>
                    <a:pt x="247" y="51"/>
                  </a:cubicBezTo>
                  <a:cubicBezTo>
                    <a:pt x="247" y="73"/>
                    <a:pt x="230" y="90"/>
                    <a:pt x="208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243">
              <a:extLst>
                <a:ext uri="{FF2B5EF4-FFF2-40B4-BE49-F238E27FC236}">
                  <a16:creationId xmlns:a16="http://schemas.microsoft.com/office/drawing/2014/main" id="{B9353C7F-D73E-B741-B879-7A160E097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" y="800"/>
              <a:ext cx="17" cy="16"/>
            </a:xfrm>
            <a:custGeom>
              <a:avLst/>
              <a:gdLst>
                <a:gd name="T0" fmla="*/ 0 w 17"/>
                <a:gd name="T1" fmla="*/ 0 h 16"/>
                <a:gd name="T2" fmla="*/ 17 w 17"/>
                <a:gd name="T3" fmla="*/ 0 h 16"/>
                <a:gd name="T4" fmla="*/ 17 w 17"/>
                <a:gd name="T5" fmla="*/ 16 h 16"/>
                <a:gd name="T6" fmla="*/ 0 w 17"/>
                <a:gd name="T7" fmla="*/ 16 h 16"/>
                <a:gd name="T8" fmla="*/ 0 w 17"/>
                <a:gd name="T9" fmla="*/ 0 h 16"/>
                <a:gd name="T10" fmla="*/ 0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0" y="0"/>
                  </a:moveTo>
                  <a:lnTo>
                    <a:pt x="17" y="0"/>
                  </a:ln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244">
              <a:extLst>
                <a:ext uri="{FF2B5EF4-FFF2-40B4-BE49-F238E27FC236}">
                  <a16:creationId xmlns:a16="http://schemas.microsoft.com/office/drawing/2014/main" id="{6486A7B7-4FAD-3449-8DAB-F23DCD605F8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1" y="725"/>
              <a:ext cx="65" cy="67"/>
            </a:xfrm>
            <a:custGeom>
              <a:avLst/>
              <a:gdLst>
                <a:gd name="T0" fmla="*/ 21 w 43"/>
                <a:gd name="T1" fmla="*/ 0 h 45"/>
                <a:gd name="T2" fmla="*/ 6 w 43"/>
                <a:gd name="T3" fmla="*/ 6 h 45"/>
                <a:gd name="T4" fmla="*/ 0 w 43"/>
                <a:gd name="T5" fmla="*/ 18 h 45"/>
                <a:gd name="T6" fmla="*/ 10 w 43"/>
                <a:gd name="T7" fmla="*/ 19 h 45"/>
                <a:gd name="T8" fmla="*/ 14 w 43"/>
                <a:gd name="T9" fmla="*/ 12 h 45"/>
                <a:gd name="T10" fmla="*/ 21 w 43"/>
                <a:gd name="T11" fmla="*/ 9 h 45"/>
                <a:gd name="T12" fmla="*/ 28 w 43"/>
                <a:gd name="T13" fmla="*/ 11 h 45"/>
                <a:gd name="T14" fmla="*/ 31 w 43"/>
                <a:gd name="T15" fmla="*/ 17 h 45"/>
                <a:gd name="T16" fmla="*/ 29 w 43"/>
                <a:gd name="T17" fmla="*/ 22 h 45"/>
                <a:gd name="T18" fmla="*/ 24 w 43"/>
                <a:gd name="T19" fmla="*/ 27 h 45"/>
                <a:gd name="T20" fmla="*/ 17 w 43"/>
                <a:gd name="T21" fmla="*/ 35 h 45"/>
                <a:gd name="T22" fmla="*/ 15 w 43"/>
                <a:gd name="T23" fmla="*/ 43 h 45"/>
                <a:gd name="T24" fmla="*/ 16 w 43"/>
                <a:gd name="T25" fmla="*/ 45 h 45"/>
                <a:gd name="T26" fmla="*/ 26 w 43"/>
                <a:gd name="T27" fmla="*/ 45 h 45"/>
                <a:gd name="T28" fmla="*/ 27 w 43"/>
                <a:gd name="T29" fmla="*/ 39 h 45"/>
                <a:gd name="T30" fmla="*/ 31 w 43"/>
                <a:gd name="T31" fmla="*/ 34 h 45"/>
                <a:gd name="T32" fmla="*/ 40 w 43"/>
                <a:gd name="T33" fmla="*/ 25 h 45"/>
                <a:gd name="T34" fmla="*/ 43 w 43"/>
                <a:gd name="T35" fmla="*/ 17 h 45"/>
                <a:gd name="T36" fmla="*/ 36 w 43"/>
                <a:gd name="T37" fmla="*/ 6 h 45"/>
                <a:gd name="T38" fmla="*/ 21 w 43"/>
                <a:gd name="T3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" h="45">
                  <a:moveTo>
                    <a:pt x="21" y="0"/>
                  </a:moveTo>
                  <a:cubicBezTo>
                    <a:pt x="15" y="0"/>
                    <a:pt x="10" y="2"/>
                    <a:pt x="6" y="6"/>
                  </a:cubicBezTo>
                  <a:cubicBezTo>
                    <a:pt x="2" y="9"/>
                    <a:pt x="0" y="13"/>
                    <a:pt x="0" y="18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1" y="16"/>
                    <a:pt x="12" y="13"/>
                    <a:pt x="14" y="12"/>
                  </a:cubicBezTo>
                  <a:cubicBezTo>
                    <a:pt x="16" y="10"/>
                    <a:pt x="19" y="9"/>
                    <a:pt x="21" y="9"/>
                  </a:cubicBezTo>
                  <a:cubicBezTo>
                    <a:pt x="25" y="9"/>
                    <a:pt x="27" y="10"/>
                    <a:pt x="28" y="11"/>
                  </a:cubicBezTo>
                  <a:cubicBezTo>
                    <a:pt x="30" y="13"/>
                    <a:pt x="31" y="15"/>
                    <a:pt x="31" y="17"/>
                  </a:cubicBezTo>
                  <a:cubicBezTo>
                    <a:pt x="31" y="19"/>
                    <a:pt x="31" y="20"/>
                    <a:pt x="29" y="22"/>
                  </a:cubicBezTo>
                  <a:cubicBezTo>
                    <a:pt x="29" y="23"/>
                    <a:pt x="27" y="25"/>
                    <a:pt x="24" y="27"/>
                  </a:cubicBezTo>
                  <a:cubicBezTo>
                    <a:pt x="20" y="30"/>
                    <a:pt x="19" y="32"/>
                    <a:pt x="17" y="35"/>
                  </a:cubicBezTo>
                  <a:cubicBezTo>
                    <a:pt x="16" y="36"/>
                    <a:pt x="15" y="39"/>
                    <a:pt x="15" y="43"/>
                  </a:cubicBezTo>
                  <a:cubicBezTo>
                    <a:pt x="15" y="43"/>
                    <a:pt x="15" y="44"/>
                    <a:pt x="16" y="45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6" y="43"/>
                    <a:pt x="26" y="40"/>
                    <a:pt x="27" y="39"/>
                  </a:cubicBezTo>
                  <a:cubicBezTo>
                    <a:pt x="27" y="38"/>
                    <a:pt x="28" y="36"/>
                    <a:pt x="31" y="34"/>
                  </a:cubicBezTo>
                  <a:cubicBezTo>
                    <a:pt x="36" y="30"/>
                    <a:pt x="39" y="27"/>
                    <a:pt x="40" y="25"/>
                  </a:cubicBezTo>
                  <a:cubicBezTo>
                    <a:pt x="42" y="23"/>
                    <a:pt x="43" y="20"/>
                    <a:pt x="43" y="17"/>
                  </a:cubicBezTo>
                  <a:cubicBezTo>
                    <a:pt x="43" y="13"/>
                    <a:pt x="40" y="9"/>
                    <a:pt x="36" y="6"/>
                  </a:cubicBezTo>
                  <a:cubicBezTo>
                    <a:pt x="33" y="2"/>
                    <a:pt x="27" y="0"/>
                    <a:pt x="2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6" name="Group 71">
            <a:extLst>
              <a:ext uri="{FF2B5EF4-FFF2-40B4-BE49-F238E27FC236}">
                <a16:creationId xmlns:a16="http://schemas.microsoft.com/office/drawing/2014/main" id="{812AA5DC-A4DD-534D-91AC-87DD09713D0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667337" y="3111955"/>
            <a:ext cx="516168" cy="491534"/>
            <a:chOff x="6721" y="1874"/>
            <a:chExt cx="440" cy="419"/>
          </a:xfrm>
          <a:solidFill>
            <a:schemeClr val="accent1"/>
          </a:solidFill>
        </p:grpSpPr>
        <p:sp>
          <p:nvSpPr>
            <p:cNvPr id="247" name="Freeform 72">
              <a:extLst>
                <a:ext uri="{FF2B5EF4-FFF2-40B4-BE49-F238E27FC236}">
                  <a16:creationId xmlns:a16="http://schemas.microsoft.com/office/drawing/2014/main" id="{1D7E026E-1643-2347-9166-545F7A08B4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3" y="1952"/>
              <a:ext cx="73" cy="72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48" name="Freeform 73">
              <a:extLst>
                <a:ext uri="{FF2B5EF4-FFF2-40B4-BE49-F238E27FC236}">
                  <a16:creationId xmlns:a16="http://schemas.microsoft.com/office/drawing/2014/main" id="{5351C73B-0BA7-0241-A5BE-40597F2283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9" y="1898"/>
              <a:ext cx="182" cy="180"/>
            </a:xfrm>
            <a:custGeom>
              <a:avLst/>
              <a:gdLst>
                <a:gd name="T0" fmla="*/ 48 w 119"/>
                <a:gd name="T1" fmla="*/ 120 h 120"/>
                <a:gd name="T2" fmla="*/ 42 w 119"/>
                <a:gd name="T3" fmla="*/ 104 h 120"/>
                <a:gd name="T4" fmla="*/ 22 w 119"/>
                <a:gd name="T5" fmla="*/ 102 h 120"/>
                <a:gd name="T6" fmla="*/ 1 w 119"/>
                <a:gd name="T7" fmla="*/ 79 h 120"/>
                <a:gd name="T8" fmla="*/ 4 w 119"/>
                <a:gd name="T9" fmla="*/ 71 h 120"/>
                <a:gd name="T10" fmla="*/ 11 w 119"/>
                <a:gd name="T11" fmla="*/ 60 h 120"/>
                <a:gd name="T12" fmla="*/ 4 w 119"/>
                <a:gd name="T13" fmla="*/ 48 h 120"/>
                <a:gd name="T14" fmla="*/ 2 w 119"/>
                <a:gd name="T15" fmla="*/ 40 h 120"/>
                <a:gd name="T16" fmla="*/ 22 w 119"/>
                <a:gd name="T17" fmla="*/ 17 h 120"/>
                <a:gd name="T18" fmla="*/ 42 w 119"/>
                <a:gd name="T19" fmla="*/ 15 h 120"/>
                <a:gd name="T20" fmla="*/ 48 w 119"/>
                <a:gd name="T21" fmla="*/ 0 h 120"/>
                <a:gd name="T22" fmla="*/ 78 w 119"/>
                <a:gd name="T23" fmla="*/ 6 h 120"/>
                <a:gd name="T24" fmla="*/ 89 w 119"/>
                <a:gd name="T25" fmla="*/ 22 h 120"/>
                <a:gd name="T26" fmla="*/ 102 w 119"/>
                <a:gd name="T27" fmla="*/ 16 h 120"/>
                <a:gd name="T28" fmla="*/ 117 w 119"/>
                <a:gd name="T29" fmla="*/ 40 h 120"/>
                <a:gd name="T30" fmla="*/ 115 w 119"/>
                <a:gd name="T31" fmla="*/ 48 h 120"/>
                <a:gd name="T32" fmla="*/ 107 w 119"/>
                <a:gd name="T33" fmla="*/ 60 h 120"/>
                <a:gd name="T34" fmla="*/ 115 w 119"/>
                <a:gd name="T35" fmla="*/ 71 h 120"/>
                <a:gd name="T36" fmla="*/ 106 w 119"/>
                <a:gd name="T37" fmla="*/ 100 h 120"/>
                <a:gd name="T38" fmla="*/ 97 w 119"/>
                <a:gd name="T39" fmla="*/ 102 h 120"/>
                <a:gd name="T40" fmla="*/ 78 w 119"/>
                <a:gd name="T41" fmla="*/ 104 h 120"/>
                <a:gd name="T42" fmla="*/ 72 w 119"/>
                <a:gd name="T43" fmla="*/ 120 h 120"/>
                <a:gd name="T44" fmla="*/ 66 w 119"/>
                <a:gd name="T45" fmla="*/ 108 h 120"/>
                <a:gd name="T46" fmla="*/ 71 w 119"/>
                <a:gd name="T47" fmla="*/ 94 h 120"/>
                <a:gd name="T48" fmla="*/ 92 w 119"/>
                <a:gd name="T49" fmla="*/ 85 h 120"/>
                <a:gd name="T50" fmla="*/ 104 w 119"/>
                <a:gd name="T51" fmla="*/ 78 h 120"/>
                <a:gd name="T52" fmla="*/ 95 w 119"/>
                <a:gd name="T53" fmla="*/ 68 h 120"/>
                <a:gd name="T54" fmla="*/ 94 w 119"/>
                <a:gd name="T55" fmla="*/ 51 h 120"/>
                <a:gd name="T56" fmla="*/ 104 w 119"/>
                <a:gd name="T57" fmla="*/ 41 h 120"/>
                <a:gd name="T58" fmla="*/ 92 w 119"/>
                <a:gd name="T59" fmla="*/ 34 h 120"/>
                <a:gd name="T60" fmla="*/ 70 w 119"/>
                <a:gd name="T61" fmla="*/ 25 h 120"/>
                <a:gd name="T62" fmla="*/ 66 w 119"/>
                <a:gd name="T63" fmla="*/ 12 h 120"/>
                <a:gd name="T64" fmla="*/ 54 w 119"/>
                <a:gd name="T65" fmla="*/ 19 h 120"/>
                <a:gd name="T66" fmla="*/ 35 w 119"/>
                <a:gd name="T67" fmla="*/ 33 h 120"/>
                <a:gd name="T68" fmla="*/ 21 w 119"/>
                <a:gd name="T69" fmla="*/ 30 h 120"/>
                <a:gd name="T70" fmla="*/ 22 w 119"/>
                <a:gd name="T71" fmla="*/ 45 h 120"/>
                <a:gd name="T72" fmla="*/ 23 w 119"/>
                <a:gd name="T73" fmla="*/ 60 h 120"/>
                <a:gd name="T74" fmla="*/ 22 w 119"/>
                <a:gd name="T75" fmla="*/ 74 h 120"/>
                <a:gd name="T76" fmla="*/ 21 w 119"/>
                <a:gd name="T77" fmla="*/ 89 h 120"/>
                <a:gd name="T78" fmla="*/ 35 w 119"/>
                <a:gd name="T79" fmla="*/ 86 h 120"/>
                <a:gd name="T80" fmla="*/ 54 w 119"/>
                <a:gd name="T81" fmla="*/ 10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" h="120">
                  <a:moveTo>
                    <a:pt x="72" y="120"/>
                  </a:moveTo>
                  <a:cubicBezTo>
                    <a:pt x="48" y="120"/>
                    <a:pt x="48" y="120"/>
                    <a:pt x="48" y="120"/>
                  </a:cubicBezTo>
                  <a:cubicBezTo>
                    <a:pt x="45" y="120"/>
                    <a:pt x="42" y="117"/>
                    <a:pt x="42" y="114"/>
                  </a:cubicBezTo>
                  <a:cubicBezTo>
                    <a:pt x="42" y="104"/>
                    <a:pt x="42" y="104"/>
                    <a:pt x="42" y="104"/>
                  </a:cubicBezTo>
                  <a:cubicBezTo>
                    <a:pt x="38" y="102"/>
                    <a:pt x="34" y="100"/>
                    <a:pt x="30" y="97"/>
                  </a:cubicBezTo>
                  <a:cubicBezTo>
                    <a:pt x="22" y="102"/>
                    <a:pt x="22" y="102"/>
                    <a:pt x="22" y="102"/>
                  </a:cubicBezTo>
                  <a:cubicBezTo>
                    <a:pt x="19" y="104"/>
                    <a:pt x="15" y="103"/>
                    <a:pt x="13" y="100"/>
                  </a:cubicBezTo>
                  <a:cubicBezTo>
                    <a:pt x="1" y="79"/>
                    <a:pt x="1" y="79"/>
                    <a:pt x="1" y="79"/>
                  </a:cubicBezTo>
                  <a:cubicBezTo>
                    <a:pt x="1" y="78"/>
                    <a:pt x="0" y="76"/>
                    <a:pt x="1" y="75"/>
                  </a:cubicBezTo>
                  <a:cubicBezTo>
                    <a:pt x="1" y="73"/>
                    <a:pt x="2" y="72"/>
                    <a:pt x="4" y="71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4"/>
                    <a:pt x="11" y="62"/>
                    <a:pt x="11" y="60"/>
                  </a:cubicBezTo>
                  <a:cubicBezTo>
                    <a:pt x="11" y="57"/>
                    <a:pt x="12" y="55"/>
                    <a:pt x="12" y="53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2" y="47"/>
                    <a:pt x="1" y="46"/>
                    <a:pt x="1" y="44"/>
                  </a:cubicBezTo>
                  <a:cubicBezTo>
                    <a:pt x="1" y="43"/>
                    <a:pt x="1" y="41"/>
                    <a:pt x="2" y="40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6"/>
                    <a:pt x="19" y="15"/>
                    <a:pt x="22" y="17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4" y="19"/>
                    <a:pt x="38" y="17"/>
                    <a:pt x="42" y="15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2"/>
                    <a:pt x="45" y="0"/>
                    <a:pt x="48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6" y="0"/>
                    <a:pt x="78" y="2"/>
                    <a:pt x="78" y="6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2" y="17"/>
                    <a:pt x="86" y="19"/>
                    <a:pt x="89" y="22"/>
                  </a:cubicBezTo>
                  <a:cubicBezTo>
                    <a:pt x="97" y="17"/>
                    <a:pt x="97" y="17"/>
                    <a:pt x="97" y="17"/>
                  </a:cubicBezTo>
                  <a:cubicBezTo>
                    <a:pt x="99" y="16"/>
                    <a:pt x="100" y="16"/>
                    <a:pt x="102" y="16"/>
                  </a:cubicBezTo>
                  <a:cubicBezTo>
                    <a:pt x="103" y="17"/>
                    <a:pt x="105" y="18"/>
                    <a:pt x="105" y="19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8" y="41"/>
                    <a:pt x="118" y="43"/>
                    <a:pt x="118" y="44"/>
                  </a:cubicBezTo>
                  <a:cubicBezTo>
                    <a:pt x="118" y="46"/>
                    <a:pt x="117" y="47"/>
                    <a:pt x="115" y="48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07" y="55"/>
                    <a:pt x="107" y="57"/>
                    <a:pt x="107" y="60"/>
                  </a:cubicBezTo>
                  <a:cubicBezTo>
                    <a:pt x="107" y="62"/>
                    <a:pt x="107" y="64"/>
                    <a:pt x="107" y="66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8" y="73"/>
                    <a:pt x="119" y="76"/>
                    <a:pt x="118" y="7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5" y="101"/>
                    <a:pt x="104" y="102"/>
                    <a:pt x="102" y="103"/>
                  </a:cubicBezTo>
                  <a:cubicBezTo>
                    <a:pt x="100" y="103"/>
                    <a:pt x="99" y="103"/>
                    <a:pt x="97" y="102"/>
                  </a:cubicBezTo>
                  <a:cubicBezTo>
                    <a:pt x="89" y="97"/>
                    <a:pt x="89" y="97"/>
                    <a:pt x="89" y="97"/>
                  </a:cubicBezTo>
                  <a:cubicBezTo>
                    <a:pt x="86" y="100"/>
                    <a:pt x="82" y="102"/>
                    <a:pt x="78" y="104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8" y="117"/>
                    <a:pt x="76" y="120"/>
                    <a:pt x="72" y="120"/>
                  </a:cubicBezTo>
                  <a:close/>
                  <a:moveTo>
                    <a:pt x="54" y="108"/>
                  </a:moveTo>
                  <a:cubicBezTo>
                    <a:pt x="66" y="108"/>
                    <a:pt x="66" y="108"/>
                    <a:pt x="66" y="108"/>
                  </a:cubicBezTo>
                  <a:cubicBezTo>
                    <a:pt x="66" y="100"/>
                    <a:pt x="66" y="100"/>
                    <a:pt x="66" y="100"/>
                  </a:cubicBezTo>
                  <a:cubicBezTo>
                    <a:pt x="66" y="97"/>
                    <a:pt x="68" y="95"/>
                    <a:pt x="71" y="94"/>
                  </a:cubicBezTo>
                  <a:cubicBezTo>
                    <a:pt x="76" y="92"/>
                    <a:pt x="81" y="90"/>
                    <a:pt x="85" y="86"/>
                  </a:cubicBezTo>
                  <a:cubicBezTo>
                    <a:pt x="87" y="84"/>
                    <a:pt x="89" y="83"/>
                    <a:pt x="92" y="85"/>
                  </a:cubicBezTo>
                  <a:cubicBezTo>
                    <a:pt x="98" y="89"/>
                    <a:pt x="98" y="89"/>
                    <a:pt x="98" y="89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95" y="73"/>
                    <a:pt x="94" y="70"/>
                    <a:pt x="95" y="68"/>
                  </a:cubicBezTo>
                  <a:cubicBezTo>
                    <a:pt x="95" y="65"/>
                    <a:pt x="95" y="62"/>
                    <a:pt x="95" y="60"/>
                  </a:cubicBezTo>
                  <a:cubicBezTo>
                    <a:pt x="95" y="57"/>
                    <a:pt x="95" y="54"/>
                    <a:pt x="94" y="51"/>
                  </a:cubicBezTo>
                  <a:cubicBezTo>
                    <a:pt x="94" y="49"/>
                    <a:pt x="95" y="46"/>
                    <a:pt x="97" y="45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89" y="36"/>
                    <a:pt x="87" y="35"/>
                    <a:pt x="85" y="33"/>
                  </a:cubicBezTo>
                  <a:cubicBezTo>
                    <a:pt x="81" y="30"/>
                    <a:pt x="76" y="27"/>
                    <a:pt x="70" y="25"/>
                  </a:cubicBezTo>
                  <a:cubicBezTo>
                    <a:pt x="68" y="24"/>
                    <a:pt x="66" y="22"/>
                    <a:pt x="66" y="19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4" y="22"/>
                    <a:pt x="53" y="24"/>
                    <a:pt x="50" y="25"/>
                  </a:cubicBezTo>
                  <a:cubicBezTo>
                    <a:pt x="44" y="27"/>
                    <a:pt x="39" y="30"/>
                    <a:pt x="35" y="33"/>
                  </a:cubicBezTo>
                  <a:cubicBezTo>
                    <a:pt x="33" y="35"/>
                    <a:pt x="30" y="36"/>
                    <a:pt x="28" y="34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4" y="46"/>
                    <a:pt x="25" y="49"/>
                    <a:pt x="25" y="51"/>
                  </a:cubicBezTo>
                  <a:cubicBezTo>
                    <a:pt x="24" y="54"/>
                    <a:pt x="23" y="57"/>
                    <a:pt x="23" y="60"/>
                  </a:cubicBezTo>
                  <a:cubicBezTo>
                    <a:pt x="23" y="62"/>
                    <a:pt x="24" y="65"/>
                    <a:pt x="24" y="68"/>
                  </a:cubicBezTo>
                  <a:cubicBezTo>
                    <a:pt x="25" y="70"/>
                    <a:pt x="24" y="73"/>
                    <a:pt x="22" y="74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0" y="84"/>
                    <a:pt x="33" y="84"/>
                    <a:pt x="35" y="86"/>
                  </a:cubicBezTo>
                  <a:cubicBezTo>
                    <a:pt x="39" y="89"/>
                    <a:pt x="44" y="92"/>
                    <a:pt x="50" y="94"/>
                  </a:cubicBezTo>
                  <a:cubicBezTo>
                    <a:pt x="53" y="95"/>
                    <a:pt x="54" y="97"/>
                    <a:pt x="54" y="100"/>
                  </a:cubicBezTo>
                  <a:lnTo>
                    <a:pt x="5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49" name="Freeform 74">
              <a:extLst>
                <a:ext uri="{FF2B5EF4-FFF2-40B4-BE49-F238E27FC236}">
                  <a16:creationId xmlns:a16="http://schemas.microsoft.com/office/drawing/2014/main" id="{D0E469F3-B678-D945-AFB3-6BFFD229CA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6" y="2095"/>
              <a:ext cx="330" cy="198"/>
            </a:xfrm>
            <a:custGeom>
              <a:avLst/>
              <a:gdLst>
                <a:gd name="T0" fmla="*/ 210 w 216"/>
                <a:gd name="T1" fmla="*/ 132 h 132"/>
                <a:gd name="T2" fmla="*/ 6 w 216"/>
                <a:gd name="T3" fmla="*/ 132 h 132"/>
                <a:gd name="T4" fmla="*/ 0 w 216"/>
                <a:gd name="T5" fmla="*/ 126 h 132"/>
                <a:gd name="T6" fmla="*/ 0 w 216"/>
                <a:gd name="T7" fmla="*/ 6 h 132"/>
                <a:gd name="T8" fmla="*/ 6 w 216"/>
                <a:gd name="T9" fmla="*/ 0 h 132"/>
                <a:gd name="T10" fmla="*/ 210 w 216"/>
                <a:gd name="T11" fmla="*/ 0 h 132"/>
                <a:gd name="T12" fmla="*/ 216 w 216"/>
                <a:gd name="T13" fmla="*/ 6 h 132"/>
                <a:gd name="T14" fmla="*/ 216 w 216"/>
                <a:gd name="T15" fmla="*/ 126 h 132"/>
                <a:gd name="T16" fmla="*/ 210 w 216"/>
                <a:gd name="T17" fmla="*/ 132 h 132"/>
                <a:gd name="T18" fmla="*/ 12 w 216"/>
                <a:gd name="T19" fmla="*/ 120 h 132"/>
                <a:gd name="T20" fmla="*/ 204 w 216"/>
                <a:gd name="T21" fmla="*/ 120 h 132"/>
                <a:gd name="T22" fmla="*/ 204 w 216"/>
                <a:gd name="T23" fmla="*/ 12 h 132"/>
                <a:gd name="T24" fmla="*/ 12 w 216"/>
                <a:gd name="T25" fmla="*/ 12 h 132"/>
                <a:gd name="T26" fmla="*/ 12 w 216"/>
                <a:gd name="T27" fmla="*/ 12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6" h="132">
                  <a:moveTo>
                    <a:pt x="210" y="132"/>
                  </a:moveTo>
                  <a:cubicBezTo>
                    <a:pt x="6" y="132"/>
                    <a:pt x="6" y="132"/>
                    <a:pt x="6" y="132"/>
                  </a:cubicBezTo>
                  <a:cubicBezTo>
                    <a:pt x="3" y="132"/>
                    <a:pt x="0" y="129"/>
                    <a:pt x="0" y="1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4" y="0"/>
                    <a:pt x="216" y="2"/>
                    <a:pt x="216" y="6"/>
                  </a:cubicBezTo>
                  <a:cubicBezTo>
                    <a:pt x="216" y="126"/>
                    <a:pt x="216" y="126"/>
                    <a:pt x="216" y="126"/>
                  </a:cubicBezTo>
                  <a:cubicBezTo>
                    <a:pt x="216" y="129"/>
                    <a:pt x="214" y="132"/>
                    <a:pt x="210" y="132"/>
                  </a:cubicBezTo>
                  <a:close/>
                  <a:moveTo>
                    <a:pt x="12" y="120"/>
                  </a:moveTo>
                  <a:cubicBezTo>
                    <a:pt x="204" y="120"/>
                    <a:pt x="204" y="120"/>
                    <a:pt x="204" y="120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0" name="Freeform 75">
              <a:extLst>
                <a:ext uri="{FF2B5EF4-FFF2-40B4-BE49-F238E27FC236}">
                  <a16:creationId xmlns:a16="http://schemas.microsoft.com/office/drawing/2014/main" id="{B77FEEF7-7A7C-6643-BD56-5BEB58280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6" y="2049"/>
              <a:ext cx="330" cy="64"/>
            </a:xfrm>
            <a:custGeom>
              <a:avLst/>
              <a:gdLst>
                <a:gd name="T0" fmla="*/ 210 w 216"/>
                <a:gd name="T1" fmla="*/ 43 h 43"/>
                <a:gd name="T2" fmla="*/ 6 w 216"/>
                <a:gd name="T3" fmla="*/ 43 h 43"/>
                <a:gd name="T4" fmla="*/ 1 w 216"/>
                <a:gd name="T5" fmla="*/ 40 h 43"/>
                <a:gd name="T6" fmla="*/ 1 w 216"/>
                <a:gd name="T7" fmla="*/ 35 h 43"/>
                <a:gd name="T8" fmla="*/ 11 w 216"/>
                <a:gd name="T9" fmla="*/ 5 h 43"/>
                <a:gd name="T10" fmla="*/ 18 w 216"/>
                <a:gd name="T11" fmla="*/ 1 h 43"/>
                <a:gd name="T12" fmla="*/ 22 w 216"/>
                <a:gd name="T13" fmla="*/ 8 h 43"/>
                <a:gd name="T14" fmla="*/ 15 w 216"/>
                <a:gd name="T15" fmla="*/ 31 h 43"/>
                <a:gd name="T16" fmla="*/ 210 w 216"/>
                <a:gd name="T17" fmla="*/ 31 h 43"/>
                <a:gd name="T18" fmla="*/ 216 w 216"/>
                <a:gd name="T19" fmla="*/ 37 h 43"/>
                <a:gd name="T20" fmla="*/ 210 w 216"/>
                <a:gd name="T2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6" h="43">
                  <a:moveTo>
                    <a:pt x="210" y="43"/>
                  </a:moveTo>
                  <a:cubicBezTo>
                    <a:pt x="6" y="43"/>
                    <a:pt x="6" y="43"/>
                    <a:pt x="6" y="43"/>
                  </a:cubicBezTo>
                  <a:cubicBezTo>
                    <a:pt x="4" y="43"/>
                    <a:pt x="3" y="42"/>
                    <a:pt x="1" y="40"/>
                  </a:cubicBezTo>
                  <a:cubicBezTo>
                    <a:pt x="0" y="38"/>
                    <a:pt x="0" y="36"/>
                    <a:pt x="1" y="3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2" y="2"/>
                    <a:pt x="15" y="0"/>
                    <a:pt x="18" y="1"/>
                  </a:cubicBezTo>
                  <a:cubicBezTo>
                    <a:pt x="21" y="2"/>
                    <a:pt x="23" y="5"/>
                    <a:pt x="22" y="8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210" y="31"/>
                    <a:pt x="210" y="31"/>
                    <a:pt x="210" y="31"/>
                  </a:cubicBezTo>
                  <a:cubicBezTo>
                    <a:pt x="214" y="31"/>
                    <a:pt x="216" y="33"/>
                    <a:pt x="216" y="37"/>
                  </a:cubicBezTo>
                  <a:cubicBezTo>
                    <a:pt x="216" y="40"/>
                    <a:pt x="214" y="43"/>
                    <a:pt x="21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1" name="Freeform 76">
              <a:extLst>
                <a:ext uri="{FF2B5EF4-FFF2-40B4-BE49-F238E27FC236}">
                  <a16:creationId xmlns:a16="http://schemas.microsoft.com/office/drawing/2014/main" id="{3B035025-AC90-7E49-BF74-FB46A87DC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7" y="1988"/>
              <a:ext cx="72" cy="18"/>
            </a:xfrm>
            <a:custGeom>
              <a:avLst/>
              <a:gdLst>
                <a:gd name="T0" fmla="*/ 41 w 47"/>
                <a:gd name="T1" fmla="*/ 12 h 12"/>
                <a:gd name="T2" fmla="*/ 6 w 47"/>
                <a:gd name="T3" fmla="*/ 12 h 12"/>
                <a:gd name="T4" fmla="*/ 0 w 47"/>
                <a:gd name="T5" fmla="*/ 6 h 12"/>
                <a:gd name="T6" fmla="*/ 6 w 47"/>
                <a:gd name="T7" fmla="*/ 0 h 12"/>
                <a:gd name="T8" fmla="*/ 41 w 47"/>
                <a:gd name="T9" fmla="*/ 0 h 12"/>
                <a:gd name="T10" fmla="*/ 47 w 47"/>
                <a:gd name="T11" fmla="*/ 6 h 12"/>
                <a:gd name="T12" fmla="*/ 41 w 4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12">
                  <a:moveTo>
                    <a:pt x="4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5" y="0"/>
                    <a:pt x="47" y="2"/>
                    <a:pt x="47" y="6"/>
                  </a:cubicBezTo>
                  <a:cubicBezTo>
                    <a:pt x="47" y="9"/>
                    <a:pt x="45" y="12"/>
                    <a:pt x="4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2" name="Freeform 77">
              <a:extLst>
                <a:ext uri="{FF2B5EF4-FFF2-40B4-BE49-F238E27FC236}">
                  <a16:creationId xmlns:a16="http://schemas.microsoft.com/office/drawing/2014/main" id="{4B9EEDFD-B5F6-5942-AA55-8425057F8D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6" y="1995"/>
              <a:ext cx="78" cy="77"/>
            </a:xfrm>
            <a:custGeom>
              <a:avLst/>
              <a:gdLst>
                <a:gd name="T0" fmla="*/ 44 w 51"/>
                <a:gd name="T1" fmla="*/ 51 h 51"/>
                <a:gd name="T2" fmla="*/ 40 w 51"/>
                <a:gd name="T3" fmla="*/ 49 h 51"/>
                <a:gd name="T4" fmla="*/ 2 w 51"/>
                <a:gd name="T5" fmla="*/ 11 h 51"/>
                <a:gd name="T6" fmla="*/ 2 w 51"/>
                <a:gd name="T7" fmla="*/ 2 h 51"/>
                <a:gd name="T8" fmla="*/ 11 w 51"/>
                <a:gd name="T9" fmla="*/ 2 h 51"/>
                <a:gd name="T10" fmla="*/ 48 w 51"/>
                <a:gd name="T11" fmla="*/ 40 h 51"/>
                <a:gd name="T12" fmla="*/ 48 w 51"/>
                <a:gd name="T13" fmla="*/ 49 h 51"/>
                <a:gd name="T14" fmla="*/ 44 w 51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1">
                  <a:moveTo>
                    <a:pt x="44" y="51"/>
                  </a:moveTo>
                  <a:cubicBezTo>
                    <a:pt x="43" y="51"/>
                    <a:pt x="41" y="50"/>
                    <a:pt x="40" y="49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51" y="43"/>
                    <a:pt x="51" y="47"/>
                    <a:pt x="48" y="49"/>
                  </a:cubicBezTo>
                  <a:cubicBezTo>
                    <a:pt x="47" y="50"/>
                    <a:pt x="46" y="51"/>
                    <a:pt x="44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3" name="Freeform 78">
              <a:extLst>
                <a:ext uri="{FF2B5EF4-FFF2-40B4-BE49-F238E27FC236}">
                  <a16:creationId xmlns:a16="http://schemas.microsoft.com/office/drawing/2014/main" id="{8B50B4AE-2180-ED47-B4DC-A8F6FCB2FD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21" y="1874"/>
              <a:ext cx="165" cy="162"/>
            </a:xfrm>
            <a:custGeom>
              <a:avLst/>
              <a:gdLst>
                <a:gd name="T0" fmla="*/ 54 w 108"/>
                <a:gd name="T1" fmla="*/ 108 h 108"/>
                <a:gd name="T2" fmla="*/ 0 w 108"/>
                <a:gd name="T3" fmla="*/ 54 h 108"/>
                <a:gd name="T4" fmla="*/ 54 w 108"/>
                <a:gd name="T5" fmla="*/ 0 h 108"/>
                <a:gd name="T6" fmla="*/ 108 w 108"/>
                <a:gd name="T7" fmla="*/ 54 h 108"/>
                <a:gd name="T8" fmla="*/ 54 w 108"/>
                <a:gd name="T9" fmla="*/ 108 h 108"/>
                <a:gd name="T10" fmla="*/ 54 w 108"/>
                <a:gd name="T11" fmla="*/ 12 h 108"/>
                <a:gd name="T12" fmla="*/ 12 w 108"/>
                <a:gd name="T13" fmla="*/ 54 h 108"/>
                <a:gd name="T14" fmla="*/ 54 w 108"/>
                <a:gd name="T15" fmla="*/ 96 h 108"/>
                <a:gd name="T16" fmla="*/ 96 w 108"/>
                <a:gd name="T17" fmla="*/ 54 h 108"/>
                <a:gd name="T18" fmla="*/ 54 w 108"/>
                <a:gd name="T19" fmla="*/ 1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108">
                  <a:moveTo>
                    <a:pt x="54" y="108"/>
                  </a:moveTo>
                  <a:cubicBezTo>
                    <a:pt x="25" y="108"/>
                    <a:pt x="0" y="8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84"/>
                    <a:pt x="84" y="108"/>
                    <a:pt x="54" y="108"/>
                  </a:cubicBezTo>
                  <a:close/>
                  <a:moveTo>
                    <a:pt x="54" y="12"/>
                  </a:moveTo>
                  <a:cubicBezTo>
                    <a:pt x="31" y="12"/>
                    <a:pt x="12" y="31"/>
                    <a:pt x="12" y="54"/>
                  </a:cubicBezTo>
                  <a:cubicBezTo>
                    <a:pt x="12" y="77"/>
                    <a:pt x="31" y="96"/>
                    <a:pt x="54" y="96"/>
                  </a:cubicBezTo>
                  <a:cubicBezTo>
                    <a:pt x="78" y="96"/>
                    <a:pt x="96" y="77"/>
                    <a:pt x="96" y="54"/>
                  </a:cubicBezTo>
                  <a:cubicBezTo>
                    <a:pt x="96" y="31"/>
                    <a:pt x="7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4" name="Freeform 79">
              <a:extLst>
                <a:ext uri="{FF2B5EF4-FFF2-40B4-BE49-F238E27FC236}">
                  <a16:creationId xmlns:a16="http://schemas.microsoft.com/office/drawing/2014/main" id="{3D3213DB-D615-0D43-8639-180B31371C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1" y="2203"/>
              <a:ext cx="128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6 h 36"/>
                <a:gd name="T8" fmla="*/ 6 w 84"/>
                <a:gd name="T9" fmla="*/ 0 h 36"/>
                <a:gd name="T10" fmla="*/ 78 w 84"/>
                <a:gd name="T11" fmla="*/ 0 h 36"/>
                <a:gd name="T12" fmla="*/ 84 w 84"/>
                <a:gd name="T13" fmla="*/ 6 h 36"/>
                <a:gd name="T14" fmla="*/ 84 w 84"/>
                <a:gd name="T15" fmla="*/ 30 h 36"/>
                <a:gd name="T16" fmla="*/ 78 w 84"/>
                <a:gd name="T17" fmla="*/ 36 h 36"/>
                <a:gd name="T18" fmla="*/ 12 w 84"/>
                <a:gd name="T19" fmla="*/ 24 h 36"/>
                <a:gd name="T20" fmla="*/ 72 w 84"/>
                <a:gd name="T21" fmla="*/ 24 h 36"/>
                <a:gd name="T22" fmla="*/ 72 w 84"/>
                <a:gd name="T23" fmla="*/ 12 h 36"/>
                <a:gd name="T24" fmla="*/ 12 w 84"/>
                <a:gd name="T25" fmla="*/ 12 h 36"/>
                <a:gd name="T26" fmla="*/ 12 w 84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2" y="0"/>
                    <a:pt x="84" y="2"/>
                    <a:pt x="84" y="6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2" y="36"/>
                    <a:pt x="78" y="36"/>
                  </a:cubicBezTo>
                  <a:close/>
                  <a:moveTo>
                    <a:pt x="12" y="24"/>
                  </a:moveTo>
                  <a:cubicBezTo>
                    <a:pt x="72" y="24"/>
                    <a:pt x="72" y="24"/>
                    <a:pt x="72" y="24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255" name="Group 83">
            <a:extLst>
              <a:ext uri="{FF2B5EF4-FFF2-40B4-BE49-F238E27FC236}">
                <a16:creationId xmlns:a16="http://schemas.microsoft.com/office/drawing/2014/main" id="{55833B4A-F17D-B241-A9BA-CAA65D15AF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862737" y="4307059"/>
            <a:ext cx="513716" cy="502040"/>
            <a:chOff x="2584" y="1926"/>
            <a:chExt cx="440" cy="430"/>
          </a:xfrm>
          <a:solidFill>
            <a:schemeClr val="accent1"/>
          </a:solidFill>
        </p:grpSpPr>
        <p:sp>
          <p:nvSpPr>
            <p:cNvPr id="256" name="Freeform 84">
              <a:extLst>
                <a:ext uri="{FF2B5EF4-FFF2-40B4-BE49-F238E27FC236}">
                  <a16:creationId xmlns:a16="http://schemas.microsoft.com/office/drawing/2014/main" id="{62D09E4A-E7E8-5A4A-85DE-1B4599C0D0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49" y="2033"/>
              <a:ext cx="165" cy="162"/>
            </a:xfrm>
            <a:custGeom>
              <a:avLst/>
              <a:gdLst>
                <a:gd name="T0" fmla="*/ 54 w 108"/>
                <a:gd name="T1" fmla="*/ 108 h 108"/>
                <a:gd name="T2" fmla="*/ 0 w 108"/>
                <a:gd name="T3" fmla="*/ 54 h 108"/>
                <a:gd name="T4" fmla="*/ 54 w 108"/>
                <a:gd name="T5" fmla="*/ 0 h 108"/>
                <a:gd name="T6" fmla="*/ 108 w 108"/>
                <a:gd name="T7" fmla="*/ 54 h 108"/>
                <a:gd name="T8" fmla="*/ 54 w 108"/>
                <a:gd name="T9" fmla="*/ 108 h 108"/>
                <a:gd name="T10" fmla="*/ 54 w 108"/>
                <a:gd name="T11" fmla="*/ 12 h 108"/>
                <a:gd name="T12" fmla="*/ 12 w 108"/>
                <a:gd name="T13" fmla="*/ 54 h 108"/>
                <a:gd name="T14" fmla="*/ 54 w 108"/>
                <a:gd name="T15" fmla="*/ 96 h 108"/>
                <a:gd name="T16" fmla="*/ 96 w 108"/>
                <a:gd name="T17" fmla="*/ 54 h 108"/>
                <a:gd name="T18" fmla="*/ 54 w 108"/>
                <a:gd name="T19" fmla="*/ 1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108">
                  <a:moveTo>
                    <a:pt x="54" y="108"/>
                  </a:moveTo>
                  <a:cubicBezTo>
                    <a:pt x="24" y="108"/>
                    <a:pt x="0" y="84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84"/>
                    <a:pt x="84" y="108"/>
                    <a:pt x="54" y="108"/>
                  </a:cubicBezTo>
                  <a:close/>
                  <a:moveTo>
                    <a:pt x="54" y="12"/>
                  </a:moveTo>
                  <a:cubicBezTo>
                    <a:pt x="31" y="12"/>
                    <a:pt x="12" y="31"/>
                    <a:pt x="12" y="54"/>
                  </a:cubicBezTo>
                  <a:cubicBezTo>
                    <a:pt x="12" y="77"/>
                    <a:pt x="31" y="96"/>
                    <a:pt x="54" y="96"/>
                  </a:cubicBezTo>
                  <a:cubicBezTo>
                    <a:pt x="77" y="96"/>
                    <a:pt x="96" y="77"/>
                    <a:pt x="96" y="54"/>
                  </a:cubicBezTo>
                  <a:cubicBezTo>
                    <a:pt x="96" y="31"/>
                    <a:pt x="7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7" name="Freeform 85">
              <a:extLst>
                <a:ext uri="{FF2B5EF4-FFF2-40B4-BE49-F238E27FC236}">
                  <a16:creationId xmlns:a16="http://schemas.microsoft.com/office/drawing/2014/main" id="{B59559F8-B7D8-E64A-9FF8-99BE86B67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4" y="1989"/>
              <a:ext cx="73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8" name="Freeform 86">
              <a:extLst>
                <a:ext uri="{FF2B5EF4-FFF2-40B4-BE49-F238E27FC236}">
                  <a16:creationId xmlns:a16="http://schemas.microsoft.com/office/drawing/2014/main" id="{CB47EC8D-F2B8-9F4C-B06A-5E3E2F46DB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51" y="1926"/>
              <a:ext cx="73" cy="72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9" name="Freeform 87">
              <a:extLst>
                <a:ext uri="{FF2B5EF4-FFF2-40B4-BE49-F238E27FC236}">
                  <a16:creationId xmlns:a16="http://schemas.microsoft.com/office/drawing/2014/main" id="{DFF5E73F-F4A1-184B-8EF1-E99450FD40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4" y="2284"/>
              <a:ext cx="73" cy="72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0" name="Freeform 88">
              <a:extLst>
                <a:ext uri="{FF2B5EF4-FFF2-40B4-BE49-F238E27FC236}">
                  <a16:creationId xmlns:a16="http://schemas.microsoft.com/office/drawing/2014/main" id="{4315EC7A-FDF7-B047-92A8-C59FD41F2A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95" y="2284"/>
              <a:ext cx="73" cy="72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1" name="Freeform 89">
              <a:extLst>
                <a:ext uri="{FF2B5EF4-FFF2-40B4-BE49-F238E27FC236}">
                  <a16:creationId xmlns:a16="http://schemas.microsoft.com/office/drawing/2014/main" id="{5CFD3D7D-9ADA-AA40-8FB5-1D7E3F968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4" y="2159"/>
              <a:ext cx="152" cy="149"/>
            </a:xfrm>
            <a:custGeom>
              <a:avLst/>
              <a:gdLst>
                <a:gd name="T0" fmla="*/ 12 w 152"/>
                <a:gd name="T1" fmla="*/ 149 h 149"/>
                <a:gd name="T2" fmla="*/ 0 w 152"/>
                <a:gd name="T3" fmla="*/ 136 h 149"/>
                <a:gd name="T4" fmla="*/ 139 w 152"/>
                <a:gd name="T5" fmla="*/ 0 h 149"/>
                <a:gd name="T6" fmla="*/ 152 w 152"/>
                <a:gd name="T7" fmla="*/ 13 h 149"/>
                <a:gd name="T8" fmla="*/ 12 w 152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" h="149">
                  <a:moveTo>
                    <a:pt x="12" y="149"/>
                  </a:moveTo>
                  <a:lnTo>
                    <a:pt x="0" y="136"/>
                  </a:lnTo>
                  <a:lnTo>
                    <a:pt x="139" y="0"/>
                  </a:lnTo>
                  <a:lnTo>
                    <a:pt x="152" y="13"/>
                  </a:lnTo>
                  <a:lnTo>
                    <a:pt x="12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2" name="Freeform 90">
              <a:extLst>
                <a:ext uri="{FF2B5EF4-FFF2-40B4-BE49-F238E27FC236}">
                  <a16:creationId xmlns:a16="http://schemas.microsoft.com/office/drawing/2014/main" id="{BC3144C7-6411-9D4D-B367-CCFF229DB9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7" y="1975"/>
              <a:ext cx="98" cy="96"/>
            </a:xfrm>
            <a:custGeom>
              <a:avLst/>
              <a:gdLst>
                <a:gd name="T0" fmla="*/ 13 w 98"/>
                <a:gd name="T1" fmla="*/ 96 h 96"/>
                <a:gd name="T2" fmla="*/ 0 w 98"/>
                <a:gd name="T3" fmla="*/ 82 h 96"/>
                <a:gd name="T4" fmla="*/ 84 w 98"/>
                <a:gd name="T5" fmla="*/ 0 h 96"/>
                <a:gd name="T6" fmla="*/ 98 w 98"/>
                <a:gd name="T7" fmla="*/ 12 h 96"/>
                <a:gd name="T8" fmla="*/ 13 w 98"/>
                <a:gd name="T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96">
                  <a:moveTo>
                    <a:pt x="13" y="96"/>
                  </a:moveTo>
                  <a:lnTo>
                    <a:pt x="0" y="82"/>
                  </a:lnTo>
                  <a:lnTo>
                    <a:pt x="84" y="0"/>
                  </a:lnTo>
                  <a:lnTo>
                    <a:pt x="98" y="12"/>
                  </a:lnTo>
                  <a:lnTo>
                    <a:pt x="13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3" name="Freeform 91">
              <a:extLst>
                <a:ext uri="{FF2B5EF4-FFF2-40B4-BE49-F238E27FC236}">
                  <a16:creationId xmlns:a16="http://schemas.microsoft.com/office/drawing/2014/main" id="{6E2C42D8-3319-674B-8133-E01915A2D5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2" y="2029"/>
              <a:ext cx="125" cy="66"/>
            </a:xfrm>
            <a:custGeom>
              <a:avLst/>
              <a:gdLst>
                <a:gd name="T0" fmla="*/ 119 w 125"/>
                <a:gd name="T1" fmla="*/ 66 h 66"/>
                <a:gd name="T2" fmla="*/ 0 w 125"/>
                <a:gd name="T3" fmla="*/ 16 h 66"/>
                <a:gd name="T4" fmla="*/ 7 w 125"/>
                <a:gd name="T5" fmla="*/ 0 h 66"/>
                <a:gd name="T6" fmla="*/ 125 w 125"/>
                <a:gd name="T7" fmla="*/ 49 h 66"/>
                <a:gd name="T8" fmla="*/ 119 w 125"/>
                <a:gd name="T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66">
                  <a:moveTo>
                    <a:pt x="119" y="66"/>
                  </a:moveTo>
                  <a:lnTo>
                    <a:pt x="0" y="16"/>
                  </a:lnTo>
                  <a:lnTo>
                    <a:pt x="7" y="0"/>
                  </a:lnTo>
                  <a:lnTo>
                    <a:pt x="125" y="49"/>
                  </a:lnTo>
                  <a:lnTo>
                    <a:pt x="119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4" name="Freeform 92">
              <a:extLst>
                <a:ext uri="{FF2B5EF4-FFF2-40B4-BE49-F238E27FC236}">
                  <a16:creationId xmlns:a16="http://schemas.microsoft.com/office/drawing/2014/main" id="{8081C512-E672-CD44-BBE3-358BA6E0D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1" y="2142"/>
              <a:ext cx="74" cy="44"/>
            </a:xfrm>
            <a:custGeom>
              <a:avLst/>
              <a:gdLst>
                <a:gd name="T0" fmla="*/ 66 w 74"/>
                <a:gd name="T1" fmla="*/ 44 h 44"/>
                <a:gd name="T2" fmla="*/ 0 w 74"/>
                <a:gd name="T3" fmla="*/ 17 h 44"/>
                <a:gd name="T4" fmla="*/ 8 w 74"/>
                <a:gd name="T5" fmla="*/ 0 h 44"/>
                <a:gd name="T6" fmla="*/ 74 w 74"/>
                <a:gd name="T7" fmla="*/ 27 h 44"/>
                <a:gd name="T8" fmla="*/ 66 w 74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44">
                  <a:moveTo>
                    <a:pt x="66" y="44"/>
                  </a:moveTo>
                  <a:lnTo>
                    <a:pt x="0" y="17"/>
                  </a:lnTo>
                  <a:lnTo>
                    <a:pt x="8" y="0"/>
                  </a:lnTo>
                  <a:lnTo>
                    <a:pt x="74" y="27"/>
                  </a:lnTo>
                  <a:lnTo>
                    <a:pt x="66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5" name="Rectangle 93">
              <a:extLst>
                <a:ext uri="{FF2B5EF4-FFF2-40B4-BE49-F238E27FC236}">
                  <a16:creationId xmlns:a16="http://schemas.microsoft.com/office/drawing/2014/main" id="{55AC4F32-9438-A14E-8D3B-30633B1954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2" y="2186"/>
              <a:ext cx="19" cy="10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6" name="Freeform 94">
              <a:extLst>
                <a:ext uri="{FF2B5EF4-FFF2-40B4-BE49-F238E27FC236}">
                  <a16:creationId xmlns:a16="http://schemas.microsoft.com/office/drawing/2014/main" id="{B353D0A6-EF38-0447-A7B3-679682F678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51" y="2150"/>
              <a:ext cx="73" cy="72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267" name="Group 59">
            <a:extLst>
              <a:ext uri="{FF2B5EF4-FFF2-40B4-BE49-F238E27FC236}">
                <a16:creationId xmlns:a16="http://schemas.microsoft.com/office/drawing/2014/main" id="{EF54C6A6-4BD1-DD43-B133-D4D226C9EE9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131257" y="4307059"/>
            <a:ext cx="493868" cy="502040"/>
            <a:chOff x="5696" y="644"/>
            <a:chExt cx="423" cy="430"/>
          </a:xfrm>
          <a:solidFill>
            <a:schemeClr val="accent1"/>
          </a:solidFill>
        </p:grpSpPr>
        <p:sp>
          <p:nvSpPr>
            <p:cNvPr id="268" name="Freeform 60">
              <a:extLst>
                <a:ext uri="{FF2B5EF4-FFF2-40B4-BE49-F238E27FC236}">
                  <a16:creationId xmlns:a16="http://schemas.microsoft.com/office/drawing/2014/main" id="{2DF46A1E-62FB-7842-A1DF-1D64EE7FCC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2" y="644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61">
              <a:extLst>
                <a:ext uri="{FF2B5EF4-FFF2-40B4-BE49-F238E27FC236}">
                  <a16:creationId xmlns:a16="http://schemas.microsoft.com/office/drawing/2014/main" id="{BCA1753F-E6EB-1940-8BE6-7A70C8DF21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2" y="967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62">
              <a:extLst>
                <a:ext uri="{FF2B5EF4-FFF2-40B4-BE49-F238E27FC236}">
                  <a16:creationId xmlns:a16="http://schemas.microsoft.com/office/drawing/2014/main" id="{FF51CD50-D176-8646-A186-FB4270CF1C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8" y="967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63">
              <a:extLst>
                <a:ext uri="{FF2B5EF4-FFF2-40B4-BE49-F238E27FC236}">
                  <a16:creationId xmlns:a16="http://schemas.microsoft.com/office/drawing/2014/main" id="{1DC2FFD3-7641-234A-B73A-9039B77A4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96" y="967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Rectangle 64">
              <a:extLst>
                <a:ext uri="{FF2B5EF4-FFF2-40B4-BE49-F238E27FC236}">
                  <a16:creationId xmlns:a16="http://schemas.microsoft.com/office/drawing/2014/main" id="{3900C2DB-FA6B-D741-97DE-59BAC7FFBD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98" y="743"/>
              <a:ext cx="19" cy="2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65">
              <a:extLst>
                <a:ext uri="{FF2B5EF4-FFF2-40B4-BE49-F238E27FC236}">
                  <a16:creationId xmlns:a16="http://schemas.microsoft.com/office/drawing/2014/main" id="{3C85F200-5885-C74D-8D1C-4D9CD9852A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" y="859"/>
              <a:ext cx="331" cy="116"/>
            </a:xfrm>
            <a:custGeom>
              <a:avLst/>
              <a:gdLst>
                <a:gd name="T0" fmla="*/ 216 w 216"/>
                <a:gd name="T1" fmla="*/ 78 h 78"/>
                <a:gd name="T2" fmla="*/ 204 w 216"/>
                <a:gd name="T3" fmla="*/ 78 h 78"/>
                <a:gd name="T4" fmla="*/ 138 w 216"/>
                <a:gd name="T5" fmla="*/ 12 h 78"/>
                <a:gd name="T6" fmla="*/ 72 w 216"/>
                <a:gd name="T7" fmla="*/ 12 h 78"/>
                <a:gd name="T8" fmla="*/ 12 w 216"/>
                <a:gd name="T9" fmla="*/ 78 h 78"/>
                <a:gd name="T10" fmla="*/ 0 w 216"/>
                <a:gd name="T11" fmla="*/ 78 h 78"/>
                <a:gd name="T12" fmla="*/ 72 w 216"/>
                <a:gd name="T13" fmla="*/ 0 h 78"/>
                <a:gd name="T14" fmla="*/ 138 w 216"/>
                <a:gd name="T15" fmla="*/ 0 h 78"/>
                <a:gd name="T16" fmla="*/ 216 w 216"/>
                <a:gd name="T17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6" h="78">
                  <a:moveTo>
                    <a:pt x="216" y="78"/>
                  </a:moveTo>
                  <a:cubicBezTo>
                    <a:pt x="204" y="78"/>
                    <a:pt x="204" y="78"/>
                    <a:pt x="204" y="78"/>
                  </a:cubicBezTo>
                  <a:cubicBezTo>
                    <a:pt x="204" y="42"/>
                    <a:pt x="175" y="12"/>
                    <a:pt x="138" y="12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37" y="12"/>
                    <a:pt x="12" y="40"/>
                    <a:pt x="12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33"/>
                    <a:pt x="31" y="0"/>
                    <a:pt x="72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81" y="0"/>
                    <a:pt x="216" y="35"/>
                    <a:pt x="216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4" name="Group 40">
            <a:extLst>
              <a:ext uri="{FF2B5EF4-FFF2-40B4-BE49-F238E27FC236}">
                <a16:creationId xmlns:a16="http://schemas.microsoft.com/office/drawing/2014/main" id="{AF2CB69D-CBB7-0741-B4F3-6F052ABCDA2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413589" y="4350552"/>
            <a:ext cx="486806" cy="415054"/>
            <a:chOff x="4653" y="690"/>
            <a:chExt cx="441" cy="376"/>
          </a:xfrm>
          <a:solidFill>
            <a:schemeClr val="accent1"/>
          </a:solidFill>
        </p:grpSpPr>
        <p:sp>
          <p:nvSpPr>
            <p:cNvPr id="275" name="Freeform 41">
              <a:extLst>
                <a:ext uri="{FF2B5EF4-FFF2-40B4-BE49-F238E27FC236}">
                  <a16:creationId xmlns:a16="http://schemas.microsoft.com/office/drawing/2014/main" id="{FDCBE251-79E8-114A-B376-CEEF3221D2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3" y="815"/>
              <a:ext cx="110" cy="180"/>
            </a:xfrm>
            <a:custGeom>
              <a:avLst/>
              <a:gdLst>
                <a:gd name="T0" fmla="*/ 54 w 72"/>
                <a:gd name="T1" fmla="*/ 120 h 120"/>
                <a:gd name="T2" fmla="*/ 18 w 72"/>
                <a:gd name="T3" fmla="*/ 120 h 120"/>
                <a:gd name="T4" fmla="*/ 12 w 72"/>
                <a:gd name="T5" fmla="*/ 114 h 120"/>
                <a:gd name="T6" fmla="*/ 12 w 72"/>
                <a:gd name="T7" fmla="*/ 65 h 120"/>
                <a:gd name="T8" fmla="*/ 0 w 72"/>
                <a:gd name="T9" fmla="*/ 42 h 120"/>
                <a:gd name="T10" fmla="*/ 0 w 72"/>
                <a:gd name="T11" fmla="*/ 6 h 120"/>
                <a:gd name="T12" fmla="*/ 6 w 72"/>
                <a:gd name="T13" fmla="*/ 0 h 120"/>
                <a:gd name="T14" fmla="*/ 66 w 72"/>
                <a:gd name="T15" fmla="*/ 0 h 120"/>
                <a:gd name="T16" fmla="*/ 72 w 72"/>
                <a:gd name="T17" fmla="*/ 6 h 120"/>
                <a:gd name="T18" fmla="*/ 72 w 72"/>
                <a:gd name="T19" fmla="*/ 42 h 120"/>
                <a:gd name="T20" fmla="*/ 60 w 72"/>
                <a:gd name="T21" fmla="*/ 65 h 120"/>
                <a:gd name="T22" fmla="*/ 60 w 72"/>
                <a:gd name="T23" fmla="*/ 114 h 120"/>
                <a:gd name="T24" fmla="*/ 54 w 72"/>
                <a:gd name="T25" fmla="*/ 120 h 120"/>
                <a:gd name="T26" fmla="*/ 24 w 72"/>
                <a:gd name="T27" fmla="*/ 108 h 120"/>
                <a:gd name="T28" fmla="*/ 48 w 72"/>
                <a:gd name="T29" fmla="*/ 108 h 120"/>
                <a:gd name="T30" fmla="*/ 48 w 72"/>
                <a:gd name="T31" fmla="*/ 60 h 120"/>
                <a:gd name="T32" fmla="*/ 54 w 72"/>
                <a:gd name="T33" fmla="*/ 54 h 120"/>
                <a:gd name="T34" fmla="*/ 60 w 72"/>
                <a:gd name="T35" fmla="*/ 42 h 120"/>
                <a:gd name="T36" fmla="*/ 60 w 72"/>
                <a:gd name="T37" fmla="*/ 12 h 120"/>
                <a:gd name="T38" fmla="*/ 12 w 72"/>
                <a:gd name="T39" fmla="*/ 12 h 120"/>
                <a:gd name="T40" fmla="*/ 12 w 72"/>
                <a:gd name="T41" fmla="*/ 42 h 120"/>
                <a:gd name="T42" fmla="*/ 18 w 72"/>
                <a:gd name="T43" fmla="*/ 54 h 120"/>
                <a:gd name="T44" fmla="*/ 24 w 72"/>
                <a:gd name="T45" fmla="*/ 60 h 120"/>
                <a:gd name="T46" fmla="*/ 24 w 72"/>
                <a:gd name="T4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120">
                  <a:moveTo>
                    <a:pt x="54" y="120"/>
                  </a:moveTo>
                  <a:cubicBezTo>
                    <a:pt x="18" y="120"/>
                    <a:pt x="18" y="120"/>
                    <a:pt x="18" y="120"/>
                  </a:cubicBezTo>
                  <a:cubicBezTo>
                    <a:pt x="15" y="120"/>
                    <a:pt x="12" y="117"/>
                    <a:pt x="12" y="11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4" y="62"/>
                    <a:pt x="0" y="5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55"/>
                    <a:pt x="68" y="62"/>
                    <a:pt x="60" y="65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60" y="117"/>
                    <a:pt x="57" y="120"/>
                    <a:pt x="54" y="120"/>
                  </a:cubicBezTo>
                  <a:close/>
                  <a:moveTo>
                    <a:pt x="24" y="108"/>
                  </a:moveTo>
                  <a:cubicBezTo>
                    <a:pt x="48" y="108"/>
                    <a:pt x="48" y="108"/>
                    <a:pt x="48" y="108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56"/>
                    <a:pt x="51" y="54"/>
                    <a:pt x="54" y="54"/>
                  </a:cubicBezTo>
                  <a:cubicBezTo>
                    <a:pt x="57" y="54"/>
                    <a:pt x="60" y="54"/>
                    <a:pt x="60" y="4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54"/>
                    <a:pt x="15" y="54"/>
                    <a:pt x="18" y="54"/>
                  </a:cubicBezTo>
                  <a:cubicBezTo>
                    <a:pt x="21" y="54"/>
                    <a:pt x="24" y="56"/>
                    <a:pt x="24" y="60"/>
                  </a:cubicBezTo>
                  <a:lnTo>
                    <a:pt x="2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76" name="Freeform 42">
              <a:extLst>
                <a:ext uri="{FF2B5EF4-FFF2-40B4-BE49-F238E27FC236}">
                  <a16:creationId xmlns:a16="http://schemas.microsoft.com/office/drawing/2014/main" id="{33EAB03F-1708-934A-9326-DCEC1E3BE1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4" y="815"/>
              <a:ext cx="110" cy="180"/>
            </a:xfrm>
            <a:custGeom>
              <a:avLst/>
              <a:gdLst>
                <a:gd name="T0" fmla="*/ 54 w 72"/>
                <a:gd name="T1" fmla="*/ 120 h 120"/>
                <a:gd name="T2" fmla="*/ 18 w 72"/>
                <a:gd name="T3" fmla="*/ 120 h 120"/>
                <a:gd name="T4" fmla="*/ 12 w 72"/>
                <a:gd name="T5" fmla="*/ 114 h 120"/>
                <a:gd name="T6" fmla="*/ 12 w 72"/>
                <a:gd name="T7" fmla="*/ 65 h 120"/>
                <a:gd name="T8" fmla="*/ 0 w 72"/>
                <a:gd name="T9" fmla="*/ 42 h 120"/>
                <a:gd name="T10" fmla="*/ 0 w 72"/>
                <a:gd name="T11" fmla="*/ 6 h 120"/>
                <a:gd name="T12" fmla="*/ 6 w 72"/>
                <a:gd name="T13" fmla="*/ 0 h 120"/>
                <a:gd name="T14" fmla="*/ 66 w 72"/>
                <a:gd name="T15" fmla="*/ 0 h 120"/>
                <a:gd name="T16" fmla="*/ 72 w 72"/>
                <a:gd name="T17" fmla="*/ 6 h 120"/>
                <a:gd name="T18" fmla="*/ 72 w 72"/>
                <a:gd name="T19" fmla="*/ 42 h 120"/>
                <a:gd name="T20" fmla="*/ 60 w 72"/>
                <a:gd name="T21" fmla="*/ 65 h 120"/>
                <a:gd name="T22" fmla="*/ 60 w 72"/>
                <a:gd name="T23" fmla="*/ 114 h 120"/>
                <a:gd name="T24" fmla="*/ 54 w 72"/>
                <a:gd name="T25" fmla="*/ 120 h 120"/>
                <a:gd name="T26" fmla="*/ 24 w 72"/>
                <a:gd name="T27" fmla="*/ 108 h 120"/>
                <a:gd name="T28" fmla="*/ 48 w 72"/>
                <a:gd name="T29" fmla="*/ 108 h 120"/>
                <a:gd name="T30" fmla="*/ 48 w 72"/>
                <a:gd name="T31" fmla="*/ 60 h 120"/>
                <a:gd name="T32" fmla="*/ 54 w 72"/>
                <a:gd name="T33" fmla="*/ 54 h 120"/>
                <a:gd name="T34" fmla="*/ 60 w 72"/>
                <a:gd name="T35" fmla="*/ 42 h 120"/>
                <a:gd name="T36" fmla="*/ 60 w 72"/>
                <a:gd name="T37" fmla="*/ 12 h 120"/>
                <a:gd name="T38" fmla="*/ 12 w 72"/>
                <a:gd name="T39" fmla="*/ 12 h 120"/>
                <a:gd name="T40" fmla="*/ 12 w 72"/>
                <a:gd name="T41" fmla="*/ 42 h 120"/>
                <a:gd name="T42" fmla="*/ 18 w 72"/>
                <a:gd name="T43" fmla="*/ 54 h 120"/>
                <a:gd name="T44" fmla="*/ 24 w 72"/>
                <a:gd name="T45" fmla="*/ 60 h 120"/>
                <a:gd name="T46" fmla="*/ 24 w 72"/>
                <a:gd name="T4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120">
                  <a:moveTo>
                    <a:pt x="54" y="120"/>
                  </a:moveTo>
                  <a:cubicBezTo>
                    <a:pt x="18" y="120"/>
                    <a:pt x="18" y="120"/>
                    <a:pt x="18" y="120"/>
                  </a:cubicBezTo>
                  <a:cubicBezTo>
                    <a:pt x="15" y="120"/>
                    <a:pt x="12" y="117"/>
                    <a:pt x="12" y="11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4" y="62"/>
                    <a:pt x="0" y="5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55"/>
                    <a:pt x="68" y="62"/>
                    <a:pt x="60" y="65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60" y="117"/>
                    <a:pt x="57" y="120"/>
                    <a:pt x="54" y="120"/>
                  </a:cubicBezTo>
                  <a:close/>
                  <a:moveTo>
                    <a:pt x="24" y="108"/>
                  </a:moveTo>
                  <a:cubicBezTo>
                    <a:pt x="48" y="108"/>
                    <a:pt x="48" y="108"/>
                    <a:pt x="48" y="108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56"/>
                    <a:pt x="51" y="54"/>
                    <a:pt x="54" y="54"/>
                  </a:cubicBezTo>
                  <a:cubicBezTo>
                    <a:pt x="57" y="54"/>
                    <a:pt x="60" y="54"/>
                    <a:pt x="60" y="4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54"/>
                    <a:pt x="15" y="54"/>
                    <a:pt x="18" y="54"/>
                  </a:cubicBezTo>
                  <a:cubicBezTo>
                    <a:pt x="21" y="54"/>
                    <a:pt x="24" y="56"/>
                    <a:pt x="24" y="60"/>
                  </a:cubicBezTo>
                  <a:lnTo>
                    <a:pt x="2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77" name="Freeform 43">
              <a:extLst>
                <a:ext uri="{FF2B5EF4-FFF2-40B4-BE49-F238E27FC236}">
                  <a16:creationId xmlns:a16="http://schemas.microsoft.com/office/drawing/2014/main" id="{0B22C036-1BF3-914B-849D-BDC1213AB0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0" y="815"/>
              <a:ext cx="147" cy="251"/>
            </a:xfrm>
            <a:custGeom>
              <a:avLst/>
              <a:gdLst>
                <a:gd name="T0" fmla="*/ 66 w 96"/>
                <a:gd name="T1" fmla="*/ 168 h 168"/>
                <a:gd name="T2" fmla="*/ 30 w 96"/>
                <a:gd name="T3" fmla="*/ 168 h 168"/>
                <a:gd name="T4" fmla="*/ 24 w 96"/>
                <a:gd name="T5" fmla="*/ 162 h 168"/>
                <a:gd name="T6" fmla="*/ 24 w 96"/>
                <a:gd name="T7" fmla="*/ 95 h 168"/>
                <a:gd name="T8" fmla="*/ 0 w 96"/>
                <a:gd name="T9" fmla="*/ 66 h 168"/>
                <a:gd name="T10" fmla="*/ 0 w 96"/>
                <a:gd name="T11" fmla="*/ 6 h 168"/>
                <a:gd name="T12" fmla="*/ 6 w 96"/>
                <a:gd name="T13" fmla="*/ 0 h 168"/>
                <a:gd name="T14" fmla="*/ 90 w 96"/>
                <a:gd name="T15" fmla="*/ 0 h 168"/>
                <a:gd name="T16" fmla="*/ 96 w 96"/>
                <a:gd name="T17" fmla="*/ 6 h 168"/>
                <a:gd name="T18" fmla="*/ 96 w 96"/>
                <a:gd name="T19" fmla="*/ 66 h 168"/>
                <a:gd name="T20" fmla="*/ 72 w 96"/>
                <a:gd name="T21" fmla="*/ 95 h 168"/>
                <a:gd name="T22" fmla="*/ 72 w 96"/>
                <a:gd name="T23" fmla="*/ 162 h 168"/>
                <a:gd name="T24" fmla="*/ 66 w 96"/>
                <a:gd name="T25" fmla="*/ 168 h 168"/>
                <a:gd name="T26" fmla="*/ 36 w 96"/>
                <a:gd name="T27" fmla="*/ 156 h 168"/>
                <a:gd name="T28" fmla="*/ 60 w 96"/>
                <a:gd name="T29" fmla="*/ 156 h 168"/>
                <a:gd name="T30" fmla="*/ 60 w 96"/>
                <a:gd name="T31" fmla="*/ 90 h 168"/>
                <a:gd name="T32" fmla="*/ 66 w 96"/>
                <a:gd name="T33" fmla="*/ 84 h 168"/>
                <a:gd name="T34" fmla="*/ 84 w 96"/>
                <a:gd name="T35" fmla="*/ 66 h 168"/>
                <a:gd name="T36" fmla="*/ 84 w 96"/>
                <a:gd name="T37" fmla="*/ 12 h 168"/>
                <a:gd name="T38" fmla="*/ 12 w 96"/>
                <a:gd name="T39" fmla="*/ 12 h 168"/>
                <a:gd name="T40" fmla="*/ 12 w 96"/>
                <a:gd name="T41" fmla="*/ 66 h 168"/>
                <a:gd name="T42" fmla="*/ 30 w 96"/>
                <a:gd name="T43" fmla="*/ 84 h 168"/>
                <a:gd name="T44" fmla="*/ 36 w 96"/>
                <a:gd name="T45" fmla="*/ 90 h 168"/>
                <a:gd name="T46" fmla="*/ 36 w 96"/>
                <a:gd name="T47" fmla="*/ 15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168">
                  <a:moveTo>
                    <a:pt x="66" y="168"/>
                  </a:moveTo>
                  <a:cubicBezTo>
                    <a:pt x="30" y="168"/>
                    <a:pt x="30" y="168"/>
                    <a:pt x="30" y="168"/>
                  </a:cubicBezTo>
                  <a:cubicBezTo>
                    <a:pt x="27" y="168"/>
                    <a:pt x="24" y="165"/>
                    <a:pt x="24" y="162"/>
                  </a:cubicBezTo>
                  <a:cubicBezTo>
                    <a:pt x="24" y="95"/>
                    <a:pt x="24" y="95"/>
                    <a:pt x="24" y="95"/>
                  </a:cubicBezTo>
                  <a:cubicBezTo>
                    <a:pt x="10" y="92"/>
                    <a:pt x="0" y="80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96" y="80"/>
                    <a:pt x="86" y="92"/>
                    <a:pt x="72" y="95"/>
                  </a:cubicBezTo>
                  <a:cubicBezTo>
                    <a:pt x="72" y="162"/>
                    <a:pt x="72" y="162"/>
                    <a:pt x="72" y="162"/>
                  </a:cubicBezTo>
                  <a:cubicBezTo>
                    <a:pt x="72" y="165"/>
                    <a:pt x="69" y="168"/>
                    <a:pt x="66" y="168"/>
                  </a:cubicBezTo>
                  <a:close/>
                  <a:moveTo>
                    <a:pt x="36" y="156"/>
                  </a:moveTo>
                  <a:cubicBezTo>
                    <a:pt x="60" y="156"/>
                    <a:pt x="60" y="156"/>
                    <a:pt x="60" y="156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86"/>
                    <a:pt x="63" y="84"/>
                    <a:pt x="66" y="84"/>
                  </a:cubicBezTo>
                  <a:cubicBezTo>
                    <a:pt x="76" y="84"/>
                    <a:pt x="84" y="76"/>
                    <a:pt x="84" y="66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76"/>
                    <a:pt x="20" y="84"/>
                    <a:pt x="30" y="84"/>
                  </a:cubicBezTo>
                  <a:cubicBezTo>
                    <a:pt x="33" y="84"/>
                    <a:pt x="36" y="86"/>
                    <a:pt x="36" y="90"/>
                  </a:cubicBezTo>
                  <a:lnTo>
                    <a:pt x="36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78" name="Freeform 44">
              <a:extLst>
                <a:ext uri="{FF2B5EF4-FFF2-40B4-BE49-F238E27FC236}">
                  <a16:creationId xmlns:a16="http://schemas.microsoft.com/office/drawing/2014/main" id="{E8B7DC9C-B6E3-214C-96AB-8281516F43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1" y="726"/>
              <a:ext cx="74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7"/>
                    <a:pt x="12" y="24"/>
                  </a:cubicBezTo>
                  <a:cubicBezTo>
                    <a:pt x="12" y="30"/>
                    <a:pt x="17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79" name="Freeform 45">
              <a:extLst>
                <a:ext uri="{FF2B5EF4-FFF2-40B4-BE49-F238E27FC236}">
                  <a16:creationId xmlns:a16="http://schemas.microsoft.com/office/drawing/2014/main" id="{397E29E0-4660-AC44-AA91-82129C1E33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2" y="726"/>
              <a:ext cx="74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7"/>
                    <a:pt x="12" y="24"/>
                  </a:cubicBezTo>
                  <a:cubicBezTo>
                    <a:pt x="12" y="30"/>
                    <a:pt x="17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0" name="Freeform 46">
              <a:extLst>
                <a:ext uri="{FF2B5EF4-FFF2-40B4-BE49-F238E27FC236}">
                  <a16:creationId xmlns:a16="http://schemas.microsoft.com/office/drawing/2014/main" id="{30250504-C013-FB41-8C0E-CC245995DB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18" y="690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5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2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2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281" name="Group 122">
            <a:extLst>
              <a:ext uri="{FF2B5EF4-FFF2-40B4-BE49-F238E27FC236}">
                <a16:creationId xmlns:a16="http://schemas.microsoft.com/office/drawing/2014/main" id="{67283CD5-0255-B34C-BF7E-E084473C74C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677138" y="4315989"/>
            <a:ext cx="496566" cy="484180"/>
            <a:chOff x="487" y="3214"/>
            <a:chExt cx="441" cy="430"/>
          </a:xfrm>
          <a:solidFill>
            <a:schemeClr val="accent1"/>
          </a:solidFill>
        </p:grpSpPr>
        <p:sp>
          <p:nvSpPr>
            <p:cNvPr id="282" name="Freeform 123">
              <a:extLst>
                <a:ext uri="{FF2B5EF4-FFF2-40B4-BE49-F238E27FC236}">
                  <a16:creationId xmlns:a16="http://schemas.microsoft.com/office/drawing/2014/main" id="{72773FE5-CE95-0F4A-A086-070B43C2F3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" y="3214"/>
              <a:ext cx="257" cy="233"/>
            </a:xfrm>
            <a:custGeom>
              <a:avLst/>
              <a:gdLst>
                <a:gd name="T0" fmla="*/ 66 w 168"/>
                <a:gd name="T1" fmla="*/ 156 h 156"/>
                <a:gd name="T2" fmla="*/ 62 w 168"/>
                <a:gd name="T3" fmla="*/ 154 h 156"/>
                <a:gd name="T4" fmla="*/ 28 w 168"/>
                <a:gd name="T5" fmla="*/ 120 h 156"/>
                <a:gd name="T6" fmla="*/ 18 w 168"/>
                <a:gd name="T7" fmla="*/ 120 h 156"/>
                <a:gd name="T8" fmla="*/ 0 w 168"/>
                <a:gd name="T9" fmla="*/ 102 h 156"/>
                <a:gd name="T10" fmla="*/ 0 w 168"/>
                <a:gd name="T11" fmla="*/ 18 h 156"/>
                <a:gd name="T12" fmla="*/ 18 w 168"/>
                <a:gd name="T13" fmla="*/ 0 h 156"/>
                <a:gd name="T14" fmla="*/ 150 w 168"/>
                <a:gd name="T15" fmla="*/ 0 h 156"/>
                <a:gd name="T16" fmla="*/ 168 w 168"/>
                <a:gd name="T17" fmla="*/ 18 h 156"/>
                <a:gd name="T18" fmla="*/ 168 w 168"/>
                <a:gd name="T19" fmla="*/ 102 h 156"/>
                <a:gd name="T20" fmla="*/ 150 w 168"/>
                <a:gd name="T21" fmla="*/ 120 h 156"/>
                <a:gd name="T22" fmla="*/ 72 w 168"/>
                <a:gd name="T23" fmla="*/ 120 h 156"/>
                <a:gd name="T24" fmla="*/ 72 w 168"/>
                <a:gd name="T25" fmla="*/ 150 h 156"/>
                <a:gd name="T26" fmla="*/ 69 w 168"/>
                <a:gd name="T27" fmla="*/ 156 h 156"/>
                <a:gd name="T28" fmla="*/ 66 w 168"/>
                <a:gd name="T29" fmla="*/ 156 h 156"/>
                <a:gd name="T30" fmla="*/ 18 w 168"/>
                <a:gd name="T31" fmla="*/ 12 h 156"/>
                <a:gd name="T32" fmla="*/ 12 w 168"/>
                <a:gd name="T33" fmla="*/ 18 h 156"/>
                <a:gd name="T34" fmla="*/ 12 w 168"/>
                <a:gd name="T35" fmla="*/ 102 h 156"/>
                <a:gd name="T36" fmla="*/ 18 w 168"/>
                <a:gd name="T37" fmla="*/ 108 h 156"/>
                <a:gd name="T38" fmla="*/ 30 w 168"/>
                <a:gd name="T39" fmla="*/ 108 h 156"/>
                <a:gd name="T40" fmla="*/ 34 w 168"/>
                <a:gd name="T41" fmla="*/ 110 h 156"/>
                <a:gd name="T42" fmla="*/ 60 w 168"/>
                <a:gd name="T43" fmla="*/ 136 h 156"/>
                <a:gd name="T44" fmla="*/ 60 w 168"/>
                <a:gd name="T45" fmla="*/ 114 h 156"/>
                <a:gd name="T46" fmla="*/ 66 w 168"/>
                <a:gd name="T47" fmla="*/ 108 h 156"/>
                <a:gd name="T48" fmla="*/ 150 w 168"/>
                <a:gd name="T49" fmla="*/ 108 h 156"/>
                <a:gd name="T50" fmla="*/ 156 w 168"/>
                <a:gd name="T51" fmla="*/ 102 h 156"/>
                <a:gd name="T52" fmla="*/ 156 w 168"/>
                <a:gd name="T53" fmla="*/ 18 h 156"/>
                <a:gd name="T54" fmla="*/ 150 w 168"/>
                <a:gd name="T55" fmla="*/ 12 h 156"/>
                <a:gd name="T56" fmla="*/ 18 w 168"/>
                <a:gd name="T57" fmla="*/ 1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8" h="156">
                  <a:moveTo>
                    <a:pt x="66" y="156"/>
                  </a:moveTo>
                  <a:cubicBezTo>
                    <a:pt x="65" y="156"/>
                    <a:pt x="63" y="156"/>
                    <a:pt x="62" y="154"/>
                  </a:cubicBezTo>
                  <a:cubicBezTo>
                    <a:pt x="28" y="120"/>
                    <a:pt x="28" y="120"/>
                    <a:pt x="28" y="120"/>
                  </a:cubicBezTo>
                  <a:cubicBezTo>
                    <a:pt x="18" y="120"/>
                    <a:pt x="18" y="120"/>
                    <a:pt x="18" y="120"/>
                  </a:cubicBezTo>
                  <a:cubicBezTo>
                    <a:pt x="8" y="120"/>
                    <a:pt x="0" y="112"/>
                    <a:pt x="0" y="10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60" y="0"/>
                    <a:pt x="168" y="8"/>
                    <a:pt x="168" y="18"/>
                  </a:cubicBezTo>
                  <a:cubicBezTo>
                    <a:pt x="168" y="102"/>
                    <a:pt x="168" y="102"/>
                    <a:pt x="168" y="102"/>
                  </a:cubicBezTo>
                  <a:cubicBezTo>
                    <a:pt x="168" y="112"/>
                    <a:pt x="160" y="120"/>
                    <a:pt x="150" y="120"/>
                  </a:cubicBezTo>
                  <a:cubicBezTo>
                    <a:pt x="72" y="120"/>
                    <a:pt x="72" y="120"/>
                    <a:pt x="72" y="120"/>
                  </a:cubicBezTo>
                  <a:cubicBezTo>
                    <a:pt x="72" y="150"/>
                    <a:pt x="72" y="150"/>
                    <a:pt x="72" y="150"/>
                  </a:cubicBezTo>
                  <a:cubicBezTo>
                    <a:pt x="72" y="153"/>
                    <a:pt x="71" y="155"/>
                    <a:pt x="69" y="156"/>
                  </a:cubicBezTo>
                  <a:cubicBezTo>
                    <a:pt x="68" y="156"/>
                    <a:pt x="67" y="156"/>
                    <a:pt x="66" y="156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15" y="108"/>
                    <a:pt x="18" y="108"/>
                  </a:cubicBezTo>
                  <a:cubicBezTo>
                    <a:pt x="30" y="108"/>
                    <a:pt x="30" y="108"/>
                    <a:pt x="30" y="108"/>
                  </a:cubicBezTo>
                  <a:cubicBezTo>
                    <a:pt x="32" y="108"/>
                    <a:pt x="33" y="109"/>
                    <a:pt x="34" y="110"/>
                  </a:cubicBezTo>
                  <a:cubicBezTo>
                    <a:pt x="60" y="136"/>
                    <a:pt x="60" y="136"/>
                    <a:pt x="60" y="136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60" y="111"/>
                    <a:pt x="63" y="108"/>
                    <a:pt x="66" y="108"/>
                  </a:cubicBezTo>
                  <a:cubicBezTo>
                    <a:pt x="150" y="108"/>
                    <a:pt x="150" y="108"/>
                    <a:pt x="150" y="108"/>
                  </a:cubicBezTo>
                  <a:cubicBezTo>
                    <a:pt x="154" y="108"/>
                    <a:pt x="156" y="105"/>
                    <a:pt x="156" y="102"/>
                  </a:cubicBezTo>
                  <a:cubicBezTo>
                    <a:pt x="156" y="18"/>
                    <a:pt x="156" y="18"/>
                    <a:pt x="156" y="18"/>
                  </a:cubicBezTo>
                  <a:cubicBezTo>
                    <a:pt x="156" y="15"/>
                    <a:pt x="154" y="12"/>
                    <a:pt x="150" y="12"/>
                  </a:cubicBezTo>
                  <a:lnTo>
                    <a:pt x="18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3" name="Freeform 124">
              <a:extLst>
                <a:ext uri="{FF2B5EF4-FFF2-40B4-BE49-F238E27FC236}">
                  <a16:creationId xmlns:a16="http://schemas.microsoft.com/office/drawing/2014/main" id="{6CDD5E0D-6567-8F41-ADDA-4873270097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0" y="3411"/>
              <a:ext cx="110" cy="108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50"/>
                    <a:pt x="23" y="60"/>
                    <a:pt x="36" y="60"/>
                  </a:cubicBezTo>
                  <a:cubicBezTo>
                    <a:pt x="49" y="60"/>
                    <a:pt x="60" y="50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4" name="Freeform 125">
              <a:extLst>
                <a:ext uri="{FF2B5EF4-FFF2-40B4-BE49-F238E27FC236}">
                  <a16:creationId xmlns:a16="http://schemas.microsoft.com/office/drawing/2014/main" id="{5E033DBE-D634-B34B-A4D9-A3AB7C0A51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3" y="3501"/>
              <a:ext cx="165" cy="89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54 w 108"/>
                <a:gd name="T7" fmla="*/ 0 h 60"/>
                <a:gd name="T8" fmla="*/ 108 w 108"/>
                <a:gd name="T9" fmla="*/ 54 h 60"/>
                <a:gd name="T10" fmla="*/ 102 w 108"/>
                <a:gd name="T11" fmla="*/ 60 h 60"/>
                <a:gd name="T12" fmla="*/ 13 w 108"/>
                <a:gd name="T13" fmla="*/ 48 h 60"/>
                <a:gd name="T14" fmla="*/ 96 w 108"/>
                <a:gd name="T15" fmla="*/ 48 h 60"/>
                <a:gd name="T16" fmla="*/ 54 w 108"/>
                <a:gd name="T17" fmla="*/ 12 h 60"/>
                <a:gd name="T18" fmla="*/ 13 w 108"/>
                <a:gd name="T19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8"/>
                    <a:pt x="0" y="54"/>
                  </a:cubicBezTo>
                  <a:cubicBezTo>
                    <a:pt x="0" y="25"/>
                    <a:pt x="24" y="0"/>
                    <a:pt x="54" y="0"/>
                  </a:cubicBezTo>
                  <a:cubicBezTo>
                    <a:pt x="84" y="0"/>
                    <a:pt x="108" y="25"/>
                    <a:pt x="108" y="54"/>
                  </a:cubicBezTo>
                  <a:cubicBezTo>
                    <a:pt x="108" y="58"/>
                    <a:pt x="106" y="60"/>
                    <a:pt x="102" y="60"/>
                  </a:cubicBezTo>
                  <a:close/>
                  <a:moveTo>
                    <a:pt x="13" y="48"/>
                  </a:moveTo>
                  <a:cubicBezTo>
                    <a:pt x="96" y="48"/>
                    <a:pt x="96" y="48"/>
                    <a:pt x="96" y="48"/>
                  </a:cubicBezTo>
                  <a:cubicBezTo>
                    <a:pt x="93" y="28"/>
                    <a:pt x="75" y="12"/>
                    <a:pt x="54" y="12"/>
                  </a:cubicBezTo>
                  <a:cubicBezTo>
                    <a:pt x="33" y="12"/>
                    <a:pt x="16" y="28"/>
                    <a:pt x="13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5" name="Freeform 126">
              <a:extLst>
                <a:ext uri="{FF2B5EF4-FFF2-40B4-BE49-F238E27FC236}">
                  <a16:creationId xmlns:a16="http://schemas.microsoft.com/office/drawing/2014/main" id="{88700ED7-B9BA-B04A-9A1A-F877F79FB3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" y="3411"/>
              <a:ext cx="110" cy="108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50"/>
                    <a:pt x="23" y="60"/>
                    <a:pt x="36" y="60"/>
                  </a:cubicBezTo>
                  <a:cubicBezTo>
                    <a:pt x="49" y="60"/>
                    <a:pt x="60" y="50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6" name="Freeform 127">
              <a:extLst>
                <a:ext uri="{FF2B5EF4-FFF2-40B4-BE49-F238E27FC236}">
                  <a16:creationId xmlns:a16="http://schemas.microsoft.com/office/drawing/2014/main" id="{BD63F862-ED81-B442-A78A-FA6F5D451E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" y="3501"/>
              <a:ext cx="165" cy="89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54 w 108"/>
                <a:gd name="T7" fmla="*/ 0 h 60"/>
                <a:gd name="T8" fmla="*/ 108 w 108"/>
                <a:gd name="T9" fmla="*/ 54 h 60"/>
                <a:gd name="T10" fmla="*/ 102 w 108"/>
                <a:gd name="T11" fmla="*/ 60 h 60"/>
                <a:gd name="T12" fmla="*/ 13 w 108"/>
                <a:gd name="T13" fmla="*/ 48 h 60"/>
                <a:gd name="T14" fmla="*/ 96 w 108"/>
                <a:gd name="T15" fmla="*/ 48 h 60"/>
                <a:gd name="T16" fmla="*/ 54 w 108"/>
                <a:gd name="T17" fmla="*/ 12 h 60"/>
                <a:gd name="T18" fmla="*/ 13 w 108"/>
                <a:gd name="T19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8"/>
                    <a:pt x="0" y="54"/>
                  </a:cubicBezTo>
                  <a:cubicBezTo>
                    <a:pt x="0" y="25"/>
                    <a:pt x="24" y="0"/>
                    <a:pt x="54" y="0"/>
                  </a:cubicBezTo>
                  <a:cubicBezTo>
                    <a:pt x="84" y="0"/>
                    <a:pt x="108" y="25"/>
                    <a:pt x="108" y="54"/>
                  </a:cubicBezTo>
                  <a:cubicBezTo>
                    <a:pt x="108" y="58"/>
                    <a:pt x="106" y="60"/>
                    <a:pt x="102" y="60"/>
                  </a:cubicBezTo>
                  <a:close/>
                  <a:moveTo>
                    <a:pt x="13" y="48"/>
                  </a:moveTo>
                  <a:cubicBezTo>
                    <a:pt x="96" y="48"/>
                    <a:pt x="96" y="48"/>
                    <a:pt x="96" y="48"/>
                  </a:cubicBezTo>
                  <a:cubicBezTo>
                    <a:pt x="93" y="28"/>
                    <a:pt x="75" y="12"/>
                    <a:pt x="54" y="12"/>
                  </a:cubicBezTo>
                  <a:cubicBezTo>
                    <a:pt x="33" y="12"/>
                    <a:pt x="16" y="28"/>
                    <a:pt x="13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7" name="Freeform 128">
              <a:extLst>
                <a:ext uri="{FF2B5EF4-FFF2-40B4-BE49-F238E27FC236}">
                  <a16:creationId xmlns:a16="http://schemas.microsoft.com/office/drawing/2014/main" id="{52268FC6-A33C-ED46-9336-05D86CD136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" y="3465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50"/>
                    <a:pt x="23" y="60"/>
                    <a:pt x="36" y="60"/>
                  </a:cubicBezTo>
                  <a:cubicBezTo>
                    <a:pt x="49" y="60"/>
                    <a:pt x="60" y="50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8" name="Freeform 129">
              <a:extLst>
                <a:ext uri="{FF2B5EF4-FFF2-40B4-BE49-F238E27FC236}">
                  <a16:creationId xmlns:a16="http://schemas.microsoft.com/office/drawing/2014/main" id="{56D30168-2DF4-C24E-A79D-080A994167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5" y="3554"/>
              <a:ext cx="165" cy="90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54 w 108"/>
                <a:gd name="T7" fmla="*/ 0 h 60"/>
                <a:gd name="T8" fmla="*/ 108 w 108"/>
                <a:gd name="T9" fmla="*/ 54 h 60"/>
                <a:gd name="T10" fmla="*/ 102 w 108"/>
                <a:gd name="T11" fmla="*/ 60 h 60"/>
                <a:gd name="T12" fmla="*/ 13 w 108"/>
                <a:gd name="T13" fmla="*/ 48 h 60"/>
                <a:gd name="T14" fmla="*/ 96 w 108"/>
                <a:gd name="T15" fmla="*/ 48 h 60"/>
                <a:gd name="T16" fmla="*/ 54 w 108"/>
                <a:gd name="T17" fmla="*/ 12 h 60"/>
                <a:gd name="T18" fmla="*/ 13 w 108"/>
                <a:gd name="T19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8"/>
                    <a:pt x="0" y="54"/>
                  </a:cubicBezTo>
                  <a:cubicBezTo>
                    <a:pt x="0" y="25"/>
                    <a:pt x="24" y="0"/>
                    <a:pt x="54" y="0"/>
                  </a:cubicBezTo>
                  <a:cubicBezTo>
                    <a:pt x="84" y="0"/>
                    <a:pt x="108" y="25"/>
                    <a:pt x="108" y="54"/>
                  </a:cubicBezTo>
                  <a:cubicBezTo>
                    <a:pt x="108" y="58"/>
                    <a:pt x="106" y="60"/>
                    <a:pt x="102" y="60"/>
                  </a:cubicBezTo>
                  <a:close/>
                  <a:moveTo>
                    <a:pt x="13" y="48"/>
                  </a:moveTo>
                  <a:cubicBezTo>
                    <a:pt x="96" y="48"/>
                    <a:pt x="96" y="48"/>
                    <a:pt x="96" y="48"/>
                  </a:cubicBezTo>
                  <a:cubicBezTo>
                    <a:pt x="93" y="28"/>
                    <a:pt x="75" y="12"/>
                    <a:pt x="54" y="12"/>
                  </a:cubicBezTo>
                  <a:cubicBezTo>
                    <a:pt x="33" y="12"/>
                    <a:pt x="16" y="28"/>
                    <a:pt x="13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9" name="Freeform 130">
              <a:extLst>
                <a:ext uri="{FF2B5EF4-FFF2-40B4-BE49-F238E27FC236}">
                  <a16:creationId xmlns:a16="http://schemas.microsoft.com/office/drawing/2014/main" id="{A4CCAC9E-9F1D-7349-BC9A-B1EF22D51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" y="3250"/>
              <a:ext cx="147" cy="18"/>
            </a:xfrm>
            <a:custGeom>
              <a:avLst/>
              <a:gdLst>
                <a:gd name="T0" fmla="*/ 90 w 96"/>
                <a:gd name="T1" fmla="*/ 12 h 12"/>
                <a:gd name="T2" fmla="*/ 6 w 96"/>
                <a:gd name="T3" fmla="*/ 12 h 12"/>
                <a:gd name="T4" fmla="*/ 0 w 96"/>
                <a:gd name="T5" fmla="*/ 6 h 12"/>
                <a:gd name="T6" fmla="*/ 6 w 96"/>
                <a:gd name="T7" fmla="*/ 0 h 12"/>
                <a:gd name="T8" fmla="*/ 90 w 96"/>
                <a:gd name="T9" fmla="*/ 0 h 12"/>
                <a:gd name="T10" fmla="*/ 96 w 96"/>
                <a:gd name="T11" fmla="*/ 6 h 12"/>
                <a:gd name="T12" fmla="*/ 90 w 9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2">
                  <a:moveTo>
                    <a:pt x="9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3"/>
                    <a:pt x="96" y="6"/>
                  </a:cubicBezTo>
                  <a:cubicBezTo>
                    <a:pt x="96" y="9"/>
                    <a:pt x="9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90" name="Freeform 131">
              <a:extLst>
                <a:ext uri="{FF2B5EF4-FFF2-40B4-BE49-F238E27FC236}">
                  <a16:creationId xmlns:a16="http://schemas.microsoft.com/office/drawing/2014/main" id="{747CB487-9672-EB4E-BF7A-C18B01144E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" y="3286"/>
              <a:ext cx="147" cy="18"/>
            </a:xfrm>
            <a:custGeom>
              <a:avLst/>
              <a:gdLst>
                <a:gd name="T0" fmla="*/ 90 w 96"/>
                <a:gd name="T1" fmla="*/ 12 h 12"/>
                <a:gd name="T2" fmla="*/ 6 w 96"/>
                <a:gd name="T3" fmla="*/ 12 h 12"/>
                <a:gd name="T4" fmla="*/ 0 w 96"/>
                <a:gd name="T5" fmla="*/ 6 h 12"/>
                <a:gd name="T6" fmla="*/ 6 w 96"/>
                <a:gd name="T7" fmla="*/ 0 h 12"/>
                <a:gd name="T8" fmla="*/ 90 w 96"/>
                <a:gd name="T9" fmla="*/ 0 h 12"/>
                <a:gd name="T10" fmla="*/ 96 w 96"/>
                <a:gd name="T11" fmla="*/ 6 h 12"/>
                <a:gd name="T12" fmla="*/ 90 w 9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2">
                  <a:moveTo>
                    <a:pt x="9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3"/>
                    <a:pt x="96" y="6"/>
                  </a:cubicBezTo>
                  <a:cubicBezTo>
                    <a:pt x="96" y="9"/>
                    <a:pt x="9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91" name="Freeform 132">
              <a:extLst>
                <a:ext uri="{FF2B5EF4-FFF2-40B4-BE49-F238E27FC236}">
                  <a16:creationId xmlns:a16="http://schemas.microsoft.com/office/drawing/2014/main" id="{5B3A23BE-3A97-9841-A871-547EA51CC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" y="3322"/>
              <a:ext cx="147" cy="17"/>
            </a:xfrm>
            <a:custGeom>
              <a:avLst/>
              <a:gdLst>
                <a:gd name="T0" fmla="*/ 90 w 96"/>
                <a:gd name="T1" fmla="*/ 12 h 12"/>
                <a:gd name="T2" fmla="*/ 6 w 96"/>
                <a:gd name="T3" fmla="*/ 12 h 12"/>
                <a:gd name="T4" fmla="*/ 0 w 96"/>
                <a:gd name="T5" fmla="*/ 6 h 12"/>
                <a:gd name="T6" fmla="*/ 6 w 96"/>
                <a:gd name="T7" fmla="*/ 0 h 12"/>
                <a:gd name="T8" fmla="*/ 90 w 96"/>
                <a:gd name="T9" fmla="*/ 0 h 12"/>
                <a:gd name="T10" fmla="*/ 96 w 96"/>
                <a:gd name="T11" fmla="*/ 6 h 12"/>
                <a:gd name="T12" fmla="*/ 90 w 9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2">
                  <a:moveTo>
                    <a:pt x="9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3"/>
                    <a:pt x="96" y="6"/>
                  </a:cubicBezTo>
                  <a:cubicBezTo>
                    <a:pt x="96" y="9"/>
                    <a:pt x="9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292" name="Group 140">
            <a:extLst>
              <a:ext uri="{FF2B5EF4-FFF2-40B4-BE49-F238E27FC236}">
                <a16:creationId xmlns:a16="http://schemas.microsoft.com/office/drawing/2014/main" id="{AA388C1F-8ED0-A044-89DE-83D0EEEFC80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942164" y="1923077"/>
            <a:ext cx="513762" cy="513760"/>
            <a:chOff x="1560" y="3157"/>
            <a:chExt cx="426" cy="426"/>
          </a:xfrm>
          <a:solidFill>
            <a:schemeClr val="accent1"/>
          </a:solidFill>
        </p:grpSpPr>
        <p:sp>
          <p:nvSpPr>
            <p:cNvPr id="293" name="Freeform 141">
              <a:extLst>
                <a:ext uri="{FF2B5EF4-FFF2-40B4-BE49-F238E27FC236}">
                  <a16:creationId xmlns:a16="http://schemas.microsoft.com/office/drawing/2014/main" id="{6DC37675-C2E9-FC4D-97FC-14D1439C69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2" y="3211"/>
              <a:ext cx="142" cy="141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12 h 96"/>
                <a:gd name="T12" fmla="*/ 12 w 96"/>
                <a:gd name="T13" fmla="*/ 48 h 96"/>
                <a:gd name="T14" fmla="*/ 48 w 96"/>
                <a:gd name="T15" fmla="*/ 84 h 96"/>
                <a:gd name="T16" fmla="*/ 84 w 96"/>
                <a:gd name="T17" fmla="*/ 48 h 96"/>
                <a:gd name="T18" fmla="*/ 48 w 96"/>
                <a:gd name="T19" fmla="*/ 1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5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5" y="0"/>
                    <a:pt x="96" y="22"/>
                    <a:pt x="96" y="48"/>
                  </a:cubicBezTo>
                  <a:cubicBezTo>
                    <a:pt x="96" y="75"/>
                    <a:pt x="75" y="96"/>
                    <a:pt x="48" y="96"/>
                  </a:cubicBezTo>
                  <a:close/>
                  <a:moveTo>
                    <a:pt x="48" y="12"/>
                  </a:moveTo>
                  <a:cubicBezTo>
                    <a:pt x="28" y="12"/>
                    <a:pt x="12" y="29"/>
                    <a:pt x="12" y="48"/>
                  </a:cubicBezTo>
                  <a:cubicBezTo>
                    <a:pt x="12" y="68"/>
                    <a:pt x="28" y="84"/>
                    <a:pt x="48" y="84"/>
                  </a:cubicBezTo>
                  <a:cubicBezTo>
                    <a:pt x="68" y="84"/>
                    <a:pt x="84" y="68"/>
                    <a:pt x="84" y="48"/>
                  </a:cubicBezTo>
                  <a:cubicBezTo>
                    <a:pt x="84" y="29"/>
                    <a:pt x="68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294" name="Freeform 142">
              <a:extLst>
                <a:ext uri="{FF2B5EF4-FFF2-40B4-BE49-F238E27FC236}">
                  <a16:creationId xmlns:a16="http://schemas.microsoft.com/office/drawing/2014/main" id="{4F2931D0-0ECD-044F-B8D7-5EE83E53FC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3" y="3157"/>
              <a:ext cx="262" cy="392"/>
            </a:xfrm>
            <a:custGeom>
              <a:avLst/>
              <a:gdLst>
                <a:gd name="T0" fmla="*/ 88 w 177"/>
                <a:gd name="T1" fmla="*/ 265 h 265"/>
                <a:gd name="T2" fmla="*/ 88 w 177"/>
                <a:gd name="T3" fmla="*/ 265 h 265"/>
                <a:gd name="T4" fmla="*/ 83 w 177"/>
                <a:gd name="T5" fmla="*/ 262 h 265"/>
                <a:gd name="T6" fmla="*/ 0 w 177"/>
                <a:gd name="T7" fmla="*/ 89 h 265"/>
                <a:gd name="T8" fmla="*/ 88 w 177"/>
                <a:gd name="T9" fmla="*/ 0 h 265"/>
                <a:gd name="T10" fmla="*/ 177 w 177"/>
                <a:gd name="T11" fmla="*/ 89 h 265"/>
                <a:gd name="T12" fmla="*/ 93 w 177"/>
                <a:gd name="T13" fmla="*/ 262 h 265"/>
                <a:gd name="T14" fmla="*/ 88 w 177"/>
                <a:gd name="T15" fmla="*/ 265 h 265"/>
                <a:gd name="T16" fmla="*/ 88 w 177"/>
                <a:gd name="T17" fmla="*/ 12 h 265"/>
                <a:gd name="T18" fmla="*/ 12 w 177"/>
                <a:gd name="T19" fmla="*/ 89 h 265"/>
                <a:gd name="T20" fmla="*/ 88 w 177"/>
                <a:gd name="T21" fmla="*/ 248 h 265"/>
                <a:gd name="T22" fmla="*/ 165 w 177"/>
                <a:gd name="T23" fmla="*/ 89 h 265"/>
                <a:gd name="T24" fmla="*/ 88 w 177"/>
                <a:gd name="T25" fmla="*/ 1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7" h="265">
                  <a:moveTo>
                    <a:pt x="88" y="265"/>
                  </a:moveTo>
                  <a:cubicBezTo>
                    <a:pt x="88" y="265"/>
                    <a:pt x="88" y="265"/>
                    <a:pt x="88" y="265"/>
                  </a:cubicBezTo>
                  <a:cubicBezTo>
                    <a:pt x="86" y="265"/>
                    <a:pt x="84" y="264"/>
                    <a:pt x="83" y="262"/>
                  </a:cubicBezTo>
                  <a:cubicBezTo>
                    <a:pt x="80" y="257"/>
                    <a:pt x="0" y="135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135"/>
                    <a:pt x="97" y="257"/>
                    <a:pt x="93" y="262"/>
                  </a:cubicBezTo>
                  <a:cubicBezTo>
                    <a:pt x="92" y="264"/>
                    <a:pt x="90" y="265"/>
                    <a:pt x="88" y="265"/>
                  </a:cubicBezTo>
                  <a:close/>
                  <a:moveTo>
                    <a:pt x="88" y="12"/>
                  </a:moveTo>
                  <a:cubicBezTo>
                    <a:pt x="46" y="12"/>
                    <a:pt x="12" y="47"/>
                    <a:pt x="12" y="89"/>
                  </a:cubicBezTo>
                  <a:cubicBezTo>
                    <a:pt x="12" y="126"/>
                    <a:pt x="71" y="220"/>
                    <a:pt x="88" y="248"/>
                  </a:cubicBezTo>
                  <a:cubicBezTo>
                    <a:pt x="106" y="220"/>
                    <a:pt x="165" y="126"/>
                    <a:pt x="165" y="89"/>
                  </a:cubicBezTo>
                  <a:cubicBezTo>
                    <a:pt x="165" y="47"/>
                    <a:pt x="130" y="12"/>
                    <a:pt x="8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295" name="Freeform 143">
              <a:extLst>
                <a:ext uri="{FF2B5EF4-FFF2-40B4-BE49-F238E27FC236}">
                  <a16:creationId xmlns:a16="http://schemas.microsoft.com/office/drawing/2014/main" id="{2A0F5EEC-4050-F048-8AF4-786AD6520B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0" y="3499"/>
              <a:ext cx="426" cy="84"/>
            </a:xfrm>
            <a:custGeom>
              <a:avLst/>
              <a:gdLst>
                <a:gd name="T0" fmla="*/ 144 w 288"/>
                <a:gd name="T1" fmla="*/ 57 h 57"/>
                <a:gd name="T2" fmla="*/ 0 w 288"/>
                <a:gd name="T3" fmla="*/ 27 h 57"/>
                <a:gd name="T4" fmla="*/ 83 w 288"/>
                <a:gd name="T5" fmla="*/ 0 h 57"/>
                <a:gd name="T6" fmla="*/ 90 w 288"/>
                <a:gd name="T7" fmla="*/ 5 h 57"/>
                <a:gd name="T8" fmla="*/ 84 w 288"/>
                <a:gd name="T9" fmla="*/ 12 h 57"/>
                <a:gd name="T10" fmla="*/ 13 w 288"/>
                <a:gd name="T11" fmla="*/ 27 h 57"/>
                <a:gd name="T12" fmla="*/ 144 w 288"/>
                <a:gd name="T13" fmla="*/ 45 h 57"/>
                <a:gd name="T14" fmla="*/ 276 w 288"/>
                <a:gd name="T15" fmla="*/ 27 h 57"/>
                <a:gd name="T16" fmla="*/ 204 w 288"/>
                <a:gd name="T17" fmla="*/ 12 h 57"/>
                <a:gd name="T18" fmla="*/ 198 w 288"/>
                <a:gd name="T19" fmla="*/ 5 h 57"/>
                <a:gd name="T20" fmla="*/ 205 w 288"/>
                <a:gd name="T21" fmla="*/ 0 h 57"/>
                <a:gd name="T22" fmla="*/ 288 w 288"/>
                <a:gd name="T23" fmla="*/ 27 h 57"/>
                <a:gd name="T24" fmla="*/ 144 w 288"/>
                <a:gd name="T25" fmla="*/ 57 h 57"/>
                <a:gd name="T26" fmla="*/ 276 w 288"/>
                <a:gd name="T27" fmla="*/ 28 h 57"/>
                <a:gd name="T28" fmla="*/ 276 w 288"/>
                <a:gd name="T29" fmla="*/ 2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57">
                  <a:moveTo>
                    <a:pt x="144" y="57"/>
                  </a:moveTo>
                  <a:cubicBezTo>
                    <a:pt x="130" y="57"/>
                    <a:pt x="0" y="57"/>
                    <a:pt x="0" y="27"/>
                  </a:cubicBezTo>
                  <a:cubicBezTo>
                    <a:pt x="0" y="14"/>
                    <a:pt x="28" y="5"/>
                    <a:pt x="83" y="0"/>
                  </a:cubicBezTo>
                  <a:cubicBezTo>
                    <a:pt x="87" y="0"/>
                    <a:pt x="89" y="2"/>
                    <a:pt x="90" y="5"/>
                  </a:cubicBezTo>
                  <a:cubicBezTo>
                    <a:pt x="90" y="9"/>
                    <a:pt x="88" y="12"/>
                    <a:pt x="84" y="12"/>
                  </a:cubicBezTo>
                  <a:cubicBezTo>
                    <a:pt x="33" y="16"/>
                    <a:pt x="16" y="24"/>
                    <a:pt x="13" y="27"/>
                  </a:cubicBezTo>
                  <a:cubicBezTo>
                    <a:pt x="18" y="34"/>
                    <a:pt x="65" y="45"/>
                    <a:pt x="144" y="45"/>
                  </a:cubicBezTo>
                  <a:cubicBezTo>
                    <a:pt x="223" y="45"/>
                    <a:pt x="270" y="34"/>
                    <a:pt x="276" y="27"/>
                  </a:cubicBezTo>
                  <a:cubicBezTo>
                    <a:pt x="273" y="24"/>
                    <a:pt x="255" y="16"/>
                    <a:pt x="204" y="12"/>
                  </a:cubicBezTo>
                  <a:cubicBezTo>
                    <a:pt x="200" y="12"/>
                    <a:pt x="198" y="9"/>
                    <a:pt x="198" y="5"/>
                  </a:cubicBezTo>
                  <a:cubicBezTo>
                    <a:pt x="199" y="2"/>
                    <a:pt x="201" y="0"/>
                    <a:pt x="205" y="0"/>
                  </a:cubicBezTo>
                  <a:cubicBezTo>
                    <a:pt x="260" y="5"/>
                    <a:pt x="288" y="14"/>
                    <a:pt x="288" y="27"/>
                  </a:cubicBezTo>
                  <a:cubicBezTo>
                    <a:pt x="288" y="57"/>
                    <a:pt x="159" y="57"/>
                    <a:pt x="144" y="57"/>
                  </a:cubicBezTo>
                  <a:close/>
                  <a:moveTo>
                    <a:pt x="276" y="28"/>
                  </a:moveTo>
                  <a:cubicBezTo>
                    <a:pt x="276" y="28"/>
                    <a:pt x="276" y="28"/>
                    <a:pt x="27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296" name="Group 265">
            <a:extLst>
              <a:ext uri="{FF2B5EF4-FFF2-40B4-BE49-F238E27FC236}">
                <a16:creationId xmlns:a16="http://schemas.microsoft.com/office/drawing/2014/main" id="{DB574722-631E-164E-AF27-0911A2FEC32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686502" y="1940477"/>
            <a:ext cx="477838" cy="478960"/>
            <a:chOff x="4480" y="2998"/>
            <a:chExt cx="426" cy="427"/>
          </a:xfrm>
          <a:solidFill>
            <a:schemeClr val="accent1"/>
          </a:solidFill>
        </p:grpSpPr>
        <p:sp>
          <p:nvSpPr>
            <p:cNvPr id="297" name="Freeform 266">
              <a:extLst>
                <a:ext uri="{FF2B5EF4-FFF2-40B4-BE49-F238E27FC236}">
                  <a16:creationId xmlns:a16="http://schemas.microsoft.com/office/drawing/2014/main" id="{B9360F8F-35A5-2948-A337-3FA5820849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0" y="2998"/>
              <a:ext cx="426" cy="427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1 h 288"/>
                <a:gd name="T4" fmla="*/ 138 w 288"/>
                <a:gd name="T5" fmla="*/ 0 h 288"/>
                <a:gd name="T6" fmla="*/ 144 w 288"/>
                <a:gd name="T7" fmla="*/ 0 h 288"/>
                <a:gd name="T8" fmla="*/ 288 w 288"/>
                <a:gd name="T9" fmla="*/ 143 h 288"/>
                <a:gd name="T10" fmla="*/ 144 w 288"/>
                <a:gd name="T11" fmla="*/ 288 h 288"/>
                <a:gd name="T12" fmla="*/ 144 w 288"/>
                <a:gd name="T13" fmla="*/ 12 h 288"/>
                <a:gd name="T14" fmla="*/ 139 w 288"/>
                <a:gd name="T15" fmla="*/ 12 h 288"/>
                <a:gd name="T16" fmla="*/ 12 w 288"/>
                <a:gd name="T17" fmla="*/ 141 h 288"/>
                <a:gd name="T18" fmla="*/ 144 w 288"/>
                <a:gd name="T19" fmla="*/ 276 h 288"/>
                <a:gd name="T20" fmla="*/ 276 w 288"/>
                <a:gd name="T21" fmla="*/ 143 h 288"/>
                <a:gd name="T22" fmla="*/ 144 w 288"/>
                <a:gd name="T23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5" y="288"/>
                    <a:pt x="0" y="222"/>
                    <a:pt x="0" y="141"/>
                  </a:cubicBezTo>
                  <a:cubicBezTo>
                    <a:pt x="0" y="64"/>
                    <a:pt x="60" y="3"/>
                    <a:pt x="138" y="0"/>
                  </a:cubicBezTo>
                  <a:cubicBezTo>
                    <a:pt x="140" y="0"/>
                    <a:pt x="142" y="0"/>
                    <a:pt x="144" y="0"/>
                  </a:cubicBezTo>
                  <a:cubicBezTo>
                    <a:pt x="224" y="0"/>
                    <a:pt x="288" y="64"/>
                    <a:pt x="288" y="143"/>
                  </a:cubicBezTo>
                  <a:cubicBezTo>
                    <a:pt x="288" y="223"/>
                    <a:pt x="224" y="288"/>
                    <a:pt x="144" y="288"/>
                  </a:cubicBezTo>
                  <a:close/>
                  <a:moveTo>
                    <a:pt x="144" y="12"/>
                  </a:moveTo>
                  <a:cubicBezTo>
                    <a:pt x="143" y="12"/>
                    <a:pt x="141" y="12"/>
                    <a:pt x="139" y="12"/>
                  </a:cubicBezTo>
                  <a:cubicBezTo>
                    <a:pt x="67" y="15"/>
                    <a:pt x="12" y="70"/>
                    <a:pt x="12" y="141"/>
                  </a:cubicBezTo>
                  <a:cubicBezTo>
                    <a:pt x="12" y="215"/>
                    <a:pt x="71" y="276"/>
                    <a:pt x="144" y="276"/>
                  </a:cubicBezTo>
                  <a:cubicBezTo>
                    <a:pt x="217" y="276"/>
                    <a:pt x="276" y="216"/>
                    <a:pt x="276" y="143"/>
                  </a:cubicBezTo>
                  <a:cubicBezTo>
                    <a:pt x="276" y="71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298" name="Freeform 267">
              <a:extLst>
                <a:ext uri="{FF2B5EF4-FFF2-40B4-BE49-F238E27FC236}">
                  <a16:creationId xmlns:a16="http://schemas.microsoft.com/office/drawing/2014/main" id="{D12E7AA0-6D6F-1C44-A651-D3A086359C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9" y="3001"/>
              <a:ext cx="123" cy="419"/>
            </a:xfrm>
            <a:custGeom>
              <a:avLst/>
              <a:gdLst>
                <a:gd name="T0" fmla="*/ 74 w 83"/>
                <a:gd name="T1" fmla="*/ 283 h 283"/>
                <a:gd name="T2" fmla="*/ 74 w 83"/>
                <a:gd name="T3" fmla="*/ 0 h 283"/>
                <a:gd name="T4" fmla="*/ 83 w 83"/>
                <a:gd name="T5" fmla="*/ 8 h 283"/>
                <a:gd name="T6" fmla="*/ 83 w 83"/>
                <a:gd name="T7" fmla="*/ 276 h 283"/>
                <a:gd name="T8" fmla="*/ 74 w 83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283">
                  <a:moveTo>
                    <a:pt x="74" y="283"/>
                  </a:moveTo>
                  <a:cubicBezTo>
                    <a:pt x="0" y="186"/>
                    <a:pt x="1" y="80"/>
                    <a:pt x="74" y="0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13" y="84"/>
                    <a:pt x="13" y="182"/>
                    <a:pt x="83" y="276"/>
                  </a:cubicBezTo>
                  <a:lnTo>
                    <a:pt x="74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299" name="Freeform 268">
              <a:extLst>
                <a:ext uri="{FF2B5EF4-FFF2-40B4-BE49-F238E27FC236}">
                  <a16:creationId xmlns:a16="http://schemas.microsoft.com/office/drawing/2014/main" id="{106A933E-5559-2E41-A345-731A2E0F8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6" y="3001"/>
              <a:ext cx="123" cy="419"/>
            </a:xfrm>
            <a:custGeom>
              <a:avLst/>
              <a:gdLst>
                <a:gd name="T0" fmla="*/ 9 w 83"/>
                <a:gd name="T1" fmla="*/ 283 h 283"/>
                <a:gd name="T2" fmla="*/ 0 w 83"/>
                <a:gd name="T3" fmla="*/ 276 h 283"/>
                <a:gd name="T4" fmla="*/ 0 w 83"/>
                <a:gd name="T5" fmla="*/ 8 h 283"/>
                <a:gd name="T6" fmla="*/ 9 w 83"/>
                <a:gd name="T7" fmla="*/ 0 h 283"/>
                <a:gd name="T8" fmla="*/ 9 w 83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283">
                  <a:moveTo>
                    <a:pt x="9" y="283"/>
                  </a:moveTo>
                  <a:cubicBezTo>
                    <a:pt x="0" y="276"/>
                    <a:pt x="0" y="276"/>
                    <a:pt x="0" y="276"/>
                  </a:cubicBezTo>
                  <a:cubicBezTo>
                    <a:pt x="70" y="182"/>
                    <a:pt x="70" y="84"/>
                    <a:pt x="0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2" y="80"/>
                    <a:pt x="83" y="186"/>
                    <a:pt x="9" y="2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300" name="Rectangle 269">
              <a:extLst>
                <a:ext uri="{FF2B5EF4-FFF2-40B4-BE49-F238E27FC236}">
                  <a16:creationId xmlns:a16="http://schemas.microsoft.com/office/drawing/2014/main" id="{9C2B5A47-940D-EA48-BAA9-4D26EB1A3E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6" y="3300"/>
              <a:ext cx="356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301" name="Rectangle 270">
              <a:extLst>
                <a:ext uri="{FF2B5EF4-FFF2-40B4-BE49-F238E27FC236}">
                  <a16:creationId xmlns:a16="http://schemas.microsoft.com/office/drawing/2014/main" id="{C426CD1A-3E99-F54E-9271-6DE70CA75D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3" y="3087"/>
              <a:ext cx="339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302" name="Rectangle 271">
              <a:extLst>
                <a:ext uri="{FF2B5EF4-FFF2-40B4-BE49-F238E27FC236}">
                  <a16:creationId xmlns:a16="http://schemas.microsoft.com/office/drawing/2014/main" id="{B3811124-B17C-D94B-8AD1-A4CCDE5EA5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9" y="3194"/>
              <a:ext cx="408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303" name="Group 92">
            <a:extLst>
              <a:ext uri="{FF2B5EF4-FFF2-40B4-BE49-F238E27FC236}">
                <a16:creationId xmlns:a16="http://schemas.microsoft.com/office/drawing/2014/main" id="{31B23D09-8735-2E48-9CB2-8770D647F10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560155" y="5528336"/>
            <a:ext cx="578644" cy="412766"/>
            <a:chOff x="341" y="1769"/>
            <a:chExt cx="450" cy="321"/>
          </a:xfrm>
          <a:solidFill>
            <a:schemeClr val="accent1"/>
          </a:solidFill>
        </p:grpSpPr>
        <p:sp>
          <p:nvSpPr>
            <p:cNvPr id="304" name="Freeform 93">
              <a:extLst>
                <a:ext uri="{FF2B5EF4-FFF2-40B4-BE49-F238E27FC236}">
                  <a16:creationId xmlns:a16="http://schemas.microsoft.com/office/drawing/2014/main" id="{D6BFE993-EF88-464D-8FCD-289EC0330F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" y="1923"/>
              <a:ext cx="101" cy="167"/>
            </a:xfrm>
            <a:custGeom>
              <a:avLst/>
              <a:gdLst>
                <a:gd name="T0" fmla="*/ 68 w 68"/>
                <a:gd name="T1" fmla="*/ 14 h 113"/>
                <a:gd name="T2" fmla="*/ 54 w 68"/>
                <a:gd name="T3" fmla="*/ 0 h 113"/>
                <a:gd name="T4" fmla="*/ 13 w 68"/>
                <a:gd name="T5" fmla="*/ 0 h 113"/>
                <a:gd name="T6" fmla="*/ 0 w 68"/>
                <a:gd name="T7" fmla="*/ 14 h 113"/>
                <a:gd name="T8" fmla="*/ 0 w 68"/>
                <a:gd name="T9" fmla="*/ 100 h 113"/>
                <a:gd name="T10" fmla="*/ 13 w 68"/>
                <a:gd name="T11" fmla="*/ 113 h 113"/>
                <a:gd name="T12" fmla="*/ 54 w 68"/>
                <a:gd name="T13" fmla="*/ 113 h 113"/>
                <a:gd name="T14" fmla="*/ 68 w 68"/>
                <a:gd name="T15" fmla="*/ 100 h 113"/>
                <a:gd name="T16" fmla="*/ 68 w 68"/>
                <a:gd name="T17" fmla="*/ 14 h 113"/>
                <a:gd name="T18" fmla="*/ 58 w 68"/>
                <a:gd name="T19" fmla="*/ 100 h 113"/>
                <a:gd name="T20" fmla="*/ 54 w 68"/>
                <a:gd name="T21" fmla="*/ 104 h 113"/>
                <a:gd name="T22" fmla="*/ 13 w 68"/>
                <a:gd name="T23" fmla="*/ 104 h 113"/>
                <a:gd name="T24" fmla="*/ 9 w 68"/>
                <a:gd name="T25" fmla="*/ 100 h 113"/>
                <a:gd name="T26" fmla="*/ 9 w 68"/>
                <a:gd name="T27" fmla="*/ 90 h 113"/>
                <a:gd name="T28" fmla="*/ 58 w 68"/>
                <a:gd name="T29" fmla="*/ 90 h 113"/>
                <a:gd name="T30" fmla="*/ 58 w 68"/>
                <a:gd name="T31" fmla="*/ 100 h 113"/>
                <a:gd name="T32" fmla="*/ 58 w 68"/>
                <a:gd name="T33" fmla="*/ 81 h 113"/>
                <a:gd name="T34" fmla="*/ 9 w 68"/>
                <a:gd name="T35" fmla="*/ 81 h 113"/>
                <a:gd name="T36" fmla="*/ 9 w 68"/>
                <a:gd name="T37" fmla="*/ 31 h 113"/>
                <a:gd name="T38" fmla="*/ 58 w 68"/>
                <a:gd name="T39" fmla="*/ 31 h 113"/>
                <a:gd name="T40" fmla="*/ 58 w 68"/>
                <a:gd name="T41" fmla="*/ 81 h 113"/>
                <a:gd name="T42" fmla="*/ 58 w 68"/>
                <a:gd name="T43" fmla="*/ 22 h 113"/>
                <a:gd name="T44" fmla="*/ 9 w 68"/>
                <a:gd name="T45" fmla="*/ 22 h 113"/>
                <a:gd name="T46" fmla="*/ 9 w 68"/>
                <a:gd name="T47" fmla="*/ 14 h 113"/>
                <a:gd name="T48" fmla="*/ 13 w 68"/>
                <a:gd name="T49" fmla="*/ 9 h 113"/>
                <a:gd name="T50" fmla="*/ 54 w 68"/>
                <a:gd name="T51" fmla="*/ 9 h 113"/>
                <a:gd name="T52" fmla="*/ 58 w 68"/>
                <a:gd name="T53" fmla="*/ 14 h 113"/>
                <a:gd name="T54" fmla="*/ 58 w 68"/>
                <a:gd name="T55" fmla="*/ 2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8" h="113">
                  <a:moveTo>
                    <a:pt x="68" y="14"/>
                  </a:moveTo>
                  <a:cubicBezTo>
                    <a:pt x="68" y="6"/>
                    <a:pt x="62" y="0"/>
                    <a:pt x="5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7"/>
                    <a:pt x="6" y="113"/>
                    <a:pt x="13" y="113"/>
                  </a:cubicBezTo>
                  <a:cubicBezTo>
                    <a:pt x="54" y="113"/>
                    <a:pt x="54" y="113"/>
                    <a:pt x="54" y="113"/>
                  </a:cubicBezTo>
                  <a:cubicBezTo>
                    <a:pt x="62" y="113"/>
                    <a:pt x="68" y="107"/>
                    <a:pt x="68" y="100"/>
                  </a:cubicBezTo>
                  <a:lnTo>
                    <a:pt x="68" y="14"/>
                  </a:lnTo>
                  <a:close/>
                  <a:moveTo>
                    <a:pt x="58" y="100"/>
                  </a:moveTo>
                  <a:cubicBezTo>
                    <a:pt x="58" y="102"/>
                    <a:pt x="56" y="104"/>
                    <a:pt x="54" y="104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1" y="104"/>
                    <a:pt x="9" y="102"/>
                    <a:pt x="9" y="100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58" y="90"/>
                    <a:pt x="58" y="90"/>
                    <a:pt x="58" y="90"/>
                  </a:cubicBezTo>
                  <a:lnTo>
                    <a:pt x="58" y="100"/>
                  </a:lnTo>
                  <a:close/>
                  <a:moveTo>
                    <a:pt x="58" y="81"/>
                  </a:moveTo>
                  <a:cubicBezTo>
                    <a:pt x="9" y="81"/>
                    <a:pt x="9" y="81"/>
                    <a:pt x="9" y="8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58" y="31"/>
                    <a:pt x="58" y="31"/>
                    <a:pt x="58" y="31"/>
                  </a:cubicBezTo>
                  <a:lnTo>
                    <a:pt x="58" y="81"/>
                  </a:lnTo>
                  <a:close/>
                  <a:moveTo>
                    <a:pt x="58" y="22"/>
                  </a:moveTo>
                  <a:cubicBezTo>
                    <a:pt x="9" y="22"/>
                    <a:pt x="9" y="22"/>
                    <a:pt x="9" y="22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1"/>
                    <a:pt x="11" y="9"/>
                    <a:pt x="13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6" y="9"/>
                    <a:pt x="58" y="11"/>
                    <a:pt x="58" y="14"/>
                  </a:cubicBezTo>
                  <a:lnTo>
                    <a:pt x="5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05" name="Freeform 94">
              <a:extLst>
                <a:ext uri="{FF2B5EF4-FFF2-40B4-BE49-F238E27FC236}">
                  <a16:creationId xmlns:a16="http://schemas.microsoft.com/office/drawing/2014/main" id="{37409101-31C8-E04F-8744-C456BF405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" y="1806"/>
              <a:ext cx="321" cy="194"/>
            </a:xfrm>
            <a:custGeom>
              <a:avLst/>
              <a:gdLst>
                <a:gd name="T0" fmla="*/ 217 w 217"/>
                <a:gd name="T1" fmla="*/ 5 h 131"/>
                <a:gd name="T2" fmla="*/ 212 w 217"/>
                <a:gd name="T3" fmla="*/ 0 h 131"/>
                <a:gd name="T4" fmla="*/ 5 w 217"/>
                <a:gd name="T5" fmla="*/ 0 h 131"/>
                <a:gd name="T6" fmla="*/ 0 w 217"/>
                <a:gd name="T7" fmla="*/ 5 h 131"/>
                <a:gd name="T8" fmla="*/ 0 w 217"/>
                <a:gd name="T9" fmla="*/ 29 h 131"/>
                <a:gd name="T10" fmla="*/ 10 w 217"/>
                <a:gd name="T11" fmla="*/ 29 h 131"/>
                <a:gd name="T12" fmla="*/ 10 w 217"/>
                <a:gd name="T13" fmla="*/ 10 h 131"/>
                <a:gd name="T14" fmla="*/ 207 w 217"/>
                <a:gd name="T15" fmla="*/ 10 h 131"/>
                <a:gd name="T16" fmla="*/ 207 w 217"/>
                <a:gd name="T17" fmla="*/ 121 h 131"/>
                <a:gd name="T18" fmla="*/ 97 w 217"/>
                <a:gd name="T19" fmla="*/ 121 h 131"/>
                <a:gd name="T20" fmla="*/ 97 w 217"/>
                <a:gd name="T21" fmla="*/ 131 h 131"/>
                <a:gd name="T22" fmla="*/ 212 w 217"/>
                <a:gd name="T23" fmla="*/ 131 h 131"/>
                <a:gd name="T24" fmla="*/ 217 w 217"/>
                <a:gd name="T25" fmla="*/ 126 h 131"/>
                <a:gd name="T26" fmla="*/ 217 w 217"/>
                <a:gd name="T27" fmla="*/ 5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7" h="131">
                  <a:moveTo>
                    <a:pt x="217" y="5"/>
                  </a:moveTo>
                  <a:cubicBezTo>
                    <a:pt x="217" y="2"/>
                    <a:pt x="215" y="0"/>
                    <a:pt x="21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207" y="10"/>
                    <a:pt x="207" y="10"/>
                    <a:pt x="207" y="10"/>
                  </a:cubicBezTo>
                  <a:cubicBezTo>
                    <a:pt x="207" y="121"/>
                    <a:pt x="207" y="121"/>
                    <a:pt x="207" y="121"/>
                  </a:cubicBezTo>
                  <a:cubicBezTo>
                    <a:pt x="97" y="121"/>
                    <a:pt x="97" y="121"/>
                    <a:pt x="97" y="121"/>
                  </a:cubicBezTo>
                  <a:cubicBezTo>
                    <a:pt x="97" y="131"/>
                    <a:pt x="97" y="131"/>
                    <a:pt x="97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5" y="131"/>
                    <a:pt x="217" y="129"/>
                    <a:pt x="217" y="126"/>
                  </a:cubicBezTo>
                  <a:lnTo>
                    <a:pt x="217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06" name="Freeform 95">
              <a:extLst>
                <a:ext uri="{FF2B5EF4-FFF2-40B4-BE49-F238E27FC236}">
                  <a16:creationId xmlns:a16="http://schemas.microsoft.com/office/drawing/2014/main" id="{844F5876-66F7-7740-8476-CDBA4D0E8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" y="1769"/>
              <a:ext cx="409" cy="321"/>
            </a:xfrm>
            <a:custGeom>
              <a:avLst/>
              <a:gdLst>
                <a:gd name="T0" fmla="*/ 272 w 277"/>
                <a:gd name="T1" fmla="*/ 171 h 217"/>
                <a:gd name="T2" fmla="*/ 265 w 277"/>
                <a:gd name="T3" fmla="*/ 171 h 217"/>
                <a:gd name="T4" fmla="*/ 265 w 277"/>
                <a:gd name="T5" fmla="*/ 24 h 217"/>
                <a:gd name="T6" fmla="*/ 242 w 277"/>
                <a:gd name="T7" fmla="*/ 0 h 217"/>
                <a:gd name="T8" fmla="*/ 23 w 277"/>
                <a:gd name="T9" fmla="*/ 0 h 217"/>
                <a:gd name="T10" fmla="*/ 0 w 277"/>
                <a:gd name="T11" fmla="*/ 24 h 217"/>
                <a:gd name="T12" fmla="*/ 0 w 277"/>
                <a:gd name="T13" fmla="*/ 54 h 217"/>
                <a:gd name="T14" fmla="*/ 10 w 277"/>
                <a:gd name="T15" fmla="*/ 54 h 217"/>
                <a:gd name="T16" fmla="*/ 10 w 277"/>
                <a:gd name="T17" fmla="*/ 24 h 217"/>
                <a:gd name="T18" fmla="*/ 23 w 277"/>
                <a:gd name="T19" fmla="*/ 10 h 217"/>
                <a:gd name="T20" fmla="*/ 242 w 277"/>
                <a:gd name="T21" fmla="*/ 10 h 217"/>
                <a:gd name="T22" fmla="*/ 255 w 277"/>
                <a:gd name="T23" fmla="*/ 24 h 217"/>
                <a:gd name="T24" fmla="*/ 255 w 277"/>
                <a:gd name="T25" fmla="*/ 171 h 217"/>
                <a:gd name="T26" fmla="*/ 163 w 277"/>
                <a:gd name="T27" fmla="*/ 171 h 217"/>
                <a:gd name="T28" fmla="*/ 158 w 277"/>
                <a:gd name="T29" fmla="*/ 176 h 217"/>
                <a:gd name="T30" fmla="*/ 158 w 277"/>
                <a:gd name="T31" fmla="*/ 183 h 217"/>
                <a:gd name="T32" fmla="*/ 121 w 277"/>
                <a:gd name="T33" fmla="*/ 183 h 217"/>
                <a:gd name="T34" fmla="*/ 121 w 277"/>
                <a:gd name="T35" fmla="*/ 193 h 217"/>
                <a:gd name="T36" fmla="*/ 163 w 277"/>
                <a:gd name="T37" fmla="*/ 193 h 217"/>
                <a:gd name="T38" fmla="*/ 168 w 277"/>
                <a:gd name="T39" fmla="*/ 188 h 217"/>
                <a:gd name="T40" fmla="*/ 168 w 277"/>
                <a:gd name="T41" fmla="*/ 181 h 217"/>
                <a:gd name="T42" fmla="*/ 267 w 277"/>
                <a:gd name="T43" fmla="*/ 181 h 217"/>
                <a:gd name="T44" fmla="*/ 267 w 277"/>
                <a:gd name="T45" fmla="*/ 200 h 217"/>
                <a:gd name="T46" fmla="*/ 260 w 277"/>
                <a:gd name="T47" fmla="*/ 207 h 217"/>
                <a:gd name="T48" fmla="*/ 121 w 277"/>
                <a:gd name="T49" fmla="*/ 207 h 217"/>
                <a:gd name="T50" fmla="*/ 121 w 277"/>
                <a:gd name="T51" fmla="*/ 208 h 217"/>
                <a:gd name="T52" fmla="*/ 117 w 277"/>
                <a:gd name="T53" fmla="*/ 216 h 217"/>
                <a:gd name="T54" fmla="*/ 116 w 277"/>
                <a:gd name="T55" fmla="*/ 217 h 217"/>
                <a:gd name="T56" fmla="*/ 260 w 277"/>
                <a:gd name="T57" fmla="*/ 217 h 217"/>
                <a:gd name="T58" fmla="*/ 277 w 277"/>
                <a:gd name="T59" fmla="*/ 200 h 217"/>
                <a:gd name="T60" fmla="*/ 277 w 277"/>
                <a:gd name="T61" fmla="*/ 176 h 217"/>
                <a:gd name="T62" fmla="*/ 272 w 277"/>
                <a:gd name="T63" fmla="*/ 171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7" h="217">
                  <a:moveTo>
                    <a:pt x="272" y="171"/>
                  </a:moveTo>
                  <a:cubicBezTo>
                    <a:pt x="265" y="171"/>
                    <a:pt x="265" y="171"/>
                    <a:pt x="265" y="171"/>
                  </a:cubicBezTo>
                  <a:cubicBezTo>
                    <a:pt x="265" y="24"/>
                    <a:pt x="265" y="24"/>
                    <a:pt x="265" y="24"/>
                  </a:cubicBezTo>
                  <a:cubicBezTo>
                    <a:pt x="265" y="11"/>
                    <a:pt x="255" y="0"/>
                    <a:pt x="24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0" y="0"/>
                    <a:pt x="0" y="11"/>
                    <a:pt x="0" y="2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0" y="16"/>
                    <a:pt x="16" y="10"/>
                    <a:pt x="23" y="10"/>
                  </a:cubicBezTo>
                  <a:cubicBezTo>
                    <a:pt x="242" y="10"/>
                    <a:pt x="242" y="10"/>
                    <a:pt x="242" y="10"/>
                  </a:cubicBezTo>
                  <a:cubicBezTo>
                    <a:pt x="249" y="10"/>
                    <a:pt x="255" y="16"/>
                    <a:pt x="255" y="24"/>
                  </a:cubicBezTo>
                  <a:cubicBezTo>
                    <a:pt x="255" y="171"/>
                    <a:pt x="255" y="171"/>
                    <a:pt x="255" y="171"/>
                  </a:cubicBezTo>
                  <a:cubicBezTo>
                    <a:pt x="163" y="171"/>
                    <a:pt x="163" y="171"/>
                    <a:pt x="163" y="171"/>
                  </a:cubicBezTo>
                  <a:cubicBezTo>
                    <a:pt x="160" y="171"/>
                    <a:pt x="158" y="173"/>
                    <a:pt x="158" y="176"/>
                  </a:cubicBezTo>
                  <a:cubicBezTo>
                    <a:pt x="158" y="183"/>
                    <a:pt x="158" y="183"/>
                    <a:pt x="158" y="183"/>
                  </a:cubicBezTo>
                  <a:cubicBezTo>
                    <a:pt x="121" y="183"/>
                    <a:pt x="121" y="183"/>
                    <a:pt x="121" y="183"/>
                  </a:cubicBezTo>
                  <a:cubicBezTo>
                    <a:pt x="121" y="193"/>
                    <a:pt x="121" y="193"/>
                    <a:pt x="121" y="193"/>
                  </a:cubicBezTo>
                  <a:cubicBezTo>
                    <a:pt x="163" y="193"/>
                    <a:pt x="163" y="193"/>
                    <a:pt x="163" y="193"/>
                  </a:cubicBezTo>
                  <a:cubicBezTo>
                    <a:pt x="166" y="193"/>
                    <a:pt x="168" y="191"/>
                    <a:pt x="168" y="188"/>
                  </a:cubicBezTo>
                  <a:cubicBezTo>
                    <a:pt x="168" y="181"/>
                    <a:pt x="168" y="181"/>
                    <a:pt x="168" y="181"/>
                  </a:cubicBezTo>
                  <a:cubicBezTo>
                    <a:pt x="267" y="181"/>
                    <a:pt x="267" y="181"/>
                    <a:pt x="267" y="181"/>
                  </a:cubicBezTo>
                  <a:cubicBezTo>
                    <a:pt x="267" y="200"/>
                    <a:pt x="267" y="200"/>
                    <a:pt x="267" y="200"/>
                  </a:cubicBezTo>
                  <a:cubicBezTo>
                    <a:pt x="267" y="204"/>
                    <a:pt x="264" y="207"/>
                    <a:pt x="260" y="207"/>
                  </a:cubicBezTo>
                  <a:cubicBezTo>
                    <a:pt x="121" y="207"/>
                    <a:pt x="121" y="207"/>
                    <a:pt x="121" y="207"/>
                  </a:cubicBezTo>
                  <a:cubicBezTo>
                    <a:pt x="121" y="208"/>
                    <a:pt x="121" y="208"/>
                    <a:pt x="121" y="208"/>
                  </a:cubicBezTo>
                  <a:cubicBezTo>
                    <a:pt x="120" y="211"/>
                    <a:pt x="119" y="213"/>
                    <a:pt x="117" y="216"/>
                  </a:cubicBezTo>
                  <a:cubicBezTo>
                    <a:pt x="116" y="217"/>
                    <a:pt x="116" y="217"/>
                    <a:pt x="116" y="217"/>
                  </a:cubicBezTo>
                  <a:cubicBezTo>
                    <a:pt x="260" y="217"/>
                    <a:pt x="260" y="217"/>
                    <a:pt x="260" y="217"/>
                  </a:cubicBezTo>
                  <a:cubicBezTo>
                    <a:pt x="270" y="217"/>
                    <a:pt x="277" y="209"/>
                    <a:pt x="277" y="200"/>
                  </a:cubicBezTo>
                  <a:cubicBezTo>
                    <a:pt x="277" y="176"/>
                    <a:pt x="277" y="176"/>
                    <a:pt x="277" y="176"/>
                  </a:cubicBezTo>
                  <a:cubicBezTo>
                    <a:pt x="277" y="173"/>
                    <a:pt x="275" y="171"/>
                    <a:pt x="272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07" name="Freeform 96">
              <a:extLst>
                <a:ext uri="{FF2B5EF4-FFF2-40B4-BE49-F238E27FC236}">
                  <a16:creationId xmlns:a16="http://schemas.microsoft.com/office/drawing/2014/main" id="{A289E8F4-C028-6148-B109-3D339897D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" y="1895"/>
              <a:ext cx="115" cy="154"/>
            </a:xfrm>
            <a:custGeom>
              <a:avLst/>
              <a:gdLst>
                <a:gd name="T0" fmla="*/ 78 w 78"/>
                <a:gd name="T1" fmla="*/ 9 h 104"/>
                <a:gd name="T2" fmla="*/ 78 w 78"/>
                <a:gd name="T3" fmla="*/ 5 h 104"/>
                <a:gd name="T4" fmla="*/ 73 w 78"/>
                <a:gd name="T5" fmla="*/ 0 h 104"/>
                <a:gd name="T6" fmla="*/ 5 w 78"/>
                <a:gd name="T7" fmla="*/ 0 h 104"/>
                <a:gd name="T8" fmla="*/ 0 w 78"/>
                <a:gd name="T9" fmla="*/ 5 h 104"/>
                <a:gd name="T10" fmla="*/ 0 w 78"/>
                <a:gd name="T11" fmla="*/ 100 h 104"/>
                <a:gd name="T12" fmla="*/ 5 w 78"/>
                <a:gd name="T13" fmla="*/ 104 h 104"/>
                <a:gd name="T14" fmla="*/ 43 w 78"/>
                <a:gd name="T15" fmla="*/ 104 h 104"/>
                <a:gd name="T16" fmla="*/ 43 w 78"/>
                <a:gd name="T17" fmla="*/ 95 h 104"/>
                <a:gd name="T18" fmla="*/ 10 w 78"/>
                <a:gd name="T19" fmla="*/ 95 h 104"/>
                <a:gd name="T20" fmla="*/ 10 w 78"/>
                <a:gd name="T21" fmla="*/ 9 h 104"/>
                <a:gd name="T22" fmla="*/ 78 w 78"/>
                <a:gd name="T23" fmla="*/ 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" h="104">
                  <a:moveTo>
                    <a:pt x="78" y="9"/>
                  </a:moveTo>
                  <a:cubicBezTo>
                    <a:pt x="78" y="5"/>
                    <a:pt x="78" y="5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2"/>
                    <a:pt x="3" y="104"/>
                    <a:pt x="5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3" y="95"/>
                    <a:pt x="43" y="95"/>
                    <a:pt x="43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9"/>
                    <a:pt x="10" y="9"/>
                    <a:pt x="10" y="9"/>
                  </a:cubicBezTo>
                  <a:lnTo>
                    <a:pt x="78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08" name="Freeform 97">
              <a:extLst>
                <a:ext uri="{FF2B5EF4-FFF2-40B4-BE49-F238E27FC236}">
                  <a16:creationId xmlns:a16="http://schemas.microsoft.com/office/drawing/2014/main" id="{30B1422A-1FC0-E644-86CF-3A9C1C0E70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" y="1864"/>
              <a:ext cx="171" cy="226"/>
            </a:xfrm>
            <a:custGeom>
              <a:avLst/>
              <a:gdLst>
                <a:gd name="T0" fmla="*/ 99 w 116"/>
                <a:gd name="T1" fmla="*/ 9 h 153"/>
                <a:gd name="T2" fmla="*/ 106 w 116"/>
                <a:gd name="T3" fmla="*/ 17 h 153"/>
                <a:gd name="T4" fmla="*/ 106 w 116"/>
                <a:gd name="T5" fmla="*/ 31 h 153"/>
                <a:gd name="T6" fmla="*/ 116 w 116"/>
                <a:gd name="T7" fmla="*/ 31 h 153"/>
                <a:gd name="T8" fmla="*/ 116 w 116"/>
                <a:gd name="T9" fmla="*/ 17 h 153"/>
                <a:gd name="T10" fmla="*/ 99 w 116"/>
                <a:gd name="T11" fmla="*/ 0 h 153"/>
                <a:gd name="T12" fmla="*/ 17 w 116"/>
                <a:gd name="T13" fmla="*/ 0 h 153"/>
                <a:gd name="T14" fmla="*/ 0 w 116"/>
                <a:gd name="T15" fmla="*/ 17 h 153"/>
                <a:gd name="T16" fmla="*/ 0 w 116"/>
                <a:gd name="T17" fmla="*/ 136 h 153"/>
                <a:gd name="T18" fmla="*/ 17 w 116"/>
                <a:gd name="T19" fmla="*/ 153 h 153"/>
                <a:gd name="T20" fmla="*/ 68 w 116"/>
                <a:gd name="T21" fmla="*/ 153 h 153"/>
                <a:gd name="T22" fmla="*/ 67 w 116"/>
                <a:gd name="T23" fmla="*/ 152 h 153"/>
                <a:gd name="T24" fmla="*/ 63 w 116"/>
                <a:gd name="T25" fmla="*/ 144 h 153"/>
                <a:gd name="T26" fmla="*/ 63 w 116"/>
                <a:gd name="T27" fmla="*/ 144 h 153"/>
                <a:gd name="T28" fmla="*/ 17 w 116"/>
                <a:gd name="T29" fmla="*/ 144 h 153"/>
                <a:gd name="T30" fmla="*/ 10 w 116"/>
                <a:gd name="T31" fmla="*/ 136 h 153"/>
                <a:gd name="T32" fmla="*/ 10 w 116"/>
                <a:gd name="T33" fmla="*/ 17 h 153"/>
                <a:gd name="T34" fmla="*/ 17 w 116"/>
                <a:gd name="T35" fmla="*/ 9 h 153"/>
                <a:gd name="T36" fmla="*/ 99 w 116"/>
                <a:gd name="T37" fmla="*/ 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6" h="153">
                  <a:moveTo>
                    <a:pt x="99" y="9"/>
                  </a:moveTo>
                  <a:cubicBezTo>
                    <a:pt x="103" y="9"/>
                    <a:pt x="106" y="13"/>
                    <a:pt x="106" y="17"/>
                  </a:cubicBezTo>
                  <a:cubicBezTo>
                    <a:pt x="106" y="31"/>
                    <a:pt x="106" y="31"/>
                    <a:pt x="106" y="31"/>
                  </a:cubicBezTo>
                  <a:cubicBezTo>
                    <a:pt x="116" y="31"/>
                    <a:pt x="116" y="31"/>
                    <a:pt x="116" y="31"/>
                  </a:cubicBezTo>
                  <a:cubicBezTo>
                    <a:pt x="116" y="17"/>
                    <a:pt x="116" y="17"/>
                    <a:pt x="116" y="17"/>
                  </a:cubicBezTo>
                  <a:cubicBezTo>
                    <a:pt x="116" y="7"/>
                    <a:pt x="108" y="0"/>
                    <a:pt x="99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45"/>
                    <a:pt x="8" y="153"/>
                    <a:pt x="17" y="153"/>
                  </a:cubicBezTo>
                  <a:cubicBezTo>
                    <a:pt x="68" y="153"/>
                    <a:pt x="68" y="153"/>
                    <a:pt x="68" y="153"/>
                  </a:cubicBezTo>
                  <a:cubicBezTo>
                    <a:pt x="67" y="152"/>
                    <a:pt x="67" y="152"/>
                    <a:pt x="67" y="152"/>
                  </a:cubicBezTo>
                  <a:cubicBezTo>
                    <a:pt x="65" y="150"/>
                    <a:pt x="64" y="147"/>
                    <a:pt x="63" y="144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17" y="144"/>
                    <a:pt x="17" y="144"/>
                    <a:pt x="17" y="144"/>
                  </a:cubicBezTo>
                  <a:cubicBezTo>
                    <a:pt x="13" y="144"/>
                    <a:pt x="10" y="140"/>
                    <a:pt x="10" y="136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3"/>
                    <a:pt x="13" y="9"/>
                    <a:pt x="17" y="9"/>
                  </a:cubicBezTo>
                  <a:lnTo>
                    <a:pt x="99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09" name="Oval 98">
              <a:extLst>
                <a:ext uri="{FF2B5EF4-FFF2-40B4-BE49-F238E27FC236}">
                  <a16:creationId xmlns:a16="http://schemas.microsoft.com/office/drawing/2014/main" id="{A4B792FB-71CE-1145-960B-B90FBEB0B6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" y="2059"/>
              <a:ext cx="13" cy="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10" name="Oval 99">
              <a:extLst>
                <a:ext uri="{FF2B5EF4-FFF2-40B4-BE49-F238E27FC236}">
                  <a16:creationId xmlns:a16="http://schemas.microsoft.com/office/drawing/2014/main" id="{5EF5F9D8-CCE3-2343-807F-0CF85E03EA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" y="1882"/>
              <a:ext cx="9" cy="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11" name="Oval 100">
              <a:extLst>
                <a:ext uri="{FF2B5EF4-FFF2-40B4-BE49-F238E27FC236}">
                  <a16:creationId xmlns:a16="http://schemas.microsoft.com/office/drawing/2014/main" id="{3D380F82-1897-C145-8D61-C6B842E53D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7" y="2053"/>
              <a:ext cx="18" cy="2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</p:grpSp>
      <p:grpSp>
        <p:nvGrpSpPr>
          <p:cNvPr id="312" name="Group 4">
            <a:extLst>
              <a:ext uri="{FF2B5EF4-FFF2-40B4-BE49-F238E27FC236}">
                <a16:creationId xmlns:a16="http://schemas.microsoft.com/office/drawing/2014/main" id="{84C17A15-152C-A348-853A-B692B4282DA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877270" y="5532782"/>
            <a:ext cx="484650" cy="403874"/>
            <a:chOff x="348" y="472"/>
            <a:chExt cx="426" cy="355"/>
          </a:xfrm>
          <a:solidFill>
            <a:schemeClr val="accent1"/>
          </a:solidFill>
        </p:grpSpPr>
        <p:sp>
          <p:nvSpPr>
            <p:cNvPr id="313" name="Freeform 5">
              <a:extLst>
                <a:ext uri="{FF2B5EF4-FFF2-40B4-BE49-F238E27FC236}">
                  <a16:creationId xmlns:a16="http://schemas.microsoft.com/office/drawing/2014/main" id="{719C8B8C-D094-D74C-AF4C-E723A3C19C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" y="543"/>
              <a:ext cx="373" cy="18"/>
            </a:xfrm>
            <a:custGeom>
              <a:avLst/>
              <a:gdLst>
                <a:gd name="T0" fmla="*/ 246 w 252"/>
                <a:gd name="T1" fmla="*/ 12 h 12"/>
                <a:gd name="T2" fmla="*/ 6 w 252"/>
                <a:gd name="T3" fmla="*/ 12 h 12"/>
                <a:gd name="T4" fmla="*/ 0 w 252"/>
                <a:gd name="T5" fmla="*/ 6 h 12"/>
                <a:gd name="T6" fmla="*/ 6 w 252"/>
                <a:gd name="T7" fmla="*/ 0 h 12"/>
                <a:gd name="T8" fmla="*/ 246 w 252"/>
                <a:gd name="T9" fmla="*/ 0 h 12"/>
                <a:gd name="T10" fmla="*/ 252 w 252"/>
                <a:gd name="T11" fmla="*/ 6 h 12"/>
                <a:gd name="T12" fmla="*/ 246 w 25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2" h="12">
                  <a:moveTo>
                    <a:pt x="24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50" y="0"/>
                    <a:pt x="252" y="3"/>
                    <a:pt x="252" y="6"/>
                  </a:cubicBezTo>
                  <a:cubicBezTo>
                    <a:pt x="252" y="9"/>
                    <a:pt x="250" y="12"/>
                    <a:pt x="24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4" name="Oval 6">
              <a:extLst>
                <a:ext uri="{FF2B5EF4-FFF2-40B4-BE49-F238E27FC236}">
                  <a16:creationId xmlns:a16="http://schemas.microsoft.com/office/drawing/2014/main" id="{0E3079FA-EBC0-1C4F-BF6F-4EF1A488E9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" y="507"/>
              <a:ext cx="18" cy="1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5" name="Oval 7">
              <a:extLst>
                <a:ext uri="{FF2B5EF4-FFF2-40B4-BE49-F238E27FC236}">
                  <a16:creationId xmlns:a16="http://schemas.microsoft.com/office/drawing/2014/main" id="{1020AE0A-3CB9-274A-B949-2F4B93C8FE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" y="507"/>
              <a:ext cx="17" cy="1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6" name="Oval 8">
              <a:extLst>
                <a:ext uri="{FF2B5EF4-FFF2-40B4-BE49-F238E27FC236}">
                  <a16:creationId xmlns:a16="http://schemas.microsoft.com/office/drawing/2014/main" id="{98F34F8F-ABB7-4848-A76F-9F6C562D96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" y="507"/>
              <a:ext cx="18" cy="1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7" name="Freeform 9">
              <a:extLst>
                <a:ext uri="{FF2B5EF4-FFF2-40B4-BE49-F238E27FC236}">
                  <a16:creationId xmlns:a16="http://schemas.microsoft.com/office/drawing/2014/main" id="{AA090CA5-2F52-AF46-BB3E-337567489E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" y="472"/>
              <a:ext cx="373" cy="284"/>
            </a:xfrm>
            <a:custGeom>
              <a:avLst/>
              <a:gdLst>
                <a:gd name="T0" fmla="*/ 222 w 252"/>
                <a:gd name="T1" fmla="*/ 192 h 192"/>
                <a:gd name="T2" fmla="*/ 30 w 252"/>
                <a:gd name="T3" fmla="*/ 192 h 192"/>
                <a:gd name="T4" fmla="*/ 0 w 252"/>
                <a:gd name="T5" fmla="*/ 162 h 192"/>
                <a:gd name="T6" fmla="*/ 0 w 252"/>
                <a:gd name="T7" fmla="*/ 30 h 192"/>
                <a:gd name="T8" fmla="*/ 30 w 252"/>
                <a:gd name="T9" fmla="*/ 0 h 192"/>
                <a:gd name="T10" fmla="*/ 222 w 252"/>
                <a:gd name="T11" fmla="*/ 0 h 192"/>
                <a:gd name="T12" fmla="*/ 252 w 252"/>
                <a:gd name="T13" fmla="*/ 30 h 192"/>
                <a:gd name="T14" fmla="*/ 252 w 252"/>
                <a:gd name="T15" fmla="*/ 162 h 192"/>
                <a:gd name="T16" fmla="*/ 222 w 252"/>
                <a:gd name="T17" fmla="*/ 192 h 192"/>
                <a:gd name="T18" fmla="*/ 30 w 252"/>
                <a:gd name="T19" fmla="*/ 12 h 192"/>
                <a:gd name="T20" fmla="*/ 12 w 252"/>
                <a:gd name="T21" fmla="*/ 30 h 192"/>
                <a:gd name="T22" fmla="*/ 12 w 252"/>
                <a:gd name="T23" fmla="*/ 162 h 192"/>
                <a:gd name="T24" fmla="*/ 30 w 252"/>
                <a:gd name="T25" fmla="*/ 180 h 192"/>
                <a:gd name="T26" fmla="*/ 222 w 252"/>
                <a:gd name="T27" fmla="*/ 180 h 192"/>
                <a:gd name="T28" fmla="*/ 240 w 252"/>
                <a:gd name="T29" fmla="*/ 162 h 192"/>
                <a:gd name="T30" fmla="*/ 240 w 252"/>
                <a:gd name="T31" fmla="*/ 30 h 192"/>
                <a:gd name="T32" fmla="*/ 222 w 252"/>
                <a:gd name="T33" fmla="*/ 12 h 192"/>
                <a:gd name="T34" fmla="*/ 30 w 252"/>
                <a:gd name="T35" fmla="*/ 1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52" h="192">
                  <a:moveTo>
                    <a:pt x="222" y="192"/>
                  </a:moveTo>
                  <a:cubicBezTo>
                    <a:pt x="30" y="192"/>
                    <a:pt x="30" y="192"/>
                    <a:pt x="30" y="192"/>
                  </a:cubicBezTo>
                  <a:cubicBezTo>
                    <a:pt x="14" y="192"/>
                    <a:pt x="0" y="179"/>
                    <a:pt x="0" y="16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39" y="0"/>
                    <a:pt x="252" y="13"/>
                    <a:pt x="252" y="30"/>
                  </a:cubicBezTo>
                  <a:cubicBezTo>
                    <a:pt x="252" y="162"/>
                    <a:pt x="252" y="162"/>
                    <a:pt x="252" y="162"/>
                  </a:cubicBezTo>
                  <a:cubicBezTo>
                    <a:pt x="252" y="179"/>
                    <a:pt x="239" y="192"/>
                    <a:pt x="222" y="192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162"/>
                    <a:pt x="12" y="162"/>
                    <a:pt x="12" y="162"/>
                  </a:cubicBezTo>
                  <a:cubicBezTo>
                    <a:pt x="12" y="172"/>
                    <a:pt x="20" y="180"/>
                    <a:pt x="30" y="180"/>
                  </a:cubicBezTo>
                  <a:cubicBezTo>
                    <a:pt x="222" y="180"/>
                    <a:pt x="222" y="180"/>
                    <a:pt x="222" y="180"/>
                  </a:cubicBezTo>
                  <a:cubicBezTo>
                    <a:pt x="232" y="180"/>
                    <a:pt x="240" y="172"/>
                    <a:pt x="240" y="162"/>
                  </a:cubicBezTo>
                  <a:cubicBezTo>
                    <a:pt x="240" y="30"/>
                    <a:pt x="240" y="30"/>
                    <a:pt x="240" y="30"/>
                  </a:cubicBezTo>
                  <a:cubicBezTo>
                    <a:pt x="240" y="20"/>
                    <a:pt x="232" y="12"/>
                    <a:pt x="222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8" name="Freeform 10">
              <a:extLst>
                <a:ext uri="{FF2B5EF4-FFF2-40B4-BE49-F238E27FC236}">
                  <a16:creationId xmlns:a16="http://schemas.microsoft.com/office/drawing/2014/main" id="{8894367A-92E9-164E-BC86-5B276995A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" y="614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9"/>
                    <a:pt x="46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9" name="Freeform 11">
              <a:extLst>
                <a:ext uri="{FF2B5EF4-FFF2-40B4-BE49-F238E27FC236}">
                  <a16:creationId xmlns:a16="http://schemas.microsoft.com/office/drawing/2014/main" id="{8C879DF6-8A8C-D14C-9B9C-E0EB824DC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" y="543"/>
              <a:ext cx="373" cy="284"/>
            </a:xfrm>
            <a:custGeom>
              <a:avLst/>
              <a:gdLst>
                <a:gd name="T0" fmla="*/ 222 w 252"/>
                <a:gd name="T1" fmla="*/ 192 h 192"/>
                <a:gd name="T2" fmla="*/ 30 w 252"/>
                <a:gd name="T3" fmla="*/ 192 h 192"/>
                <a:gd name="T4" fmla="*/ 0 w 252"/>
                <a:gd name="T5" fmla="*/ 162 h 192"/>
                <a:gd name="T6" fmla="*/ 0 w 252"/>
                <a:gd name="T7" fmla="*/ 138 h 192"/>
                <a:gd name="T8" fmla="*/ 6 w 252"/>
                <a:gd name="T9" fmla="*/ 132 h 192"/>
                <a:gd name="T10" fmla="*/ 12 w 252"/>
                <a:gd name="T11" fmla="*/ 138 h 192"/>
                <a:gd name="T12" fmla="*/ 12 w 252"/>
                <a:gd name="T13" fmla="*/ 162 h 192"/>
                <a:gd name="T14" fmla="*/ 30 w 252"/>
                <a:gd name="T15" fmla="*/ 180 h 192"/>
                <a:gd name="T16" fmla="*/ 222 w 252"/>
                <a:gd name="T17" fmla="*/ 180 h 192"/>
                <a:gd name="T18" fmla="*/ 240 w 252"/>
                <a:gd name="T19" fmla="*/ 162 h 192"/>
                <a:gd name="T20" fmla="*/ 240 w 252"/>
                <a:gd name="T21" fmla="*/ 30 h 192"/>
                <a:gd name="T22" fmla="*/ 222 w 252"/>
                <a:gd name="T23" fmla="*/ 12 h 192"/>
                <a:gd name="T24" fmla="*/ 210 w 252"/>
                <a:gd name="T25" fmla="*/ 12 h 192"/>
                <a:gd name="T26" fmla="*/ 204 w 252"/>
                <a:gd name="T27" fmla="*/ 6 h 192"/>
                <a:gd name="T28" fmla="*/ 210 w 252"/>
                <a:gd name="T29" fmla="*/ 0 h 192"/>
                <a:gd name="T30" fmla="*/ 222 w 252"/>
                <a:gd name="T31" fmla="*/ 0 h 192"/>
                <a:gd name="T32" fmla="*/ 252 w 252"/>
                <a:gd name="T33" fmla="*/ 30 h 192"/>
                <a:gd name="T34" fmla="*/ 252 w 252"/>
                <a:gd name="T35" fmla="*/ 162 h 192"/>
                <a:gd name="T36" fmla="*/ 222 w 252"/>
                <a:gd name="T37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192">
                  <a:moveTo>
                    <a:pt x="222" y="192"/>
                  </a:moveTo>
                  <a:cubicBezTo>
                    <a:pt x="30" y="192"/>
                    <a:pt x="30" y="192"/>
                    <a:pt x="30" y="192"/>
                  </a:cubicBezTo>
                  <a:cubicBezTo>
                    <a:pt x="14" y="192"/>
                    <a:pt x="0" y="179"/>
                    <a:pt x="0" y="162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5"/>
                    <a:pt x="3" y="132"/>
                    <a:pt x="6" y="132"/>
                  </a:cubicBezTo>
                  <a:cubicBezTo>
                    <a:pt x="10" y="132"/>
                    <a:pt x="12" y="135"/>
                    <a:pt x="12" y="138"/>
                  </a:cubicBezTo>
                  <a:cubicBezTo>
                    <a:pt x="12" y="162"/>
                    <a:pt x="12" y="162"/>
                    <a:pt x="12" y="162"/>
                  </a:cubicBezTo>
                  <a:cubicBezTo>
                    <a:pt x="12" y="172"/>
                    <a:pt x="20" y="180"/>
                    <a:pt x="30" y="180"/>
                  </a:cubicBezTo>
                  <a:cubicBezTo>
                    <a:pt x="222" y="180"/>
                    <a:pt x="222" y="180"/>
                    <a:pt x="222" y="180"/>
                  </a:cubicBezTo>
                  <a:cubicBezTo>
                    <a:pt x="232" y="180"/>
                    <a:pt x="240" y="172"/>
                    <a:pt x="240" y="162"/>
                  </a:cubicBezTo>
                  <a:cubicBezTo>
                    <a:pt x="240" y="30"/>
                    <a:pt x="240" y="30"/>
                    <a:pt x="240" y="30"/>
                  </a:cubicBezTo>
                  <a:cubicBezTo>
                    <a:pt x="240" y="20"/>
                    <a:pt x="232" y="12"/>
                    <a:pt x="222" y="12"/>
                  </a:cubicBezTo>
                  <a:cubicBezTo>
                    <a:pt x="210" y="12"/>
                    <a:pt x="210" y="12"/>
                    <a:pt x="210" y="12"/>
                  </a:cubicBezTo>
                  <a:cubicBezTo>
                    <a:pt x="207" y="12"/>
                    <a:pt x="204" y="9"/>
                    <a:pt x="204" y="6"/>
                  </a:cubicBezTo>
                  <a:cubicBezTo>
                    <a:pt x="204" y="3"/>
                    <a:pt x="207" y="0"/>
                    <a:pt x="210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39" y="0"/>
                    <a:pt x="252" y="13"/>
                    <a:pt x="252" y="30"/>
                  </a:cubicBezTo>
                  <a:cubicBezTo>
                    <a:pt x="252" y="162"/>
                    <a:pt x="252" y="162"/>
                    <a:pt x="252" y="162"/>
                  </a:cubicBezTo>
                  <a:cubicBezTo>
                    <a:pt x="252" y="179"/>
                    <a:pt x="239" y="192"/>
                    <a:pt x="222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320" name="Freeform 132">
            <a:extLst>
              <a:ext uri="{FF2B5EF4-FFF2-40B4-BE49-F238E27FC236}">
                <a16:creationId xmlns:a16="http://schemas.microsoft.com/office/drawing/2014/main" id="{45BDCAD5-FFA8-D94A-91ED-271D762E1EF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09731" y="5515535"/>
            <a:ext cx="494523" cy="438368"/>
          </a:xfrm>
          <a:custGeom>
            <a:avLst/>
            <a:gdLst>
              <a:gd name="T0" fmla="*/ 9 w 133"/>
              <a:gd name="T1" fmla="*/ 0 h 116"/>
              <a:gd name="T2" fmla="*/ 0 w 133"/>
              <a:gd name="T3" fmla="*/ 91 h 116"/>
              <a:gd name="T4" fmla="*/ 56 w 133"/>
              <a:gd name="T5" fmla="*/ 99 h 116"/>
              <a:gd name="T6" fmla="*/ 39 w 133"/>
              <a:gd name="T7" fmla="*/ 110 h 116"/>
              <a:gd name="T8" fmla="*/ 39 w 133"/>
              <a:gd name="T9" fmla="*/ 116 h 116"/>
              <a:gd name="T10" fmla="*/ 97 w 133"/>
              <a:gd name="T11" fmla="*/ 113 h 116"/>
              <a:gd name="T12" fmla="*/ 78 w 133"/>
              <a:gd name="T13" fmla="*/ 110 h 116"/>
              <a:gd name="T14" fmla="*/ 124 w 133"/>
              <a:gd name="T15" fmla="*/ 99 h 116"/>
              <a:gd name="T16" fmla="*/ 133 w 133"/>
              <a:gd name="T17" fmla="*/ 8 h 116"/>
              <a:gd name="T18" fmla="*/ 72 w 133"/>
              <a:gd name="T19" fmla="*/ 110 h 116"/>
              <a:gd name="T20" fmla="*/ 61 w 133"/>
              <a:gd name="T21" fmla="*/ 99 h 116"/>
              <a:gd name="T22" fmla="*/ 72 w 133"/>
              <a:gd name="T23" fmla="*/ 110 h 116"/>
              <a:gd name="T24" fmla="*/ 124 w 133"/>
              <a:gd name="T25" fmla="*/ 94 h 116"/>
              <a:gd name="T26" fmla="*/ 6 w 133"/>
              <a:gd name="T27" fmla="*/ 91 h 116"/>
              <a:gd name="T28" fmla="*/ 9 w 133"/>
              <a:gd name="T29" fmla="*/ 5 h 116"/>
              <a:gd name="T30" fmla="*/ 127 w 133"/>
              <a:gd name="T31" fmla="*/ 8 h 116"/>
              <a:gd name="T32" fmla="*/ 109 w 133"/>
              <a:gd name="T33" fmla="*/ 36 h 116"/>
              <a:gd name="T34" fmla="*/ 68 w 133"/>
              <a:gd name="T35" fmla="*/ 19 h 116"/>
              <a:gd name="T36" fmla="*/ 30 w 133"/>
              <a:gd name="T37" fmla="*/ 36 h 116"/>
              <a:gd name="T38" fmla="*/ 30 w 133"/>
              <a:gd name="T39" fmla="*/ 36 h 116"/>
              <a:gd name="T40" fmla="*/ 28 w 133"/>
              <a:gd name="T41" fmla="*/ 37 h 116"/>
              <a:gd name="T42" fmla="*/ 28 w 133"/>
              <a:gd name="T43" fmla="*/ 57 h 116"/>
              <a:gd name="T44" fmla="*/ 23 w 133"/>
              <a:gd name="T45" fmla="*/ 76 h 116"/>
              <a:gd name="T46" fmla="*/ 36 w 133"/>
              <a:gd name="T47" fmla="*/ 77 h 116"/>
              <a:gd name="T48" fmla="*/ 39 w 133"/>
              <a:gd name="T49" fmla="*/ 73 h 116"/>
              <a:gd name="T50" fmla="*/ 34 w 133"/>
              <a:gd name="T51" fmla="*/ 43 h 116"/>
              <a:gd name="T52" fmla="*/ 45 w 133"/>
              <a:gd name="T53" fmla="*/ 66 h 116"/>
              <a:gd name="T54" fmla="*/ 68 w 133"/>
              <a:gd name="T55" fmla="*/ 79 h 116"/>
              <a:gd name="T56" fmla="*/ 71 w 133"/>
              <a:gd name="T57" fmla="*/ 79 h 116"/>
              <a:gd name="T58" fmla="*/ 94 w 133"/>
              <a:gd name="T59" fmla="*/ 66 h 116"/>
              <a:gd name="T60" fmla="*/ 109 w 133"/>
              <a:gd name="T61" fmla="*/ 41 h 116"/>
              <a:gd name="T62" fmla="*/ 109 w 133"/>
              <a:gd name="T63" fmla="*/ 36 h 116"/>
              <a:gd name="T64" fmla="*/ 31 w 133"/>
              <a:gd name="T65" fmla="*/ 66 h 116"/>
              <a:gd name="T66" fmla="*/ 29 w 133"/>
              <a:gd name="T67" fmla="*/ 71 h 116"/>
              <a:gd name="T68" fmla="*/ 69 w 133"/>
              <a:gd name="T69" fmla="*/ 74 h 116"/>
              <a:gd name="T70" fmla="*/ 50 w 133"/>
              <a:gd name="T71" fmla="*/ 50 h 116"/>
              <a:gd name="T72" fmla="*/ 69 w 133"/>
              <a:gd name="T73" fmla="*/ 58 h 116"/>
              <a:gd name="T74" fmla="*/ 89 w 133"/>
              <a:gd name="T75" fmla="*/ 50 h 116"/>
              <a:gd name="T76" fmla="*/ 69 w 133"/>
              <a:gd name="T77" fmla="*/ 52 h 116"/>
              <a:gd name="T78" fmla="*/ 69 w 133"/>
              <a:gd name="T79" fmla="*/ 25 h 116"/>
              <a:gd name="T80" fmla="*/ 69 w 133"/>
              <a:gd name="T81" fmla="*/ 52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3" h="116">
                <a:moveTo>
                  <a:pt x="124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95"/>
                  <a:pt x="4" y="99"/>
                  <a:pt x="9" y="99"/>
                </a:cubicBezTo>
                <a:cubicBezTo>
                  <a:pt x="56" y="99"/>
                  <a:pt x="56" y="99"/>
                  <a:pt x="56" y="99"/>
                </a:cubicBezTo>
                <a:cubicBezTo>
                  <a:pt x="56" y="110"/>
                  <a:pt x="56" y="110"/>
                  <a:pt x="56" y="110"/>
                </a:cubicBezTo>
                <a:cubicBezTo>
                  <a:pt x="39" y="110"/>
                  <a:pt x="39" y="110"/>
                  <a:pt x="39" y="110"/>
                </a:cubicBezTo>
                <a:cubicBezTo>
                  <a:pt x="37" y="110"/>
                  <a:pt x="36" y="111"/>
                  <a:pt x="36" y="113"/>
                </a:cubicBezTo>
                <a:cubicBezTo>
                  <a:pt x="36" y="114"/>
                  <a:pt x="37" y="116"/>
                  <a:pt x="39" y="116"/>
                </a:cubicBezTo>
                <a:cubicBezTo>
                  <a:pt x="94" y="116"/>
                  <a:pt x="94" y="116"/>
                  <a:pt x="94" y="116"/>
                </a:cubicBezTo>
                <a:cubicBezTo>
                  <a:pt x="96" y="116"/>
                  <a:pt x="97" y="114"/>
                  <a:pt x="97" y="113"/>
                </a:cubicBezTo>
                <a:cubicBezTo>
                  <a:pt x="97" y="111"/>
                  <a:pt x="96" y="110"/>
                  <a:pt x="94" y="110"/>
                </a:cubicBezTo>
                <a:cubicBezTo>
                  <a:pt x="78" y="110"/>
                  <a:pt x="78" y="110"/>
                  <a:pt x="78" y="110"/>
                </a:cubicBezTo>
                <a:cubicBezTo>
                  <a:pt x="78" y="99"/>
                  <a:pt x="78" y="99"/>
                  <a:pt x="78" y="99"/>
                </a:cubicBezTo>
                <a:cubicBezTo>
                  <a:pt x="124" y="99"/>
                  <a:pt x="124" y="99"/>
                  <a:pt x="124" y="99"/>
                </a:cubicBezTo>
                <a:cubicBezTo>
                  <a:pt x="129" y="99"/>
                  <a:pt x="133" y="95"/>
                  <a:pt x="133" y="91"/>
                </a:cubicBezTo>
                <a:cubicBezTo>
                  <a:pt x="133" y="8"/>
                  <a:pt x="133" y="8"/>
                  <a:pt x="133" y="8"/>
                </a:cubicBezTo>
                <a:cubicBezTo>
                  <a:pt x="133" y="4"/>
                  <a:pt x="129" y="0"/>
                  <a:pt x="124" y="0"/>
                </a:cubicBezTo>
                <a:close/>
                <a:moveTo>
                  <a:pt x="72" y="110"/>
                </a:moveTo>
                <a:cubicBezTo>
                  <a:pt x="61" y="110"/>
                  <a:pt x="61" y="110"/>
                  <a:pt x="61" y="110"/>
                </a:cubicBezTo>
                <a:cubicBezTo>
                  <a:pt x="61" y="99"/>
                  <a:pt x="61" y="99"/>
                  <a:pt x="61" y="99"/>
                </a:cubicBezTo>
                <a:cubicBezTo>
                  <a:pt x="72" y="99"/>
                  <a:pt x="72" y="99"/>
                  <a:pt x="72" y="99"/>
                </a:cubicBezTo>
                <a:lnTo>
                  <a:pt x="72" y="110"/>
                </a:lnTo>
                <a:close/>
                <a:moveTo>
                  <a:pt x="127" y="91"/>
                </a:moveTo>
                <a:cubicBezTo>
                  <a:pt x="127" y="92"/>
                  <a:pt x="126" y="94"/>
                  <a:pt x="124" y="94"/>
                </a:cubicBezTo>
                <a:cubicBezTo>
                  <a:pt x="9" y="94"/>
                  <a:pt x="9" y="94"/>
                  <a:pt x="9" y="94"/>
                </a:cubicBezTo>
                <a:cubicBezTo>
                  <a:pt x="7" y="94"/>
                  <a:pt x="6" y="92"/>
                  <a:pt x="6" y="91"/>
                </a:cubicBezTo>
                <a:cubicBezTo>
                  <a:pt x="6" y="8"/>
                  <a:pt x="6" y="8"/>
                  <a:pt x="6" y="8"/>
                </a:cubicBezTo>
                <a:cubicBezTo>
                  <a:pt x="6" y="7"/>
                  <a:pt x="7" y="5"/>
                  <a:pt x="9" y="5"/>
                </a:cubicBezTo>
                <a:cubicBezTo>
                  <a:pt x="124" y="5"/>
                  <a:pt x="124" y="5"/>
                  <a:pt x="124" y="5"/>
                </a:cubicBezTo>
                <a:cubicBezTo>
                  <a:pt x="126" y="5"/>
                  <a:pt x="127" y="7"/>
                  <a:pt x="127" y="8"/>
                </a:cubicBezTo>
                <a:lnTo>
                  <a:pt x="127" y="91"/>
                </a:lnTo>
                <a:close/>
                <a:moveTo>
                  <a:pt x="109" y="36"/>
                </a:moveTo>
                <a:cubicBezTo>
                  <a:pt x="70" y="19"/>
                  <a:pt x="70" y="19"/>
                  <a:pt x="70" y="19"/>
                </a:cubicBezTo>
                <a:cubicBezTo>
                  <a:pt x="70" y="19"/>
                  <a:pt x="69" y="19"/>
                  <a:pt x="68" y="19"/>
                </a:cubicBezTo>
                <a:cubicBezTo>
                  <a:pt x="30" y="36"/>
                  <a:pt x="30" y="36"/>
                  <a:pt x="3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29" y="36"/>
                  <a:pt x="29" y="36"/>
                  <a:pt x="29" y="37"/>
                </a:cubicBezTo>
                <a:cubicBezTo>
                  <a:pt x="29" y="37"/>
                  <a:pt x="28" y="37"/>
                  <a:pt x="28" y="37"/>
                </a:cubicBezTo>
                <a:cubicBezTo>
                  <a:pt x="28" y="37"/>
                  <a:pt x="28" y="38"/>
                  <a:pt x="28" y="38"/>
                </a:cubicBezTo>
                <a:cubicBezTo>
                  <a:pt x="28" y="57"/>
                  <a:pt x="28" y="57"/>
                  <a:pt x="28" y="57"/>
                </a:cubicBezTo>
                <a:cubicBezTo>
                  <a:pt x="23" y="73"/>
                  <a:pt x="23" y="73"/>
                  <a:pt x="23" y="73"/>
                </a:cubicBezTo>
                <a:cubicBezTo>
                  <a:pt x="22" y="74"/>
                  <a:pt x="22" y="75"/>
                  <a:pt x="23" y="76"/>
                </a:cubicBezTo>
                <a:cubicBezTo>
                  <a:pt x="24" y="77"/>
                  <a:pt x="24" y="77"/>
                  <a:pt x="25" y="77"/>
                </a:cubicBezTo>
                <a:cubicBezTo>
                  <a:pt x="36" y="77"/>
                  <a:pt x="36" y="77"/>
                  <a:pt x="36" y="77"/>
                </a:cubicBezTo>
                <a:cubicBezTo>
                  <a:pt x="37" y="77"/>
                  <a:pt x="38" y="77"/>
                  <a:pt x="38" y="76"/>
                </a:cubicBezTo>
                <a:cubicBezTo>
                  <a:pt x="39" y="75"/>
                  <a:pt x="39" y="74"/>
                  <a:pt x="39" y="73"/>
                </a:cubicBezTo>
                <a:cubicBezTo>
                  <a:pt x="34" y="57"/>
                  <a:pt x="34" y="57"/>
                  <a:pt x="34" y="57"/>
                </a:cubicBezTo>
                <a:cubicBezTo>
                  <a:pt x="34" y="43"/>
                  <a:pt x="34" y="43"/>
                  <a:pt x="34" y="43"/>
                </a:cubicBezTo>
                <a:cubicBezTo>
                  <a:pt x="45" y="47"/>
                  <a:pt x="45" y="47"/>
                  <a:pt x="45" y="47"/>
                </a:cubicBezTo>
                <a:cubicBezTo>
                  <a:pt x="45" y="66"/>
                  <a:pt x="45" y="66"/>
                  <a:pt x="45" y="66"/>
                </a:cubicBezTo>
                <a:cubicBezTo>
                  <a:pt x="45" y="67"/>
                  <a:pt x="45" y="68"/>
                  <a:pt x="46" y="68"/>
                </a:cubicBezTo>
                <a:cubicBezTo>
                  <a:pt x="68" y="79"/>
                  <a:pt x="68" y="79"/>
                  <a:pt x="68" y="79"/>
                </a:cubicBezTo>
                <a:cubicBezTo>
                  <a:pt x="68" y="80"/>
                  <a:pt x="69" y="80"/>
                  <a:pt x="69" y="80"/>
                </a:cubicBezTo>
                <a:cubicBezTo>
                  <a:pt x="70" y="80"/>
                  <a:pt x="70" y="80"/>
                  <a:pt x="71" y="79"/>
                </a:cubicBezTo>
                <a:cubicBezTo>
                  <a:pt x="93" y="68"/>
                  <a:pt x="93" y="68"/>
                  <a:pt x="93" y="68"/>
                </a:cubicBezTo>
                <a:cubicBezTo>
                  <a:pt x="94" y="68"/>
                  <a:pt x="94" y="67"/>
                  <a:pt x="94" y="66"/>
                </a:cubicBezTo>
                <a:cubicBezTo>
                  <a:pt x="94" y="47"/>
                  <a:pt x="94" y="47"/>
                  <a:pt x="94" y="47"/>
                </a:cubicBezTo>
                <a:cubicBezTo>
                  <a:pt x="109" y="41"/>
                  <a:pt x="109" y="41"/>
                  <a:pt x="109" y="41"/>
                </a:cubicBezTo>
                <a:cubicBezTo>
                  <a:pt x="110" y="41"/>
                  <a:pt x="111" y="40"/>
                  <a:pt x="111" y="38"/>
                </a:cubicBezTo>
                <a:cubicBezTo>
                  <a:pt x="111" y="37"/>
                  <a:pt x="110" y="36"/>
                  <a:pt x="109" y="36"/>
                </a:cubicBezTo>
                <a:close/>
                <a:moveTo>
                  <a:pt x="29" y="71"/>
                </a:moveTo>
                <a:cubicBezTo>
                  <a:pt x="31" y="66"/>
                  <a:pt x="31" y="66"/>
                  <a:pt x="31" y="66"/>
                </a:cubicBezTo>
                <a:cubicBezTo>
                  <a:pt x="32" y="71"/>
                  <a:pt x="32" y="71"/>
                  <a:pt x="32" y="71"/>
                </a:cubicBezTo>
                <a:lnTo>
                  <a:pt x="29" y="71"/>
                </a:lnTo>
                <a:close/>
                <a:moveTo>
                  <a:pt x="89" y="64"/>
                </a:moveTo>
                <a:cubicBezTo>
                  <a:pt x="69" y="74"/>
                  <a:pt x="69" y="74"/>
                  <a:pt x="69" y="74"/>
                </a:cubicBezTo>
                <a:cubicBezTo>
                  <a:pt x="50" y="64"/>
                  <a:pt x="50" y="64"/>
                  <a:pt x="50" y="64"/>
                </a:cubicBezTo>
                <a:cubicBezTo>
                  <a:pt x="50" y="50"/>
                  <a:pt x="50" y="50"/>
                  <a:pt x="50" y="50"/>
                </a:cubicBezTo>
                <a:cubicBezTo>
                  <a:pt x="68" y="57"/>
                  <a:pt x="68" y="57"/>
                  <a:pt x="68" y="57"/>
                </a:cubicBezTo>
                <a:cubicBezTo>
                  <a:pt x="69" y="58"/>
                  <a:pt x="69" y="58"/>
                  <a:pt x="69" y="58"/>
                </a:cubicBezTo>
                <a:cubicBezTo>
                  <a:pt x="70" y="58"/>
                  <a:pt x="70" y="58"/>
                  <a:pt x="70" y="57"/>
                </a:cubicBezTo>
                <a:cubicBezTo>
                  <a:pt x="89" y="50"/>
                  <a:pt x="89" y="50"/>
                  <a:pt x="89" y="50"/>
                </a:cubicBezTo>
                <a:lnTo>
                  <a:pt x="89" y="64"/>
                </a:lnTo>
                <a:close/>
                <a:moveTo>
                  <a:pt x="69" y="52"/>
                </a:moveTo>
                <a:cubicBezTo>
                  <a:pt x="38" y="38"/>
                  <a:pt x="38" y="38"/>
                  <a:pt x="38" y="38"/>
                </a:cubicBezTo>
                <a:cubicBezTo>
                  <a:pt x="69" y="25"/>
                  <a:pt x="69" y="25"/>
                  <a:pt x="69" y="25"/>
                </a:cubicBezTo>
                <a:cubicBezTo>
                  <a:pt x="101" y="38"/>
                  <a:pt x="101" y="38"/>
                  <a:pt x="101" y="38"/>
                </a:cubicBezTo>
                <a:lnTo>
                  <a:pt x="69" y="5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+mj-lt"/>
            </a:endParaRPr>
          </a:p>
        </p:txBody>
      </p:sp>
      <p:grpSp>
        <p:nvGrpSpPr>
          <p:cNvPr id="325" name="Group 104">
            <a:extLst>
              <a:ext uri="{FF2B5EF4-FFF2-40B4-BE49-F238E27FC236}">
                <a16:creationId xmlns:a16="http://schemas.microsoft.com/office/drawing/2014/main" id="{C933286F-FB2B-2B48-B689-90FB1B740D7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07268" y="5477733"/>
            <a:ext cx="341846" cy="513972"/>
            <a:chOff x="1443" y="2997"/>
            <a:chExt cx="284" cy="427"/>
          </a:xfrm>
          <a:solidFill>
            <a:schemeClr val="accent1"/>
          </a:solidFill>
        </p:grpSpPr>
        <p:sp>
          <p:nvSpPr>
            <p:cNvPr id="326" name="Freeform 105">
              <a:extLst>
                <a:ext uri="{FF2B5EF4-FFF2-40B4-BE49-F238E27FC236}">
                  <a16:creationId xmlns:a16="http://schemas.microsoft.com/office/drawing/2014/main" id="{EBD25FD2-6E1F-C448-BE38-E904E3A2FB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2" y="3104"/>
              <a:ext cx="261" cy="320"/>
            </a:xfrm>
            <a:custGeom>
              <a:avLst/>
              <a:gdLst>
                <a:gd name="T0" fmla="*/ 155 w 176"/>
                <a:gd name="T1" fmla="*/ 216 h 216"/>
                <a:gd name="T2" fmla="*/ 59 w 176"/>
                <a:gd name="T3" fmla="*/ 216 h 216"/>
                <a:gd name="T4" fmla="*/ 54 w 176"/>
                <a:gd name="T5" fmla="*/ 213 h 216"/>
                <a:gd name="T6" fmla="*/ 6 w 176"/>
                <a:gd name="T7" fmla="*/ 141 h 216"/>
                <a:gd name="T8" fmla="*/ 4 w 176"/>
                <a:gd name="T9" fmla="*/ 116 h 216"/>
                <a:gd name="T10" fmla="*/ 17 w 176"/>
                <a:gd name="T11" fmla="*/ 108 h 216"/>
                <a:gd name="T12" fmla="*/ 59 w 176"/>
                <a:gd name="T13" fmla="*/ 137 h 216"/>
                <a:gd name="T14" fmla="*/ 59 w 176"/>
                <a:gd name="T15" fmla="*/ 24 h 216"/>
                <a:gd name="T16" fmla="*/ 83 w 176"/>
                <a:gd name="T17" fmla="*/ 0 h 216"/>
                <a:gd name="T18" fmla="*/ 107 w 176"/>
                <a:gd name="T19" fmla="*/ 24 h 216"/>
                <a:gd name="T20" fmla="*/ 107 w 176"/>
                <a:gd name="T21" fmla="*/ 92 h 216"/>
                <a:gd name="T22" fmla="*/ 156 w 176"/>
                <a:gd name="T23" fmla="*/ 108 h 216"/>
                <a:gd name="T24" fmla="*/ 173 w 176"/>
                <a:gd name="T25" fmla="*/ 145 h 216"/>
                <a:gd name="T26" fmla="*/ 161 w 176"/>
                <a:gd name="T27" fmla="*/ 211 h 216"/>
                <a:gd name="T28" fmla="*/ 155 w 176"/>
                <a:gd name="T29" fmla="*/ 216 h 216"/>
                <a:gd name="T30" fmla="*/ 62 w 176"/>
                <a:gd name="T31" fmla="*/ 204 h 216"/>
                <a:gd name="T32" fmla="*/ 150 w 176"/>
                <a:gd name="T33" fmla="*/ 204 h 216"/>
                <a:gd name="T34" fmla="*/ 161 w 176"/>
                <a:gd name="T35" fmla="*/ 143 h 216"/>
                <a:gd name="T36" fmla="*/ 152 w 176"/>
                <a:gd name="T37" fmla="*/ 120 h 216"/>
                <a:gd name="T38" fmla="*/ 99 w 176"/>
                <a:gd name="T39" fmla="*/ 102 h 216"/>
                <a:gd name="T40" fmla="*/ 95 w 176"/>
                <a:gd name="T41" fmla="*/ 96 h 216"/>
                <a:gd name="T42" fmla="*/ 95 w 176"/>
                <a:gd name="T43" fmla="*/ 24 h 216"/>
                <a:gd name="T44" fmla="*/ 83 w 176"/>
                <a:gd name="T45" fmla="*/ 12 h 216"/>
                <a:gd name="T46" fmla="*/ 71 w 176"/>
                <a:gd name="T47" fmla="*/ 24 h 216"/>
                <a:gd name="T48" fmla="*/ 71 w 176"/>
                <a:gd name="T49" fmla="*/ 156 h 216"/>
                <a:gd name="T50" fmla="*/ 67 w 176"/>
                <a:gd name="T51" fmla="*/ 162 h 216"/>
                <a:gd name="T52" fmla="*/ 60 w 176"/>
                <a:gd name="T53" fmla="*/ 159 h 216"/>
                <a:gd name="T54" fmla="*/ 17 w 176"/>
                <a:gd name="T55" fmla="*/ 120 h 216"/>
                <a:gd name="T56" fmla="*/ 14 w 176"/>
                <a:gd name="T57" fmla="*/ 121 h 216"/>
                <a:gd name="T58" fmla="*/ 16 w 176"/>
                <a:gd name="T59" fmla="*/ 135 h 216"/>
                <a:gd name="T60" fmla="*/ 62 w 176"/>
                <a:gd name="T61" fmla="*/ 204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6" h="216">
                  <a:moveTo>
                    <a:pt x="155" y="216"/>
                  </a:moveTo>
                  <a:cubicBezTo>
                    <a:pt x="59" y="216"/>
                    <a:pt x="59" y="216"/>
                    <a:pt x="59" y="216"/>
                  </a:cubicBezTo>
                  <a:cubicBezTo>
                    <a:pt x="57" y="216"/>
                    <a:pt x="55" y="215"/>
                    <a:pt x="54" y="213"/>
                  </a:cubicBezTo>
                  <a:cubicBezTo>
                    <a:pt x="6" y="141"/>
                    <a:pt x="6" y="141"/>
                    <a:pt x="6" y="141"/>
                  </a:cubicBezTo>
                  <a:cubicBezTo>
                    <a:pt x="2" y="135"/>
                    <a:pt x="0" y="124"/>
                    <a:pt x="4" y="116"/>
                  </a:cubicBezTo>
                  <a:cubicBezTo>
                    <a:pt x="6" y="111"/>
                    <a:pt x="11" y="108"/>
                    <a:pt x="17" y="108"/>
                  </a:cubicBezTo>
                  <a:cubicBezTo>
                    <a:pt x="30" y="108"/>
                    <a:pt x="42" y="113"/>
                    <a:pt x="59" y="137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11"/>
                    <a:pt x="70" y="0"/>
                    <a:pt x="83" y="0"/>
                  </a:cubicBezTo>
                  <a:cubicBezTo>
                    <a:pt x="96" y="0"/>
                    <a:pt x="107" y="11"/>
                    <a:pt x="107" y="24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72" y="113"/>
                    <a:pt x="176" y="131"/>
                    <a:pt x="173" y="145"/>
                  </a:cubicBezTo>
                  <a:cubicBezTo>
                    <a:pt x="161" y="211"/>
                    <a:pt x="161" y="211"/>
                    <a:pt x="161" y="211"/>
                  </a:cubicBezTo>
                  <a:cubicBezTo>
                    <a:pt x="161" y="214"/>
                    <a:pt x="158" y="216"/>
                    <a:pt x="155" y="216"/>
                  </a:cubicBezTo>
                  <a:close/>
                  <a:moveTo>
                    <a:pt x="62" y="204"/>
                  </a:moveTo>
                  <a:cubicBezTo>
                    <a:pt x="150" y="204"/>
                    <a:pt x="150" y="204"/>
                    <a:pt x="150" y="204"/>
                  </a:cubicBezTo>
                  <a:cubicBezTo>
                    <a:pt x="161" y="143"/>
                    <a:pt x="161" y="143"/>
                    <a:pt x="161" y="143"/>
                  </a:cubicBezTo>
                  <a:cubicBezTo>
                    <a:pt x="163" y="134"/>
                    <a:pt x="161" y="123"/>
                    <a:pt x="152" y="120"/>
                  </a:cubicBezTo>
                  <a:cubicBezTo>
                    <a:pt x="99" y="102"/>
                    <a:pt x="99" y="102"/>
                    <a:pt x="99" y="102"/>
                  </a:cubicBezTo>
                  <a:cubicBezTo>
                    <a:pt x="97" y="101"/>
                    <a:pt x="95" y="99"/>
                    <a:pt x="95" y="96"/>
                  </a:cubicBezTo>
                  <a:cubicBezTo>
                    <a:pt x="95" y="24"/>
                    <a:pt x="95" y="24"/>
                    <a:pt x="95" y="24"/>
                  </a:cubicBezTo>
                  <a:cubicBezTo>
                    <a:pt x="95" y="17"/>
                    <a:pt x="90" y="12"/>
                    <a:pt x="83" y="12"/>
                  </a:cubicBezTo>
                  <a:cubicBezTo>
                    <a:pt x="77" y="12"/>
                    <a:pt x="71" y="18"/>
                    <a:pt x="71" y="24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9"/>
                    <a:pt x="69" y="161"/>
                    <a:pt x="67" y="162"/>
                  </a:cubicBezTo>
                  <a:cubicBezTo>
                    <a:pt x="64" y="163"/>
                    <a:pt x="62" y="162"/>
                    <a:pt x="60" y="159"/>
                  </a:cubicBezTo>
                  <a:cubicBezTo>
                    <a:pt x="37" y="123"/>
                    <a:pt x="26" y="120"/>
                    <a:pt x="17" y="120"/>
                  </a:cubicBezTo>
                  <a:cubicBezTo>
                    <a:pt x="15" y="120"/>
                    <a:pt x="15" y="121"/>
                    <a:pt x="14" y="121"/>
                  </a:cubicBezTo>
                  <a:cubicBezTo>
                    <a:pt x="13" y="124"/>
                    <a:pt x="14" y="131"/>
                    <a:pt x="16" y="135"/>
                  </a:cubicBezTo>
                  <a:lnTo>
                    <a:pt x="62" y="2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27" name="Freeform 106">
              <a:extLst>
                <a:ext uri="{FF2B5EF4-FFF2-40B4-BE49-F238E27FC236}">
                  <a16:creationId xmlns:a16="http://schemas.microsoft.com/office/drawing/2014/main" id="{BD9B7B3C-0689-BA4C-ABBF-BCE7E3B46D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6" y="3122"/>
              <a:ext cx="71" cy="17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9"/>
                    <a:pt x="46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28" name="Freeform 107">
              <a:extLst>
                <a:ext uri="{FF2B5EF4-FFF2-40B4-BE49-F238E27FC236}">
                  <a16:creationId xmlns:a16="http://schemas.microsoft.com/office/drawing/2014/main" id="{C9272C8E-5CB2-4643-AEA6-BE716984C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8" y="3031"/>
              <a:ext cx="55" cy="55"/>
            </a:xfrm>
            <a:custGeom>
              <a:avLst/>
              <a:gdLst>
                <a:gd name="T0" fmla="*/ 6 w 37"/>
                <a:gd name="T1" fmla="*/ 37 h 37"/>
                <a:gd name="T2" fmla="*/ 2 w 37"/>
                <a:gd name="T3" fmla="*/ 35 h 37"/>
                <a:gd name="T4" fmla="*/ 2 w 37"/>
                <a:gd name="T5" fmla="*/ 27 h 37"/>
                <a:gd name="T6" fmla="*/ 26 w 37"/>
                <a:gd name="T7" fmla="*/ 3 h 37"/>
                <a:gd name="T8" fmla="*/ 34 w 37"/>
                <a:gd name="T9" fmla="*/ 3 h 37"/>
                <a:gd name="T10" fmla="*/ 34 w 37"/>
                <a:gd name="T11" fmla="*/ 11 h 37"/>
                <a:gd name="T12" fmla="*/ 10 w 37"/>
                <a:gd name="T13" fmla="*/ 35 h 37"/>
                <a:gd name="T14" fmla="*/ 6 w 37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6" y="37"/>
                  </a:moveTo>
                  <a:cubicBezTo>
                    <a:pt x="5" y="37"/>
                    <a:pt x="3" y="36"/>
                    <a:pt x="2" y="35"/>
                  </a:cubicBezTo>
                  <a:cubicBezTo>
                    <a:pt x="0" y="33"/>
                    <a:pt x="0" y="29"/>
                    <a:pt x="2" y="27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8" y="0"/>
                    <a:pt x="32" y="0"/>
                    <a:pt x="34" y="3"/>
                  </a:cubicBezTo>
                  <a:cubicBezTo>
                    <a:pt x="37" y="5"/>
                    <a:pt x="37" y="9"/>
                    <a:pt x="34" y="11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9" y="36"/>
                    <a:pt x="8" y="37"/>
                    <a:pt x="6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29" name="Freeform 108">
              <a:extLst>
                <a:ext uri="{FF2B5EF4-FFF2-40B4-BE49-F238E27FC236}">
                  <a16:creationId xmlns:a16="http://schemas.microsoft.com/office/drawing/2014/main" id="{CA4C5504-30D4-1D40-B292-CD5DA7231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5" y="2997"/>
              <a:ext cx="18" cy="71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10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30" name="Freeform 109">
              <a:extLst>
                <a:ext uri="{FF2B5EF4-FFF2-40B4-BE49-F238E27FC236}">
                  <a16:creationId xmlns:a16="http://schemas.microsoft.com/office/drawing/2014/main" id="{7B5112E2-4CA4-294E-BC9B-DD315AEE89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8" y="3031"/>
              <a:ext cx="55" cy="55"/>
            </a:xfrm>
            <a:custGeom>
              <a:avLst/>
              <a:gdLst>
                <a:gd name="T0" fmla="*/ 30 w 37"/>
                <a:gd name="T1" fmla="*/ 37 h 37"/>
                <a:gd name="T2" fmla="*/ 26 w 37"/>
                <a:gd name="T3" fmla="*/ 35 h 37"/>
                <a:gd name="T4" fmla="*/ 2 w 37"/>
                <a:gd name="T5" fmla="*/ 11 h 37"/>
                <a:gd name="T6" fmla="*/ 2 w 37"/>
                <a:gd name="T7" fmla="*/ 3 h 37"/>
                <a:gd name="T8" fmla="*/ 10 w 37"/>
                <a:gd name="T9" fmla="*/ 3 h 37"/>
                <a:gd name="T10" fmla="*/ 34 w 37"/>
                <a:gd name="T11" fmla="*/ 27 h 37"/>
                <a:gd name="T12" fmla="*/ 34 w 37"/>
                <a:gd name="T13" fmla="*/ 35 h 37"/>
                <a:gd name="T14" fmla="*/ 30 w 37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30" y="37"/>
                  </a:moveTo>
                  <a:cubicBezTo>
                    <a:pt x="29" y="37"/>
                    <a:pt x="27" y="36"/>
                    <a:pt x="26" y="35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0" y="3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7" y="29"/>
                    <a:pt x="37" y="33"/>
                    <a:pt x="34" y="35"/>
                  </a:cubicBezTo>
                  <a:cubicBezTo>
                    <a:pt x="33" y="36"/>
                    <a:pt x="32" y="37"/>
                    <a:pt x="30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31" name="Freeform 110">
              <a:extLst>
                <a:ext uri="{FF2B5EF4-FFF2-40B4-BE49-F238E27FC236}">
                  <a16:creationId xmlns:a16="http://schemas.microsoft.com/office/drawing/2014/main" id="{B8173CE6-5D1A-A846-84AC-EC2E79F057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" y="3122"/>
              <a:ext cx="71" cy="17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9"/>
                    <a:pt x="46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</p:grpSp>
      <p:grpSp>
        <p:nvGrpSpPr>
          <p:cNvPr id="332" name="Group 48">
            <a:extLst>
              <a:ext uri="{FF2B5EF4-FFF2-40B4-BE49-F238E27FC236}">
                <a16:creationId xmlns:a16="http://schemas.microsoft.com/office/drawing/2014/main" id="{845CA248-13D3-B844-9F40-7BA5E1132E6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941132" y="3109340"/>
            <a:ext cx="515826" cy="496764"/>
            <a:chOff x="6532" y="451"/>
            <a:chExt cx="433" cy="417"/>
          </a:xfrm>
          <a:solidFill>
            <a:schemeClr val="accent1"/>
          </a:solidFill>
        </p:grpSpPr>
        <p:sp>
          <p:nvSpPr>
            <p:cNvPr id="333" name="Freeform 49">
              <a:extLst>
                <a:ext uri="{FF2B5EF4-FFF2-40B4-BE49-F238E27FC236}">
                  <a16:creationId xmlns:a16="http://schemas.microsoft.com/office/drawing/2014/main" id="{17E6D66F-E2A5-7445-867C-00B311AB2C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7" y="621"/>
              <a:ext cx="128" cy="94"/>
            </a:xfrm>
            <a:custGeom>
              <a:avLst/>
              <a:gdLst>
                <a:gd name="T0" fmla="*/ 7 w 86"/>
                <a:gd name="T1" fmla="*/ 64 h 64"/>
                <a:gd name="T2" fmla="*/ 3 w 86"/>
                <a:gd name="T3" fmla="*/ 63 h 64"/>
                <a:gd name="T4" fmla="*/ 1 w 86"/>
                <a:gd name="T5" fmla="*/ 55 h 64"/>
                <a:gd name="T6" fmla="*/ 34 w 86"/>
                <a:gd name="T7" fmla="*/ 3 h 64"/>
                <a:gd name="T8" fmla="*/ 38 w 86"/>
                <a:gd name="T9" fmla="*/ 0 h 64"/>
                <a:gd name="T10" fmla="*/ 43 w 86"/>
                <a:gd name="T11" fmla="*/ 2 h 64"/>
                <a:gd name="T12" fmla="*/ 84 w 86"/>
                <a:gd name="T13" fmla="*/ 48 h 64"/>
                <a:gd name="T14" fmla="*/ 84 w 86"/>
                <a:gd name="T15" fmla="*/ 56 h 64"/>
                <a:gd name="T16" fmla="*/ 75 w 86"/>
                <a:gd name="T17" fmla="*/ 56 h 64"/>
                <a:gd name="T18" fmla="*/ 40 w 86"/>
                <a:gd name="T19" fmla="*/ 16 h 64"/>
                <a:gd name="T20" fmla="*/ 12 w 86"/>
                <a:gd name="T21" fmla="*/ 61 h 64"/>
                <a:gd name="T22" fmla="*/ 7 w 86"/>
                <a:gd name="T23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" h="64">
                  <a:moveTo>
                    <a:pt x="7" y="64"/>
                  </a:moveTo>
                  <a:cubicBezTo>
                    <a:pt x="5" y="64"/>
                    <a:pt x="4" y="64"/>
                    <a:pt x="3" y="63"/>
                  </a:cubicBezTo>
                  <a:cubicBezTo>
                    <a:pt x="1" y="62"/>
                    <a:pt x="0" y="58"/>
                    <a:pt x="1" y="55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5" y="1"/>
                    <a:pt x="36" y="0"/>
                    <a:pt x="38" y="0"/>
                  </a:cubicBezTo>
                  <a:cubicBezTo>
                    <a:pt x="40" y="0"/>
                    <a:pt x="42" y="1"/>
                    <a:pt x="43" y="2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6" y="50"/>
                    <a:pt x="86" y="54"/>
                    <a:pt x="84" y="56"/>
                  </a:cubicBezTo>
                  <a:cubicBezTo>
                    <a:pt x="81" y="58"/>
                    <a:pt x="78" y="58"/>
                    <a:pt x="75" y="5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1" y="63"/>
                    <a:pt x="9" y="64"/>
                    <a:pt x="7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34" name="Freeform 50">
              <a:extLst>
                <a:ext uri="{FF2B5EF4-FFF2-40B4-BE49-F238E27FC236}">
                  <a16:creationId xmlns:a16="http://schemas.microsoft.com/office/drawing/2014/main" id="{A947C942-EA82-4B48-9330-14A742F71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9" y="621"/>
              <a:ext cx="157" cy="233"/>
            </a:xfrm>
            <a:custGeom>
              <a:avLst/>
              <a:gdLst>
                <a:gd name="T0" fmla="*/ 7 w 106"/>
                <a:gd name="T1" fmla="*/ 158 h 158"/>
                <a:gd name="T2" fmla="*/ 1 w 106"/>
                <a:gd name="T3" fmla="*/ 154 h 158"/>
                <a:gd name="T4" fmla="*/ 5 w 106"/>
                <a:gd name="T5" fmla="*/ 147 h 158"/>
                <a:gd name="T6" fmla="*/ 74 w 106"/>
                <a:gd name="T7" fmla="*/ 94 h 158"/>
                <a:gd name="T8" fmla="*/ 86 w 106"/>
                <a:gd name="T9" fmla="*/ 8 h 158"/>
                <a:gd name="T10" fmla="*/ 90 w 106"/>
                <a:gd name="T11" fmla="*/ 1 h 158"/>
                <a:gd name="T12" fmla="*/ 97 w 106"/>
                <a:gd name="T13" fmla="*/ 5 h 158"/>
                <a:gd name="T14" fmla="*/ 84 w 106"/>
                <a:gd name="T15" fmla="*/ 100 h 158"/>
                <a:gd name="T16" fmla="*/ 8 w 106"/>
                <a:gd name="T17" fmla="*/ 158 h 158"/>
                <a:gd name="T18" fmla="*/ 7 w 106"/>
                <a:gd name="T19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58">
                  <a:moveTo>
                    <a:pt x="7" y="158"/>
                  </a:moveTo>
                  <a:cubicBezTo>
                    <a:pt x="4" y="158"/>
                    <a:pt x="2" y="157"/>
                    <a:pt x="1" y="154"/>
                  </a:cubicBezTo>
                  <a:cubicBezTo>
                    <a:pt x="0" y="151"/>
                    <a:pt x="2" y="147"/>
                    <a:pt x="5" y="147"/>
                  </a:cubicBezTo>
                  <a:cubicBezTo>
                    <a:pt x="34" y="139"/>
                    <a:pt x="59" y="121"/>
                    <a:pt x="74" y="94"/>
                  </a:cubicBezTo>
                  <a:cubicBezTo>
                    <a:pt x="89" y="68"/>
                    <a:pt x="93" y="38"/>
                    <a:pt x="86" y="8"/>
                  </a:cubicBezTo>
                  <a:cubicBezTo>
                    <a:pt x="85" y="5"/>
                    <a:pt x="87" y="2"/>
                    <a:pt x="90" y="1"/>
                  </a:cubicBezTo>
                  <a:cubicBezTo>
                    <a:pt x="93" y="0"/>
                    <a:pt x="97" y="2"/>
                    <a:pt x="97" y="5"/>
                  </a:cubicBezTo>
                  <a:cubicBezTo>
                    <a:pt x="106" y="38"/>
                    <a:pt x="101" y="71"/>
                    <a:pt x="84" y="100"/>
                  </a:cubicBezTo>
                  <a:cubicBezTo>
                    <a:pt x="67" y="129"/>
                    <a:pt x="40" y="150"/>
                    <a:pt x="8" y="158"/>
                  </a:cubicBezTo>
                  <a:cubicBezTo>
                    <a:pt x="8" y="158"/>
                    <a:pt x="7" y="158"/>
                    <a:pt x="7" y="1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35" name="Freeform 51">
              <a:extLst>
                <a:ext uri="{FF2B5EF4-FFF2-40B4-BE49-F238E27FC236}">
                  <a16:creationId xmlns:a16="http://schemas.microsoft.com/office/drawing/2014/main" id="{F6FECDDB-A3E0-AB42-AE11-B42BD5D93C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9" y="451"/>
              <a:ext cx="110" cy="112"/>
            </a:xfrm>
            <a:custGeom>
              <a:avLst/>
              <a:gdLst>
                <a:gd name="T0" fmla="*/ 68 w 74"/>
                <a:gd name="T1" fmla="*/ 76 h 76"/>
                <a:gd name="T2" fmla="*/ 67 w 74"/>
                <a:gd name="T3" fmla="*/ 76 h 76"/>
                <a:gd name="T4" fmla="*/ 6 w 74"/>
                <a:gd name="T5" fmla="*/ 70 h 76"/>
                <a:gd name="T6" fmla="*/ 1 w 74"/>
                <a:gd name="T7" fmla="*/ 67 h 76"/>
                <a:gd name="T8" fmla="*/ 1 w 74"/>
                <a:gd name="T9" fmla="*/ 61 h 76"/>
                <a:gd name="T10" fmla="*/ 24 w 74"/>
                <a:gd name="T11" fmla="*/ 5 h 76"/>
                <a:gd name="T12" fmla="*/ 32 w 74"/>
                <a:gd name="T13" fmla="*/ 1 h 76"/>
                <a:gd name="T14" fmla="*/ 35 w 74"/>
                <a:gd name="T15" fmla="*/ 9 h 76"/>
                <a:gd name="T16" fmla="*/ 15 w 74"/>
                <a:gd name="T17" fmla="*/ 58 h 76"/>
                <a:gd name="T18" fmla="*/ 68 w 74"/>
                <a:gd name="T19" fmla="*/ 64 h 76"/>
                <a:gd name="T20" fmla="*/ 74 w 74"/>
                <a:gd name="T21" fmla="*/ 70 h 76"/>
                <a:gd name="T22" fmla="*/ 68 w 74"/>
                <a:gd name="T23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76">
                  <a:moveTo>
                    <a:pt x="68" y="76"/>
                  </a:moveTo>
                  <a:cubicBezTo>
                    <a:pt x="67" y="76"/>
                    <a:pt x="67" y="76"/>
                    <a:pt x="67" y="76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4" y="69"/>
                    <a:pt x="2" y="68"/>
                    <a:pt x="1" y="67"/>
                  </a:cubicBezTo>
                  <a:cubicBezTo>
                    <a:pt x="1" y="65"/>
                    <a:pt x="0" y="63"/>
                    <a:pt x="1" y="61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5" y="1"/>
                    <a:pt x="29" y="0"/>
                    <a:pt x="32" y="1"/>
                  </a:cubicBezTo>
                  <a:cubicBezTo>
                    <a:pt x="35" y="2"/>
                    <a:pt x="36" y="6"/>
                    <a:pt x="35" y="9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71" y="64"/>
                    <a:pt x="74" y="67"/>
                    <a:pt x="74" y="70"/>
                  </a:cubicBezTo>
                  <a:cubicBezTo>
                    <a:pt x="73" y="73"/>
                    <a:pt x="71" y="76"/>
                    <a:pt x="68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36" name="Freeform 52">
              <a:extLst>
                <a:ext uri="{FF2B5EF4-FFF2-40B4-BE49-F238E27FC236}">
                  <a16:creationId xmlns:a16="http://schemas.microsoft.com/office/drawing/2014/main" id="{368296E1-91C7-0142-92A5-9FC30718B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9" y="491"/>
              <a:ext cx="269" cy="81"/>
            </a:xfrm>
            <a:custGeom>
              <a:avLst/>
              <a:gdLst>
                <a:gd name="T0" fmla="*/ 175 w 182"/>
                <a:gd name="T1" fmla="*/ 55 h 55"/>
                <a:gd name="T2" fmla="*/ 171 w 182"/>
                <a:gd name="T3" fmla="*/ 53 h 55"/>
                <a:gd name="T4" fmla="*/ 94 w 182"/>
                <a:gd name="T5" fmla="*/ 14 h 55"/>
                <a:gd name="T6" fmla="*/ 11 w 182"/>
                <a:gd name="T7" fmla="*/ 41 h 55"/>
                <a:gd name="T8" fmla="*/ 2 w 182"/>
                <a:gd name="T9" fmla="*/ 40 h 55"/>
                <a:gd name="T10" fmla="*/ 3 w 182"/>
                <a:gd name="T11" fmla="*/ 32 h 55"/>
                <a:gd name="T12" fmla="*/ 94 w 182"/>
                <a:gd name="T13" fmla="*/ 2 h 55"/>
                <a:gd name="T14" fmla="*/ 180 w 182"/>
                <a:gd name="T15" fmla="*/ 45 h 55"/>
                <a:gd name="T16" fmla="*/ 179 w 182"/>
                <a:gd name="T17" fmla="*/ 53 h 55"/>
                <a:gd name="T18" fmla="*/ 175 w 182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55">
                  <a:moveTo>
                    <a:pt x="175" y="55"/>
                  </a:moveTo>
                  <a:cubicBezTo>
                    <a:pt x="174" y="55"/>
                    <a:pt x="172" y="54"/>
                    <a:pt x="171" y="53"/>
                  </a:cubicBezTo>
                  <a:cubicBezTo>
                    <a:pt x="151" y="30"/>
                    <a:pt x="124" y="16"/>
                    <a:pt x="94" y="14"/>
                  </a:cubicBezTo>
                  <a:cubicBezTo>
                    <a:pt x="63" y="12"/>
                    <a:pt x="34" y="21"/>
                    <a:pt x="11" y="41"/>
                  </a:cubicBezTo>
                  <a:cubicBezTo>
                    <a:pt x="8" y="43"/>
                    <a:pt x="4" y="43"/>
                    <a:pt x="2" y="40"/>
                  </a:cubicBezTo>
                  <a:cubicBezTo>
                    <a:pt x="0" y="38"/>
                    <a:pt x="0" y="34"/>
                    <a:pt x="3" y="32"/>
                  </a:cubicBezTo>
                  <a:cubicBezTo>
                    <a:pt x="28" y="10"/>
                    <a:pt x="61" y="0"/>
                    <a:pt x="94" y="2"/>
                  </a:cubicBezTo>
                  <a:cubicBezTo>
                    <a:pt x="128" y="4"/>
                    <a:pt x="159" y="20"/>
                    <a:pt x="180" y="45"/>
                  </a:cubicBezTo>
                  <a:cubicBezTo>
                    <a:pt x="182" y="47"/>
                    <a:pt x="182" y="51"/>
                    <a:pt x="179" y="53"/>
                  </a:cubicBezTo>
                  <a:cubicBezTo>
                    <a:pt x="178" y="54"/>
                    <a:pt x="177" y="55"/>
                    <a:pt x="175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37" name="Freeform 53">
              <a:extLst>
                <a:ext uri="{FF2B5EF4-FFF2-40B4-BE49-F238E27FC236}">
                  <a16:creationId xmlns:a16="http://schemas.microsoft.com/office/drawing/2014/main" id="{58A5879A-4845-1A4E-AD7C-5245A7976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8" y="754"/>
              <a:ext cx="108" cy="114"/>
            </a:xfrm>
            <a:custGeom>
              <a:avLst/>
              <a:gdLst>
                <a:gd name="T0" fmla="*/ 7 w 73"/>
                <a:gd name="T1" fmla="*/ 77 h 77"/>
                <a:gd name="T2" fmla="*/ 1 w 73"/>
                <a:gd name="T3" fmla="*/ 72 h 77"/>
                <a:gd name="T4" fmla="*/ 6 w 73"/>
                <a:gd name="T5" fmla="*/ 65 h 77"/>
                <a:gd name="T6" fmla="*/ 58 w 73"/>
                <a:gd name="T7" fmla="*/ 57 h 77"/>
                <a:gd name="T8" fmla="*/ 36 w 73"/>
                <a:gd name="T9" fmla="*/ 9 h 77"/>
                <a:gd name="T10" fmla="*/ 39 w 73"/>
                <a:gd name="T11" fmla="*/ 1 h 77"/>
                <a:gd name="T12" fmla="*/ 47 w 73"/>
                <a:gd name="T13" fmla="*/ 4 h 77"/>
                <a:gd name="T14" fmla="*/ 73 w 73"/>
                <a:gd name="T15" fmla="*/ 60 h 77"/>
                <a:gd name="T16" fmla="*/ 73 w 73"/>
                <a:gd name="T17" fmla="*/ 65 h 77"/>
                <a:gd name="T18" fmla="*/ 68 w 73"/>
                <a:gd name="T19" fmla="*/ 68 h 77"/>
                <a:gd name="T20" fmla="*/ 7 w 73"/>
                <a:gd name="T21" fmla="*/ 77 h 77"/>
                <a:gd name="T22" fmla="*/ 7 w 73"/>
                <a:gd name="T2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" h="77">
                  <a:moveTo>
                    <a:pt x="7" y="77"/>
                  </a:moveTo>
                  <a:cubicBezTo>
                    <a:pt x="4" y="77"/>
                    <a:pt x="1" y="75"/>
                    <a:pt x="1" y="72"/>
                  </a:cubicBezTo>
                  <a:cubicBezTo>
                    <a:pt x="0" y="69"/>
                    <a:pt x="2" y="66"/>
                    <a:pt x="6" y="65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5" y="6"/>
                    <a:pt x="36" y="2"/>
                    <a:pt x="39" y="1"/>
                  </a:cubicBezTo>
                  <a:cubicBezTo>
                    <a:pt x="42" y="0"/>
                    <a:pt x="46" y="1"/>
                    <a:pt x="47" y="4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3" y="61"/>
                    <a:pt x="73" y="63"/>
                    <a:pt x="73" y="65"/>
                  </a:cubicBezTo>
                  <a:cubicBezTo>
                    <a:pt x="72" y="67"/>
                    <a:pt x="70" y="68"/>
                    <a:pt x="68" y="68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77"/>
                    <a:pt x="7" y="77"/>
                    <a:pt x="7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38" name="Freeform 54">
              <a:extLst>
                <a:ext uri="{FF2B5EF4-FFF2-40B4-BE49-F238E27FC236}">
                  <a16:creationId xmlns:a16="http://schemas.microsoft.com/office/drawing/2014/main" id="{B1F284B8-040C-EA40-B415-8A9522FE8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2" y="612"/>
              <a:ext cx="144" cy="242"/>
            </a:xfrm>
            <a:custGeom>
              <a:avLst/>
              <a:gdLst>
                <a:gd name="T0" fmla="*/ 90 w 97"/>
                <a:gd name="T1" fmla="*/ 164 h 164"/>
                <a:gd name="T2" fmla="*/ 88 w 97"/>
                <a:gd name="T3" fmla="*/ 163 h 164"/>
                <a:gd name="T4" fmla="*/ 17 w 97"/>
                <a:gd name="T5" fmla="*/ 100 h 164"/>
                <a:gd name="T6" fmla="*/ 11 w 97"/>
                <a:gd name="T7" fmla="*/ 4 h 164"/>
                <a:gd name="T8" fmla="*/ 19 w 97"/>
                <a:gd name="T9" fmla="*/ 1 h 164"/>
                <a:gd name="T10" fmla="*/ 22 w 97"/>
                <a:gd name="T11" fmla="*/ 8 h 164"/>
                <a:gd name="T12" fmla="*/ 27 w 97"/>
                <a:gd name="T13" fmla="*/ 94 h 164"/>
                <a:gd name="T14" fmla="*/ 92 w 97"/>
                <a:gd name="T15" fmla="*/ 152 h 164"/>
                <a:gd name="T16" fmla="*/ 96 w 97"/>
                <a:gd name="T17" fmla="*/ 160 h 164"/>
                <a:gd name="T18" fmla="*/ 90 w 97"/>
                <a:gd name="T19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64">
                  <a:moveTo>
                    <a:pt x="90" y="164"/>
                  </a:moveTo>
                  <a:cubicBezTo>
                    <a:pt x="90" y="164"/>
                    <a:pt x="89" y="164"/>
                    <a:pt x="88" y="163"/>
                  </a:cubicBezTo>
                  <a:cubicBezTo>
                    <a:pt x="57" y="152"/>
                    <a:pt x="31" y="130"/>
                    <a:pt x="17" y="100"/>
                  </a:cubicBezTo>
                  <a:cubicBezTo>
                    <a:pt x="2" y="70"/>
                    <a:pt x="0" y="36"/>
                    <a:pt x="11" y="4"/>
                  </a:cubicBezTo>
                  <a:cubicBezTo>
                    <a:pt x="12" y="1"/>
                    <a:pt x="16" y="0"/>
                    <a:pt x="19" y="1"/>
                  </a:cubicBezTo>
                  <a:cubicBezTo>
                    <a:pt x="22" y="2"/>
                    <a:pt x="23" y="5"/>
                    <a:pt x="22" y="8"/>
                  </a:cubicBezTo>
                  <a:cubicBezTo>
                    <a:pt x="12" y="37"/>
                    <a:pt x="14" y="67"/>
                    <a:pt x="27" y="94"/>
                  </a:cubicBezTo>
                  <a:cubicBezTo>
                    <a:pt x="41" y="121"/>
                    <a:pt x="64" y="142"/>
                    <a:pt x="92" y="152"/>
                  </a:cubicBezTo>
                  <a:cubicBezTo>
                    <a:pt x="96" y="153"/>
                    <a:pt x="97" y="157"/>
                    <a:pt x="96" y="160"/>
                  </a:cubicBezTo>
                  <a:cubicBezTo>
                    <a:pt x="95" y="162"/>
                    <a:pt x="93" y="164"/>
                    <a:pt x="90" y="1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339" name="Group 81">
            <a:extLst>
              <a:ext uri="{FF2B5EF4-FFF2-40B4-BE49-F238E27FC236}">
                <a16:creationId xmlns:a16="http://schemas.microsoft.com/office/drawing/2014/main" id="{6F0CCB4D-675F-F14F-99D5-2DD46749B80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8612" y="5509828"/>
            <a:ext cx="450851" cy="449782"/>
            <a:chOff x="1370" y="1720"/>
            <a:chExt cx="426" cy="425"/>
          </a:xfrm>
          <a:solidFill>
            <a:schemeClr val="accent1"/>
          </a:solidFill>
        </p:grpSpPr>
        <p:sp>
          <p:nvSpPr>
            <p:cNvPr id="340" name="Freeform 82">
              <a:extLst>
                <a:ext uri="{FF2B5EF4-FFF2-40B4-BE49-F238E27FC236}">
                  <a16:creationId xmlns:a16="http://schemas.microsoft.com/office/drawing/2014/main" id="{AFD37094-822A-F447-8CE7-9F103F960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1755"/>
              <a:ext cx="426" cy="390"/>
            </a:xfrm>
            <a:custGeom>
              <a:avLst/>
              <a:gdLst>
                <a:gd name="T0" fmla="*/ 282 w 288"/>
                <a:gd name="T1" fmla="*/ 264 h 264"/>
                <a:gd name="T2" fmla="*/ 6 w 288"/>
                <a:gd name="T3" fmla="*/ 264 h 264"/>
                <a:gd name="T4" fmla="*/ 0 w 288"/>
                <a:gd name="T5" fmla="*/ 258 h 264"/>
                <a:gd name="T6" fmla="*/ 0 w 288"/>
                <a:gd name="T7" fmla="*/ 6 h 264"/>
                <a:gd name="T8" fmla="*/ 6 w 288"/>
                <a:gd name="T9" fmla="*/ 0 h 264"/>
                <a:gd name="T10" fmla="*/ 54 w 288"/>
                <a:gd name="T11" fmla="*/ 0 h 264"/>
                <a:gd name="T12" fmla="*/ 60 w 288"/>
                <a:gd name="T13" fmla="*/ 6 h 264"/>
                <a:gd name="T14" fmla="*/ 54 w 288"/>
                <a:gd name="T15" fmla="*/ 12 h 264"/>
                <a:gd name="T16" fmla="*/ 12 w 288"/>
                <a:gd name="T17" fmla="*/ 12 h 264"/>
                <a:gd name="T18" fmla="*/ 12 w 288"/>
                <a:gd name="T19" fmla="*/ 252 h 264"/>
                <a:gd name="T20" fmla="*/ 276 w 288"/>
                <a:gd name="T21" fmla="*/ 252 h 264"/>
                <a:gd name="T22" fmla="*/ 276 w 288"/>
                <a:gd name="T23" fmla="*/ 12 h 264"/>
                <a:gd name="T24" fmla="*/ 234 w 288"/>
                <a:gd name="T25" fmla="*/ 12 h 264"/>
                <a:gd name="T26" fmla="*/ 228 w 288"/>
                <a:gd name="T27" fmla="*/ 6 h 264"/>
                <a:gd name="T28" fmla="*/ 234 w 288"/>
                <a:gd name="T29" fmla="*/ 0 h 264"/>
                <a:gd name="T30" fmla="*/ 282 w 288"/>
                <a:gd name="T31" fmla="*/ 0 h 264"/>
                <a:gd name="T32" fmla="*/ 288 w 288"/>
                <a:gd name="T33" fmla="*/ 6 h 264"/>
                <a:gd name="T34" fmla="*/ 288 w 288"/>
                <a:gd name="T35" fmla="*/ 258 h 264"/>
                <a:gd name="T36" fmla="*/ 282 w 288"/>
                <a:gd name="T37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8" h="264">
                  <a:moveTo>
                    <a:pt x="282" y="264"/>
                  </a:moveTo>
                  <a:cubicBezTo>
                    <a:pt x="6" y="264"/>
                    <a:pt x="6" y="264"/>
                    <a:pt x="6" y="264"/>
                  </a:cubicBezTo>
                  <a:cubicBezTo>
                    <a:pt x="3" y="264"/>
                    <a:pt x="0" y="261"/>
                    <a:pt x="0" y="25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2"/>
                    <a:pt x="60" y="6"/>
                  </a:cubicBezTo>
                  <a:cubicBezTo>
                    <a:pt x="60" y="9"/>
                    <a:pt x="58" y="12"/>
                    <a:pt x="5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52"/>
                    <a:pt x="12" y="252"/>
                    <a:pt x="12" y="252"/>
                  </a:cubicBezTo>
                  <a:cubicBezTo>
                    <a:pt x="276" y="252"/>
                    <a:pt x="276" y="252"/>
                    <a:pt x="276" y="252"/>
                  </a:cubicBezTo>
                  <a:cubicBezTo>
                    <a:pt x="276" y="12"/>
                    <a:pt x="276" y="12"/>
                    <a:pt x="276" y="12"/>
                  </a:cubicBezTo>
                  <a:cubicBezTo>
                    <a:pt x="234" y="12"/>
                    <a:pt x="234" y="12"/>
                    <a:pt x="234" y="12"/>
                  </a:cubicBezTo>
                  <a:cubicBezTo>
                    <a:pt x="231" y="12"/>
                    <a:pt x="228" y="9"/>
                    <a:pt x="228" y="6"/>
                  </a:cubicBezTo>
                  <a:cubicBezTo>
                    <a:pt x="228" y="2"/>
                    <a:pt x="231" y="0"/>
                    <a:pt x="234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2"/>
                    <a:pt x="288" y="6"/>
                  </a:cubicBezTo>
                  <a:cubicBezTo>
                    <a:pt x="288" y="258"/>
                    <a:pt x="288" y="258"/>
                    <a:pt x="288" y="258"/>
                  </a:cubicBezTo>
                  <a:cubicBezTo>
                    <a:pt x="288" y="261"/>
                    <a:pt x="286" y="264"/>
                    <a:pt x="282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1" name="Freeform 83">
              <a:extLst>
                <a:ext uri="{FF2B5EF4-FFF2-40B4-BE49-F238E27FC236}">
                  <a16:creationId xmlns:a16="http://schemas.microsoft.com/office/drawing/2014/main" id="{3422F472-FD2E-E146-B0EE-B299A1CAE0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41" y="1720"/>
              <a:ext cx="71" cy="89"/>
            </a:xfrm>
            <a:custGeom>
              <a:avLst/>
              <a:gdLst>
                <a:gd name="T0" fmla="*/ 42 w 48"/>
                <a:gd name="T1" fmla="*/ 60 h 60"/>
                <a:gd name="T2" fmla="*/ 6 w 48"/>
                <a:gd name="T3" fmla="*/ 60 h 60"/>
                <a:gd name="T4" fmla="*/ 0 w 48"/>
                <a:gd name="T5" fmla="*/ 54 h 60"/>
                <a:gd name="T6" fmla="*/ 0 w 48"/>
                <a:gd name="T7" fmla="*/ 6 h 60"/>
                <a:gd name="T8" fmla="*/ 6 w 48"/>
                <a:gd name="T9" fmla="*/ 0 h 60"/>
                <a:gd name="T10" fmla="*/ 42 w 48"/>
                <a:gd name="T11" fmla="*/ 0 h 60"/>
                <a:gd name="T12" fmla="*/ 48 w 48"/>
                <a:gd name="T13" fmla="*/ 6 h 60"/>
                <a:gd name="T14" fmla="*/ 48 w 48"/>
                <a:gd name="T15" fmla="*/ 54 h 60"/>
                <a:gd name="T16" fmla="*/ 42 w 48"/>
                <a:gd name="T17" fmla="*/ 60 h 60"/>
                <a:gd name="T18" fmla="*/ 12 w 48"/>
                <a:gd name="T19" fmla="*/ 48 h 60"/>
                <a:gd name="T20" fmla="*/ 36 w 48"/>
                <a:gd name="T21" fmla="*/ 48 h 60"/>
                <a:gd name="T22" fmla="*/ 36 w 48"/>
                <a:gd name="T23" fmla="*/ 12 h 60"/>
                <a:gd name="T24" fmla="*/ 12 w 48"/>
                <a:gd name="T25" fmla="*/ 12 h 60"/>
                <a:gd name="T26" fmla="*/ 12 w 48"/>
                <a:gd name="T27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60">
                  <a:moveTo>
                    <a:pt x="4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2"/>
                    <a:pt x="48" y="6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8" y="57"/>
                    <a:pt x="46" y="60"/>
                    <a:pt x="42" y="60"/>
                  </a:cubicBezTo>
                  <a:close/>
                  <a:moveTo>
                    <a:pt x="12" y="48"/>
                  </a:moveTo>
                  <a:cubicBezTo>
                    <a:pt x="36" y="48"/>
                    <a:pt x="36" y="48"/>
                    <a:pt x="36" y="48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2" name="Freeform 84">
              <a:extLst>
                <a:ext uri="{FF2B5EF4-FFF2-40B4-BE49-F238E27FC236}">
                  <a16:creationId xmlns:a16="http://schemas.microsoft.com/office/drawing/2014/main" id="{A5C0B545-2E7A-5941-9C66-99945E3792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4" y="1720"/>
              <a:ext cx="71" cy="89"/>
            </a:xfrm>
            <a:custGeom>
              <a:avLst/>
              <a:gdLst>
                <a:gd name="T0" fmla="*/ 42 w 48"/>
                <a:gd name="T1" fmla="*/ 60 h 60"/>
                <a:gd name="T2" fmla="*/ 6 w 48"/>
                <a:gd name="T3" fmla="*/ 60 h 60"/>
                <a:gd name="T4" fmla="*/ 0 w 48"/>
                <a:gd name="T5" fmla="*/ 54 h 60"/>
                <a:gd name="T6" fmla="*/ 0 w 48"/>
                <a:gd name="T7" fmla="*/ 6 h 60"/>
                <a:gd name="T8" fmla="*/ 6 w 48"/>
                <a:gd name="T9" fmla="*/ 0 h 60"/>
                <a:gd name="T10" fmla="*/ 42 w 48"/>
                <a:gd name="T11" fmla="*/ 0 h 60"/>
                <a:gd name="T12" fmla="*/ 48 w 48"/>
                <a:gd name="T13" fmla="*/ 6 h 60"/>
                <a:gd name="T14" fmla="*/ 48 w 48"/>
                <a:gd name="T15" fmla="*/ 54 h 60"/>
                <a:gd name="T16" fmla="*/ 42 w 48"/>
                <a:gd name="T17" fmla="*/ 60 h 60"/>
                <a:gd name="T18" fmla="*/ 12 w 48"/>
                <a:gd name="T19" fmla="*/ 48 h 60"/>
                <a:gd name="T20" fmla="*/ 36 w 48"/>
                <a:gd name="T21" fmla="*/ 48 h 60"/>
                <a:gd name="T22" fmla="*/ 36 w 48"/>
                <a:gd name="T23" fmla="*/ 12 h 60"/>
                <a:gd name="T24" fmla="*/ 12 w 48"/>
                <a:gd name="T25" fmla="*/ 12 h 60"/>
                <a:gd name="T26" fmla="*/ 12 w 48"/>
                <a:gd name="T27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60">
                  <a:moveTo>
                    <a:pt x="4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2"/>
                    <a:pt x="48" y="6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8" y="57"/>
                    <a:pt x="46" y="60"/>
                    <a:pt x="42" y="60"/>
                  </a:cubicBezTo>
                  <a:close/>
                  <a:moveTo>
                    <a:pt x="12" y="48"/>
                  </a:moveTo>
                  <a:cubicBezTo>
                    <a:pt x="36" y="48"/>
                    <a:pt x="36" y="48"/>
                    <a:pt x="36" y="48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3" name="Freeform 85">
              <a:extLst>
                <a:ext uri="{FF2B5EF4-FFF2-40B4-BE49-F238E27FC236}">
                  <a16:creationId xmlns:a16="http://schemas.microsoft.com/office/drawing/2014/main" id="{374CD6E2-C0BA-8E40-A449-820C4406F1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5" y="1755"/>
              <a:ext cx="177" cy="18"/>
            </a:xfrm>
            <a:custGeom>
              <a:avLst/>
              <a:gdLst>
                <a:gd name="T0" fmla="*/ 114 w 120"/>
                <a:gd name="T1" fmla="*/ 12 h 12"/>
                <a:gd name="T2" fmla="*/ 6 w 120"/>
                <a:gd name="T3" fmla="*/ 12 h 12"/>
                <a:gd name="T4" fmla="*/ 0 w 120"/>
                <a:gd name="T5" fmla="*/ 6 h 12"/>
                <a:gd name="T6" fmla="*/ 6 w 120"/>
                <a:gd name="T7" fmla="*/ 0 h 12"/>
                <a:gd name="T8" fmla="*/ 114 w 120"/>
                <a:gd name="T9" fmla="*/ 0 h 12"/>
                <a:gd name="T10" fmla="*/ 120 w 120"/>
                <a:gd name="T11" fmla="*/ 6 h 12"/>
                <a:gd name="T12" fmla="*/ 114 w 12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2">
                  <a:moveTo>
                    <a:pt x="11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8" y="0"/>
                    <a:pt x="120" y="2"/>
                    <a:pt x="120" y="6"/>
                  </a:cubicBezTo>
                  <a:cubicBezTo>
                    <a:pt x="120" y="9"/>
                    <a:pt x="118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4" name="Freeform 86">
              <a:extLst>
                <a:ext uri="{FF2B5EF4-FFF2-40B4-BE49-F238E27FC236}">
                  <a16:creationId xmlns:a16="http://schemas.microsoft.com/office/drawing/2014/main" id="{5650B1E9-10A3-734D-9AC1-8B333A356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1844"/>
              <a:ext cx="426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2"/>
                    <a:pt x="288" y="6"/>
                  </a:cubicBezTo>
                  <a:cubicBezTo>
                    <a:pt x="288" y="9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5" name="Freeform 87">
              <a:extLst>
                <a:ext uri="{FF2B5EF4-FFF2-40B4-BE49-F238E27FC236}">
                  <a16:creationId xmlns:a16="http://schemas.microsoft.com/office/drawing/2014/main" id="{4B7887F8-0B63-E948-966D-617614E80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7" y="1879"/>
              <a:ext cx="18" cy="231"/>
            </a:xfrm>
            <a:custGeom>
              <a:avLst/>
              <a:gdLst>
                <a:gd name="T0" fmla="*/ 6 w 12"/>
                <a:gd name="T1" fmla="*/ 156 h 156"/>
                <a:gd name="T2" fmla="*/ 0 w 12"/>
                <a:gd name="T3" fmla="*/ 150 h 156"/>
                <a:gd name="T4" fmla="*/ 0 w 12"/>
                <a:gd name="T5" fmla="*/ 6 h 156"/>
                <a:gd name="T6" fmla="*/ 6 w 12"/>
                <a:gd name="T7" fmla="*/ 0 h 156"/>
                <a:gd name="T8" fmla="*/ 12 w 12"/>
                <a:gd name="T9" fmla="*/ 6 h 156"/>
                <a:gd name="T10" fmla="*/ 12 w 12"/>
                <a:gd name="T11" fmla="*/ 150 h 156"/>
                <a:gd name="T12" fmla="*/ 6 w 1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6">
                  <a:moveTo>
                    <a:pt x="6" y="156"/>
                  </a:moveTo>
                  <a:cubicBezTo>
                    <a:pt x="3" y="156"/>
                    <a:pt x="0" y="153"/>
                    <a:pt x="0" y="15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0"/>
                    <a:pt x="12" y="150"/>
                    <a:pt x="12" y="150"/>
                  </a:cubicBezTo>
                  <a:cubicBezTo>
                    <a:pt x="12" y="153"/>
                    <a:pt x="10" y="156"/>
                    <a:pt x="6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6" name="Freeform 88">
              <a:extLst>
                <a:ext uri="{FF2B5EF4-FFF2-40B4-BE49-F238E27FC236}">
                  <a16:creationId xmlns:a16="http://schemas.microsoft.com/office/drawing/2014/main" id="{ABE6E62F-E613-A74D-B3A8-299734AD8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5" y="1879"/>
              <a:ext cx="18" cy="231"/>
            </a:xfrm>
            <a:custGeom>
              <a:avLst/>
              <a:gdLst>
                <a:gd name="T0" fmla="*/ 6 w 12"/>
                <a:gd name="T1" fmla="*/ 156 h 156"/>
                <a:gd name="T2" fmla="*/ 0 w 12"/>
                <a:gd name="T3" fmla="*/ 150 h 156"/>
                <a:gd name="T4" fmla="*/ 0 w 12"/>
                <a:gd name="T5" fmla="*/ 6 h 156"/>
                <a:gd name="T6" fmla="*/ 6 w 12"/>
                <a:gd name="T7" fmla="*/ 0 h 156"/>
                <a:gd name="T8" fmla="*/ 12 w 12"/>
                <a:gd name="T9" fmla="*/ 6 h 156"/>
                <a:gd name="T10" fmla="*/ 12 w 12"/>
                <a:gd name="T11" fmla="*/ 150 h 156"/>
                <a:gd name="T12" fmla="*/ 6 w 1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6">
                  <a:moveTo>
                    <a:pt x="6" y="156"/>
                  </a:moveTo>
                  <a:cubicBezTo>
                    <a:pt x="3" y="156"/>
                    <a:pt x="0" y="153"/>
                    <a:pt x="0" y="15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0"/>
                    <a:pt x="12" y="150"/>
                    <a:pt x="12" y="150"/>
                  </a:cubicBezTo>
                  <a:cubicBezTo>
                    <a:pt x="12" y="153"/>
                    <a:pt x="10" y="156"/>
                    <a:pt x="6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7" name="Freeform 89">
              <a:extLst>
                <a:ext uri="{FF2B5EF4-FFF2-40B4-BE49-F238E27FC236}">
                  <a16:creationId xmlns:a16="http://schemas.microsoft.com/office/drawing/2014/main" id="{695E4311-FAD6-9945-AF11-C24EB51807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" y="1879"/>
              <a:ext cx="18" cy="231"/>
            </a:xfrm>
            <a:custGeom>
              <a:avLst/>
              <a:gdLst>
                <a:gd name="T0" fmla="*/ 6 w 12"/>
                <a:gd name="T1" fmla="*/ 156 h 156"/>
                <a:gd name="T2" fmla="*/ 0 w 12"/>
                <a:gd name="T3" fmla="*/ 150 h 156"/>
                <a:gd name="T4" fmla="*/ 0 w 12"/>
                <a:gd name="T5" fmla="*/ 6 h 156"/>
                <a:gd name="T6" fmla="*/ 6 w 12"/>
                <a:gd name="T7" fmla="*/ 0 h 156"/>
                <a:gd name="T8" fmla="*/ 12 w 12"/>
                <a:gd name="T9" fmla="*/ 6 h 156"/>
                <a:gd name="T10" fmla="*/ 12 w 12"/>
                <a:gd name="T11" fmla="*/ 150 h 156"/>
                <a:gd name="T12" fmla="*/ 6 w 1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6">
                  <a:moveTo>
                    <a:pt x="6" y="156"/>
                  </a:moveTo>
                  <a:cubicBezTo>
                    <a:pt x="3" y="156"/>
                    <a:pt x="0" y="153"/>
                    <a:pt x="0" y="15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0"/>
                    <a:pt x="12" y="150"/>
                    <a:pt x="12" y="150"/>
                  </a:cubicBezTo>
                  <a:cubicBezTo>
                    <a:pt x="12" y="153"/>
                    <a:pt x="10" y="156"/>
                    <a:pt x="6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8" name="Freeform 90">
              <a:extLst>
                <a:ext uri="{FF2B5EF4-FFF2-40B4-BE49-F238E27FC236}">
                  <a16:creationId xmlns:a16="http://schemas.microsoft.com/office/drawing/2014/main" id="{F6332ED2-95E6-314D-B133-3718ED39B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" y="1915"/>
              <a:ext cx="355" cy="18"/>
            </a:xfrm>
            <a:custGeom>
              <a:avLst/>
              <a:gdLst>
                <a:gd name="T0" fmla="*/ 234 w 240"/>
                <a:gd name="T1" fmla="*/ 12 h 12"/>
                <a:gd name="T2" fmla="*/ 6 w 240"/>
                <a:gd name="T3" fmla="*/ 12 h 12"/>
                <a:gd name="T4" fmla="*/ 0 w 240"/>
                <a:gd name="T5" fmla="*/ 6 h 12"/>
                <a:gd name="T6" fmla="*/ 6 w 240"/>
                <a:gd name="T7" fmla="*/ 0 h 12"/>
                <a:gd name="T8" fmla="*/ 234 w 240"/>
                <a:gd name="T9" fmla="*/ 0 h 12"/>
                <a:gd name="T10" fmla="*/ 240 w 240"/>
                <a:gd name="T11" fmla="*/ 6 h 12"/>
                <a:gd name="T12" fmla="*/ 234 w 24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12">
                  <a:moveTo>
                    <a:pt x="23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38" y="0"/>
                    <a:pt x="240" y="2"/>
                    <a:pt x="240" y="6"/>
                  </a:cubicBezTo>
                  <a:cubicBezTo>
                    <a:pt x="240" y="9"/>
                    <a:pt x="238" y="12"/>
                    <a:pt x="2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9" name="Freeform 91">
              <a:extLst>
                <a:ext uri="{FF2B5EF4-FFF2-40B4-BE49-F238E27FC236}">
                  <a16:creationId xmlns:a16="http://schemas.microsoft.com/office/drawing/2014/main" id="{6A20710A-A127-3045-90AC-4BEF3E718D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" y="1986"/>
              <a:ext cx="355" cy="17"/>
            </a:xfrm>
            <a:custGeom>
              <a:avLst/>
              <a:gdLst>
                <a:gd name="T0" fmla="*/ 234 w 240"/>
                <a:gd name="T1" fmla="*/ 12 h 12"/>
                <a:gd name="T2" fmla="*/ 6 w 240"/>
                <a:gd name="T3" fmla="*/ 12 h 12"/>
                <a:gd name="T4" fmla="*/ 0 w 240"/>
                <a:gd name="T5" fmla="*/ 6 h 12"/>
                <a:gd name="T6" fmla="*/ 6 w 240"/>
                <a:gd name="T7" fmla="*/ 0 h 12"/>
                <a:gd name="T8" fmla="*/ 234 w 240"/>
                <a:gd name="T9" fmla="*/ 0 h 12"/>
                <a:gd name="T10" fmla="*/ 240 w 240"/>
                <a:gd name="T11" fmla="*/ 6 h 12"/>
                <a:gd name="T12" fmla="*/ 234 w 24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12">
                  <a:moveTo>
                    <a:pt x="23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38" y="0"/>
                    <a:pt x="240" y="2"/>
                    <a:pt x="240" y="6"/>
                  </a:cubicBezTo>
                  <a:cubicBezTo>
                    <a:pt x="240" y="9"/>
                    <a:pt x="238" y="12"/>
                    <a:pt x="2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50" name="Freeform 92">
              <a:extLst>
                <a:ext uri="{FF2B5EF4-FFF2-40B4-BE49-F238E27FC236}">
                  <a16:creationId xmlns:a16="http://schemas.microsoft.com/office/drawing/2014/main" id="{D7659633-77CA-5343-AA5A-F95F88663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" y="2057"/>
              <a:ext cx="355" cy="17"/>
            </a:xfrm>
            <a:custGeom>
              <a:avLst/>
              <a:gdLst>
                <a:gd name="T0" fmla="*/ 234 w 240"/>
                <a:gd name="T1" fmla="*/ 12 h 12"/>
                <a:gd name="T2" fmla="*/ 6 w 240"/>
                <a:gd name="T3" fmla="*/ 12 h 12"/>
                <a:gd name="T4" fmla="*/ 0 w 240"/>
                <a:gd name="T5" fmla="*/ 6 h 12"/>
                <a:gd name="T6" fmla="*/ 6 w 240"/>
                <a:gd name="T7" fmla="*/ 0 h 12"/>
                <a:gd name="T8" fmla="*/ 234 w 240"/>
                <a:gd name="T9" fmla="*/ 0 h 12"/>
                <a:gd name="T10" fmla="*/ 240 w 240"/>
                <a:gd name="T11" fmla="*/ 6 h 12"/>
                <a:gd name="T12" fmla="*/ 234 w 24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12">
                  <a:moveTo>
                    <a:pt x="23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38" y="0"/>
                    <a:pt x="240" y="2"/>
                    <a:pt x="240" y="6"/>
                  </a:cubicBezTo>
                  <a:cubicBezTo>
                    <a:pt x="240" y="9"/>
                    <a:pt x="238" y="12"/>
                    <a:pt x="2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351" name="Freeform 144">
            <a:extLst>
              <a:ext uri="{FF2B5EF4-FFF2-40B4-BE49-F238E27FC236}">
                <a16:creationId xmlns:a16="http://schemas.microsoft.com/office/drawing/2014/main" id="{887C956D-5C6A-EF41-B68E-293B826857D7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2171887" y="1915146"/>
            <a:ext cx="274440" cy="529622"/>
          </a:xfrm>
          <a:custGeom>
            <a:avLst/>
            <a:gdLst>
              <a:gd name="T0" fmla="*/ 116 w 154"/>
              <a:gd name="T1" fmla="*/ 167 h 297"/>
              <a:gd name="T2" fmla="*/ 83 w 154"/>
              <a:gd name="T3" fmla="*/ 119 h 297"/>
              <a:gd name="T4" fmla="*/ 83 w 154"/>
              <a:gd name="T5" fmla="*/ 18 h 297"/>
              <a:gd name="T6" fmla="*/ 83 w 154"/>
              <a:gd name="T7" fmla="*/ 17 h 297"/>
              <a:gd name="T8" fmla="*/ 83 w 154"/>
              <a:gd name="T9" fmla="*/ 17 h 297"/>
              <a:gd name="T10" fmla="*/ 109 w 154"/>
              <a:gd name="T11" fmla="*/ 34 h 297"/>
              <a:gd name="T12" fmla="*/ 118 w 154"/>
              <a:gd name="T13" fmla="*/ 33 h 297"/>
              <a:gd name="T14" fmla="*/ 119 w 154"/>
              <a:gd name="T15" fmla="*/ 30 h 297"/>
              <a:gd name="T16" fmla="*/ 116 w 154"/>
              <a:gd name="T17" fmla="*/ 25 h 297"/>
              <a:gd name="T18" fmla="*/ 80 w 154"/>
              <a:gd name="T19" fmla="*/ 1 h 297"/>
              <a:gd name="T20" fmla="*/ 80 w 154"/>
              <a:gd name="T21" fmla="*/ 1 h 297"/>
              <a:gd name="T22" fmla="*/ 80 w 154"/>
              <a:gd name="T23" fmla="*/ 1 h 297"/>
              <a:gd name="T24" fmla="*/ 80 w 154"/>
              <a:gd name="T25" fmla="*/ 1 h 297"/>
              <a:gd name="T26" fmla="*/ 79 w 154"/>
              <a:gd name="T27" fmla="*/ 0 h 297"/>
              <a:gd name="T28" fmla="*/ 79 w 154"/>
              <a:gd name="T29" fmla="*/ 0 h 297"/>
              <a:gd name="T30" fmla="*/ 77 w 154"/>
              <a:gd name="T31" fmla="*/ 0 h 297"/>
              <a:gd name="T32" fmla="*/ 77 w 154"/>
              <a:gd name="T33" fmla="*/ 0 h 297"/>
              <a:gd name="T34" fmla="*/ 76 w 154"/>
              <a:gd name="T35" fmla="*/ 0 h 297"/>
              <a:gd name="T36" fmla="*/ 75 w 154"/>
              <a:gd name="T37" fmla="*/ 0 h 297"/>
              <a:gd name="T38" fmla="*/ 74 w 154"/>
              <a:gd name="T39" fmla="*/ 1 h 297"/>
              <a:gd name="T40" fmla="*/ 74 w 154"/>
              <a:gd name="T41" fmla="*/ 1 h 297"/>
              <a:gd name="T42" fmla="*/ 74 w 154"/>
              <a:gd name="T43" fmla="*/ 1 h 297"/>
              <a:gd name="T44" fmla="*/ 74 w 154"/>
              <a:gd name="T45" fmla="*/ 1 h 297"/>
              <a:gd name="T46" fmla="*/ 38 w 154"/>
              <a:gd name="T47" fmla="*/ 25 h 297"/>
              <a:gd name="T48" fmla="*/ 37 w 154"/>
              <a:gd name="T49" fmla="*/ 33 h 297"/>
              <a:gd name="T50" fmla="*/ 45 w 154"/>
              <a:gd name="T51" fmla="*/ 34 h 297"/>
              <a:gd name="T52" fmla="*/ 71 w 154"/>
              <a:gd name="T53" fmla="*/ 17 h 297"/>
              <a:gd name="T54" fmla="*/ 71 w 154"/>
              <a:gd name="T55" fmla="*/ 17 h 297"/>
              <a:gd name="T56" fmla="*/ 71 w 154"/>
              <a:gd name="T57" fmla="*/ 18 h 297"/>
              <a:gd name="T58" fmla="*/ 71 w 154"/>
              <a:gd name="T59" fmla="*/ 119 h 297"/>
              <a:gd name="T60" fmla="*/ 38 w 154"/>
              <a:gd name="T61" fmla="*/ 167 h 297"/>
              <a:gd name="T62" fmla="*/ 0 w 154"/>
              <a:gd name="T63" fmla="*/ 226 h 297"/>
              <a:gd name="T64" fmla="*/ 0 w 154"/>
              <a:gd name="T65" fmla="*/ 255 h 297"/>
              <a:gd name="T66" fmla="*/ 0 w 154"/>
              <a:gd name="T67" fmla="*/ 280 h 297"/>
              <a:gd name="T68" fmla="*/ 0 w 154"/>
              <a:gd name="T69" fmla="*/ 291 h 297"/>
              <a:gd name="T70" fmla="*/ 6 w 154"/>
              <a:gd name="T71" fmla="*/ 297 h 297"/>
              <a:gd name="T72" fmla="*/ 12 w 154"/>
              <a:gd name="T73" fmla="*/ 291 h 297"/>
              <a:gd name="T74" fmla="*/ 12 w 154"/>
              <a:gd name="T75" fmla="*/ 280 h 297"/>
              <a:gd name="T76" fmla="*/ 12 w 154"/>
              <a:gd name="T77" fmla="*/ 280 h 297"/>
              <a:gd name="T78" fmla="*/ 12 w 154"/>
              <a:gd name="T79" fmla="*/ 226 h 297"/>
              <a:gd name="T80" fmla="*/ 45 w 154"/>
              <a:gd name="T81" fmla="*/ 177 h 297"/>
              <a:gd name="T82" fmla="*/ 77 w 154"/>
              <a:gd name="T83" fmla="*/ 146 h 297"/>
              <a:gd name="T84" fmla="*/ 109 w 154"/>
              <a:gd name="T85" fmla="*/ 177 h 297"/>
              <a:gd name="T86" fmla="*/ 142 w 154"/>
              <a:gd name="T87" fmla="*/ 226 h 297"/>
              <a:gd name="T88" fmla="*/ 142 w 154"/>
              <a:gd name="T89" fmla="*/ 280 h 297"/>
              <a:gd name="T90" fmla="*/ 142 w 154"/>
              <a:gd name="T91" fmla="*/ 280 h 297"/>
              <a:gd name="T92" fmla="*/ 142 w 154"/>
              <a:gd name="T93" fmla="*/ 291 h 297"/>
              <a:gd name="T94" fmla="*/ 148 w 154"/>
              <a:gd name="T95" fmla="*/ 297 h 297"/>
              <a:gd name="T96" fmla="*/ 154 w 154"/>
              <a:gd name="T97" fmla="*/ 291 h 297"/>
              <a:gd name="T98" fmla="*/ 154 w 154"/>
              <a:gd name="T99" fmla="*/ 280 h 297"/>
              <a:gd name="T100" fmla="*/ 154 w 154"/>
              <a:gd name="T101" fmla="*/ 255 h 297"/>
              <a:gd name="T102" fmla="*/ 154 w 154"/>
              <a:gd name="T103" fmla="*/ 226 h 297"/>
              <a:gd name="T104" fmla="*/ 116 w 154"/>
              <a:gd name="T105" fmla="*/ 167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54" h="297">
                <a:moveTo>
                  <a:pt x="116" y="167"/>
                </a:moveTo>
                <a:cubicBezTo>
                  <a:pt x="98" y="156"/>
                  <a:pt x="83" y="146"/>
                  <a:pt x="83" y="119"/>
                </a:cubicBezTo>
                <a:cubicBezTo>
                  <a:pt x="83" y="18"/>
                  <a:pt x="83" y="18"/>
                  <a:pt x="83" y="18"/>
                </a:cubicBezTo>
                <a:cubicBezTo>
                  <a:pt x="83" y="18"/>
                  <a:pt x="83" y="17"/>
                  <a:pt x="83" y="17"/>
                </a:cubicBezTo>
                <a:cubicBezTo>
                  <a:pt x="83" y="17"/>
                  <a:pt x="83" y="17"/>
                  <a:pt x="83" y="17"/>
                </a:cubicBezTo>
                <a:cubicBezTo>
                  <a:pt x="109" y="34"/>
                  <a:pt x="109" y="34"/>
                  <a:pt x="109" y="34"/>
                </a:cubicBezTo>
                <a:cubicBezTo>
                  <a:pt x="112" y="36"/>
                  <a:pt x="116" y="36"/>
                  <a:pt x="118" y="33"/>
                </a:cubicBezTo>
                <a:cubicBezTo>
                  <a:pt x="118" y="32"/>
                  <a:pt x="119" y="31"/>
                  <a:pt x="119" y="30"/>
                </a:cubicBezTo>
                <a:cubicBezTo>
                  <a:pt x="119" y="28"/>
                  <a:pt x="118" y="26"/>
                  <a:pt x="116" y="25"/>
                </a:cubicBezTo>
                <a:cubicBezTo>
                  <a:pt x="80" y="1"/>
                  <a:pt x="80" y="1"/>
                  <a:pt x="80" y="1"/>
                </a:cubicBezTo>
                <a:cubicBezTo>
                  <a:pt x="80" y="1"/>
                  <a:pt x="80" y="1"/>
                  <a:pt x="80" y="1"/>
                </a:cubicBezTo>
                <a:cubicBezTo>
                  <a:pt x="80" y="1"/>
                  <a:pt x="80" y="1"/>
                  <a:pt x="80" y="1"/>
                </a:cubicBezTo>
                <a:cubicBezTo>
                  <a:pt x="80" y="1"/>
                  <a:pt x="80" y="1"/>
                  <a:pt x="80" y="1"/>
                </a:cubicBezTo>
                <a:cubicBezTo>
                  <a:pt x="80" y="1"/>
                  <a:pt x="79" y="0"/>
                  <a:pt x="79" y="0"/>
                </a:cubicBezTo>
                <a:cubicBezTo>
                  <a:pt x="79" y="0"/>
                  <a:pt x="79" y="0"/>
                  <a:pt x="79" y="0"/>
                </a:cubicBezTo>
                <a:cubicBezTo>
                  <a:pt x="78" y="0"/>
                  <a:pt x="78" y="0"/>
                  <a:pt x="77" y="0"/>
                </a:cubicBezTo>
                <a:cubicBezTo>
                  <a:pt x="77" y="0"/>
                  <a:pt x="77" y="0"/>
                  <a:pt x="77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75" y="0"/>
                  <a:pt x="75" y="0"/>
                  <a:pt x="75" y="0"/>
                </a:cubicBezTo>
                <a:cubicBezTo>
                  <a:pt x="75" y="0"/>
                  <a:pt x="74" y="1"/>
                  <a:pt x="74" y="1"/>
                </a:cubicBezTo>
                <a:cubicBezTo>
                  <a:pt x="74" y="1"/>
                  <a:pt x="74" y="1"/>
                  <a:pt x="74" y="1"/>
                </a:cubicBezTo>
                <a:cubicBezTo>
                  <a:pt x="74" y="1"/>
                  <a:pt x="74" y="1"/>
                  <a:pt x="74" y="1"/>
                </a:cubicBezTo>
                <a:cubicBezTo>
                  <a:pt x="74" y="1"/>
                  <a:pt x="74" y="1"/>
                  <a:pt x="74" y="1"/>
                </a:cubicBezTo>
                <a:cubicBezTo>
                  <a:pt x="38" y="25"/>
                  <a:pt x="38" y="25"/>
                  <a:pt x="38" y="25"/>
                </a:cubicBezTo>
                <a:cubicBezTo>
                  <a:pt x="35" y="26"/>
                  <a:pt x="35" y="30"/>
                  <a:pt x="37" y="33"/>
                </a:cubicBezTo>
                <a:cubicBezTo>
                  <a:pt x="38" y="36"/>
                  <a:pt x="42" y="36"/>
                  <a:pt x="45" y="34"/>
                </a:cubicBezTo>
                <a:cubicBezTo>
                  <a:pt x="71" y="17"/>
                  <a:pt x="71" y="17"/>
                  <a:pt x="71" y="17"/>
                </a:cubicBezTo>
                <a:cubicBezTo>
                  <a:pt x="71" y="17"/>
                  <a:pt x="71" y="17"/>
                  <a:pt x="71" y="17"/>
                </a:cubicBezTo>
                <a:cubicBezTo>
                  <a:pt x="71" y="17"/>
                  <a:pt x="71" y="18"/>
                  <a:pt x="71" y="18"/>
                </a:cubicBezTo>
                <a:cubicBezTo>
                  <a:pt x="71" y="119"/>
                  <a:pt x="71" y="119"/>
                  <a:pt x="71" y="119"/>
                </a:cubicBezTo>
                <a:cubicBezTo>
                  <a:pt x="71" y="146"/>
                  <a:pt x="56" y="156"/>
                  <a:pt x="38" y="167"/>
                </a:cubicBezTo>
                <a:cubicBezTo>
                  <a:pt x="20" y="179"/>
                  <a:pt x="0" y="193"/>
                  <a:pt x="0" y="226"/>
                </a:cubicBezTo>
                <a:cubicBezTo>
                  <a:pt x="0" y="255"/>
                  <a:pt x="0" y="255"/>
                  <a:pt x="0" y="255"/>
                </a:cubicBezTo>
                <a:cubicBezTo>
                  <a:pt x="0" y="280"/>
                  <a:pt x="0" y="280"/>
                  <a:pt x="0" y="280"/>
                </a:cubicBezTo>
                <a:cubicBezTo>
                  <a:pt x="0" y="291"/>
                  <a:pt x="0" y="291"/>
                  <a:pt x="0" y="291"/>
                </a:cubicBezTo>
                <a:cubicBezTo>
                  <a:pt x="0" y="294"/>
                  <a:pt x="3" y="297"/>
                  <a:pt x="6" y="297"/>
                </a:cubicBezTo>
                <a:cubicBezTo>
                  <a:pt x="9" y="297"/>
                  <a:pt x="12" y="294"/>
                  <a:pt x="12" y="291"/>
                </a:cubicBezTo>
                <a:cubicBezTo>
                  <a:pt x="12" y="280"/>
                  <a:pt x="12" y="280"/>
                  <a:pt x="12" y="280"/>
                </a:cubicBezTo>
                <a:cubicBezTo>
                  <a:pt x="12" y="280"/>
                  <a:pt x="12" y="280"/>
                  <a:pt x="12" y="280"/>
                </a:cubicBezTo>
                <a:cubicBezTo>
                  <a:pt x="12" y="226"/>
                  <a:pt x="12" y="226"/>
                  <a:pt x="12" y="226"/>
                </a:cubicBezTo>
                <a:cubicBezTo>
                  <a:pt x="12" y="199"/>
                  <a:pt x="27" y="189"/>
                  <a:pt x="45" y="177"/>
                </a:cubicBezTo>
                <a:cubicBezTo>
                  <a:pt x="57" y="169"/>
                  <a:pt x="70" y="161"/>
                  <a:pt x="77" y="146"/>
                </a:cubicBezTo>
                <a:cubicBezTo>
                  <a:pt x="84" y="161"/>
                  <a:pt x="97" y="169"/>
                  <a:pt x="109" y="177"/>
                </a:cubicBezTo>
                <a:cubicBezTo>
                  <a:pt x="127" y="189"/>
                  <a:pt x="142" y="199"/>
                  <a:pt x="142" y="226"/>
                </a:cubicBezTo>
                <a:cubicBezTo>
                  <a:pt x="142" y="280"/>
                  <a:pt x="142" y="280"/>
                  <a:pt x="142" y="280"/>
                </a:cubicBezTo>
                <a:cubicBezTo>
                  <a:pt x="142" y="280"/>
                  <a:pt x="142" y="280"/>
                  <a:pt x="142" y="280"/>
                </a:cubicBezTo>
                <a:cubicBezTo>
                  <a:pt x="142" y="291"/>
                  <a:pt x="142" y="291"/>
                  <a:pt x="142" y="291"/>
                </a:cubicBezTo>
                <a:cubicBezTo>
                  <a:pt x="142" y="294"/>
                  <a:pt x="145" y="297"/>
                  <a:pt x="148" y="297"/>
                </a:cubicBezTo>
                <a:cubicBezTo>
                  <a:pt x="152" y="297"/>
                  <a:pt x="154" y="294"/>
                  <a:pt x="154" y="291"/>
                </a:cubicBezTo>
                <a:cubicBezTo>
                  <a:pt x="154" y="280"/>
                  <a:pt x="154" y="280"/>
                  <a:pt x="154" y="280"/>
                </a:cubicBezTo>
                <a:cubicBezTo>
                  <a:pt x="154" y="255"/>
                  <a:pt x="154" y="255"/>
                  <a:pt x="154" y="255"/>
                </a:cubicBezTo>
                <a:cubicBezTo>
                  <a:pt x="154" y="226"/>
                  <a:pt x="154" y="226"/>
                  <a:pt x="154" y="226"/>
                </a:cubicBezTo>
                <a:cubicBezTo>
                  <a:pt x="154" y="193"/>
                  <a:pt x="134" y="179"/>
                  <a:pt x="116" y="16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grpSp>
        <p:nvGrpSpPr>
          <p:cNvPr id="352" name="Group 351">
            <a:extLst>
              <a:ext uri="{FF2B5EF4-FFF2-40B4-BE49-F238E27FC236}">
                <a16:creationId xmlns:a16="http://schemas.microsoft.com/office/drawing/2014/main" id="{93CF84E6-DB80-C040-8D2B-6B117435B35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132640" y="1933804"/>
            <a:ext cx="491102" cy="492306"/>
            <a:chOff x="1378" y="455"/>
            <a:chExt cx="408" cy="409"/>
          </a:xfrm>
          <a:solidFill>
            <a:schemeClr val="accent1"/>
          </a:solidFill>
        </p:grpSpPr>
        <p:sp>
          <p:nvSpPr>
            <p:cNvPr id="353" name="Freeform 10">
              <a:extLst>
                <a:ext uri="{FF2B5EF4-FFF2-40B4-BE49-F238E27FC236}">
                  <a16:creationId xmlns:a16="http://schemas.microsoft.com/office/drawing/2014/main" id="{19E0843A-545A-5E44-8AF6-E92D9679B4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2" y="489"/>
              <a:ext cx="340" cy="341"/>
            </a:xfrm>
            <a:custGeom>
              <a:avLst/>
              <a:gdLst>
                <a:gd name="T0" fmla="*/ 115 w 230"/>
                <a:gd name="T1" fmla="*/ 230 h 230"/>
                <a:gd name="T2" fmla="*/ 0 w 230"/>
                <a:gd name="T3" fmla="*/ 115 h 230"/>
                <a:gd name="T4" fmla="*/ 115 w 230"/>
                <a:gd name="T5" fmla="*/ 0 h 230"/>
                <a:gd name="T6" fmla="*/ 230 w 230"/>
                <a:gd name="T7" fmla="*/ 115 h 230"/>
                <a:gd name="T8" fmla="*/ 115 w 230"/>
                <a:gd name="T9" fmla="*/ 230 h 230"/>
                <a:gd name="T10" fmla="*/ 115 w 230"/>
                <a:gd name="T11" fmla="*/ 12 h 230"/>
                <a:gd name="T12" fmla="*/ 12 w 230"/>
                <a:gd name="T13" fmla="*/ 115 h 230"/>
                <a:gd name="T14" fmla="*/ 115 w 230"/>
                <a:gd name="T15" fmla="*/ 218 h 230"/>
                <a:gd name="T16" fmla="*/ 218 w 230"/>
                <a:gd name="T17" fmla="*/ 115 h 230"/>
                <a:gd name="T18" fmla="*/ 115 w 230"/>
                <a:gd name="T19" fmla="*/ 12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0" h="230">
                  <a:moveTo>
                    <a:pt x="115" y="230"/>
                  </a:moveTo>
                  <a:cubicBezTo>
                    <a:pt x="52" y="230"/>
                    <a:pt x="0" y="178"/>
                    <a:pt x="0" y="115"/>
                  </a:cubicBezTo>
                  <a:cubicBezTo>
                    <a:pt x="0" y="51"/>
                    <a:pt x="52" y="0"/>
                    <a:pt x="115" y="0"/>
                  </a:cubicBezTo>
                  <a:cubicBezTo>
                    <a:pt x="179" y="0"/>
                    <a:pt x="230" y="51"/>
                    <a:pt x="230" y="115"/>
                  </a:cubicBezTo>
                  <a:cubicBezTo>
                    <a:pt x="230" y="178"/>
                    <a:pt x="179" y="230"/>
                    <a:pt x="115" y="230"/>
                  </a:cubicBezTo>
                  <a:close/>
                  <a:moveTo>
                    <a:pt x="115" y="12"/>
                  </a:moveTo>
                  <a:cubicBezTo>
                    <a:pt x="59" y="12"/>
                    <a:pt x="12" y="58"/>
                    <a:pt x="12" y="115"/>
                  </a:cubicBezTo>
                  <a:cubicBezTo>
                    <a:pt x="12" y="172"/>
                    <a:pt x="59" y="218"/>
                    <a:pt x="115" y="218"/>
                  </a:cubicBezTo>
                  <a:cubicBezTo>
                    <a:pt x="172" y="218"/>
                    <a:pt x="218" y="172"/>
                    <a:pt x="218" y="115"/>
                  </a:cubicBezTo>
                  <a:cubicBezTo>
                    <a:pt x="218" y="58"/>
                    <a:pt x="172" y="12"/>
                    <a:pt x="11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54" name="Freeform 11">
              <a:extLst>
                <a:ext uri="{FF2B5EF4-FFF2-40B4-BE49-F238E27FC236}">
                  <a16:creationId xmlns:a16="http://schemas.microsoft.com/office/drawing/2014/main" id="{E215F30D-61AD-A146-85D1-7B02FC0B25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8" y="574"/>
              <a:ext cx="170" cy="170"/>
            </a:xfrm>
            <a:custGeom>
              <a:avLst/>
              <a:gdLst>
                <a:gd name="T0" fmla="*/ 57 w 115"/>
                <a:gd name="T1" fmla="*/ 115 h 115"/>
                <a:gd name="T2" fmla="*/ 0 w 115"/>
                <a:gd name="T3" fmla="*/ 58 h 115"/>
                <a:gd name="T4" fmla="*/ 57 w 115"/>
                <a:gd name="T5" fmla="*/ 0 h 115"/>
                <a:gd name="T6" fmla="*/ 115 w 115"/>
                <a:gd name="T7" fmla="*/ 58 h 115"/>
                <a:gd name="T8" fmla="*/ 57 w 115"/>
                <a:gd name="T9" fmla="*/ 115 h 115"/>
                <a:gd name="T10" fmla="*/ 57 w 115"/>
                <a:gd name="T11" fmla="*/ 12 h 115"/>
                <a:gd name="T12" fmla="*/ 12 w 115"/>
                <a:gd name="T13" fmla="*/ 58 h 115"/>
                <a:gd name="T14" fmla="*/ 57 w 115"/>
                <a:gd name="T15" fmla="*/ 103 h 115"/>
                <a:gd name="T16" fmla="*/ 103 w 115"/>
                <a:gd name="T17" fmla="*/ 58 h 115"/>
                <a:gd name="T18" fmla="*/ 57 w 115"/>
                <a:gd name="T19" fmla="*/ 1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5" h="115">
                  <a:moveTo>
                    <a:pt x="57" y="115"/>
                  </a:moveTo>
                  <a:cubicBezTo>
                    <a:pt x="26" y="115"/>
                    <a:pt x="0" y="90"/>
                    <a:pt x="0" y="58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89" y="0"/>
                    <a:pt x="115" y="26"/>
                    <a:pt x="115" y="58"/>
                  </a:cubicBezTo>
                  <a:cubicBezTo>
                    <a:pt x="115" y="90"/>
                    <a:pt x="89" y="115"/>
                    <a:pt x="57" y="115"/>
                  </a:cubicBezTo>
                  <a:close/>
                  <a:moveTo>
                    <a:pt x="57" y="12"/>
                  </a:moveTo>
                  <a:cubicBezTo>
                    <a:pt x="32" y="12"/>
                    <a:pt x="12" y="33"/>
                    <a:pt x="12" y="58"/>
                  </a:cubicBezTo>
                  <a:cubicBezTo>
                    <a:pt x="12" y="83"/>
                    <a:pt x="32" y="103"/>
                    <a:pt x="57" y="103"/>
                  </a:cubicBezTo>
                  <a:cubicBezTo>
                    <a:pt x="83" y="103"/>
                    <a:pt x="103" y="83"/>
                    <a:pt x="103" y="58"/>
                  </a:cubicBezTo>
                  <a:cubicBezTo>
                    <a:pt x="103" y="33"/>
                    <a:pt x="83" y="12"/>
                    <a:pt x="5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55" name="Freeform 12">
              <a:extLst>
                <a:ext uri="{FF2B5EF4-FFF2-40B4-BE49-F238E27FC236}">
                  <a16:creationId xmlns:a16="http://schemas.microsoft.com/office/drawing/2014/main" id="{B99AB6FD-96E3-0141-8570-EF1AD69891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3" y="455"/>
              <a:ext cx="18" cy="409"/>
            </a:xfrm>
            <a:custGeom>
              <a:avLst/>
              <a:gdLst>
                <a:gd name="T0" fmla="*/ 6 w 12"/>
                <a:gd name="T1" fmla="*/ 276 h 276"/>
                <a:gd name="T2" fmla="*/ 0 w 12"/>
                <a:gd name="T3" fmla="*/ 270 h 276"/>
                <a:gd name="T4" fmla="*/ 0 w 12"/>
                <a:gd name="T5" fmla="*/ 6 h 276"/>
                <a:gd name="T6" fmla="*/ 6 w 12"/>
                <a:gd name="T7" fmla="*/ 0 h 276"/>
                <a:gd name="T8" fmla="*/ 12 w 12"/>
                <a:gd name="T9" fmla="*/ 6 h 276"/>
                <a:gd name="T10" fmla="*/ 12 w 12"/>
                <a:gd name="T11" fmla="*/ 270 h 276"/>
                <a:gd name="T12" fmla="*/ 6 w 12"/>
                <a:gd name="T13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76">
                  <a:moveTo>
                    <a:pt x="6" y="276"/>
                  </a:moveTo>
                  <a:cubicBezTo>
                    <a:pt x="3" y="276"/>
                    <a:pt x="0" y="273"/>
                    <a:pt x="0" y="27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270"/>
                    <a:pt x="12" y="270"/>
                    <a:pt x="12" y="270"/>
                  </a:cubicBezTo>
                  <a:cubicBezTo>
                    <a:pt x="12" y="273"/>
                    <a:pt x="10" y="276"/>
                    <a:pt x="6" y="2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56" name="Freeform 13">
              <a:extLst>
                <a:ext uri="{FF2B5EF4-FFF2-40B4-BE49-F238E27FC236}">
                  <a16:creationId xmlns:a16="http://schemas.microsoft.com/office/drawing/2014/main" id="{B8756B43-11EC-4C44-B2BA-7B15246B2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8" y="651"/>
              <a:ext cx="408" cy="17"/>
            </a:xfrm>
            <a:custGeom>
              <a:avLst/>
              <a:gdLst>
                <a:gd name="T0" fmla="*/ 270 w 276"/>
                <a:gd name="T1" fmla="*/ 12 h 12"/>
                <a:gd name="T2" fmla="*/ 6 w 276"/>
                <a:gd name="T3" fmla="*/ 12 h 12"/>
                <a:gd name="T4" fmla="*/ 0 w 276"/>
                <a:gd name="T5" fmla="*/ 6 h 12"/>
                <a:gd name="T6" fmla="*/ 6 w 276"/>
                <a:gd name="T7" fmla="*/ 0 h 12"/>
                <a:gd name="T8" fmla="*/ 270 w 276"/>
                <a:gd name="T9" fmla="*/ 0 h 12"/>
                <a:gd name="T10" fmla="*/ 276 w 276"/>
                <a:gd name="T11" fmla="*/ 6 h 12"/>
                <a:gd name="T12" fmla="*/ 270 w 27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6" h="12">
                  <a:moveTo>
                    <a:pt x="27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74" y="0"/>
                    <a:pt x="276" y="3"/>
                    <a:pt x="276" y="6"/>
                  </a:cubicBezTo>
                  <a:cubicBezTo>
                    <a:pt x="276" y="9"/>
                    <a:pt x="274" y="12"/>
                    <a:pt x="27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357" name="Group 60">
            <a:extLst>
              <a:ext uri="{FF2B5EF4-FFF2-40B4-BE49-F238E27FC236}">
                <a16:creationId xmlns:a16="http://schemas.microsoft.com/office/drawing/2014/main" id="{3B66017D-AE30-3842-A30B-430AD751F9D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334652" y="5494451"/>
            <a:ext cx="481666" cy="480536"/>
            <a:chOff x="348" y="1721"/>
            <a:chExt cx="426" cy="425"/>
          </a:xfrm>
          <a:solidFill>
            <a:schemeClr val="accent1"/>
          </a:solidFill>
        </p:grpSpPr>
        <p:sp>
          <p:nvSpPr>
            <p:cNvPr id="358" name="Freeform 61">
              <a:extLst>
                <a:ext uri="{FF2B5EF4-FFF2-40B4-BE49-F238E27FC236}">
                  <a16:creationId xmlns:a16="http://schemas.microsoft.com/office/drawing/2014/main" id="{2C5B2D4E-1F4D-CB46-A341-2B749AC7F1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" y="1721"/>
              <a:ext cx="373" cy="372"/>
            </a:xfrm>
            <a:custGeom>
              <a:avLst/>
              <a:gdLst>
                <a:gd name="T0" fmla="*/ 126 w 252"/>
                <a:gd name="T1" fmla="*/ 252 h 252"/>
                <a:gd name="T2" fmla="*/ 0 w 252"/>
                <a:gd name="T3" fmla="*/ 126 h 252"/>
                <a:gd name="T4" fmla="*/ 126 w 252"/>
                <a:gd name="T5" fmla="*/ 0 h 252"/>
                <a:gd name="T6" fmla="*/ 252 w 252"/>
                <a:gd name="T7" fmla="*/ 126 h 252"/>
                <a:gd name="T8" fmla="*/ 126 w 252"/>
                <a:gd name="T9" fmla="*/ 252 h 252"/>
                <a:gd name="T10" fmla="*/ 126 w 252"/>
                <a:gd name="T11" fmla="*/ 12 h 252"/>
                <a:gd name="T12" fmla="*/ 12 w 252"/>
                <a:gd name="T13" fmla="*/ 126 h 252"/>
                <a:gd name="T14" fmla="*/ 126 w 252"/>
                <a:gd name="T15" fmla="*/ 240 h 252"/>
                <a:gd name="T16" fmla="*/ 240 w 252"/>
                <a:gd name="T17" fmla="*/ 126 h 252"/>
                <a:gd name="T18" fmla="*/ 126 w 252"/>
                <a:gd name="T19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2" h="252">
                  <a:moveTo>
                    <a:pt x="126" y="252"/>
                  </a:moveTo>
                  <a:cubicBezTo>
                    <a:pt x="56" y="252"/>
                    <a:pt x="0" y="195"/>
                    <a:pt x="0" y="126"/>
                  </a:cubicBezTo>
                  <a:cubicBezTo>
                    <a:pt x="0" y="56"/>
                    <a:pt x="56" y="0"/>
                    <a:pt x="126" y="0"/>
                  </a:cubicBezTo>
                  <a:cubicBezTo>
                    <a:pt x="195" y="0"/>
                    <a:pt x="252" y="56"/>
                    <a:pt x="252" y="126"/>
                  </a:cubicBezTo>
                  <a:cubicBezTo>
                    <a:pt x="252" y="195"/>
                    <a:pt x="195" y="252"/>
                    <a:pt x="126" y="252"/>
                  </a:cubicBezTo>
                  <a:close/>
                  <a:moveTo>
                    <a:pt x="126" y="12"/>
                  </a:moveTo>
                  <a:cubicBezTo>
                    <a:pt x="63" y="12"/>
                    <a:pt x="12" y="63"/>
                    <a:pt x="12" y="126"/>
                  </a:cubicBezTo>
                  <a:cubicBezTo>
                    <a:pt x="12" y="188"/>
                    <a:pt x="63" y="240"/>
                    <a:pt x="126" y="240"/>
                  </a:cubicBezTo>
                  <a:cubicBezTo>
                    <a:pt x="188" y="240"/>
                    <a:pt x="240" y="188"/>
                    <a:pt x="240" y="126"/>
                  </a:cubicBezTo>
                  <a:cubicBezTo>
                    <a:pt x="240" y="63"/>
                    <a:pt x="188" y="12"/>
                    <a:pt x="1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59" name="Freeform 62">
              <a:extLst>
                <a:ext uri="{FF2B5EF4-FFF2-40B4-BE49-F238E27FC236}">
                  <a16:creationId xmlns:a16="http://schemas.microsoft.com/office/drawing/2014/main" id="{DD515909-F712-6D4B-BF72-2C4B8885D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" y="2022"/>
              <a:ext cx="124" cy="124"/>
            </a:xfrm>
            <a:custGeom>
              <a:avLst/>
              <a:gdLst>
                <a:gd name="T0" fmla="*/ 78 w 84"/>
                <a:gd name="T1" fmla="*/ 84 h 84"/>
                <a:gd name="T2" fmla="*/ 73 w 84"/>
                <a:gd name="T3" fmla="*/ 82 h 84"/>
                <a:gd name="T4" fmla="*/ 2 w 84"/>
                <a:gd name="T5" fmla="*/ 11 h 84"/>
                <a:gd name="T6" fmla="*/ 2 w 84"/>
                <a:gd name="T7" fmla="*/ 2 h 84"/>
                <a:gd name="T8" fmla="*/ 11 w 84"/>
                <a:gd name="T9" fmla="*/ 2 h 84"/>
                <a:gd name="T10" fmla="*/ 82 w 84"/>
                <a:gd name="T11" fmla="*/ 73 h 84"/>
                <a:gd name="T12" fmla="*/ 82 w 84"/>
                <a:gd name="T13" fmla="*/ 82 h 84"/>
                <a:gd name="T14" fmla="*/ 78 w 84"/>
                <a:gd name="T15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84">
                  <a:moveTo>
                    <a:pt x="78" y="84"/>
                  </a:moveTo>
                  <a:cubicBezTo>
                    <a:pt x="76" y="84"/>
                    <a:pt x="75" y="83"/>
                    <a:pt x="73" y="8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82" y="73"/>
                    <a:pt x="82" y="73"/>
                    <a:pt x="82" y="73"/>
                  </a:cubicBezTo>
                  <a:cubicBezTo>
                    <a:pt x="84" y="76"/>
                    <a:pt x="84" y="80"/>
                    <a:pt x="82" y="82"/>
                  </a:cubicBezTo>
                  <a:cubicBezTo>
                    <a:pt x="81" y="83"/>
                    <a:pt x="79" y="84"/>
                    <a:pt x="78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60" name="Freeform 63">
              <a:extLst>
                <a:ext uri="{FF2B5EF4-FFF2-40B4-BE49-F238E27FC236}">
                  <a16:creationId xmlns:a16="http://schemas.microsoft.com/office/drawing/2014/main" id="{CC9BE79E-AA71-604B-8FB7-CFEA0AC849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2" y="1783"/>
              <a:ext cx="244" cy="248"/>
            </a:xfrm>
            <a:custGeom>
              <a:avLst/>
              <a:gdLst>
                <a:gd name="T0" fmla="*/ 66 w 165"/>
                <a:gd name="T1" fmla="*/ 168 h 168"/>
                <a:gd name="T2" fmla="*/ 60 w 165"/>
                <a:gd name="T3" fmla="*/ 146 h 168"/>
                <a:gd name="T4" fmla="*/ 27 w 165"/>
                <a:gd name="T5" fmla="*/ 143 h 168"/>
                <a:gd name="T6" fmla="*/ 1 w 165"/>
                <a:gd name="T7" fmla="*/ 110 h 168"/>
                <a:gd name="T8" fmla="*/ 3 w 165"/>
                <a:gd name="T9" fmla="*/ 102 h 168"/>
                <a:gd name="T10" fmla="*/ 17 w 165"/>
                <a:gd name="T11" fmla="*/ 74 h 168"/>
                <a:gd name="T12" fmla="*/ 0 w 165"/>
                <a:gd name="T13" fmla="*/ 62 h 168"/>
                <a:gd name="T14" fmla="*/ 19 w 165"/>
                <a:gd name="T15" fmla="*/ 26 h 168"/>
                <a:gd name="T16" fmla="*/ 42 w 165"/>
                <a:gd name="T17" fmla="*/ 32 h 168"/>
                <a:gd name="T18" fmla="*/ 60 w 165"/>
                <a:gd name="T19" fmla="*/ 6 h 168"/>
                <a:gd name="T20" fmla="*/ 102 w 165"/>
                <a:gd name="T21" fmla="*/ 0 h 168"/>
                <a:gd name="T22" fmla="*/ 108 w 165"/>
                <a:gd name="T23" fmla="*/ 23 h 168"/>
                <a:gd name="T24" fmla="*/ 138 w 165"/>
                <a:gd name="T25" fmla="*/ 24 h 168"/>
                <a:gd name="T26" fmla="*/ 146 w 165"/>
                <a:gd name="T27" fmla="*/ 26 h 168"/>
                <a:gd name="T28" fmla="*/ 165 w 165"/>
                <a:gd name="T29" fmla="*/ 62 h 168"/>
                <a:gd name="T30" fmla="*/ 148 w 165"/>
                <a:gd name="T31" fmla="*/ 74 h 168"/>
                <a:gd name="T32" fmla="*/ 162 w 165"/>
                <a:gd name="T33" fmla="*/ 102 h 168"/>
                <a:gd name="T34" fmla="*/ 164 w 165"/>
                <a:gd name="T35" fmla="*/ 110 h 168"/>
                <a:gd name="T36" fmla="*/ 143 w 165"/>
                <a:gd name="T37" fmla="*/ 144 h 168"/>
                <a:gd name="T38" fmla="*/ 124 w 165"/>
                <a:gd name="T39" fmla="*/ 135 h 168"/>
                <a:gd name="T40" fmla="*/ 108 w 165"/>
                <a:gd name="T41" fmla="*/ 162 h 168"/>
                <a:gd name="T42" fmla="*/ 72 w 165"/>
                <a:gd name="T43" fmla="*/ 156 h 168"/>
                <a:gd name="T44" fmla="*/ 96 w 165"/>
                <a:gd name="T45" fmla="*/ 141 h 168"/>
                <a:gd name="T46" fmla="*/ 120 w 165"/>
                <a:gd name="T47" fmla="*/ 123 h 168"/>
                <a:gd name="T48" fmla="*/ 139 w 165"/>
                <a:gd name="T49" fmla="*/ 130 h 168"/>
                <a:gd name="T50" fmla="*/ 138 w 165"/>
                <a:gd name="T51" fmla="*/ 102 h 168"/>
                <a:gd name="T52" fmla="*/ 135 w 165"/>
                <a:gd name="T53" fmla="*/ 72 h 168"/>
                <a:gd name="T54" fmla="*/ 151 w 165"/>
                <a:gd name="T55" fmla="*/ 58 h 168"/>
                <a:gd name="T56" fmla="*/ 127 w 165"/>
                <a:gd name="T57" fmla="*/ 45 h 168"/>
                <a:gd name="T58" fmla="*/ 100 w 165"/>
                <a:gd name="T59" fmla="*/ 32 h 168"/>
                <a:gd name="T60" fmla="*/ 96 w 165"/>
                <a:gd name="T61" fmla="*/ 12 h 168"/>
                <a:gd name="T62" fmla="*/ 72 w 165"/>
                <a:gd name="T63" fmla="*/ 26 h 168"/>
                <a:gd name="T64" fmla="*/ 47 w 165"/>
                <a:gd name="T65" fmla="*/ 44 h 168"/>
                <a:gd name="T66" fmla="*/ 27 w 165"/>
                <a:gd name="T67" fmla="*/ 37 h 168"/>
                <a:gd name="T68" fmla="*/ 27 w 165"/>
                <a:gd name="T69" fmla="*/ 65 h 168"/>
                <a:gd name="T70" fmla="*/ 30 w 165"/>
                <a:gd name="T71" fmla="*/ 95 h 168"/>
                <a:gd name="T72" fmla="*/ 14 w 165"/>
                <a:gd name="T73" fmla="*/ 109 h 168"/>
                <a:gd name="T74" fmla="*/ 40 w 165"/>
                <a:gd name="T75" fmla="*/ 123 h 168"/>
                <a:gd name="T76" fmla="*/ 67 w 165"/>
                <a:gd name="T77" fmla="*/ 135 h 168"/>
                <a:gd name="T78" fmla="*/ 72 w 165"/>
                <a:gd name="T79" fmla="*/ 15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5" h="168">
                  <a:moveTo>
                    <a:pt x="102" y="168"/>
                  </a:moveTo>
                  <a:cubicBezTo>
                    <a:pt x="66" y="168"/>
                    <a:pt x="66" y="168"/>
                    <a:pt x="66" y="168"/>
                  </a:cubicBezTo>
                  <a:cubicBezTo>
                    <a:pt x="63" y="168"/>
                    <a:pt x="60" y="165"/>
                    <a:pt x="60" y="162"/>
                  </a:cubicBezTo>
                  <a:cubicBezTo>
                    <a:pt x="60" y="146"/>
                    <a:pt x="60" y="146"/>
                    <a:pt x="60" y="146"/>
                  </a:cubicBezTo>
                  <a:cubicBezTo>
                    <a:pt x="52" y="143"/>
                    <a:pt x="47" y="139"/>
                    <a:pt x="42" y="135"/>
                  </a:cubicBezTo>
                  <a:cubicBezTo>
                    <a:pt x="27" y="143"/>
                    <a:pt x="27" y="143"/>
                    <a:pt x="27" y="143"/>
                  </a:cubicBezTo>
                  <a:cubicBezTo>
                    <a:pt x="24" y="145"/>
                    <a:pt x="21" y="144"/>
                    <a:pt x="19" y="141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0" y="109"/>
                    <a:pt x="0" y="107"/>
                    <a:pt x="0" y="106"/>
                  </a:cubicBezTo>
                  <a:cubicBezTo>
                    <a:pt x="1" y="104"/>
                    <a:pt x="2" y="103"/>
                    <a:pt x="3" y="102"/>
                  </a:cubicBezTo>
                  <a:cubicBezTo>
                    <a:pt x="17" y="94"/>
                    <a:pt x="17" y="94"/>
                    <a:pt x="17" y="94"/>
                  </a:cubicBezTo>
                  <a:cubicBezTo>
                    <a:pt x="16" y="87"/>
                    <a:pt x="16" y="80"/>
                    <a:pt x="17" y="7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2" y="65"/>
                    <a:pt x="1" y="63"/>
                    <a:pt x="0" y="62"/>
                  </a:cubicBezTo>
                  <a:cubicBezTo>
                    <a:pt x="0" y="60"/>
                    <a:pt x="0" y="59"/>
                    <a:pt x="1" y="57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21" y="23"/>
                    <a:pt x="25" y="22"/>
                    <a:pt x="27" y="24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7" y="28"/>
                    <a:pt x="52" y="24"/>
                    <a:pt x="60" y="22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2"/>
                    <a:pt x="63" y="0"/>
                    <a:pt x="6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5" y="0"/>
                    <a:pt x="108" y="2"/>
                    <a:pt x="108" y="6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15" y="26"/>
                    <a:pt x="120" y="29"/>
                    <a:pt x="124" y="32"/>
                  </a:cubicBezTo>
                  <a:cubicBezTo>
                    <a:pt x="138" y="24"/>
                    <a:pt x="138" y="24"/>
                    <a:pt x="138" y="24"/>
                  </a:cubicBezTo>
                  <a:cubicBezTo>
                    <a:pt x="139" y="23"/>
                    <a:pt x="141" y="23"/>
                    <a:pt x="143" y="23"/>
                  </a:cubicBezTo>
                  <a:cubicBezTo>
                    <a:pt x="144" y="24"/>
                    <a:pt x="146" y="25"/>
                    <a:pt x="146" y="26"/>
                  </a:cubicBezTo>
                  <a:cubicBezTo>
                    <a:pt x="164" y="57"/>
                    <a:pt x="164" y="57"/>
                    <a:pt x="164" y="57"/>
                  </a:cubicBezTo>
                  <a:cubicBezTo>
                    <a:pt x="165" y="59"/>
                    <a:pt x="165" y="60"/>
                    <a:pt x="165" y="62"/>
                  </a:cubicBezTo>
                  <a:cubicBezTo>
                    <a:pt x="165" y="63"/>
                    <a:pt x="164" y="65"/>
                    <a:pt x="162" y="65"/>
                  </a:cubicBezTo>
                  <a:cubicBezTo>
                    <a:pt x="148" y="74"/>
                    <a:pt x="148" y="74"/>
                    <a:pt x="148" y="74"/>
                  </a:cubicBezTo>
                  <a:cubicBezTo>
                    <a:pt x="149" y="80"/>
                    <a:pt x="149" y="87"/>
                    <a:pt x="148" y="94"/>
                  </a:cubicBezTo>
                  <a:cubicBezTo>
                    <a:pt x="162" y="102"/>
                    <a:pt x="162" y="102"/>
                    <a:pt x="162" y="102"/>
                  </a:cubicBezTo>
                  <a:cubicBezTo>
                    <a:pt x="164" y="103"/>
                    <a:pt x="165" y="104"/>
                    <a:pt x="165" y="106"/>
                  </a:cubicBezTo>
                  <a:cubicBezTo>
                    <a:pt x="165" y="107"/>
                    <a:pt x="165" y="109"/>
                    <a:pt x="164" y="110"/>
                  </a:cubicBezTo>
                  <a:cubicBezTo>
                    <a:pt x="146" y="141"/>
                    <a:pt x="146" y="141"/>
                    <a:pt x="146" y="141"/>
                  </a:cubicBezTo>
                  <a:cubicBezTo>
                    <a:pt x="146" y="143"/>
                    <a:pt x="144" y="144"/>
                    <a:pt x="143" y="144"/>
                  </a:cubicBezTo>
                  <a:cubicBezTo>
                    <a:pt x="141" y="144"/>
                    <a:pt x="139" y="144"/>
                    <a:pt x="138" y="143"/>
                  </a:cubicBezTo>
                  <a:cubicBezTo>
                    <a:pt x="124" y="135"/>
                    <a:pt x="124" y="135"/>
                    <a:pt x="124" y="135"/>
                  </a:cubicBezTo>
                  <a:cubicBezTo>
                    <a:pt x="120" y="138"/>
                    <a:pt x="115" y="142"/>
                    <a:pt x="108" y="145"/>
                  </a:cubicBezTo>
                  <a:cubicBezTo>
                    <a:pt x="108" y="162"/>
                    <a:pt x="108" y="162"/>
                    <a:pt x="108" y="162"/>
                  </a:cubicBezTo>
                  <a:cubicBezTo>
                    <a:pt x="108" y="165"/>
                    <a:pt x="105" y="168"/>
                    <a:pt x="102" y="168"/>
                  </a:cubicBezTo>
                  <a:close/>
                  <a:moveTo>
                    <a:pt x="72" y="156"/>
                  </a:moveTo>
                  <a:cubicBezTo>
                    <a:pt x="96" y="156"/>
                    <a:pt x="96" y="156"/>
                    <a:pt x="96" y="156"/>
                  </a:cubicBezTo>
                  <a:cubicBezTo>
                    <a:pt x="96" y="141"/>
                    <a:pt x="96" y="141"/>
                    <a:pt x="96" y="141"/>
                  </a:cubicBezTo>
                  <a:cubicBezTo>
                    <a:pt x="96" y="139"/>
                    <a:pt x="97" y="136"/>
                    <a:pt x="100" y="135"/>
                  </a:cubicBezTo>
                  <a:cubicBezTo>
                    <a:pt x="109" y="131"/>
                    <a:pt x="115" y="127"/>
                    <a:pt x="120" y="123"/>
                  </a:cubicBezTo>
                  <a:cubicBezTo>
                    <a:pt x="122" y="122"/>
                    <a:pt x="125" y="121"/>
                    <a:pt x="127" y="123"/>
                  </a:cubicBezTo>
                  <a:cubicBezTo>
                    <a:pt x="139" y="130"/>
                    <a:pt x="139" y="130"/>
                    <a:pt x="139" y="130"/>
                  </a:cubicBezTo>
                  <a:cubicBezTo>
                    <a:pt x="151" y="109"/>
                    <a:pt x="151" y="109"/>
                    <a:pt x="151" y="109"/>
                  </a:cubicBezTo>
                  <a:cubicBezTo>
                    <a:pt x="138" y="102"/>
                    <a:pt x="138" y="102"/>
                    <a:pt x="138" y="102"/>
                  </a:cubicBezTo>
                  <a:cubicBezTo>
                    <a:pt x="136" y="101"/>
                    <a:pt x="135" y="98"/>
                    <a:pt x="135" y="95"/>
                  </a:cubicBezTo>
                  <a:cubicBezTo>
                    <a:pt x="137" y="87"/>
                    <a:pt x="137" y="80"/>
                    <a:pt x="135" y="72"/>
                  </a:cubicBezTo>
                  <a:cubicBezTo>
                    <a:pt x="135" y="69"/>
                    <a:pt x="136" y="67"/>
                    <a:pt x="138" y="65"/>
                  </a:cubicBezTo>
                  <a:cubicBezTo>
                    <a:pt x="151" y="58"/>
                    <a:pt x="151" y="58"/>
                    <a:pt x="151" y="58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5" y="46"/>
                    <a:pt x="122" y="46"/>
                    <a:pt x="120" y="44"/>
                  </a:cubicBezTo>
                  <a:cubicBezTo>
                    <a:pt x="116" y="40"/>
                    <a:pt x="109" y="36"/>
                    <a:pt x="100" y="32"/>
                  </a:cubicBezTo>
                  <a:cubicBezTo>
                    <a:pt x="97" y="31"/>
                    <a:pt x="96" y="29"/>
                    <a:pt x="96" y="26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9"/>
                    <a:pt x="70" y="32"/>
                    <a:pt x="67" y="32"/>
                  </a:cubicBezTo>
                  <a:cubicBezTo>
                    <a:pt x="57" y="35"/>
                    <a:pt x="53" y="38"/>
                    <a:pt x="47" y="44"/>
                  </a:cubicBezTo>
                  <a:cubicBezTo>
                    <a:pt x="45" y="45"/>
                    <a:pt x="42" y="46"/>
                    <a:pt x="40" y="45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9" y="67"/>
                    <a:pt x="31" y="69"/>
                    <a:pt x="30" y="72"/>
                  </a:cubicBezTo>
                  <a:cubicBezTo>
                    <a:pt x="28" y="80"/>
                    <a:pt x="28" y="88"/>
                    <a:pt x="30" y="95"/>
                  </a:cubicBezTo>
                  <a:cubicBezTo>
                    <a:pt x="31" y="98"/>
                    <a:pt x="29" y="101"/>
                    <a:pt x="27" y="102"/>
                  </a:cubicBezTo>
                  <a:cubicBezTo>
                    <a:pt x="14" y="109"/>
                    <a:pt x="14" y="109"/>
                    <a:pt x="14" y="109"/>
                  </a:cubicBezTo>
                  <a:cubicBezTo>
                    <a:pt x="26" y="130"/>
                    <a:pt x="26" y="130"/>
                    <a:pt x="26" y="130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2" y="121"/>
                    <a:pt x="45" y="122"/>
                    <a:pt x="47" y="123"/>
                  </a:cubicBezTo>
                  <a:cubicBezTo>
                    <a:pt x="53" y="129"/>
                    <a:pt x="57" y="133"/>
                    <a:pt x="67" y="135"/>
                  </a:cubicBezTo>
                  <a:cubicBezTo>
                    <a:pt x="70" y="136"/>
                    <a:pt x="72" y="138"/>
                    <a:pt x="72" y="141"/>
                  </a:cubicBezTo>
                  <a:lnTo>
                    <a:pt x="72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61" name="Freeform 64">
              <a:extLst>
                <a:ext uri="{FF2B5EF4-FFF2-40B4-BE49-F238E27FC236}">
                  <a16:creationId xmlns:a16="http://schemas.microsoft.com/office/drawing/2014/main" id="{7949AA08-1950-4A44-91C1-8E34BD10E5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" y="1863"/>
              <a:ext cx="89" cy="88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</p:grpSp>
      <p:grpSp>
        <p:nvGrpSpPr>
          <p:cNvPr id="362" name="Group 83">
            <a:extLst>
              <a:ext uri="{FF2B5EF4-FFF2-40B4-BE49-F238E27FC236}">
                <a16:creationId xmlns:a16="http://schemas.microsoft.com/office/drawing/2014/main" id="{EFF1C6C9-655D-274A-BF87-2269FFB360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959261" y="4300132"/>
            <a:ext cx="479568" cy="490720"/>
            <a:chOff x="1580" y="1910"/>
            <a:chExt cx="387" cy="396"/>
          </a:xfrm>
          <a:solidFill>
            <a:schemeClr val="accent4"/>
          </a:solidFill>
        </p:grpSpPr>
        <p:sp>
          <p:nvSpPr>
            <p:cNvPr id="363" name="Freeform 84">
              <a:extLst>
                <a:ext uri="{FF2B5EF4-FFF2-40B4-BE49-F238E27FC236}">
                  <a16:creationId xmlns:a16="http://schemas.microsoft.com/office/drawing/2014/main" id="{A5BD3BA6-1E5D-A147-A5E7-38A35AFB2F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5" y="1982"/>
              <a:ext cx="238" cy="252"/>
            </a:xfrm>
            <a:custGeom>
              <a:avLst/>
              <a:gdLst>
                <a:gd name="T0" fmla="*/ 0 w 156"/>
                <a:gd name="T1" fmla="*/ 78 h 169"/>
                <a:gd name="T2" fmla="*/ 54 w 156"/>
                <a:gd name="T3" fmla="*/ 163 h 169"/>
                <a:gd name="T4" fmla="*/ 96 w 156"/>
                <a:gd name="T5" fmla="*/ 169 h 169"/>
                <a:gd name="T6" fmla="*/ 102 w 156"/>
                <a:gd name="T7" fmla="*/ 153 h 169"/>
                <a:gd name="T8" fmla="*/ 78 w 156"/>
                <a:gd name="T9" fmla="*/ 0 h 169"/>
                <a:gd name="T10" fmla="*/ 90 w 156"/>
                <a:gd name="T11" fmla="*/ 148 h 169"/>
                <a:gd name="T12" fmla="*/ 66 w 156"/>
                <a:gd name="T13" fmla="*/ 157 h 169"/>
                <a:gd name="T14" fmla="*/ 61 w 156"/>
                <a:gd name="T15" fmla="*/ 142 h 169"/>
                <a:gd name="T16" fmla="*/ 63 w 156"/>
                <a:gd name="T17" fmla="*/ 133 h 169"/>
                <a:gd name="T18" fmla="*/ 67 w 156"/>
                <a:gd name="T19" fmla="*/ 110 h 169"/>
                <a:gd name="T20" fmla="*/ 58 w 156"/>
                <a:gd name="T21" fmla="*/ 89 h 169"/>
                <a:gd name="T22" fmla="*/ 53 w 156"/>
                <a:gd name="T23" fmla="*/ 78 h 169"/>
                <a:gd name="T24" fmla="*/ 56 w 156"/>
                <a:gd name="T25" fmla="*/ 67 h 169"/>
                <a:gd name="T26" fmla="*/ 55 w 156"/>
                <a:gd name="T27" fmla="*/ 57 h 169"/>
                <a:gd name="T28" fmla="*/ 82 w 156"/>
                <a:gd name="T29" fmla="*/ 44 h 169"/>
                <a:gd name="T30" fmla="*/ 99 w 156"/>
                <a:gd name="T31" fmla="*/ 67 h 169"/>
                <a:gd name="T32" fmla="*/ 102 w 156"/>
                <a:gd name="T33" fmla="*/ 78 h 169"/>
                <a:gd name="T34" fmla="*/ 102 w 156"/>
                <a:gd name="T35" fmla="*/ 83 h 169"/>
                <a:gd name="T36" fmla="*/ 92 w 156"/>
                <a:gd name="T37" fmla="*/ 105 h 169"/>
                <a:gd name="T38" fmla="*/ 89 w 156"/>
                <a:gd name="T39" fmla="*/ 127 h 169"/>
                <a:gd name="T40" fmla="*/ 105 w 156"/>
                <a:gd name="T41" fmla="*/ 138 h 169"/>
                <a:gd name="T42" fmla="*/ 118 w 156"/>
                <a:gd name="T43" fmla="*/ 131 h 169"/>
                <a:gd name="T44" fmla="*/ 100 w 156"/>
                <a:gd name="T45" fmla="*/ 114 h 169"/>
                <a:gd name="T46" fmla="*/ 114 w 156"/>
                <a:gd name="T47" fmla="*/ 80 h 169"/>
                <a:gd name="T48" fmla="*/ 111 w 156"/>
                <a:gd name="T49" fmla="*/ 69 h 169"/>
                <a:gd name="T50" fmla="*/ 82 w 156"/>
                <a:gd name="T51" fmla="*/ 33 h 169"/>
                <a:gd name="T52" fmla="*/ 44 w 156"/>
                <a:gd name="T53" fmla="*/ 49 h 169"/>
                <a:gd name="T54" fmla="*/ 43 w 156"/>
                <a:gd name="T55" fmla="*/ 71 h 169"/>
                <a:gd name="T56" fmla="*/ 46 w 156"/>
                <a:gd name="T57" fmla="*/ 93 h 169"/>
                <a:gd name="T58" fmla="*/ 55 w 156"/>
                <a:gd name="T59" fmla="*/ 123 h 169"/>
                <a:gd name="T60" fmla="*/ 12 w 156"/>
                <a:gd name="T61" fmla="*/ 78 h 169"/>
                <a:gd name="T62" fmla="*/ 144 w 156"/>
                <a:gd name="T63" fmla="*/ 78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6" h="169">
                  <a:moveTo>
                    <a:pt x="78" y="0"/>
                  </a:moveTo>
                  <a:cubicBezTo>
                    <a:pt x="35" y="0"/>
                    <a:pt x="0" y="35"/>
                    <a:pt x="0" y="78"/>
                  </a:cubicBezTo>
                  <a:cubicBezTo>
                    <a:pt x="0" y="112"/>
                    <a:pt x="22" y="142"/>
                    <a:pt x="54" y="153"/>
                  </a:cubicBezTo>
                  <a:cubicBezTo>
                    <a:pt x="54" y="163"/>
                    <a:pt x="54" y="163"/>
                    <a:pt x="54" y="163"/>
                  </a:cubicBezTo>
                  <a:cubicBezTo>
                    <a:pt x="54" y="166"/>
                    <a:pt x="56" y="169"/>
                    <a:pt x="60" y="169"/>
                  </a:cubicBezTo>
                  <a:cubicBezTo>
                    <a:pt x="96" y="169"/>
                    <a:pt x="96" y="169"/>
                    <a:pt x="96" y="169"/>
                  </a:cubicBezTo>
                  <a:cubicBezTo>
                    <a:pt x="99" y="169"/>
                    <a:pt x="102" y="166"/>
                    <a:pt x="102" y="163"/>
                  </a:cubicBezTo>
                  <a:cubicBezTo>
                    <a:pt x="102" y="153"/>
                    <a:pt x="102" y="153"/>
                    <a:pt x="102" y="153"/>
                  </a:cubicBezTo>
                  <a:cubicBezTo>
                    <a:pt x="134" y="142"/>
                    <a:pt x="156" y="112"/>
                    <a:pt x="156" y="78"/>
                  </a:cubicBezTo>
                  <a:cubicBezTo>
                    <a:pt x="156" y="35"/>
                    <a:pt x="121" y="0"/>
                    <a:pt x="78" y="0"/>
                  </a:cubicBezTo>
                  <a:close/>
                  <a:moveTo>
                    <a:pt x="94" y="142"/>
                  </a:moveTo>
                  <a:cubicBezTo>
                    <a:pt x="92" y="143"/>
                    <a:pt x="90" y="145"/>
                    <a:pt x="90" y="148"/>
                  </a:cubicBezTo>
                  <a:cubicBezTo>
                    <a:pt x="90" y="157"/>
                    <a:pt x="90" y="157"/>
                    <a:pt x="90" y="157"/>
                  </a:cubicBezTo>
                  <a:cubicBezTo>
                    <a:pt x="66" y="157"/>
                    <a:pt x="66" y="157"/>
                    <a:pt x="66" y="157"/>
                  </a:cubicBezTo>
                  <a:cubicBezTo>
                    <a:pt x="66" y="148"/>
                    <a:pt x="66" y="148"/>
                    <a:pt x="66" y="148"/>
                  </a:cubicBezTo>
                  <a:cubicBezTo>
                    <a:pt x="66" y="145"/>
                    <a:pt x="64" y="143"/>
                    <a:pt x="61" y="142"/>
                  </a:cubicBezTo>
                  <a:cubicBezTo>
                    <a:pt x="57" y="141"/>
                    <a:pt x="54" y="140"/>
                    <a:pt x="50" y="138"/>
                  </a:cubicBezTo>
                  <a:cubicBezTo>
                    <a:pt x="54" y="136"/>
                    <a:pt x="59" y="135"/>
                    <a:pt x="63" y="133"/>
                  </a:cubicBezTo>
                  <a:cubicBezTo>
                    <a:pt x="65" y="132"/>
                    <a:pt x="67" y="130"/>
                    <a:pt x="67" y="127"/>
                  </a:cubicBezTo>
                  <a:cubicBezTo>
                    <a:pt x="67" y="110"/>
                    <a:pt x="67" y="110"/>
                    <a:pt x="67" y="110"/>
                  </a:cubicBezTo>
                  <a:cubicBezTo>
                    <a:pt x="67" y="108"/>
                    <a:pt x="65" y="106"/>
                    <a:pt x="63" y="105"/>
                  </a:cubicBezTo>
                  <a:cubicBezTo>
                    <a:pt x="63" y="105"/>
                    <a:pt x="58" y="102"/>
                    <a:pt x="58" y="89"/>
                  </a:cubicBezTo>
                  <a:cubicBezTo>
                    <a:pt x="58" y="86"/>
                    <a:pt x="56" y="84"/>
                    <a:pt x="54" y="84"/>
                  </a:cubicBezTo>
                  <a:cubicBezTo>
                    <a:pt x="53" y="83"/>
                    <a:pt x="52" y="80"/>
                    <a:pt x="53" y="78"/>
                  </a:cubicBezTo>
                  <a:cubicBezTo>
                    <a:pt x="56" y="78"/>
                    <a:pt x="58" y="75"/>
                    <a:pt x="58" y="72"/>
                  </a:cubicBezTo>
                  <a:cubicBezTo>
                    <a:pt x="58" y="71"/>
                    <a:pt x="58" y="69"/>
                    <a:pt x="56" y="67"/>
                  </a:cubicBezTo>
                  <a:cubicBezTo>
                    <a:pt x="54" y="60"/>
                    <a:pt x="53" y="58"/>
                    <a:pt x="53" y="57"/>
                  </a:cubicBezTo>
                  <a:cubicBezTo>
                    <a:pt x="54" y="57"/>
                    <a:pt x="54" y="57"/>
                    <a:pt x="55" y="57"/>
                  </a:cubicBezTo>
                  <a:cubicBezTo>
                    <a:pt x="58" y="58"/>
                    <a:pt x="61" y="56"/>
                    <a:pt x="62" y="53"/>
                  </a:cubicBezTo>
                  <a:cubicBezTo>
                    <a:pt x="63" y="48"/>
                    <a:pt x="72" y="44"/>
                    <a:pt x="82" y="44"/>
                  </a:cubicBezTo>
                  <a:cubicBezTo>
                    <a:pt x="92" y="44"/>
                    <a:pt x="100" y="48"/>
                    <a:pt x="102" y="53"/>
                  </a:cubicBezTo>
                  <a:cubicBezTo>
                    <a:pt x="103" y="58"/>
                    <a:pt x="100" y="64"/>
                    <a:pt x="99" y="67"/>
                  </a:cubicBezTo>
                  <a:cubicBezTo>
                    <a:pt x="98" y="69"/>
                    <a:pt x="97" y="71"/>
                    <a:pt x="97" y="72"/>
                  </a:cubicBezTo>
                  <a:cubicBezTo>
                    <a:pt x="97" y="75"/>
                    <a:pt x="100" y="78"/>
                    <a:pt x="102" y="78"/>
                  </a:cubicBezTo>
                  <a:cubicBezTo>
                    <a:pt x="103" y="78"/>
                    <a:pt x="103" y="79"/>
                    <a:pt x="103" y="79"/>
                  </a:cubicBezTo>
                  <a:cubicBezTo>
                    <a:pt x="103" y="81"/>
                    <a:pt x="102" y="82"/>
                    <a:pt x="102" y="83"/>
                  </a:cubicBezTo>
                  <a:cubicBezTo>
                    <a:pt x="99" y="84"/>
                    <a:pt x="97" y="86"/>
                    <a:pt x="97" y="89"/>
                  </a:cubicBezTo>
                  <a:cubicBezTo>
                    <a:pt x="97" y="101"/>
                    <a:pt x="93" y="104"/>
                    <a:pt x="92" y="105"/>
                  </a:cubicBezTo>
                  <a:cubicBezTo>
                    <a:pt x="90" y="106"/>
                    <a:pt x="89" y="108"/>
                    <a:pt x="89" y="110"/>
                  </a:cubicBezTo>
                  <a:cubicBezTo>
                    <a:pt x="89" y="127"/>
                    <a:pt x="89" y="127"/>
                    <a:pt x="89" y="127"/>
                  </a:cubicBezTo>
                  <a:cubicBezTo>
                    <a:pt x="89" y="130"/>
                    <a:pt x="90" y="132"/>
                    <a:pt x="92" y="133"/>
                  </a:cubicBezTo>
                  <a:cubicBezTo>
                    <a:pt x="97" y="135"/>
                    <a:pt x="101" y="136"/>
                    <a:pt x="105" y="138"/>
                  </a:cubicBezTo>
                  <a:cubicBezTo>
                    <a:pt x="102" y="140"/>
                    <a:pt x="98" y="141"/>
                    <a:pt x="94" y="142"/>
                  </a:cubicBezTo>
                  <a:close/>
                  <a:moveTo>
                    <a:pt x="118" y="131"/>
                  </a:moveTo>
                  <a:cubicBezTo>
                    <a:pt x="112" y="128"/>
                    <a:pt x="106" y="126"/>
                    <a:pt x="100" y="123"/>
                  </a:cubicBezTo>
                  <a:cubicBezTo>
                    <a:pt x="100" y="114"/>
                    <a:pt x="100" y="114"/>
                    <a:pt x="100" y="114"/>
                  </a:cubicBezTo>
                  <a:cubicBezTo>
                    <a:pt x="104" y="111"/>
                    <a:pt x="108" y="105"/>
                    <a:pt x="109" y="93"/>
                  </a:cubicBezTo>
                  <a:cubicBezTo>
                    <a:pt x="112" y="90"/>
                    <a:pt x="114" y="85"/>
                    <a:pt x="114" y="80"/>
                  </a:cubicBezTo>
                  <a:cubicBezTo>
                    <a:pt x="114" y="76"/>
                    <a:pt x="114" y="74"/>
                    <a:pt x="112" y="71"/>
                  </a:cubicBezTo>
                  <a:cubicBezTo>
                    <a:pt x="112" y="71"/>
                    <a:pt x="111" y="70"/>
                    <a:pt x="111" y="69"/>
                  </a:cubicBezTo>
                  <a:cubicBezTo>
                    <a:pt x="113" y="65"/>
                    <a:pt x="115" y="57"/>
                    <a:pt x="113" y="50"/>
                  </a:cubicBezTo>
                  <a:cubicBezTo>
                    <a:pt x="110" y="37"/>
                    <a:pt x="94" y="33"/>
                    <a:pt x="82" y="33"/>
                  </a:cubicBezTo>
                  <a:cubicBezTo>
                    <a:pt x="71" y="33"/>
                    <a:pt x="58" y="36"/>
                    <a:pt x="53" y="45"/>
                  </a:cubicBezTo>
                  <a:cubicBezTo>
                    <a:pt x="49" y="45"/>
                    <a:pt x="46" y="46"/>
                    <a:pt x="44" y="49"/>
                  </a:cubicBezTo>
                  <a:cubicBezTo>
                    <a:pt x="39" y="55"/>
                    <a:pt x="42" y="64"/>
                    <a:pt x="45" y="69"/>
                  </a:cubicBezTo>
                  <a:cubicBezTo>
                    <a:pt x="44" y="70"/>
                    <a:pt x="44" y="71"/>
                    <a:pt x="43" y="71"/>
                  </a:cubicBezTo>
                  <a:cubicBezTo>
                    <a:pt x="42" y="74"/>
                    <a:pt x="41" y="77"/>
                    <a:pt x="41" y="80"/>
                  </a:cubicBezTo>
                  <a:cubicBezTo>
                    <a:pt x="41" y="85"/>
                    <a:pt x="43" y="90"/>
                    <a:pt x="46" y="93"/>
                  </a:cubicBezTo>
                  <a:cubicBezTo>
                    <a:pt x="47" y="105"/>
                    <a:pt x="51" y="111"/>
                    <a:pt x="55" y="114"/>
                  </a:cubicBezTo>
                  <a:cubicBezTo>
                    <a:pt x="55" y="123"/>
                    <a:pt x="55" y="123"/>
                    <a:pt x="55" y="123"/>
                  </a:cubicBezTo>
                  <a:cubicBezTo>
                    <a:pt x="49" y="126"/>
                    <a:pt x="43" y="128"/>
                    <a:pt x="38" y="131"/>
                  </a:cubicBezTo>
                  <a:cubicBezTo>
                    <a:pt x="22" y="119"/>
                    <a:pt x="12" y="100"/>
                    <a:pt x="12" y="78"/>
                  </a:cubicBezTo>
                  <a:cubicBezTo>
                    <a:pt x="12" y="42"/>
                    <a:pt x="41" y="12"/>
                    <a:pt x="78" y="12"/>
                  </a:cubicBezTo>
                  <a:cubicBezTo>
                    <a:pt x="114" y="12"/>
                    <a:pt x="144" y="42"/>
                    <a:pt x="144" y="78"/>
                  </a:cubicBezTo>
                  <a:cubicBezTo>
                    <a:pt x="144" y="100"/>
                    <a:pt x="134" y="119"/>
                    <a:pt x="118" y="13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4" name="Freeform 85">
              <a:extLst>
                <a:ext uri="{FF2B5EF4-FFF2-40B4-BE49-F238E27FC236}">
                  <a16:creationId xmlns:a16="http://schemas.microsoft.com/office/drawing/2014/main" id="{16B4A2A5-EFF3-D844-8BFB-D9FC0A674E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6" y="2288"/>
              <a:ext cx="36" cy="18"/>
            </a:xfrm>
            <a:custGeom>
              <a:avLst/>
              <a:gdLst>
                <a:gd name="T0" fmla="*/ 18 w 24"/>
                <a:gd name="T1" fmla="*/ 0 h 12"/>
                <a:gd name="T2" fmla="*/ 6 w 24"/>
                <a:gd name="T3" fmla="*/ 0 h 12"/>
                <a:gd name="T4" fmla="*/ 0 w 24"/>
                <a:gd name="T5" fmla="*/ 6 h 12"/>
                <a:gd name="T6" fmla="*/ 6 w 24"/>
                <a:gd name="T7" fmla="*/ 12 h 12"/>
                <a:gd name="T8" fmla="*/ 18 w 24"/>
                <a:gd name="T9" fmla="*/ 12 h 12"/>
                <a:gd name="T10" fmla="*/ 24 w 24"/>
                <a:gd name="T11" fmla="*/ 6 h 12"/>
                <a:gd name="T12" fmla="*/ 18 w 24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21" y="12"/>
                    <a:pt x="24" y="9"/>
                    <a:pt x="24" y="6"/>
                  </a:cubicBezTo>
                  <a:cubicBezTo>
                    <a:pt x="24" y="2"/>
                    <a:pt x="21" y="0"/>
                    <a:pt x="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5" name="Freeform 86">
              <a:extLst>
                <a:ext uri="{FF2B5EF4-FFF2-40B4-BE49-F238E27FC236}">
                  <a16:creationId xmlns:a16="http://schemas.microsoft.com/office/drawing/2014/main" id="{01032911-E44E-6A44-B3AE-2C20E895B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" y="2252"/>
              <a:ext cx="74" cy="18"/>
            </a:xfrm>
            <a:custGeom>
              <a:avLst/>
              <a:gdLst>
                <a:gd name="T0" fmla="*/ 42 w 48"/>
                <a:gd name="T1" fmla="*/ 0 h 12"/>
                <a:gd name="T2" fmla="*/ 6 w 48"/>
                <a:gd name="T3" fmla="*/ 0 h 12"/>
                <a:gd name="T4" fmla="*/ 0 w 48"/>
                <a:gd name="T5" fmla="*/ 6 h 12"/>
                <a:gd name="T6" fmla="*/ 6 w 48"/>
                <a:gd name="T7" fmla="*/ 12 h 12"/>
                <a:gd name="T8" fmla="*/ 42 w 48"/>
                <a:gd name="T9" fmla="*/ 12 h 12"/>
                <a:gd name="T10" fmla="*/ 48 w 48"/>
                <a:gd name="T11" fmla="*/ 6 h 12"/>
                <a:gd name="T12" fmla="*/ 42 w 48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5" y="12"/>
                    <a:pt x="48" y="9"/>
                    <a:pt x="48" y="6"/>
                  </a:cubicBezTo>
                  <a:cubicBezTo>
                    <a:pt x="48" y="2"/>
                    <a:pt x="45" y="0"/>
                    <a:pt x="4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6" name="Freeform 87">
              <a:extLst>
                <a:ext uri="{FF2B5EF4-FFF2-40B4-BE49-F238E27FC236}">
                  <a16:creationId xmlns:a16="http://schemas.microsoft.com/office/drawing/2014/main" id="{329745C6-8CE0-9B43-A51F-DC7EC13E0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5" y="1910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12 w 12"/>
                <a:gd name="T3" fmla="*/ 30 h 36"/>
                <a:gd name="T4" fmla="*/ 12 w 12"/>
                <a:gd name="T5" fmla="*/ 6 h 36"/>
                <a:gd name="T6" fmla="*/ 6 w 12"/>
                <a:gd name="T7" fmla="*/ 0 h 36"/>
                <a:gd name="T8" fmla="*/ 0 w 12"/>
                <a:gd name="T9" fmla="*/ 6 h 36"/>
                <a:gd name="T10" fmla="*/ 0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9" y="36"/>
                    <a:pt x="12" y="34"/>
                    <a:pt x="12" y="30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2" y="36"/>
                    <a:pt x="6" y="3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7" name="Freeform 88">
              <a:extLst>
                <a:ext uri="{FF2B5EF4-FFF2-40B4-BE49-F238E27FC236}">
                  <a16:creationId xmlns:a16="http://schemas.microsoft.com/office/drawing/2014/main" id="{8FA27E58-1649-0041-A7D0-1488B173F4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2" y="2089"/>
              <a:ext cx="55" cy="18"/>
            </a:xfrm>
            <a:custGeom>
              <a:avLst/>
              <a:gdLst>
                <a:gd name="T0" fmla="*/ 30 w 36"/>
                <a:gd name="T1" fmla="*/ 0 h 12"/>
                <a:gd name="T2" fmla="*/ 6 w 36"/>
                <a:gd name="T3" fmla="*/ 0 h 12"/>
                <a:gd name="T4" fmla="*/ 0 w 36"/>
                <a:gd name="T5" fmla="*/ 6 h 12"/>
                <a:gd name="T6" fmla="*/ 6 w 36"/>
                <a:gd name="T7" fmla="*/ 12 h 12"/>
                <a:gd name="T8" fmla="*/ 30 w 36"/>
                <a:gd name="T9" fmla="*/ 12 h 12"/>
                <a:gd name="T10" fmla="*/ 36 w 36"/>
                <a:gd name="T11" fmla="*/ 6 h 12"/>
                <a:gd name="T12" fmla="*/ 30 w 3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0"/>
                    <a:pt x="2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3" y="12"/>
                    <a:pt x="36" y="10"/>
                    <a:pt x="36" y="6"/>
                  </a:cubicBezTo>
                  <a:cubicBezTo>
                    <a:pt x="36" y="3"/>
                    <a:pt x="33" y="0"/>
                    <a:pt x="3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8" name="Freeform 89">
              <a:extLst>
                <a:ext uri="{FF2B5EF4-FFF2-40B4-BE49-F238E27FC236}">
                  <a16:creationId xmlns:a16="http://schemas.microsoft.com/office/drawing/2014/main" id="{09F7C906-F808-E349-BEC7-3B3085AFF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0" y="2089"/>
              <a:ext cx="55" cy="18"/>
            </a:xfrm>
            <a:custGeom>
              <a:avLst/>
              <a:gdLst>
                <a:gd name="T0" fmla="*/ 30 w 36"/>
                <a:gd name="T1" fmla="*/ 0 h 12"/>
                <a:gd name="T2" fmla="*/ 6 w 36"/>
                <a:gd name="T3" fmla="*/ 0 h 12"/>
                <a:gd name="T4" fmla="*/ 0 w 36"/>
                <a:gd name="T5" fmla="*/ 6 h 12"/>
                <a:gd name="T6" fmla="*/ 6 w 36"/>
                <a:gd name="T7" fmla="*/ 12 h 12"/>
                <a:gd name="T8" fmla="*/ 30 w 36"/>
                <a:gd name="T9" fmla="*/ 12 h 12"/>
                <a:gd name="T10" fmla="*/ 36 w 36"/>
                <a:gd name="T11" fmla="*/ 6 h 12"/>
                <a:gd name="T12" fmla="*/ 30 w 3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3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4" y="12"/>
                    <a:pt x="36" y="10"/>
                    <a:pt x="36" y="6"/>
                  </a:cubicBezTo>
                  <a:cubicBezTo>
                    <a:pt x="36" y="3"/>
                    <a:pt x="34" y="0"/>
                    <a:pt x="3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9" name="Freeform 90">
              <a:extLst>
                <a:ext uri="{FF2B5EF4-FFF2-40B4-BE49-F238E27FC236}">
                  <a16:creationId xmlns:a16="http://schemas.microsoft.com/office/drawing/2014/main" id="{7A702297-D13A-8649-B1E4-169139C5B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1" y="1949"/>
              <a:ext cx="58" cy="57"/>
            </a:xfrm>
            <a:custGeom>
              <a:avLst/>
              <a:gdLst>
                <a:gd name="T0" fmla="*/ 27 w 38"/>
                <a:gd name="T1" fmla="*/ 37 h 38"/>
                <a:gd name="T2" fmla="*/ 32 w 38"/>
                <a:gd name="T3" fmla="*/ 38 h 38"/>
                <a:gd name="T4" fmla="*/ 36 w 38"/>
                <a:gd name="T5" fmla="*/ 37 h 38"/>
                <a:gd name="T6" fmla="*/ 36 w 38"/>
                <a:gd name="T7" fmla="*/ 28 h 38"/>
                <a:gd name="T8" fmla="*/ 10 w 38"/>
                <a:gd name="T9" fmla="*/ 3 h 38"/>
                <a:gd name="T10" fmla="*/ 2 w 38"/>
                <a:gd name="T11" fmla="*/ 3 h 38"/>
                <a:gd name="T12" fmla="*/ 2 w 38"/>
                <a:gd name="T13" fmla="*/ 11 h 38"/>
                <a:gd name="T14" fmla="*/ 27 w 38"/>
                <a:gd name="T15" fmla="*/ 3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8">
                  <a:moveTo>
                    <a:pt x="27" y="37"/>
                  </a:moveTo>
                  <a:cubicBezTo>
                    <a:pt x="29" y="38"/>
                    <a:pt x="30" y="38"/>
                    <a:pt x="32" y="38"/>
                  </a:cubicBezTo>
                  <a:cubicBezTo>
                    <a:pt x="33" y="38"/>
                    <a:pt x="35" y="38"/>
                    <a:pt x="36" y="37"/>
                  </a:cubicBezTo>
                  <a:cubicBezTo>
                    <a:pt x="38" y="34"/>
                    <a:pt x="38" y="31"/>
                    <a:pt x="36" y="28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0"/>
                    <a:pt x="4" y="0"/>
                    <a:pt x="2" y="3"/>
                  </a:cubicBezTo>
                  <a:cubicBezTo>
                    <a:pt x="0" y="5"/>
                    <a:pt x="0" y="9"/>
                    <a:pt x="2" y="11"/>
                  </a:cubicBezTo>
                  <a:lnTo>
                    <a:pt x="27" y="3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70" name="Freeform 91">
              <a:extLst>
                <a:ext uri="{FF2B5EF4-FFF2-40B4-BE49-F238E27FC236}">
                  <a16:creationId xmlns:a16="http://schemas.microsoft.com/office/drawing/2014/main" id="{B529D1D4-ACB6-4044-80CA-AB16AF0C45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1949"/>
              <a:ext cx="60" cy="57"/>
            </a:xfrm>
            <a:custGeom>
              <a:avLst/>
              <a:gdLst>
                <a:gd name="T0" fmla="*/ 7 w 39"/>
                <a:gd name="T1" fmla="*/ 38 h 38"/>
                <a:gd name="T2" fmla="*/ 11 w 39"/>
                <a:gd name="T3" fmla="*/ 37 h 38"/>
                <a:gd name="T4" fmla="*/ 36 w 39"/>
                <a:gd name="T5" fmla="*/ 11 h 38"/>
                <a:gd name="T6" fmla="*/ 36 w 39"/>
                <a:gd name="T7" fmla="*/ 3 h 38"/>
                <a:gd name="T8" fmla="*/ 28 w 39"/>
                <a:gd name="T9" fmla="*/ 3 h 38"/>
                <a:gd name="T10" fmla="*/ 2 w 39"/>
                <a:gd name="T11" fmla="*/ 28 h 38"/>
                <a:gd name="T12" fmla="*/ 2 w 39"/>
                <a:gd name="T13" fmla="*/ 37 h 38"/>
                <a:gd name="T14" fmla="*/ 7 w 39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8">
                  <a:moveTo>
                    <a:pt x="7" y="38"/>
                  </a:moveTo>
                  <a:cubicBezTo>
                    <a:pt x="8" y="38"/>
                    <a:pt x="10" y="38"/>
                    <a:pt x="11" y="37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9" y="9"/>
                    <a:pt x="39" y="5"/>
                    <a:pt x="36" y="3"/>
                  </a:cubicBezTo>
                  <a:cubicBezTo>
                    <a:pt x="34" y="0"/>
                    <a:pt x="30" y="0"/>
                    <a:pt x="28" y="3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0" y="31"/>
                    <a:pt x="0" y="34"/>
                    <a:pt x="2" y="37"/>
                  </a:cubicBezTo>
                  <a:cubicBezTo>
                    <a:pt x="4" y="38"/>
                    <a:pt x="5" y="38"/>
                    <a:pt x="7" y="3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  <p:grpSp>
        <p:nvGrpSpPr>
          <p:cNvPr id="371" name="Group 56">
            <a:extLst>
              <a:ext uri="{FF2B5EF4-FFF2-40B4-BE49-F238E27FC236}">
                <a16:creationId xmlns:a16="http://schemas.microsoft.com/office/drawing/2014/main" id="{754010E9-6578-4145-B63E-FE551FCF0B3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400111" y="1923077"/>
            <a:ext cx="513762" cy="513760"/>
            <a:chOff x="6721" y="600"/>
            <a:chExt cx="426" cy="426"/>
          </a:xfrm>
          <a:solidFill>
            <a:schemeClr val="accent4"/>
          </a:solidFill>
        </p:grpSpPr>
        <p:sp>
          <p:nvSpPr>
            <p:cNvPr id="372" name="Freeform 57">
              <a:extLst>
                <a:ext uri="{FF2B5EF4-FFF2-40B4-BE49-F238E27FC236}">
                  <a16:creationId xmlns:a16="http://schemas.microsoft.com/office/drawing/2014/main" id="{E54CC8A3-2BE8-4348-8408-7A6C774ED7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1" y="600"/>
              <a:ext cx="426" cy="426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4 h 288"/>
                <a:gd name="T4" fmla="*/ 144 w 288"/>
                <a:gd name="T5" fmla="*/ 0 h 288"/>
                <a:gd name="T6" fmla="*/ 288 w 288"/>
                <a:gd name="T7" fmla="*/ 144 h 288"/>
                <a:gd name="T8" fmla="*/ 282 w 288"/>
                <a:gd name="T9" fmla="*/ 150 h 288"/>
                <a:gd name="T10" fmla="*/ 276 w 288"/>
                <a:gd name="T11" fmla="*/ 144 h 288"/>
                <a:gd name="T12" fmla="*/ 144 w 288"/>
                <a:gd name="T13" fmla="*/ 12 h 288"/>
                <a:gd name="T14" fmla="*/ 12 w 288"/>
                <a:gd name="T15" fmla="*/ 144 h 288"/>
                <a:gd name="T16" fmla="*/ 144 w 288"/>
                <a:gd name="T17" fmla="*/ 276 h 288"/>
                <a:gd name="T18" fmla="*/ 190 w 288"/>
                <a:gd name="T19" fmla="*/ 268 h 288"/>
                <a:gd name="T20" fmla="*/ 198 w 288"/>
                <a:gd name="T21" fmla="*/ 272 h 288"/>
                <a:gd name="T22" fmla="*/ 194 w 288"/>
                <a:gd name="T23" fmla="*/ 280 h 288"/>
                <a:gd name="T24" fmla="*/ 144 w 288"/>
                <a:gd name="T25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5" y="288"/>
                    <a:pt x="0" y="224"/>
                    <a:pt x="0" y="144"/>
                  </a:cubicBezTo>
                  <a:cubicBezTo>
                    <a:pt x="0" y="65"/>
                    <a:pt x="65" y="0"/>
                    <a:pt x="144" y="0"/>
                  </a:cubicBezTo>
                  <a:cubicBezTo>
                    <a:pt x="224" y="0"/>
                    <a:pt x="288" y="65"/>
                    <a:pt x="288" y="144"/>
                  </a:cubicBezTo>
                  <a:cubicBezTo>
                    <a:pt x="288" y="148"/>
                    <a:pt x="286" y="150"/>
                    <a:pt x="282" y="150"/>
                  </a:cubicBezTo>
                  <a:cubicBezTo>
                    <a:pt x="279" y="150"/>
                    <a:pt x="276" y="148"/>
                    <a:pt x="276" y="144"/>
                  </a:cubicBezTo>
                  <a:cubicBezTo>
                    <a:pt x="276" y="71"/>
                    <a:pt x="217" y="12"/>
                    <a:pt x="144" y="12"/>
                  </a:cubicBezTo>
                  <a:cubicBezTo>
                    <a:pt x="72" y="12"/>
                    <a:pt x="12" y="71"/>
                    <a:pt x="12" y="144"/>
                  </a:cubicBezTo>
                  <a:cubicBezTo>
                    <a:pt x="12" y="217"/>
                    <a:pt x="72" y="276"/>
                    <a:pt x="144" y="276"/>
                  </a:cubicBezTo>
                  <a:cubicBezTo>
                    <a:pt x="160" y="276"/>
                    <a:pt x="175" y="274"/>
                    <a:pt x="190" y="268"/>
                  </a:cubicBezTo>
                  <a:cubicBezTo>
                    <a:pt x="193" y="267"/>
                    <a:pt x="196" y="269"/>
                    <a:pt x="198" y="272"/>
                  </a:cubicBezTo>
                  <a:cubicBezTo>
                    <a:pt x="199" y="275"/>
                    <a:pt x="197" y="278"/>
                    <a:pt x="194" y="280"/>
                  </a:cubicBezTo>
                  <a:cubicBezTo>
                    <a:pt x="178" y="285"/>
                    <a:pt x="161" y="288"/>
                    <a:pt x="144" y="28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AU"/>
            </a:p>
          </p:txBody>
        </p:sp>
        <p:sp>
          <p:nvSpPr>
            <p:cNvPr id="373" name="Freeform 58">
              <a:extLst>
                <a:ext uri="{FF2B5EF4-FFF2-40B4-BE49-F238E27FC236}">
                  <a16:creationId xmlns:a16="http://schemas.microsoft.com/office/drawing/2014/main" id="{468ADAAF-C6DA-A647-AC52-16E1AB8E8D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87" y="813"/>
              <a:ext cx="160" cy="213"/>
            </a:xfrm>
            <a:custGeom>
              <a:avLst/>
              <a:gdLst>
                <a:gd name="T0" fmla="*/ 54 w 108"/>
                <a:gd name="T1" fmla="*/ 144 h 144"/>
                <a:gd name="T2" fmla="*/ 50 w 108"/>
                <a:gd name="T3" fmla="*/ 142 h 144"/>
                <a:gd name="T4" fmla="*/ 0 w 108"/>
                <a:gd name="T5" fmla="*/ 54 h 144"/>
                <a:gd name="T6" fmla="*/ 54 w 108"/>
                <a:gd name="T7" fmla="*/ 0 h 144"/>
                <a:gd name="T8" fmla="*/ 108 w 108"/>
                <a:gd name="T9" fmla="*/ 54 h 144"/>
                <a:gd name="T10" fmla="*/ 59 w 108"/>
                <a:gd name="T11" fmla="*/ 142 h 144"/>
                <a:gd name="T12" fmla="*/ 54 w 108"/>
                <a:gd name="T13" fmla="*/ 144 h 144"/>
                <a:gd name="T14" fmla="*/ 54 w 108"/>
                <a:gd name="T15" fmla="*/ 12 h 144"/>
                <a:gd name="T16" fmla="*/ 12 w 108"/>
                <a:gd name="T17" fmla="*/ 54 h 144"/>
                <a:gd name="T18" fmla="*/ 54 w 108"/>
                <a:gd name="T19" fmla="*/ 129 h 144"/>
                <a:gd name="T20" fmla="*/ 96 w 108"/>
                <a:gd name="T21" fmla="*/ 54 h 144"/>
                <a:gd name="T22" fmla="*/ 54 w 108"/>
                <a:gd name="T23" fmla="*/ 1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" h="144">
                  <a:moveTo>
                    <a:pt x="54" y="144"/>
                  </a:moveTo>
                  <a:cubicBezTo>
                    <a:pt x="53" y="144"/>
                    <a:pt x="51" y="143"/>
                    <a:pt x="50" y="142"/>
                  </a:cubicBezTo>
                  <a:cubicBezTo>
                    <a:pt x="45" y="136"/>
                    <a:pt x="0" y="82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82"/>
                    <a:pt x="64" y="136"/>
                    <a:pt x="59" y="142"/>
                  </a:cubicBezTo>
                  <a:cubicBezTo>
                    <a:pt x="58" y="143"/>
                    <a:pt x="56" y="144"/>
                    <a:pt x="54" y="144"/>
                  </a:cubicBezTo>
                  <a:close/>
                  <a:moveTo>
                    <a:pt x="54" y="12"/>
                  </a:moveTo>
                  <a:cubicBezTo>
                    <a:pt x="31" y="12"/>
                    <a:pt x="12" y="31"/>
                    <a:pt x="12" y="54"/>
                  </a:cubicBezTo>
                  <a:cubicBezTo>
                    <a:pt x="12" y="72"/>
                    <a:pt x="40" y="110"/>
                    <a:pt x="54" y="129"/>
                  </a:cubicBezTo>
                  <a:cubicBezTo>
                    <a:pt x="69" y="110"/>
                    <a:pt x="96" y="72"/>
                    <a:pt x="96" y="54"/>
                  </a:cubicBezTo>
                  <a:cubicBezTo>
                    <a:pt x="96" y="31"/>
                    <a:pt x="78" y="12"/>
                    <a:pt x="54" y="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AU"/>
            </a:p>
          </p:txBody>
        </p:sp>
        <p:sp>
          <p:nvSpPr>
            <p:cNvPr id="374" name="Freeform 59">
              <a:extLst>
                <a:ext uri="{FF2B5EF4-FFF2-40B4-BE49-F238E27FC236}">
                  <a16:creationId xmlns:a16="http://schemas.microsoft.com/office/drawing/2014/main" id="{1D2D45F1-2BA4-144E-BFD4-CF2AE4D806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2" y="857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8" y="11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8"/>
                    <a:pt x="12" y="24"/>
                  </a:cubicBezTo>
                  <a:cubicBezTo>
                    <a:pt x="12" y="31"/>
                    <a:pt x="18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AU"/>
            </a:p>
          </p:txBody>
        </p:sp>
        <p:sp>
          <p:nvSpPr>
            <p:cNvPr id="375" name="Freeform 60">
              <a:extLst>
                <a:ext uri="{FF2B5EF4-FFF2-40B4-BE49-F238E27FC236}">
                  <a16:creationId xmlns:a16="http://schemas.microsoft.com/office/drawing/2014/main" id="{B9008D23-F674-6448-903D-C3B5D32E5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2" y="607"/>
              <a:ext cx="213" cy="313"/>
            </a:xfrm>
            <a:custGeom>
              <a:avLst/>
              <a:gdLst>
                <a:gd name="T0" fmla="*/ 66 w 144"/>
                <a:gd name="T1" fmla="*/ 211 h 211"/>
                <a:gd name="T2" fmla="*/ 60 w 144"/>
                <a:gd name="T3" fmla="*/ 205 h 211"/>
                <a:gd name="T4" fmla="*/ 60 w 144"/>
                <a:gd name="T5" fmla="*/ 178 h 211"/>
                <a:gd name="T6" fmla="*/ 3 w 144"/>
                <a:gd name="T7" fmla="*/ 132 h 211"/>
                <a:gd name="T8" fmla="*/ 1 w 144"/>
                <a:gd name="T9" fmla="*/ 124 h 211"/>
                <a:gd name="T10" fmla="*/ 28 w 144"/>
                <a:gd name="T11" fmla="*/ 82 h 211"/>
                <a:gd name="T12" fmla="*/ 33 w 144"/>
                <a:gd name="T13" fmla="*/ 79 h 211"/>
                <a:gd name="T14" fmla="*/ 96 w 144"/>
                <a:gd name="T15" fmla="*/ 79 h 211"/>
                <a:gd name="T16" fmla="*/ 96 w 144"/>
                <a:gd name="T17" fmla="*/ 52 h 211"/>
                <a:gd name="T18" fmla="*/ 81 w 144"/>
                <a:gd name="T19" fmla="*/ 42 h 211"/>
                <a:gd name="T20" fmla="*/ 78 w 144"/>
                <a:gd name="T21" fmla="*/ 37 h 211"/>
                <a:gd name="T22" fmla="*/ 81 w 144"/>
                <a:gd name="T23" fmla="*/ 32 h 211"/>
                <a:gd name="T24" fmla="*/ 134 w 144"/>
                <a:gd name="T25" fmla="*/ 2 h 211"/>
                <a:gd name="T26" fmla="*/ 142 w 144"/>
                <a:gd name="T27" fmla="*/ 4 h 211"/>
                <a:gd name="T28" fmla="*/ 140 w 144"/>
                <a:gd name="T29" fmla="*/ 12 h 211"/>
                <a:gd name="T30" fmla="*/ 96 w 144"/>
                <a:gd name="T31" fmla="*/ 38 h 211"/>
                <a:gd name="T32" fmla="*/ 106 w 144"/>
                <a:gd name="T33" fmla="*/ 44 h 211"/>
                <a:gd name="T34" fmla="*/ 108 w 144"/>
                <a:gd name="T35" fmla="*/ 49 h 211"/>
                <a:gd name="T36" fmla="*/ 108 w 144"/>
                <a:gd name="T37" fmla="*/ 85 h 211"/>
                <a:gd name="T38" fmla="*/ 102 w 144"/>
                <a:gd name="T39" fmla="*/ 91 h 211"/>
                <a:gd name="T40" fmla="*/ 37 w 144"/>
                <a:gd name="T41" fmla="*/ 91 h 211"/>
                <a:gd name="T42" fmla="*/ 14 w 144"/>
                <a:gd name="T43" fmla="*/ 126 h 211"/>
                <a:gd name="T44" fmla="*/ 70 w 144"/>
                <a:gd name="T45" fmla="*/ 171 h 211"/>
                <a:gd name="T46" fmla="*/ 72 w 144"/>
                <a:gd name="T47" fmla="*/ 175 h 211"/>
                <a:gd name="T48" fmla="*/ 72 w 144"/>
                <a:gd name="T49" fmla="*/ 205 h 211"/>
                <a:gd name="T50" fmla="*/ 66 w 144"/>
                <a:gd name="T5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4" h="211">
                  <a:moveTo>
                    <a:pt x="66" y="211"/>
                  </a:moveTo>
                  <a:cubicBezTo>
                    <a:pt x="63" y="211"/>
                    <a:pt x="60" y="209"/>
                    <a:pt x="60" y="205"/>
                  </a:cubicBezTo>
                  <a:cubicBezTo>
                    <a:pt x="60" y="178"/>
                    <a:pt x="60" y="178"/>
                    <a:pt x="60" y="178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0" y="130"/>
                    <a:pt x="0" y="127"/>
                    <a:pt x="1" y="124"/>
                  </a:cubicBezTo>
                  <a:cubicBezTo>
                    <a:pt x="28" y="82"/>
                    <a:pt x="28" y="82"/>
                    <a:pt x="28" y="82"/>
                  </a:cubicBezTo>
                  <a:cubicBezTo>
                    <a:pt x="30" y="80"/>
                    <a:pt x="31" y="79"/>
                    <a:pt x="33" y="79"/>
                  </a:cubicBezTo>
                  <a:cubicBezTo>
                    <a:pt x="96" y="79"/>
                    <a:pt x="96" y="79"/>
                    <a:pt x="96" y="79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79" y="41"/>
                    <a:pt x="78" y="39"/>
                    <a:pt x="78" y="37"/>
                  </a:cubicBezTo>
                  <a:cubicBezTo>
                    <a:pt x="79" y="35"/>
                    <a:pt x="80" y="33"/>
                    <a:pt x="81" y="32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7" y="0"/>
                    <a:pt x="140" y="1"/>
                    <a:pt x="142" y="4"/>
                  </a:cubicBezTo>
                  <a:cubicBezTo>
                    <a:pt x="144" y="7"/>
                    <a:pt x="143" y="11"/>
                    <a:pt x="140" y="12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106" y="44"/>
                    <a:pt x="106" y="44"/>
                    <a:pt x="106" y="44"/>
                  </a:cubicBezTo>
                  <a:cubicBezTo>
                    <a:pt x="107" y="45"/>
                    <a:pt x="108" y="47"/>
                    <a:pt x="108" y="49"/>
                  </a:cubicBezTo>
                  <a:cubicBezTo>
                    <a:pt x="108" y="85"/>
                    <a:pt x="108" y="85"/>
                    <a:pt x="108" y="85"/>
                  </a:cubicBezTo>
                  <a:cubicBezTo>
                    <a:pt x="108" y="89"/>
                    <a:pt x="106" y="91"/>
                    <a:pt x="102" y="91"/>
                  </a:cubicBezTo>
                  <a:cubicBezTo>
                    <a:pt x="37" y="91"/>
                    <a:pt x="37" y="91"/>
                    <a:pt x="37" y="91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70" y="171"/>
                    <a:pt x="70" y="171"/>
                    <a:pt x="70" y="171"/>
                  </a:cubicBezTo>
                  <a:cubicBezTo>
                    <a:pt x="72" y="172"/>
                    <a:pt x="72" y="173"/>
                    <a:pt x="72" y="175"/>
                  </a:cubicBezTo>
                  <a:cubicBezTo>
                    <a:pt x="72" y="205"/>
                    <a:pt x="72" y="205"/>
                    <a:pt x="72" y="205"/>
                  </a:cubicBezTo>
                  <a:cubicBezTo>
                    <a:pt x="72" y="209"/>
                    <a:pt x="70" y="211"/>
                    <a:pt x="66" y="2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AU"/>
            </a:p>
          </p:txBody>
        </p:sp>
        <p:sp>
          <p:nvSpPr>
            <p:cNvPr id="376" name="Freeform 61">
              <a:extLst>
                <a:ext uri="{FF2B5EF4-FFF2-40B4-BE49-F238E27FC236}">
                  <a16:creationId xmlns:a16="http://schemas.microsoft.com/office/drawing/2014/main" id="{81B4FE17-16E8-1D46-A84D-C61DF767F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3" y="665"/>
              <a:ext cx="112" cy="108"/>
            </a:xfrm>
            <a:custGeom>
              <a:avLst/>
              <a:gdLst>
                <a:gd name="T0" fmla="*/ 6 w 76"/>
                <a:gd name="T1" fmla="*/ 73 h 73"/>
                <a:gd name="T2" fmla="*/ 2 w 76"/>
                <a:gd name="T3" fmla="*/ 71 h 73"/>
                <a:gd name="T4" fmla="*/ 2 w 76"/>
                <a:gd name="T5" fmla="*/ 63 h 73"/>
                <a:gd name="T6" fmla="*/ 23 w 76"/>
                <a:gd name="T7" fmla="*/ 42 h 73"/>
                <a:gd name="T8" fmla="*/ 27 w 76"/>
                <a:gd name="T9" fmla="*/ 40 h 73"/>
                <a:gd name="T10" fmla="*/ 45 w 76"/>
                <a:gd name="T11" fmla="*/ 40 h 73"/>
                <a:gd name="T12" fmla="*/ 64 w 76"/>
                <a:gd name="T13" fmla="*/ 4 h 73"/>
                <a:gd name="T14" fmla="*/ 72 w 76"/>
                <a:gd name="T15" fmla="*/ 2 h 73"/>
                <a:gd name="T16" fmla="*/ 75 w 76"/>
                <a:gd name="T17" fmla="*/ 10 h 73"/>
                <a:gd name="T18" fmla="*/ 54 w 76"/>
                <a:gd name="T19" fmla="*/ 49 h 73"/>
                <a:gd name="T20" fmla="*/ 48 w 76"/>
                <a:gd name="T21" fmla="*/ 52 h 73"/>
                <a:gd name="T22" fmla="*/ 30 w 76"/>
                <a:gd name="T23" fmla="*/ 52 h 73"/>
                <a:gd name="T24" fmla="*/ 11 w 76"/>
                <a:gd name="T25" fmla="*/ 71 h 73"/>
                <a:gd name="T26" fmla="*/ 6 w 76"/>
                <a:gd name="T27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" h="73">
                  <a:moveTo>
                    <a:pt x="6" y="73"/>
                  </a:moveTo>
                  <a:cubicBezTo>
                    <a:pt x="5" y="73"/>
                    <a:pt x="3" y="73"/>
                    <a:pt x="2" y="71"/>
                  </a:cubicBezTo>
                  <a:cubicBezTo>
                    <a:pt x="0" y="69"/>
                    <a:pt x="0" y="65"/>
                    <a:pt x="2" y="63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4" y="41"/>
                    <a:pt x="26" y="40"/>
                    <a:pt x="27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6" y="2"/>
                    <a:pt x="69" y="0"/>
                    <a:pt x="72" y="2"/>
                  </a:cubicBezTo>
                  <a:cubicBezTo>
                    <a:pt x="75" y="4"/>
                    <a:pt x="76" y="7"/>
                    <a:pt x="75" y="10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53" y="51"/>
                    <a:pt x="51" y="52"/>
                    <a:pt x="48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0" y="73"/>
                    <a:pt x="8" y="73"/>
                    <a:pt x="6" y="7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AU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F6439B37-7E18-2D43-9C03-BCA23C9C27E0}"/>
              </a:ext>
            </a:extLst>
          </p:cNvPr>
          <p:cNvSpPr txBox="1"/>
          <p:nvPr userDrawn="1"/>
        </p:nvSpPr>
        <p:spPr>
          <a:xfrm>
            <a:off x="4732020" y="208026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302890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2nd level">
    <p:bg>
      <p:bgPr>
        <a:solidFill>
          <a:schemeClr val="tx1">
            <a:lumMod val="65000"/>
            <a:lumOff val="3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844C89E-348F-B545-B7BC-84E0C457456F}"/>
              </a:ext>
            </a:extLst>
          </p:cNvPr>
          <p:cNvSpPr/>
          <p:nvPr userDrawn="1"/>
        </p:nvSpPr>
        <p:spPr>
          <a:xfrm>
            <a:off x="0" y="0"/>
            <a:ext cx="12192000" cy="14369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FA9ACAF-0AB3-486A-9DE5-2887606D91B5}"/>
              </a:ext>
            </a:extLst>
          </p:cNvPr>
          <p:cNvSpPr>
            <a:spLocks noGrp="1"/>
          </p:cNvSpPr>
          <p:nvPr>
            <p:ph type="ftr" sz="quarter" idx="52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65000"/>
                  </a:schemeClr>
                </a:solidFill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8DC02D-45D4-4110-A812-E892BE7FD83A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65000"/>
                  </a:schemeClr>
                </a:solidFill>
              </a:defRPr>
            </a:lvl1pPr>
          </a:lstStyle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9" name="Second level headline">
            <a:extLst>
              <a:ext uri="{FF2B5EF4-FFF2-40B4-BE49-F238E27FC236}">
                <a16:creationId xmlns:a16="http://schemas.microsoft.com/office/drawing/2014/main" id="{1A56F09B-6F9B-4C04-904E-5E72DF390119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81600" y="342446"/>
            <a:ext cx="11426400" cy="736967"/>
          </a:xfrm>
        </p:spPr>
        <p:txBody>
          <a:bodyPr bIns="486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Graphik Medium" panose="020B0603030202060203" pitchFamily="34" charset="0"/>
              </a:defRPr>
            </a:lvl1pPr>
            <a:lvl2pPr>
              <a:defRPr sz="2800">
                <a:latin typeface="Graphik Semibold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444F9C4-0633-4AA2-81D4-06E89770D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00" y="859536"/>
            <a:ext cx="11427814" cy="90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65132310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7A82E-2DEE-4B40-9876-82DA2C52831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E641C0-D5BF-4321-B46F-898E7B529B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2F8B16-9AE8-497D-AC80-CDFC4FCE25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39582146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F75F791-0044-4427-9767-3066DA05981F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38B1EC-FA17-45DA-8517-D23A942161D3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0119807B-39A9-41FD-8CD3-CD67C006211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3600" y="1278000"/>
            <a:ext cx="11437371" cy="514738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1339014461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/t subtitle – Top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A5C2C5-1758-4E3F-8FA4-DFED5477085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833C45-1E0A-41B5-A4E0-7F513732E64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FFF3DE60-5763-49F9-84D4-EFD70139DD3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1" cy="29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F31FD4-855B-4349-9E82-D5835AAED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941" y="645953"/>
            <a:ext cx="4950134" cy="1218795"/>
          </a:xfrm>
        </p:spPr>
        <p:txBody>
          <a:bodyPr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265EBA6A-2E14-48C8-8DEA-AB815956E76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3599" y="1746236"/>
            <a:ext cx="6903975" cy="862501"/>
          </a:xfrm>
          <a:prstGeom prst="rect">
            <a:avLst/>
          </a:prstGeom>
        </p:spPr>
        <p:txBody>
          <a:bodyPr wrap="square" lIns="0" tIns="1836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2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2 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1039932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95920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lank_I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GB"/>
              <a:t>Copyright © 2020  Accenture. All rights reserved. Accenture Confidential Information    |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355741" y="6341185"/>
            <a:ext cx="1927453" cy="317172"/>
          </a:xfrm>
          <a:ln>
            <a:solidFill>
              <a:schemeClr val="bg1"/>
            </a:solidFill>
          </a:ln>
        </p:spPr>
        <p:txBody>
          <a:bodyPr wrap="none" lIns="143987" tIns="71994" rIns="143987" bIns="71994" anchor="ctr">
            <a:spAutoFit/>
          </a:bodyPr>
          <a:lstStyle>
            <a:lvl1pPr>
              <a:spcBef>
                <a:spcPts val="0"/>
              </a:spcBef>
              <a:defRPr sz="11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Insert Key Point if Needed</a:t>
            </a:r>
          </a:p>
        </p:txBody>
      </p:sp>
    </p:spTree>
    <p:extLst>
      <p:ext uri="{BB962C8B-B14F-4D97-AF65-F5344CB8AC3E}">
        <p14:creationId xmlns:p14="http://schemas.microsoft.com/office/powerpoint/2010/main" val="1846192163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EE4F08-C5DE-2046-D218-F60C72E653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3471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244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44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24401" y="1615130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4401" y="4057166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</a:t>
            </a:r>
            <a:r>
              <a:rPr lang="en-US" err="1"/>
              <a:t>Graphik</a:t>
            </a:r>
            <a:r>
              <a:rPr lang="en-US"/>
              <a:t> Regular 24pt</a:t>
            </a:r>
          </a:p>
        </p:txBody>
      </p:sp>
    </p:spTree>
    <p:extLst>
      <p:ext uri="{BB962C8B-B14F-4D97-AF65-F5344CB8AC3E}">
        <p14:creationId xmlns:p14="http://schemas.microsoft.com/office/powerpoint/2010/main" val="789817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7867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</a:t>
            </a:r>
          </a:p>
          <a:p>
            <a:r>
              <a:rPr lang="en-GB"/>
              <a:t>or click icon to add</a:t>
            </a:r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/>
              <a:t>Drag picture to placeholder </a:t>
            </a:r>
          </a:p>
          <a:p>
            <a:pPr marL="228600" lvl="0" indent="-228600" algn="ctr"/>
            <a:r>
              <a:rPr lang="en-GB"/>
              <a:t>or click icon to add</a:t>
            </a:r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lace headline here 36pt, min 30pt)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GB" smtClean="0"/>
              <a:pPr/>
              <a:t>‹#›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443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Place key message here 54pt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310B6FD-F7E2-4120-A2CE-22852AAA9F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2FF57A0A-C5DD-42B6-8DD3-E5EA041C72D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31A683-09B8-4B7C-917B-D192D06BBA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08448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87831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81784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57785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380999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GB" noProof="0"/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E96B644F-A9C2-401B-8562-DC3B10FB5CF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Acc_StratConst_Logo_WH" descr="Accenture Strategy &amp; Consulting wordmark in white">
            <a:extLst>
              <a:ext uri="{FF2B5EF4-FFF2-40B4-BE49-F238E27FC236}">
                <a16:creationId xmlns:a16="http://schemas.microsoft.com/office/drawing/2014/main" id="{4BD0FAB6-DE30-4DDA-9B03-9676F088C07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80999" y="6096690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02776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5419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64126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Acc_StratConst_Logo_WH" descr="Accenture Strategy &amp; Consulting wordmark in white">
            <a:extLst>
              <a:ext uri="{FF2B5EF4-FFF2-40B4-BE49-F238E27FC236}">
                <a16:creationId xmlns:a16="http://schemas.microsoft.com/office/drawing/2014/main" id="{C467B724-7300-4D8A-B08E-84012B82F3C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933444" y="5934934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</a:p>
        </p:txBody>
      </p:sp>
      <p:sp>
        <p:nvSpPr>
          <p:cNvPr id="10" name="GTS_WH" descr="Accenture logo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914400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87416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798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3880">
          <p15:clr>
            <a:srgbClr val="C35EA4"/>
          </p15:clr>
        </p15:guide>
        <p15:guide id="4" orient="horz" pos="2162">
          <p15:clr>
            <a:srgbClr val="C35E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1005840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" name="Acc_StratConst_Logo_WH" descr="Accenture Strategy &amp; Consulting wordmark in white">
            <a:extLst>
              <a:ext uri="{FF2B5EF4-FFF2-40B4-BE49-F238E27FC236}">
                <a16:creationId xmlns:a16="http://schemas.microsoft.com/office/drawing/2014/main" id="{7E8828A5-9BB3-4391-9884-979C03BD8B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933444" y="5934934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37911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880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2160">
          <p15:clr>
            <a:srgbClr val="C35EA4"/>
          </p15:clr>
        </p15:guide>
        <p15:guide id="4" orient="horz" pos="947">
          <p15:clr>
            <a:srgbClr val="C35E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0149099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380999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GB" noProof="0"/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E96B644F-A9C2-401B-8562-DC3B10FB5CF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Acc_StratConst_Logo_WH" descr="Accenture Strategy &amp; Consulting wordmark in white">
            <a:extLst>
              <a:ext uri="{FF2B5EF4-FFF2-40B4-BE49-F238E27FC236}">
                <a16:creationId xmlns:a16="http://schemas.microsoft.com/office/drawing/2014/main" id="{4BD0FAB6-DE30-4DDA-9B03-9676F088C07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80999" y="6096690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57340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Rg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926898" y="381000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6" name="Acc_StratConst_Logo_WH" descr="Accenture Strategy &amp; Consulting wordmark in white">
            <a:extLst>
              <a:ext uri="{FF2B5EF4-FFF2-40B4-BE49-F238E27FC236}">
                <a16:creationId xmlns:a16="http://schemas.microsoft.com/office/drawing/2014/main" id="{1EFA58BA-0151-4B22-861F-7F21C4F6F55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485450" y="6096690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79525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Rg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Acc_StratConst_Logo_WH" descr="Accenture Strategy &amp; Consulting wordmark in white">
            <a:extLst>
              <a:ext uri="{FF2B5EF4-FFF2-40B4-BE49-F238E27FC236}">
                <a16:creationId xmlns:a16="http://schemas.microsoft.com/office/drawing/2014/main" id="{4965A41C-952B-4AE3-94C9-5746E2B1FDE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81001" y="6096690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86160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Rg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</a:p>
        </p:txBody>
      </p:sp>
      <p:grpSp>
        <p:nvGrpSpPr>
          <p:cNvPr id="13" name="Logo_WH" descr="Accenture logo in white">
            <a:extLst>
              <a:ext uri="{FF2B5EF4-FFF2-40B4-BE49-F238E27FC236}">
                <a16:creationId xmlns:a16="http://schemas.microsoft.com/office/drawing/2014/main" id="{6E8422F7-B85B-4755-B6A1-FFEA87624FF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0" y="381000"/>
            <a:ext cx="1883664" cy="496247"/>
            <a:chOff x="1561" y="187"/>
            <a:chExt cx="4536" cy="1195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64597228-D9AB-44B8-B1CD-B17ABE7714E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C5BFA133-9FE4-4FB4-968A-A369A9EF6AE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" name="Acc_StratConst_Logo_WH" descr="Accenture Strategy &amp; Consulting wordmark in white">
            <a:extLst>
              <a:ext uri="{FF2B5EF4-FFF2-40B4-BE49-F238E27FC236}">
                <a16:creationId xmlns:a16="http://schemas.microsoft.com/office/drawing/2014/main" id="{80BBB220-1B89-4D6B-A561-DCCD26E722D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81001" y="6096690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1559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Rg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926898" y="381000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" name="Freeform 9" descr="Accenture Strategy &amp; Consulting wordmark in black">
            <a:extLst>
              <a:ext uri="{FF2B5EF4-FFF2-40B4-BE49-F238E27FC236}">
                <a16:creationId xmlns:a16="http://schemas.microsoft.com/office/drawing/2014/main" id="{D4C52F35-E416-409C-9EE2-3A93052099E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485450" y="6096690"/>
            <a:ext cx="4325112" cy="273555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84190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926898" y="381000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6" name="Acc_StratConst_Logo_WH" descr="Accenture Strategy &amp; Consulting wordmark in white">
            <a:extLst>
              <a:ext uri="{FF2B5EF4-FFF2-40B4-BE49-F238E27FC236}">
                <a16:creationId xmlns:a16="http://schemas.microsoft.com/office/drawing/2014/main" id="{1EFA58BA-0151-4B22-861F-7F21C4F6F55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485450" y="6096690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9792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Rg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grpSp>
        <p:nvGrpSpPr>
          <p:cNvPr id="12" name="Logo_BL" descr="Accenture logo in black and purple">
            <a:extLst>
              <a:ext uri="{FF2B5EF4-FFF2-40B4-BE49-F238E27FC236}">
                <a16:creationId xmlns:a16="http://schemas.microsoft.com/office/drawing/2014/main" id="{9F19D48A-46F6-4BAE-97F3-DFACD8E22BA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2636" y="382725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848F740B-2A73-4970-A31A-4A0E685E66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4A90C93-9B70-4203-9499-12D2A090A80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7" name="Acc_StratConst_Logo_WH" descr="Accenture Strategy &amp; Consulting wordmark in black">
            <a:extLst>
              <a:ext uri="{FF2B5EF4-FFF2-40B4-BE49-F238E27FC236}">
                <a16:creationId xmlns:a16="http://schemas.microsoft.com/office/drawing/2014/main" id="{ED1D51DA-E924-4D44-B3EA-586DA653E32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81001" y="6096690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47029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Rg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2" name="Acc_StratConst_Logo_WH" descr="Accenture Strategy &amp; Consulting wordmark in black">
            <a:extLst>
              <a:ext uri="{FF2B5EF4-FFF2-40B4-BE49-F238E27FC236}">
                <a16:creationId xmlns:a16="http://schemas.microsoft.com/office/drawing/2014/main" id="{8F79BEBA-CA8B-4F14-8252-FBD84FCE55C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81001" y="6096690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62266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2096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5170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0686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Graphik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Graphik" panose="020B0604020202020204" pitchFamily="34" charset="0"/>
              <a:buChar char="•"/>
              <a:defRPr sz="1600"/>
            </a:lvl5pPr>
          </a:lstStyle>
          <a:p>
            <a:pPr lvl="0"/>
            <a:r>
              <a:rPr lang="en-GB"/>
              <a:t>Place agenda summary here in GT Sectra Fine Rg 24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 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7548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Graphik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GB"/>
              <a:t>Place text her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99955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GB"/>
              <a:t>Place text her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76347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GB"/>
              <a:t>Place text her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7283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GB"/>
              <a:t>Place sub-headline here in GT Sectra Fine Rg 24pt, indent for other levels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bullet 18pt</a:t>
            </a:r>
          </a:p>
          <a:p>
            <a:pPr lvl="3"/>
            <a:r>
              <a:rPr lang="en-GB"/>
              <a:t>Fourth level bullet 16pt</a:t>
            </a:r>
          </a:p>
          <a:p>
            <a:pPr lvl="4"/>
            <a:r>
              <a:rPr lang="en-GB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Place text here 20pt</a:t>
            </a:r>
          </a:p>
          <a:p>
            <a:pPr lvl="1"/>
            <a:r>
              <a:rPr lang="en-GB"/>
              <a:t>Second level 20pt</a:t>
            </a:r>
          </a:p>
          <a:p>
            <a:pPr lvl="2"/>
            <a:r>
              <a:rPr lang="en-GB"/>
              <a:t>Third level 20pt</a:t>
            </a:r>
          </a:p>
          <a:p>
            <a:pPr lvl="3"/>
            <a:r>
              <a:rPr lang="en-GB"/>
              <a:t>Fourth level 18pt</a:t>
            </a:r>
          </a:p>
          <a:p>
            <a:pPr lvl="4"/>
            <a:r>
              <a:rPr lang="en-GB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/>
              <a:t>Place headline here (36pt, min 30pt)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4050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>
          <p15:clr>
            <a:srgbClr val="C35E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Acc_StratConst_Logo_WH" descr="Accenture Strategy &amp; Consulting wordmark in white">
            <a:extLst>
              <a:ext uri="{FF2B5EF4-FFF2-40B4-BE49-F238E27FC236}">
                <a16:creationId xmlns:a16="http://schemas.microsoft.com/office/drawing/2014/main" id="{4965A41C-952B-4AE3-94C9-5746E2B1FDE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81001" y="6096690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08654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GB"/>
              <a:t>Place headline here (36pt, min 30pt)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00460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7716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3527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GB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GB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6210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GB"/>
              <a:t>Place text here 18pt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18pt</a:t>
            </a:r>
          </a:p>
          <a:p>
            <a:pPr lvl="3"/>
            <a:r>
              <a:rPr lang="en-GB"/>
              <a:t>Fourth level 16pt</a:t>
            </a:r>
          </a:p>
          <a:p>
            <a:pPr lvl="4"/>
            <a:r>
              <a:rPr lang="en-GB"/>
              <a:t>Fifth level 16</a:t>
            </a:r>
          </a:p>
          <a:p>
            <a:pPr lvl="5"/>
            <a:r>
              <a:rPr lang="en-GB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484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8154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Alt) 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Headline 20pt</a:t>
            </a:r>
          </a:p>
          <a:p>
            <a:pPr lvl="1"/>
            <a:r>
              <a:rPr lang="en-GB"/>
              <a:t>Details 16pt</a:t>
            </a:r>
          </a:p>
          <a:p>
            <a:pPr lvl="2"/>
            <a:r>
              <a:rPr lang="en-GB"/>
              <a:t>More details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36FB760-AEF8-46F8-B73E-B0A537402A7A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141567" y="361969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B9165B01-6544-4059-9AE2-42F4426A038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3503587" y="361969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EB2E96CC-0F77-4F5D-A96C-5243BDB51C0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5865607" y="361969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2D003B29-C8CB-4629-BF53-F5AEBE6FAE2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227627" y="361969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49BB6C55-F8C8-4B99-843F-9A6047B7A3E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10570872" y="361969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B047CF-EEDD-49CC-9871-80D6EF57FEB6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5778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Graphik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</a:t>
            </a:r>
            <a:br>
              <a:rPr lang="en-GB"/>
            </a:br>
            <a:r>
              <a:rPr lang="en-GB"/>
              <a:t>Last name 21pt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</a:t>
            </a:r>
            <a:br>
              <a:rPr lang="en-GB"/>
            </a:br>
            <a:r>
              <a:rPr lang="en-GB"/>
              <a:t>Last name 21pt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</a:t>
            </a:r>
            <a:br>
              <a:rPr lang="en-GB"/>
            </a:br>
            <a:r>
              <a:rPr lang="en-GB"/>
              <a:t>Last name 21pt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</a:t>
            </a:r>
            <a:br>
              <a:rPr lang="en-GB"/>
            </a:br>
            <a:r>
              <a:rPr lang="en-GB"/>
              <a:t>Last name 21pt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17712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GB"/>
              <a:t>Add profile photo</a:t>
            </a:r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35793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Add profile photo</a:t>
            </a:r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Last name 21</a:t>
            </a:r>
          </a:p>
          <a:p>
            <a:pPr lvl="1"/>
            <a:r>
              <a:rPr lang="en-GB"/>
              <a:t>Role 16pt</a:t>
            </a:r>
          </a:p>
          <a:p>
            <a:pPr lvl="2"/>
            <a:r>
              <a:rPr lang="en-GB"/>
              <a:t>Short bio 12pt</a:t>
            </a:r>
          </a:p>
          <a:p>
            <a:pPr lvl="3"/>
            <a:r>
              <a:rPr lang="en-GB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076325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</a:p>
        </p:txBody>
      </p:sp>
      <p:grpSp>
        <p:nvGrpSpPr>
          <p:cNvPr id="13" name="Logo_WH" descr="Accenture logo in white">
            <a:extLst>
              <a:ext uri="{FF2B5EF4-FFF2-40B4-BE49-F238E27FC236}">
                <a16:creationId xmlns:a16="http://schemas.microsoft.com/office/drawing/2014/main" id="{6E8422F7-B85B-4755-B6A1-FFEA87624FF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0" y="381000"/>
            <a:ext cx="1883664" cy="496247"/>
            <a:chOff x="1561" y="187"/>
            <a:chExt cx="4536" cy="1195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64597228-D9AB-44B8-B1CD-B17ABE7714E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C5BFA133-9FE4-4FB4-968A-A369A9EF6AE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" name="Acc_StratConst_Logo_WH" descr="Accenture Strategy &amp; Consulting wordmark in white">
            <a:extLst>
              <a:ext uri="{FF2B5EF4-FFF2-40B4-BE49-F238E27FC236}">
                <a16:creationId xmlns:a16="http://schemas.microsoft.com/office/drawing/2014/main" id="{80BBB220-1B89-4D6B-A561-DCCD26E722D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81001" y="6096690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29574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Place text here, use indent to access other levels 20pt</a:t>
            </a:r>
          </a:p>
          <a:p>
            <a:pPr lvl="1"/>
            <a:r>
              <a:rPr lang="en-GB"/>
              <a:t>Second level 20pt</a:t>
            </a:r>
          </a:p>
          <a:p>
            <a:pPr lvl="2"/>
            <a:r>
              <a:rPr lang="en-GB"/>
              <a:t>Third level 20pt</a:t>
            </a:r>
          </a:p>
          <a:p>
            <a:pPr lvl="3"/>
            <a:r>
              <a:rPr lang="en-GB"/>
              <a:t>Fourth level 18pt</a:t>
            </a:r>
          </a:p>
          <a:p>
            <a:pPr lvl="4"/>
            <a:r>
              <a:rPr lang="en-GB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GB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GB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25264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Graphik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Drag picture to placeholder or click icon to add, then ‘Send to Back’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GB"/>
              <a:t>Place sub-headline here in GT Sectra Fine Rg 24pt, indent for other levels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bullet 18pt</a:t>
            </a:r>
          </a:p>
          <a:p>
            <a:pPr lvl="3"/>
            <a:r>
              <a:rPr lang="en-GB"/>
              <a:t>Fourth level bullet 16pt</a:t>
            </a:r>
          </a:p>
          <a:p>
            <a:pPr lvl="4"/>
            <a:r>
              <a:rPr lang="en-GB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5EB3E03B-7CA0-42DC-80B4-DFDDE28AFC8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45535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Graphik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Graphik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Graphik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Place sub-headline here in GT Sectra Fine Rg 24pt, indent for other levels</a:t>
            </a:r>
          </a:p>
          <a:p>
            <a:pPr lvl="1"/>
            <a:r>
              <a:rPr lang="en-GB"/>
              <a:t>Second level 18pt</a:t>
            </a:r>
          </a:p>
          <a:p>
            <a:pPr lvl="2"/>
            <a:r>
              <a:rPr lang="en-GB"/>
              <a:t>Third level bullet 18pt</a:t>
            </a:r>
          </a:p>
          <a:p>
            <a:pPr lvl="3"/>
            <a:r>
              <a:rPr lang="en-GB"/>
              <a:t>Fourth level bullet 16pt</a:t>
            </a:r>
          </a:p>
          <a:p>
            <a:pPr lvl="4"/>
            <a:r>
              <a:rPr lang="en-GB"/>
              <a:t>Fifth level bullet 16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GTS_Purple" descr="Accenture Greater Than symbol in white">
            <a:extLst>
              <a:ext uri="{FF2B5EF4-FFF2-40B4-BE49-F238E27FC236}">
                <a16:creationId xmlns:a16="http://schemas.microsoft.com/office/drawing/2014/main" id="{7F47EA7B-6E02-45C5-BF54-F4D63DCF9834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2114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67200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04303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643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</a:t>
            </a:r>
          </a:p>
          <a:p>
            <a:r>
              <a:rPr lang="en-GB"/>
              <a:t>or click icon to add</a:t>
            </a:r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/>
              <a:t>Drag picture to placeholder </a:t>
            </a:r>
          </a:p>
          <a:p>
            <a:pPr marL="228600" lvl="0" indent="-228600" algn="ctr"/>
            <a:r>
              <a:rPr lang="en-GB"/>
              <a:t>or click icon to add</a:t>
            </a:r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lace headline here 36pt, min 30pt)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GB" smtClean="0"/>
              <a:pPr/>
              <a:t>‹#›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2625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Place key message here 54pt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310B6FD-F7E2-4120-A2CE-22852AAA9F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2FF57A0A-C5DD-42B6-8DD3-E5EA041C72D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31A683-09B8-4B7C-917B-D192D06BBA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83842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92311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GB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5241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926898" y="381000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" name="Freeform 9" descr="Accenture Strategy &amp; Consulting wordmark in black">
            <a:extLst>
              <a:ext uri="{FF2B5EF4-FFF2-40B4-BE49-F238E27FC236}">
                <a16:creationId xmlns:a16="http://schemas.microsoft.com/office/drawing/2014/main" id="{D4C52F35-E416-409C-9EE2-3A93052099E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485450" y="6096690"/>
            <a:ext cx="4325112" cy="273555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72266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84538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20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4187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7500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Cover Image - Left-aligned,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 up of an object&#10;&#10;Description automatically generated">
            <a:extLst>
              <a:ext uri="{FF2B5EF4-FFF2-40B4-BE49-F238E27FC236}">
                <a16:creationId xmlns:a16="http://schemas.microsoft.com/office/drawing/2014/main" id="{2DB18791-FCAD-43B2-B380-832E5636FE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19450" y="3549206"/>
            <a:ext cx="5715000" cy="1333924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/>
              <a:t>Place presentation title here 48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50374" y="6337488"/>
            <a:ext cx="3253153" cy="340429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Presenter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81325" y="4952013"/>
            <a:ext cx="6191250" cy="530688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Graphik Light 24p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208B9F0-97C2-4E32-B747-303D00DEEA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467" y="376176"/>
            <a:ext cx="3102015" cy="196397"/>
          </a:xfrm>
          <a:prstGeom prst="rect">
            <a:avLst/>
          </a:prstGeom>
        </p:spPr>
      </p:pic>
      <p:sp>
        <p:nvSpPr>
          <p:cNvPr id="16" name="Date Placeholder 10">
            <a:extLst>
              <a:ext uri="{FF2B5EF4-FFF2-40B4-BE49-F238E27FC236}">
                <a16:creationId xmlns:a16="http://schemas.microsoft.com/office/drawing/2014/main" id="{52CF9B17-A946-4EC1-8814-B4E53A01BB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50374" y="602872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4E757F2B-B071-4D0E-814C-4E7EA12CAEF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462233" y="228002"/>
            <a:ext cx="471295" cy="517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8774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GB"/>
              <a:t>Place text her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3A1C3B6-7B71-4B88-BF0A-1765D03CC1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251825" y="6480578"/>
            <a:ext cx="3175200" cy="132523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800">
                <a:solidFill>
                  <a:schemeClr val="tx1">
                    <a:alpha val="65000"/>
                  </a:schemeClr>
                </a:solidFill>
              </a:defRPr>
            </a:lvl1pPr>
          </a:lstStyle>
          <a:p>
            <a:r>
              <a:rPr lang="en-GB"/>
              <a:t>Copyright © 2021 Accenture. All rights reserved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D9DE1E9-D13D-409C-A45E-AA54BD34EE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813" y="6480578"/>
            <a:ext cx="381600" cy="132523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800">
                <a:solidFill>
                  <a:schemeClr val="tx1">
                    <a:alpha val="65000"/>
                  </a:schemeClr>
                </a:solidFill>
              </a:defRPr>
            </a:lvl1pPr>
          </a:lstStyle>
          <a:p>
            <a:fld id="{7F8EB60C-7CC2-49F0-B2EE-C81F067DE04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4396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" name="Rechteck 1">
            <a:extLst>
              <a:ext uri="{FF2B5EF4-FFF2-40B4-BE49-F238E27FC236}">
                <a16:creationId xmlns:a16="http://schemas.microsoft.com/office/drawing/2014/main" id="{68FF21B1-4A36-428D-B0FB-D08FEDCAC3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/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45BEF3C-2FAB-4453-A444-08C1C0C6A7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8519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01" imgH="501" progId="TCLayout.ActiveDocument.1">
                  <p:embed/>
                </p:oleObj>
              </mc:Choice>
              <mc:Fallback>
                <p:oleObj name="think-cell Folie" r:id="rId3" imgW="501" imgH="50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45BEF3C-2FAB-4453-A444-08C1C0C6A7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7925028-D825-44BA-A2D5-13DFDD93F15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05425" y="0"/>
            <a:ext cx="6886575" cy="6858000"/>
          </a:xfrm>
          <a:solidFill>
            <a:srgbClr val="FFFFFF">
              <a:alpha val="50196"/>
            </a:srgbClr>
          </a:solidFill>
        </p:spPr>
        <p:txBody>
          <a:bodyPr/>
          <a:lstStyle/>
          <a:p>
            <a:endParaRPr lang="en-US"/>
          </a:p>
        </p:txBody>
      </p:sp>
      <p:sp useBgFill="1">
        <p:nvSpPr>
          <p:cNvPr id="2" name="Rechteck 1">
            <a:extLst>
              <a:ext uri="{FF2B5EF4-FFF2-40B4-BE49-F238E27FC236}">
                <a16:creationId xmlns:a16="http://schemas.microsoft.com/office/drawing/2014/main" id="{2799F29C-9D15-4A15-BB6F-AE9C7008318E}"/>
              </a:ext>
            </a:extLst>
          </p:cNvPr>
          <p:cNvSpPr/>
          <p:nvPr userDrawn="1"/>
        </p:nvSpPr>
        <p:spPr>
          <a:xfrm>
            <a:off x="0" y="0"/>
            <a:ext cx="530542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18A646B-7F1D-4F59-B979-BB61F268DE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8730" t="45459" r="39261" b="44221"/>
          <a:stretch/>
        </p:blipFill>
        <p:spPr>
          <a:xfrm>
            <a:off x="324855" y="320840"/>
            <a:ext cx="1660358" cy="60158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FB11906-1DAF-4170-A0EF-97076717D8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772063"/>
            <a:ext cx="5926138" cy="1666588"/>
          </a:xfrm>
        </p:spPr>
        <p:txBody>
          <a:bodyPr lIns="0" tIns="0" rIns="0" bIns="0"/>
          <a:lstStyle>
            <a:lvl1pPr>
              <a:defRPr lang="en-US" sz="4800" b="1" i="0" kern="1200" dirty="0">
                <a:solidFill>
                  <a:schemeClr val="bg1"/>
                </a:solidFill>
                <a:latin typeface="Graphik Semibold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1236060-1542-437D-89E2-75A932636C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1480" y="2388787"/>
            <a:ext cx="4410075" cy="287338"/>
          </a:xfrm>
        </p:spPr>
        <p:txBody>
          <a:bodyPr lIns="0" tIns="0" rIns="0" bIns="0"/>
          <a:lstStyle>
            <a:lvl1pPr>
              <a:defRPr lang="en-US" sz="2000" i="1" kern="1200" dirty="0" smtClean="0">
                <a:solidFill>
                  <a:schemeClr val="bg1"/>
                </a:solidFill>
                <a:latin typeface="Graphik Semibold"/>
                <a:ea typeface="+mn-ea"/>
                <a:cs typeface="+mn-cs"/>
              </a:defRPr>
            </a:lvl1pPr>
            <a:lvl2pPr>
              <a:defRPr lang="en-US" sz="2000" i="1" kern="1200" dirty="0" smtClean="0">
                <a:solidFill>
                  <a:schemeClr val="bg1"/>
                </a:solidFill>
                <a:latin typeface="Graphik Semibold"/>
                <a:ea typeface="+mn-ea"/>
                <a:cs typeface="+mn-cs"/>
              </a:defRPr>
            </a:lvl2pPr>
            <a:lvl3pPr>
              <a:defRPr lang="en-US" sz="2000" i="1" kern="1200" dirty="0" smtClean="0">
                <a:solidFill>
                  <a:schemeClr val="bg1"/>
                </a:solidFill>
                <a:latin typeface="Graphik Semibold"/>
                <a:ea typeface="+mn-ea"/>
                <a:cs typeface="+mn-cs"/>
              </a:defRPr>
            </a:lvl3pPr>
            <a:lvl4pPr>
              <a:defRPr lang="en-US" sz="2000" i="1" kern="1200" dirty="0" smtClean="0">
                <a:solidFill>
                  <a:schemeClr val="bg1"/>
                </a:solidFill>
                <a:latin typeface="Graphik Semibold"/>
                <a:ea typeface="+mn-ea"/>
                <a:cs typeface="+mn-cs"/>
              </a:defRPr>
            </a:lvl4pPr>
            <a:lvl5pPr>
              <a:defRPr lang="en-US" sz="2000" i="1" kern="1200" dirty="0">
                <a:solidFill>
                  <a:schemeClr val="bg1"/>
                </a:solidFill>
                <a:latin typeface="Graphik Semibold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C5B15A6-A1E7-4067-9E36-4EFEC4BB70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480" y="5371326"/>
            <a:ext cx="4410075" cy="553998"/>
          </a:xfrm>
        </p:spPr>
        <p:txBody>
          <a:bodyPr/>
          <a:lstStyle>
            <a:lvl1pPr marL="0" algn="l" defTabSz="914400" rtl="0" eaLnBrk="1" latinLnBrk="0" hangingPunct="1">
              <a:defRPr lang="en-US" sz="1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2000" i="1" kern="1200" dirty="0" smtClean="0">
                <a:solidFill>
                  <a:schemeClr val="bg1"/>
                </a:solidFill>
                <a:latin typeface="Graphik Semibold"/>
                <a:ea typeface="+mn-ea"/>
                <a:cs typeface="+mn-cs"/>
              </a:defRPr>
            </a:lvl2pPr>
            <a:lvl3pPr>
              <a:defRPr lang="en-US" sz="2000" i="1" kern="1200" dirty="0" smtClean="0">
                <a:solidFill>
                  <a:schemeClr val="bg1"/>
                </a:solidFill>
                <a:latin typeface="Graphik Semibold"/>
                <a:ea typeface="+mn-ea"/>
                <a:cs typeface="+mn-cs"/>
              </a:defRPr>
            </a:lvl3pPr>
            <a:lvl4pPr>
              <a:defRPr lang="en-US" sz="2000" i="1" kern="1200" dirty="0" smtClean="0">
                <a:solidFill>
                  <a:schemeClr val="bg1"/>
                </a:solidFill>
                <a:latin typeface="Graphik Semibold"/>
                <a:ea typeface="+mn-ea"/>
                <a:cs typeface="+mn-cs"/>
              </a:defRPr>
            </a:lvl4pPr>
            <a:lvl5pPr>
              <a:defRPr lang="en-US" sz="2000" i="1" kern="1200" dirty="0">
                <a:solidFill>
                  <a:schemeClr val="bg1"/>
                </a:solidFill>
                <a:latin typeface="Graphik Semibold"/>
                <a:ea typeface="+mn-ea"/>
                <a:cs typeface="+mn-cs"/>
              </a:defRPr>
            </a:lvl5pPr>
          </a:lstStyle>
          <a:p>
            <a:r>
              <a:rPr lang="en-US">
                <a:solidFill>
                  <a:schemeClr val="bg1"/>
                </a:solidFill>
              </a:rPr>
              <a:t>Presenter(s)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A391B8B2-B6D8-4264-A5CC-85E4BC7CA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6067025"/>
            <a:ext cx="4410075" cy="284288"/>
          </a:xfrm>
        </p:spPr>
        <p:txBody>
          <a:bodyPr lIns="0" tIns="0" rIns="0" bIns="0"/>
          <a:lstStyle>
            <a:lvl1pPr marL="0" algn="l" defTabSz="914400" rtl="0" eaLnBrk="1" latinLnBrk="0" hangingPunct="1"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2000" i="1" kern="1200" dirty="0" smtClean="0">
                <a:solidFill>
                  <a:schemeClr val="bg1"/>
                </a:solidFill>
                <a:latin typeface="Graphik Semibold"/>
                <a:ea typeface="+mn-ea"/>
                <a:cs typeface="+mn-cs"/>
              </a:defRPr>
            </a:lvl2pPr>
            <a:lvl3pPr>
              <a:defRPr lang="en-US" sz="2000" i="1" kern="1200" dirty="0" smtClean="0">
                <a:solidFill>
                  <a:schemeClr val="bg1"/>
                </a:solidFill>
                <a:latin typeface="Graphik Semibold"/>
                <a:ea typeface="+mn-ea"/>
                <a:cs typeface="+mn-cs"/>
              </a:defRPr>
            </a:lvl3pPr>
            <a:lvl4pPr>
              <a:defRPr lang="en-US" sz="2000" i="1" kern="1200" dirty="0" smtClean="0">
                <a:solidFill>
                  <a:schemeClr val="bg1"/>
                </a:solidFill>
                <a:latin typeface="Graphik Semibold"/>
                <a:ea typeface="+mn-ea"/>
                <a:cs typeface="+mn-cs"/>
              </a:defRPr>
            </a:lvl4pPr>
            <a:lvl5pPr>
              <a:defRPr lang="en-US" sz="2000" i="1" kern="1200" dirty="0">
                <a:solidFill>
                  <a:schemeClr val="bg1"/>
                </a:solidFill>
                <a:latin typeface="Graphik Semibold"/>
                <a:ea typeface="+mn-ea"/>
                <a:cs typeface="+mn-cs"/>
              </a:defRPr>
            </a:lvl5pPr>
          </a:lstStyle>
          <a:p>
            <a:r>
              <a:rPr lang="en-US">
                <a:solidFill>
                  <a:schemeClr val="bg1"/>
                </a:solidFill>
              </a:rPr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60607432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" name="Rechteck 1">
            <a:extLst>
              <a:ext uri="{FF2B5EF4-FFF2-40B4-BE49-F238E27FC236}">
                <a16:creationId xmlns:a16="http://schemas.microsoft.com/office/drawing/2014/main" id="{A903AD74-EF7E-4660-BD17-A13771AEC2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/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45BEF3C-2FAB-4453-A444-08C1C0C6A7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8519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01" imgH="501" progId="TCLayout.ActiveDocument.1">
                  <p:embed/>
                </p:oleObj>
              </mc:Choice>
              <mc:Fallback>
                <p:oleObj name="think-cell Folie" r:id="rId3" imgW="501" imgH="50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45BEF3C-2FAB-4453-A444-08C1C0C6A7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7925028-D825-44BA-A2D5-13DFDD93F15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05425" y="0"/>
            <a:ext cx="6886575" cy="6858000"/>
          </a:xfr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sp useBgFill="1">
        <p:nvSpPr>
          <p:cNvPr id="2" name="Rechteck 1">
            <a:extLst>
              <a:ext uri="{FF2B5EF4-FFF2-40B4-BE49-F238E27FC236}">
                <a16:creationId xmlns:a16="http://schemas.microsoft.com/office/drawing/2014/main" id="{2799F29C-9D15-4A15-BB6F-AE9C7008318E}"/>
              </a:ext>
            </a:extLst>
          </p:cNvPr>
          <p:cNvSpPr/>
          <p:nvPr userDrawn="1"/>
        </p:nvSpPr>
        <p:spPr>
          <a:xfrm>
            <a:off x="0" y="0"/>
            <a:ext cx="530542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18A646B-7F1D-4F59-B979-BB61F268DE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8730" t="45459" r="39261" b="44221"/>
          <a:stretch/>
        </p:blipFill>
        <p:spPr>
          <a:xfrm>
            <a:off x="324855" y="320840"/>
            <a:ext cx="1660358" cy="601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54969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45BEF3C-2FAB-4453-A444-08C1C0C6A7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8519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01" imgH="501" progId="TCLayout.ActiveDocument.1">
                  <p:embed/>
                </p:oleObj>
              </mc:Choice>
              <mc:Fallback>
                <p:oleObj name="think-cell Folie" r:id="rId3" imgW="501" imgH="50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45BEF3C-2FAB-4453-A444-08C1C0C6A7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" name="Rechteck 1">
            <a:extLst>
              <a:ext uri="{FF2B5EF4-FFF2-40B4-BE49-F238E27FC236}">
                <a16:creationId xmlns:a16="http://schemas.microsoft.com/office/drawing/2014/main" id="{2799F29C-9D15-4A15-BB6F-AE9C7008318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F5AD0DD-D256-499B-8EBB-CD94AE1FDB7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2480" y="1641797"/>
            <a:ext cx="3630187" cy="3192462"/>
          </a:xfrm>
        </p:spPr>
        <p:txBody>
          <a:bodyPr/>
          <a:lstStyle>
            <a:lvl1pPr algn="ctr">
              <a:defRPr sz="1990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AC4340F-733D-4087-9914-3D5CB379EB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9722" y="2830902"/>
            <a:ext cx="5180162" cy="814252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de-DE"/>
              <a:t>Add Section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40119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scriptor + A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B6B9DDA-9017-4266-B071-72BFF4F2DD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1699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01" imgH="501" progId="TCLayout.ActiveDocument.1">
                  <p:embed/>
                </p:oleObj>
              </mc:Choice>
              <mc:Fallback>
                <p:oleObj name="think-cell Folie" r:id="rId3" imgW="501" imgH="50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B6B9DDA-9017-4266-B071-72BFF4F2DD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9DC0B51-2B63-4616-9F2B-67B095427E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245776"/>
            <a:ext cx="5774741" cy="169277"/>
          </a:xfrm>
        </p:spPr>
        <p:txBody>
          <a:bodyPr wrap="square">
            <a:spAutoFit/>
          </a:bodyPr>
          <a:lstStyle>
            <a:lvl1pPr>
              <a:defRPr lang="en-US" sz="1100" b="0" i="0" kern="0" cap="all" spc="0" baseline="0" dirty="0">
                <a:solidFill>
                  <a:schemeClr val="tx1"/>
                </a:solidFill>
                <a:latin typeface="Graphik Light" panose="020B040303020206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imple Description of slid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C82B452-9094-4D11-B841-4942F82C2C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430758"/>
            <a:ext cx="11430000" cy="765994"/>
          </a:xfrm>
        </p:spPr>
        <p:txBody>
          <a:bodyPr vert="horz" tIns="36000"/>
          <a:lstStyle>
            <a:lvl1pPr>
              <a:defRPr/>
            </a:lvl1pPr>
          </a:lstStyle>
          <a:p>
            <a:r>
              <a:rPr lang="en-US"/>
              <a:t>Action title/Statement on Implications of information below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89C0A68-C501-46B2-B4F8-35A1CA6AF4E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1288870"/>
            <a:ext cx="11439525" cy="33337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  <a:lvl2pPr>
              <a:defRPr sz="1600">
                <a:solidFill>
                  <a:schemeClr val="tx1"/>
                </a:solidFill>
                <a:latin typeface="+mj-lt"/>
              </a:defRPr>
            </a:lvl2pPr>
            <a:lvl3pPr>
              <a:defRPr sz="1600">
                <a:solidFill>
                  <a:schemeClr val="tx1"/>
                </a:solidFill>
                <a:latin typeface="+mj-lt"/>
              </a:defRPr>
            </a:lvl3pPr>
            <a:lvl4pPr>
              <a:defRPr sz="1600">
                <a:solidFill>
                  <a:schemeClr val="tx1"/>
                </a:solidFill>
                <a:latin typeface="+mj-lt"/>
              </a:defRPr>
            </a:lvl4pPr>
            <a:lvl5pPr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/>
              <a:t>Insert header text</a:t>
            </a:r>
          </a:p>
        </p:txBody>
      </p:sp>
    </p:spTree>
    <p:extLst>
      <p:ext uri="{BB962C8B-B14F-4D97-AF65-F5344CB8AC3E}">
        <p14:creationId xmlns:p14="http://schemas.microsoft.com/office/powerpoint/2010/main" val="2334049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5ACBF0"/>
          </p15:clr>
        </p15:guide>
        <p15:guide id="2" orient="horz" pos="935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scriptor + A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" name="Rechteck 5">
            <a:extLst>
              <a:ext uri="{FF2B5EF4-FFF2-40B4-BE49-F238E27FC236}">
                <a16:creationId xmlns:a16="http://schemas.microsoft.com/office/drawing/2014/main" id="{0E6FEF0E-3829-4A00-A502-98228EDAA443}"/>
              </a:ext>
            </a:extLst>
          </p:cNvPr>
          <p:cNvSpPr/>
          <p:nvPr userDrawn="1"/>
        </p:nvSpPr>
        <p:spPr>
          <a:xfrm>
            <a:off x="8698891" y="81000"/>
            <a:ext cx="3413559" cy="669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4466B90-39C9-4A08-A10D-1DC9EC8A03EB}"/>
              </a:ext>
            </a:extLst>
          </p:cNvPr>
          <p:cNvSpPr/>
          <p:nvPr userDrawn="1"/>
        </p:nvSpPr>
        <p:spPr>
          <a:xfrm>
            <a:off x="8698891" y="81000"/>
            <a:ext cx="3413559" cy="6696000"/>
          </a:xfrm>
          <a:prstGeom prst="rect">
            <a:avLst/>
          </a:prstGeom>
          <a:solidFill>
            <a:schemeClr val="bg1">
              <a:alpha val="6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B6B9DDA-9017-4266-B071-72BFF4F2DD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1699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01" imgH="501" progId="TCLayout.ActiveDocument.1">
                  <p:embed/>
                </p:oleObj>
              </mc:Choice>
              <mc:Fallback>
                <p:oleObj name="think-cell Folie" r:id="rId3" imgW="501" imgH="50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B6B9DDA-9017-4266-B071-72BFF4F2DD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9DC0B51-2B63-4616-9F2B-67B095427E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245776"/>
            <a:ext cx="5774741" cy="169277"/>
          </a:xfrm>
        </p:spPr>
        <p:txBody>
          <a:bodyPr wrap="square">
            <a:spAutoFit/>
          </a:bodyPr>
          <a:lstStyle>
            <a:lvl1pPr>
              <a:defRPr lang="en-US" sz="1100" b="0" i="0" kern="0" cap="all" spc="0" baseline="0" dirty="0">
                <a:solidFill>
                  <a:schemeClr val="tx1"/>
                </a:solidFill>
                <a:latin typeface="Graphik Light" panose="020B040303020206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imple Description of slid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C82B452-9094-4D11-B841-4942F82C2C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430758"/>
            <a:ext cx="8020050" cy="765994"/>
          </a:xfrm>
        </p:spPr>
        <p:txBody>
          <a:bodyPr vert="horz" tIns="36000"/>
          <a:lstStyle>
            <a:lvl1pPr>
              <a:defRPr/>
            </a:lvl1pPr>
          </a:lstStyle>
          <a:p>
            <a:r>
              <a:rPr lang="en-US"/>
              <a:t>Action title/Statement on Implications of information below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E9E7F8AE-6B26-49E8-B254-1A868F28CC8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1288870"/>
            <a:ext cx="8020050" cy="33337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  <a:lvl2pPr>
              <a:defRPr sz="1600">
                <a:solidFill>
                  <a:schemeClr val="tx1"/>
                </a:solidFill>
                <a:latin typeface="+mj-lt"/>
              </a:defRPr>
            </a:lvl2pPr>
            <a:lvl3pPr>
              <a:defRPr sz="1600">
                <a:solidFill>
                  <a:schemeClr val="tx1"/>
                </a:solidFill>
                <a:latin typeface="+mj-lt"/>
              </a:defRPr>
            </a:lvl3pPr>
            <a:lvl4pPr>
              <a:defRPr sz="1600">
                <a:solidFill>
                  <a:schemeClr val="tx1"/>
                </a:solidFill>
                <a:latin typeface="+mj-lt"/>
              </a:defRPr>
            </a:lvl4pPr>
            <a:lvl5pPr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/>
              <a:t>Insert header text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558744C-8655-4CF8-ABA8-0520015838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21947" y="1288870"/>
            <a:ext cx="2998578" cy="5056368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  <a:lvl2pPr>
              <a:defRPr sz="1200">
                <a:solidFill>
                  <a:schemeClr val="tx1"/>
                </a:solidFill>
                <a:latin typeface="Graphik Light" panose="020B0403030202060203" pitchFamily="34" charset="0"/>
              </a:defRPr>
            </a:lvl2pPr>
            <a:lvl3pPr>
              <a:defRPr sz="1200">
                <a:solidFill>
                  <a:schemeClr val="tx1"/>
                </a:solidFill>
                <a:latin typeface="Graphik Light" panose="020B0403030202060203" pitchFamily="34" charset="0"/>
              </a:defRPr>
            </a:lvl3pPr>
            <a:lvl4pPr>
              <a:defRPr sz="1200">
                <a:solidFill>
                  <a:schemeClr val="tx1"/>
                </a:solidFill>
                <a:latin typeface="Graphik Light" panose="020B0403030202060203" pitchFamily="34" charset="0"/>
              </a:defRPr>
            </a:lvl4pPr>
            <a:lvl5pPr>
              <a:defRPr sz="1200">
                <a:solidFill>
                  <a:schemeClr val="tx1"/>
                </a:solidFill>
                <a:latin typeface="Graphik Light" panose="020B040303020206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  <a:p>
            <a:pPr lvl="0"/>
            <a:endParaRPr lang="de-DE"/>
          </a:p>
        </p:txBody>
      </p:sp>
      <p:sp>
        <p:nvSpPr>
          <p:cNvPr id="13" name="TextBox 25">
            <a:extLst>
              <a:ext uri="{FF2B5EF4-FFF2-40B4-BE49-F238E27FC236}">
                <a16:creationId xmlns:a16="http://schemas.microsoft.com/office/drawing/2014/main" id="{171BEE9D-4A01-447B-8C14-5329EAFB9A9A}"/>
              </a:ext>
            </a:extLst>
          </p:cNvPr>
          <p:cNvSpPr txBox="1"/>
          <p:nvPr userDrawn="1"/>
        </p:nvSpPr>
        <p:spPr>
          <a:xfrm>
            <a:off x="11430000" y="6443459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US" sz="800" smtClean="0">
                <a:solidFill>
                  <a:schemeClr val="bg1"/>
                </a:solidFill>
              </a:rPr>
              <a:t>‹#›</a:t>
            </a:fld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5DA70970-2F85-49D0-BC18-17AB8088F8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39667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bg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s-CO" smtClean="0"/>
              <a:pPr algn="r" defTabSz="228600">
                <a:spcAft>
                  <a:spcPts val="1200"/>
                </a:spcAft>
              </a:pPr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44124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5ACBF0"/>
          </p15:clr>
        </p15:guide>
        <p15:guide id="2" orient="horz" pos="935">
          <p15:clr>
            <a:srgbClr val="FBAE40"/>
          </p15:clr>
        </p15:guide>
        <p15:guide id="3" pos="52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grpSp>
        <p:nvGrpSpPr>
          <p:cNvPr id="12" name="Logo_BL" descr="Accenture logo in black and purple">
            <a:extLst>
              <a:ext uri="{FF2B5EF4-FFF2-40B4-BE49-F238E27FC236}">
                <a16:creationId xmlns:a16="http://schemas.microsoft.com/office/drawing/2014/main" id="{9F19D48A-46F6-4BAE-97F3-DFACD8E22BA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2636" y="382725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848F740B-2A73-4970-A31A-4A0E685E66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4A90C93-9B70-4203-9499-12D2A090A80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7" name="Acc_StratConst_Logo_WH" descr="Accenture Strategy &amp; Consulting wordmark in black">
            <a:extLst>
              <a:ext uri="{FF2B5EF4-FFF2-40B4-BE49-F238E27FC236}">
                <a16:creationId xmlns:a16="http://schemas.microsoft.com/office/drawing/2014/main" id="{ED1D51DA-E924-4D44-B3EA-586DA653E32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81001" y="6096690"/>
            <a:ext cx="4325112" cy="275032"/>
          </a:xfrm>
          <a:custGeom>
            <a:avLst/>
            <a:gdLst>
              <a:gd name="T0" fmla="*/ 6060 w 6092"/>
              <a:gd name="T1" fmla="*/ 201 h 386"/>
              <a:gd name="T2" fmla="*/ 5893 w 6092"/>
              <a:gd name="T3" fmla="*/ 203 h 386"/>
              <a:gd name="T4" fmla="*/ 5992 w 6092"/>
              <a:gd name="T5" fmla="*/ 386 h 386"/>
              <a:gd name="T6" fmla="*/ 5843 w 6092"/>
              <a:gd name="T7" fmla="*/ 309 h 386"/>
              <a:gd name="T8" fmla="*/ 5669 w 6092"/>
              <a:gd name="T9" fmla="*/ 100 h 386"/>
              <a:gd name="T10" fmla="*/ 5584 w 6092"/>
              <a:gd name="T11" fmla="*/ 12 h 386"/>
              <a:gd name="T12" fmla="*/ 5402 w 6092"/>
              <a:gd name="T13" fmla="*/ 100 h 386"/>
              <a:gd name="T14" fmla="*/ 5466 w 6092"/>
              <a:gd name="T15" fmla="*/ 128 h 386"/>
              <a:gd name="T16" fmla="*/ 5324 w 6092"/>
              <a:gd name="T17" fmla="*/ 0 h 386"/>
              <a:gd name="T18" fmla="*/ 5116 w 6092"/>
              <a:gd name="T19" fmla="*/ 100 h 386"/>
              <a:gd name="T20" fmla="*/ 5222 w 6092"/>
              <a:gd name="T21" fmla="*/ 309 h 386"/>
              <a:gd name="T22" fmla="*/ 5003 w 6092"/>
              <a:gd name="T23" fmla="*/ 252 h 386"/>
              <a:gd name="T24" fmla="*/ 4912 w 6092"/>
              <a:gd name="T25" fmla="*/ 154 h 386"/>
              <a:gd name="T26" fmla="*/ 4687 w 6092"/>
              <a:gd name="T27" fmla="*/ 133 h 386"/>
              <a:gd name="T28" fmla="*/ 4687 w 6092"/>
              <a:gd name="T29" fmla="*/ 182 h 386"/>
              <a:gd name="T30" fmla="*/ 4431 w 6092"/>
              <a:gd name="T31" fmla="*/ 203 h 386"/>
              <a:gd name="T32" fmla="*/ 4602 w 6092"/>
              <a:gd name="T33" fmla="*/ 203 h 386"/>
              <a:gd name="T34" fmla="*/ 4359 w 6092"/>
              <a:gd name="T35" fmla="*/ 112 h 386"/>
              <a:gd name="T36" fmla="*/ 4362 w 6092"/>
              <a:gd name="T37" fmla="*/ 214 h 386"/>
              <a:gd name="T38" fmla="*/ 3860 w 6092"/>
              <a:gd name="T39" fmla="*/ 136 h 386"/>
              <a:gd name="T40" fmla="*/ 4001 w 6092"/>
              <a:gd name="T41" fmla="*/ 309 h 386"/>
              <a:gd name="T42" fmla="*/ 3873 w 6092"/>
              <a:gd name="T43" fmla="*/ 22 h 386"/>
              <a:gd name="T44" fmla="*/ 3553 w 6092"/>
              <a:gd name="T45" fmla="*/ 288 h 386"/>
              <a:gd name="T46" fmla="*/ 3513 w 6092"/>
              <a:gd name="T47" fmla="*/ 382 h 386"/>
              <a:gd name="T48" fmla="*/ 3327 w 6092"/>
              <a:gd name="T49" fmla="*/ 275 h 386"/>
              <a:gd name="T50" fmla="*/ 3323 w 6092"/>
              <a:gd name="T51" fmla="*/ 302 h 386"/>
              <a:gd name="T52" fmla="*/ 3427 w 6092"/>
              <a:gd name="T53" fmla="*/ 295 h 386"/>
              <a:gd name="T54" fmla="*/ 3001 w 6092"/>
              <a:gd name="T55" fmla="*/ 207 h 386"/>
              <a:gd name="T56" fmla="*/ 3158 w 6092"/>
              <a:gd name="T57" fmla="*/ 249 h 386"/>
              <a:gd name="T58" fmla="*/ 2852 w 6092"/>
              <a:gd name="T59" fmla="*/ 100 h 386"/>
              <a:gd name="T60" fmla="*/ 2915 w 6092"/>
              <a:gd name="T61" fmla="*/ 128 h 386"/>
              <a:gd name="T62" fmla="*/ 2776 w 6092"/>
              <a:gd name="T63" fmla="*/ 236 h 386"/>
              <a:gd name="T64" fmla="*/ 2746 w 6092"/>
              <a:gd name="T65" fmla="*/ 186 h 386"/>
              <a:gd name="T66" fmla="*/ 2809 w 6092"/>
              <a:gd name="T67" fmla="*/ 171 h 386"/>
              <a:gd name="T68" fmla="*/ 2543 w 6092"/>
              <a:gd name="T69" fmla="*/ 100 h 386"/>
              <a:gd name="T70" fmla="*/ 2510 w 6092"/>
              <a:gd name="T71" fmla="*/ 100 h 386"/>
              <a:gd name="T72" fmla="*/ 2408 w 6092"/>
              <a:gd name="T73" fmla="*/ 52 h 386"/>
              <a:gd name="T74" fmla="*/ 2460 w 6092"/>
              <a:gd name="T75" fmla="*/ 280 h 386"/>
              <a:gd name="T76" fmla="*/ 2277 w 6092"/>
              <a:gd name="T77" fmla="*/ 231 h 386"/>
              <a:gd name="T78" fmla="*/ 2145 w 6092"/>
              <a:gd name="T79" fmla="*/ 94 h 386"/>
              <a:gd name="T80" fmla="*/ 1844 w 6092"/>
              <a:gd name="T81" fmla="*/ 182 h 386"/>
              <a:gd name="T82" fmla="*/ 1844 w 6092"/>
              <a:gd name="T83" fmla="*/ 218 h 386"/>
              <a:gd name="T84" fmla="*/ 1696 w 6092"/>
              <a:gd name="T85" fmla="*/ 100 h 386"/>
              <a:gd name="T86" fmla="*/ 1638 w 6092"/>
              <a:gd name="T87" fmla="*/ 100 h 386"/>
              <a:gd name="T88" fmla="*/ 1529 w 6092"/>
              <a:gd name="T89" fmla="*/ 100 h 386"/>
              <a:gd name="T90" fmla="*/ 1251 w 6092"/>
              <a:gd name="T91" fmla="*/ 247 h 386"/>
              <a:gd name="T92" fmla="*/ 1309 w 6092"/>
              <a:gd name="T93" fmla="*/ 100 h 386"/>
              <a:gd name="T94" fmla="*/ 1354 w 6092"/>
              <a:gd name="T95" fmla="*/ 308 h 386"/>
              <a:gd name="T96" fmla="*/ 1193 w 6092"/>
              <a:gd name="T97" fmla="*/ 176 h 386"/>
              <a:gd name="T98" fmla="*/ 996 w 6092"/>
              <a:gd name="T99" fmla="*/ 309 h 386"/>
              <a:gd name="T100" fmla="*/ 749 w 6092"/>
              <a:gd name="T101" fmla="*/ 204 h 386"/>
              <a:gd name="T102" fmla="*/ 958 w 6092"/>
              <a:gd name="T103" fmla="*/ 243 h 386"/>
              <a:gd name="T104" fmla="*/ 669 w 6092"/>
              <a:gd name="T105" fmla="*/ 176 h 386"/>
              <a:gd name="T106" fmla="*/ 625 w 6092"/>
              <a:gd name="T107" fmla="*/ 314 h 386"/>
              <a:gd name="T108" fmla="*/ 396 w 6092"/>
              <a:gd name="T109" fmla="*/ 141 h 386"/>
              <a:gd name="T110" fmla="*/ 286 w 6092"/>
              <a:gd name="T111" fmla="*/ 207 h 386"/>
              <a:gd name="T112" fmla="*/ 271 w 6092"/>
              <a:gd name="T113" fmla="*/ 309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092" h="386">
                <a:moveTo>
                  <a:pt x="6060" y="201"/>
                </a:moveTo>
                <a:lnTo>
                  <a:pt x="6060" y="198"/>
                </a:lnTo>
                <a:cubicBezTo>
                  <a:pt x="6060" y="151"/>
                  <a:pt x="6034" y="124"/>
                  <a:pt x="5994" y="124"/>
                </a:cubicBezTo>
                <a:cubicBezTo>
                  <a:pt x="5952" y="124"/>
                  <a:pt x="5927" y="155"/>
                  <a:pt x="5927" y="199"/>
                </a:cubicBezTo>
                <a:lnTo>
                  <a:pt x="5927" y="202"/>
                </a:lnTo>
                <a:cubicBezTo>
                  <a:pt x="5927" y="248"/>
                  <a:pt x="5956" y="275"/>
                  <a:pt x="5992" y="275"/>
                </a:cubicBezTo>
                <a:cubicBezTo>
                  <a:pt x="6030" y="275"/>
                  <a:pt x="6060" y="248"/>
                  <a:pt x="6060" y="201"/>
                </a:cubicBezTo>
                <a:close/>
                <a:moveTo>
                  <a:pt x="5897" y="321"/>
                </a:moveTo>
                <a:lnTo>
                  <a:pt x="5931" y="321"/>
                </a:lnTo>
                <a:cubicBezTo>
                  <a:pt x="5936" y="345"/>
                  <a:pt x="5956" y="358"/>
                  <a:pt x="5992" y="358"/>
                </a:cubicBezTo>
                <a:cubicBezTo>
                  <a:pt x="6033" y="358"/>
                  <a:pt x="6059" y="338"/>
                  <a:pt x="6059" y="293"/>
                </a:cubicBezTo>
                <a:lnTo>
                  <a:pt x="6059" y="263"/>
                </a:lnTo>
                <a:cubicBezTo>
                  <a:pt x="6047" y="283"/>
                  <a:pt x="6018" y="302"/>
                  <a:pt x="5988" y="302"/>
                </a:cubicBezTo>
                <a:cubicBezTo>
                  <a:pt x="5933" y="302"/>
                  <a:pt x="5893" y="261"/>
                  <a:pt x="5893" y="203"/>
                </a:cubicBezTo>
                <a:lnTo>
                  <a:pt x="5893" y="200"/>
                </a:lnTo>
                <a:cubicBezTo>
                  <a:pt x="5893" y="144"/>
                  <a:pt x="5933" y="96"/>
                  <a:pt x="5990" y="96"/>
                </a:cubicBezTo>
                <a:cubicBezTo>
                  <a:pt x="6025" y="96"/>
                  <a:pt x="6047" y="113"/>
                  <a:pt x="6059" y="134"/>
                </a:cubicBezTo>
                <a:lnTo>
                  <a:pt x="6059" y="100"/>
                </a:lnTo>
                <a:lnTo>
                  <a:pt x="6092" y="100"/>
                </a:lnTo>
                <a:lnTo>
                  <a:pt x="6092" y="295"/>
                </a:lnTo>
                <a:cubicBezTo>
                  <a:pt x="6092" y="356"/>
                  <a:pt x="6050" y="386"/>
                  <a:pt x="5992" y="386"/>
                </a:cubicBezTo>
                <a:cubicBezTo>
                  <a:pt x="5930" y="386"/>
                  <a:pt x="5903" y="356"/>
                  <a:pt x="5897" y="321"/>
                </a:cubicBezTo>
                <a:close/>
                <a:moveTo>
                  <a:pt x="5669" y="100"/>
                </a:moveTo>
                <a:lnTo>
                  <a:pt x="5702" y="100"/>
                </a:lnTo>
                <a:lnTo>
                  <a:pt x="5702" y="133"/>
                </a:lnTo>
                <a:cubicBezTo>
                  <a:pt x="5712" y="114"/>
                  <a:pt x="5735" y="96"/>
                  <a:pt x="5770" y="96"/>
                </a:cubicBezTo>
                <a:cubicBezTo>
                  <a:pt x="5813" y="96"/>
                  <a:pt x="5843" y="120"/>
                  <a:pt x="5843" y="181"/>
                </a:cubicBezTo>
                <a:lnTo>
                  <a:pt x="5843" y="309"/>
                </a:lnTo>
                <a:lnTo>
                  <a:pt x="5810" y="309"/>
                </a:lnTo>
                <a:lnTo>
                  <a:pt x="5810" y="178"/>
                </a:lnTo>
                <a:cubicBezTo>
                  <a:pt x="5810" y="142"/>
                  <a:pt x="5794" y="125"/>
                  <a:pt x="5761" y="125"/>
                </a:cubicBezTo>
                <a:cubicBezTo>
                  <a:pt x="5730" y="125"/>
                  <a:pt x="5702" y="145"/>
                  <a:pt x="5702" y="182"/>
                </a:cubicBezTo>
                <a:lnTo>
                  <a:pt x="5702" y="309"/>
                </a:lnTo>
                <a:lnTo>
                  <a:pt x="5669" y="309"/>
                </a:lnTo>
                <a:lnTo>
                  <a:pt x="5669" y="100"/>
                </a:lnTo>
                <a:close/>
                <a:moveTo>
                  <a:pt x="5568" y="100"/>
                </a:moveTo>
                <a:lnTo>
                  <a:pt x="5601" y="100"/>
                </a:lnTo>
                <a:lnTo>
                  <a:pt x="5601" y="309"/>
                </a:lnTo>
                <a:lnTo>
                  <a:pt x="5568" y="309"/>
                </a:lnTo>
                <a:lnTo>
                  <a:pt x="5568" y="100"/>
                </a:lnTo>
                <a:close/>
                <a:moveTo>
                  <a:pt x="5562" y="34"/>
                </a:moveTo>
                <a:cubicBezTo>
                  <a:pt x="5562" y="22"/>
                  <a:pt x="5572" y="12"/>
                  <a:pt x="5584" y="12"/>
                </a:cubicBezTo>
                <a:cubicBezTo>
                  <a:pt x="5596" y="12"/>
                  <a:pt x="5606" y="22"/>
                  <a:pt x="5606" y="34"/>
                </a:cubicBezTo>
                <a:cubicBezTo>
                  <a:pt x="5606" y="46"/>
                  <a:pt x="5596" y="56"/>
                  <a:pt x="5584" y="56"/>
                </a:cubicBezTo>
                <a:cubicBezTo>
                  <a:pt x="5572" y="56"/>
                  <a:pt x="5562" y="46"/>
                  <a:pt x="5562" y="34"/>
                </a:cubicBezTo>
                <a:close/>
                <a:moveTo>
                  <a:pt x="5432" y="257"/>
                </a:moveTo>
                <a:lnTo>
                  <a:pt x="5432" y="128"/>
                </a:lnTo>
                <a:lnTo>
                  <a:pt x="5402" y="128"/>
                </a:lnTo>
                <a:lnTo>
                  <a:pt x="5402" y="100"/>
                </a:lnTo>
                <a:lnTo>
                  <a:pt x="5432" y="100"/>
                </a:lnTo>
                <a:lnTo>
                  <a:pt x="5432" y="52"/>
                </a:lnTo>
                <a:lnTo>
                  <a:pt x="5466" y="52"/>
                </a:lnTo>
                <a:lnTo>
                  <a:pt x="5466" y="100"/>
                </a:lnTo>
                <a:lnTo>
                  <a:pt x="5514" y="100"/>
                </a:lnTo>
                <a:lnTo>
                  <a:pt x="5514" y="128"/>
                </a:lnTo>
                <a:lnTo>
                  <a:pt x="5466" y="128"/>
                </a:lnTo>
                <a:lnTo>
                  <a:pt x="5466" y="254"/>
                </a:lnTo>
                <a:cubicBezTo>
                  <a:pt x="5466" y="274"/>
                  <a:pt x="5475" y="284"/>
                  <a:pt x="5492" y="284"/>
                </a:cubicBezTo>
                <a:cubicBezTo>
                  <a:pt x="5502" y="284"/>
                  <a:pt x="5510" y="282"/>
                  <a:pt x="5517" y="280"/>
                </a:cubicBezTo>
                <a:lnTo>
                  <a:pt x="5517" y="308"/>
                </a:lnTo>
                <a:cubicBezTo>
                  <a:pt x="5510" y="310"/>
                  <a:pt x="5502" y="312"/>
                  <a:pt x="5489" y="312"/>
                </a:cubicBezTo>
                <a:cubicBezTo>
                  <a:pt x="5451" y="312"/>
                  <a:pt x="5432" y="290"/>
                  <a:pt x="5432" y="257"/>
                </a:cubicBezTo>
                <a:close/>
                <a:moveTo>
                  <a:pt x="5324" y="0"/>
                </a:moveTo>
                <a:lnTo>
                  <a:pt x="5357" y="0"/>
                </a:lnTo>
                <a:lnTo>
                  <a:pt x="5357" y="309"/>
                </a:lnTo>
                <a:lnTo>
                  <a:pt x="5324" y="309"/>
                </a:lnTo>
                <a:lnTo>
                  <a:pt x="5324" y="0"/>
                </a:lnTo>
                <a:close/>
                <a:moveTo>
                  <a:pt x="5083" y="232"/>
                </a:moveTo>
                <a:lnTo>
                  <a:pt x="5083" y="100"/>
                </a:lnTo>
                <a:lnTo>
                  <a:pt x="5116" y="100"/>
                </a:lnTo>
                <a:lnTo>
                  <a:pt x="5116" y="231"/>
                </a:lnTo>
                <a:cubicBezTo>
                  <a:pt x="5116" y="268"/>
                  <a:pt x="5132" y="284"/>
                  <a:pt x="5165" y="284"/>
                </a:cubicBezTo>
                <a:cubicBezTo>
                  <a:pt x="5194" y="284"/>
                  <a:pt x="5222" y="264"/>
                  <a:pt x="5222" y="227"/>
                </a:cubicBezTo>
                <a:lnTo>
                  <a:pt x="5222" y="100"/>
                </a:lnTo>
                <a:lnTo>
                  <a:pt x="5256" y="100"/>
                </a:lnTo>
                <a:lnTo>
                  <a:pt x="5256" y="309"/>
                </a:lnTo>
                <a:lnTo>
                  <a:pt x="5222" y="309"/>
                </a:lnTo>
                <a:lnTo>
                  <a:pt x="5222" y="276"/>
                </a:lnTo>
                <a:cubicBezTo>
                  <a:pt x="5213" y="296"/>
                  <a:pt x="5190" y="313"/>
                  <a:pt x="5156" y="313"/>
                </a:cubicBezTo>
                <a:cubicBezTo>
                  <a:pt x="5114" y="313"/>
                  <a:pt x="5083" y="290"/>
                  <a:pt x="5083" y="232"/>
                </a:cubicBezTo>
                <a:close/>
                <a:moveTo>
                  <a:pt x="4876" y="245"/>
                </a:moveTo>
                <a:lnTo>
                  <a:pt x="4908" y="245"/>
                </a:lnTo>
                <a:cubicBezTo>
                  <a:pt x="4911" y="270"/>
                  <a:pt x="4924" y="285"/>
                  <a:pt x="4958" y="285"/>
                </a:cubicBezTo>
                <a:cubicBezTo>
                  <a:pt x="4989" y="285"/>
                  <a:pt x="5003" y="274"/>
                  <a:pt x="5003" y="252"/>
                </a:cubicBezTo>
                <a:cubicBezTo>
                  <a:pt x="5003" y="230"/>
                  <a:pt x="4987" y="223"/>
                  <a:pt x="4954" y="217"/>
                </a:cubicBezTo>
                <a:cubicBezTo>
                  <a:pt x="4900" y="207"/>
                  <a:pt x="4882" y="192"/>
                  <a:pt x="4882" y="155"/>
                </a:cubicBezTo>
                <a:cubicBezTo>
                  <a:pt x="4882" y="116"/>
                  <a:pt x="4920" y="96"/>
                  <a:pt x="4952" y="96"/>
                </a:cubicBezTo>
                <a:cubicBezTo>
                  <a:pt x="4990" y="96"/>
                  <a:pt x="5022" y="112"/>
                  <a:pt x="5028" y="157"/>
                </a:cubicBezTo>
                <a:lnTo>
                  <a:pt x="4996" y="157"/>
                </a:lnTo>
                <a:cubicBezTo>
                  <a:pt x="4991" y="134"/>
                  <a:pt x="4978" y="124"/>
                  <a:pt x="4952" y="124"/>
                </a:cubicBezTo>
                <a:cubicBezTo>
                  <a:pt x="4928" y="124"/>
                  <a:pt x="4912" y="136"/>
                  <a:pt x="4912" y="154"/>
                </a:cubicBezTo>
                <a:cubicBezTo>
                  <a:pt x="4912" y="173"/>
                  <a:pt x="4923" y="180"/>
                  <a:pt x="4961" y="187"/>
                </a:cubicBezTo>
                <a:cubicBezTo>
                  <a:pt x="5004" y="195"/>
                  <a:pt x="5035" y="205"/>
                  <a:pt x="5035" y="249"/>
                </a:cubicBezTo>
                <a:cubicBezTo>
                  <a:pt x="5035" y="287"/>
                  <a:pt x="5009" y="313"/>
                  <a:pt x="4958" y="313"/>
                </a:cubicBezTo>
                <a:cubicBezTo>
                  <a:pt x="4908" y="313"/>
                  <a:pt x="4878" y="288"/>
                  <a:pt x="4876" y="245"/>
                </a:cubicBezTo>
                <a:moveTo>
                  <a:pt x="4654" y="100"/>
                </a:moveTo>
                <a:lnTo>
                  <a:pt x="4687" y="100"/>
                </a:lnTo>
                <a:lnTo>
                  <a:pt x="4687" y="133"/>
                </a:lnTo>
                <a:cubicBezTo>
                  <a:pt x="4697" y="114"/>
                  <a:pt x="4720" y="96"/>
                  <a:pt x="4754" y="96"/>
                </a:cubicBezTo>
                <a:cubicBezTo>
                  <a:pt x="4798" y="96"/>
                  <a:pt x="4828" y="120"/>
                  <a:pt x="4828" y="181"/>
                </a:cubicBezTo>
                <a:lnTo>
                  <a:pt x="4828" y="309"/>
                </a:lnTo>
                <a:lnTo>
                  <a:pt x="4795" y="309"/>
                </a:lnTo>
                <a:lnTo>
                  <a:pt x="4795" y="178"/>
                </a:lnTo>
                <a:cubicBezTo>
                  <a:pt x="4795" y="142"/>
                  <a:pt x="4779" y="125"/>
                  <a:pt x="4746" y="125"/>
                </a:cubicBezTo>
                <a:cubicBezTo>
                  <a:pt x="4715" y="125"/>
                  <a:pt x="4687" y="145"/>
                  <a:pt x="4687" y="182"/>
                </a:cubicBezTo>
                <a:lnTo>
                  <a:pt x="4687" y="309"/>
                </a:lnTo>
                <a:lnTo>
                  <a:pt x="4654" y="309"/>
                </a:lnTo>
                <a:lnTo>
                  <a:pt x="4654" y="100"/>
                </a:lnTo>
                <a:close/>
                <a:moveTo>
                  <a:pt x="4568" y="206"/>
                </a:moveTo>
                <a:lnTo>
                  <a:pt x="4568" y="204"/>
                </a:lnTo>
                <a:cubicBezTo>
                  <a:pt x="4568" y="155"/>
                  <a:pt x="4541" y="124"/>
                  <a:pt x="4500" y="124"/>
                </a:cubicBezTo>
                <a:cubicBezTo>
                  <a:pt x="4458" y="124"/>
                  <a:pt x="4431" y="155"/>
                  <a:pt x="4431" y="203"/>
                </a:cubicBezTo>
                <a:lnTo>
                  <a:pt x="4431" y="206"/>
                </a:lnTo>
                <a:cubicBezTo>
                  <a:pt x="4431" y="254"/>
                  <a:pt x="4457" y="285"/>
                  <a:pt x="4500" y="285"/>
                </a:cubicBezTo>
                <a:cubicBezTo>
                  <a:pt x="4542" y="285"/>
                  <a:pt x="4568" y="254"/>
                  <a:pt x="4568" y="206"/>
                </a:cubicBezTo>
                <a:close/>
                <a:moveTo>
                  <a:pt x="4397" y="206"/>
                </a:moveTo>
                <a:lnTo>
                  <a:pt x="4397" y="203"/>
                </a:lnTo>
                <a:cubicBezTo>
                  <a:pt x="4397" y="140"/>
                  <a:pt x="4440" y="96"/>
                  <a:pt x="4500" y="96"/>
                </a:cubicBezTo>
                <a:cubicBezTo>
                  <a:pt x="4559" y="96"/>
                  <a:pt x="4602" y="140"/>
                  <a:pt x="4602" y="203"/>
                </a:cubicBezTo>
                <a:lnTo>
                  <a:pt x="4602" y="206"/>
                </a:lnTo>
                <a:cubicBezTo>
                  <a:pt x="4602" y="269"/>
                  <a:pt x="4559" y="313"/>
                  <a:pt x="4499" y="313"/>
                </a:cubicBezTo>
                <a:cubicBezTo>
                  <a:pt x="4440" y="313"/>
                  <a:pt x="4397" y="268"/>
                  <a:pt x="4397" y="206"/>
                </a:cubicBezTo>
                <a:moveTo>
                  <a:pt x="4109" y="168"/>
                </a:moveTo>
                <a:lnTo>
                  <a:pt x="4109" y="165"/>
                </a:lnTo>
                <a:cubicBezTo>
                  <a:pt x="4109" y="80"/>
                  <a:pt x="4166" y="19"/>
                  <a:pt x="4243" y="19"/>
                </a:cubicBezTo>
                <a:cubicBezTo>
                  <a:pt x="4303" y="19"/>
                  <a:pt x="4353" y="50"/>
                  <a:pt x="4359" y="112"/>
                </a:cubicBezTo>
                <a:lnTo>
                  <a:pt x="4325" y="112"/>
                </a:lnTo>
                <a:cubicBezTo>
                  <a:pt x="4318" y="69"/>
                  <a:pt x="4292" y="46"/>
                  <a:pt x="4244" y="46"/>
                </a:cubicBezTo>
                <a:cubicBezTo>
                  <a:pt x="4184" y="46"/>
                  <a:pt x="4145" y="92"/>
                  <a:pt x="4145" y="164"/>
                </a:cubicBezTo>
                <a:lnTo>
                  <a:pt x="4145" y="168"/>
                </a:lnTo>
                <a:cubicBezTo>
                  <a:pt x="4145" y="240"/>
                  <a:pt x="4182" y="284"/>
                  <a:pt x="4243" y="284"/>
                </a:cubicBezTo>
                <a:cubicBezTo>
                  <a:pt x="4290" y="284"/>
                  <a:pt x="4322" y="261"/>
                  <a:pt x="4330" y="214"/>
                </a:cubicBezTo>
                <a:lnTo>
                  <a:pt x="4362" y="214"/>
                </a:lnTo>
                <a:cubicBezTo>
                  <a:pt x="4352" y="280"/>
                  <a:pt x="4306" y="313"/>
                  <a:pt x="4242" y="313"/>
                </a:cubicBezTo>
                <a:cubicBezTo>
                  <a:pt x="4160" y="313"/>
                  <a:pt x="4109" y="256"/>
                  <a:pt x="4109" y="168"/>
                </a:cubicBezTo>
                <a:moveTo>
                  <a:pt x="3860" y="136"/>
                </a:moveTo>
                <a:cubicBezTo>
                  <a:pt x="3892" y="122"/>
                  <a:pt x="3904" y="107"/>
                  <a:pt x="3904" y="80"/>
                </a:cubicBezTo>
                <a:cubicBezTo>
                  <a:pt x="3904" y="61"/>
                  <a:pt x="3891" y="48"/>
                  <a:pt x="3872" y="48"/>
                </a:cubicBezTo>
                <a:cubicBezTo>
                  <a:pt x="3852" y="48"/>
                  <a:pt x="3835" y="60"/>
                  <a:pt x="3835" y="88"/>
                </a:cubicBezTo>
                <a:cubicBezTo>
                  <a:pt x="3835" y="102"/>
                  <a:pt x="3844" y="116"/>
                  <a:pt x="3860" y="136"/>
                </a:cubicBezTo>
                <a:moveTo>
                  <a:pt x="3915" y="254"/>
                </a:moveTo>
                <a:lnTo>
                  <a:pt x="3844" y="167"/>
                </a:lnTo>
                <a:cubicBezTo>
                  <a:pt x="3816" y="180"/>
                  <a:pt x="3796" y="197"/>
                  <a:pt x="3796" y="230"/>
                </a:cubicBezTo>
                <a:cubicBezTo>
                  <a:pt x="3796" y="265"/>
                  <a:pt x="3818" y="285"/>
                  <a:pt x="3854" y="285"/>
                </a:cubicBezTo>
                <a:cubicBezTo>
                  <a:pt x="3877" y="285"/>
                  <a:pt x="3898" y="274"/>
                  <a:pt x="3915" y="254"/>
                </a:cubicBezTo>
                <a:close/>
                <a:moveTo>
                  <a:pt x="3953" y="251"/>
                </a:moveTo>
                <a:lnTo>
                  <a:pt x="4001" y="309"/>
                </a:lnTo>
                <a:lnTo>
                  <a:pt x="3961" y="309"/>
                </a:lnTo>
                <a:lnTo>
                  <a:pt x="3932" y="275"/>
                </a:lnTo>
                <a:cubicBezTo>
                  <a:pt x="3914" y="296"/>
                  <a:pt x="3889" y="312"/>
                  <a:pt x="3853" y="312"/>
                </a:cubicBezTo>
                <a:cubicBezTo>
                  <a:pt x="3801" y="312"/>
                  <a:pt x="3763" y="281"/>
                  <a:pt x="3763" y="234"/>
                </a:cubicBezTo>
                <a:cubicBezTo>
                  <a:pt x="3763" y="188"/>
                  <a:pt x="3792" y="166"/>
                  <a:pt x="3828" y="148"/>
                </a:cubicBezTo>
                <a:cubicBezTo>
                  <a:pt x="3812" y="126"/>
                  <a:pt x="3803" y="106"/>
                  <a:pt x="3803" y="87"/>
                </a:cubicBezTo>
                <a:cubicBezTo>
                  <a:pt x="3803" y="44"/>
                  <a:pt x="3837" y="22"/>
                  <a:pt x="3873" y="22"/>
                </a:cubicBezTo>
                <a:cubicBezTo>
                  <a:pt x="3908" y="22"/>
                  <a:pt x="3936" y="46"/>
                  <a:pt x="3936" y="80"/>
                </a:cubicBezTo>
                <a:cubicBezTo>
                  <a:pt x="3936" y="115"/>
                  <a:pt x="3911" y="139"/>
                  <a:pt x="3874" y="154"/>
                </a:cubicBezTo>
                <a:lnTo>
                  <a:pt x="3934" y="228"/>
                </a:lnTo>
                <a:lnTo>
                  <a:pt x="3969" y="162"/>
                </a:lnTo>
                <a:lnTo>
                  <a:pt x="4000" y="162"/>
                </a:lnTo>
                <a:lnTo>
                  <a:pt x="3953" y="251"/>
                </a:lnTo>
                <a:close/>
                <a:moveTo>
                  <a:pt x="3553" y="288"/>
                </a:moveTo>
                <a:lnTo>
                  <a:pt x="3471" y="100"/>
                </a:lnTo>
                <a:lnTo>
                  <a:pt x="3506" y="100"/>
                </a:lnTo>
                <a:lnTo>
                  <a:pt x="3570" y="250"/>
                </a:lnTo>
                <a:lnTo>
                  <a:pt x="3628" y="100"/>
                </a:lnTo>
                <a:lnTo>
                  <a:pt x="3662" y="100"/>
                </a:lnTo>
                <a:lnTo>
                  <a:pt x="3547" y="382"/>
                </a:lnTo>
                <a:lnTo>
                  <a:pt x="3513" y="382"/>
                </a:lnTo>
                <a:lnTo>
                  <a:pt x="3553" y="288"/>
                </a:lnTo>
                <a:close/>
                <a:moveTo>
                  <a:pt x="3395" y="201"/>
                </a:moveTo>
                <a:lnTo>
                  <a:pt x="3395" y="198"/>
                </a:lnTo>
                <a:cubicBezTo>
                  <a:pt x="3395" y="151"/>
                  <a:pt x="3370" y="124"/>
                  <a:pt x="3329" y="124"/>
                </a:cubicBezTo>
                <a:cubicBezTo>
                  <a:pt x="3287" y="124"/>
                  <a:pt x="3262" y="155"/>
                  <a:pt x="3262" y="199"/>
                </a:cubicBezTo>
                <a:lnTo>
                  <a:pt x="3262" y="202"/>
                </a:lnTo>
                <a:cubicBezTo>
                  <a:pt x="3262" y="248"/>
                  <a:pt x="3292" y="275"/>
                  <a:pt x="3327" y="275"/>
                </a:cubicBezTo>
                <a:cubicBezTo>
                  <a:pt x="3366" y="275"/>
                  <a:pt x="3395" y="248"/>
                  <a:pt x="3395" y="201"/>
                </a:cubicBezTo>
                <a:close/>
                <a:moveTo>
                  <a:pt x="3232" y="321"/>
                </a:moveTo>
                <a:lnTo>
                  <a:pt x="3266" y="321"/>
                </a:lnTo>
                <a:cubicBezTo>
                  <a:pt x="3271" y="345"/>
                  <a:pt x="3291" y="358"/>
                  <a:pt x="3327" y="358"/>
                </a:cubicBezTo>
                <a:cubicBezTo>
                  <a:pt x="3368" y="358"/>
                  <a:pt x="3394" y="338"/>
                  <a:pt x="3394" y="293"/>
                </a:cubicBezTo>
                <a:lnTo>
                  <a:pt x="3394" y="263"/>
                </a:lnTo>
                <a:cubicBezTo>
                  <a:pt x="3382" y="283"/>
                  <a:pt x="3354" y="302"/>
                  <a:pt x="3323" y="302"/>
                </a:cubicBezTo>
                <a:cubicBezTo>
                  <a:pt x="3268" y="302"/>
                  <a:pt x="3228" y="261"/>
                  <a:pt x="3228" y="203"/>
                </a:cubicBezTo>
                <a:lnTo>
                  <a:pt x="3228" y="200"/>
                </a:lnTo>
                <a:cubicBezTo>
                  <a:pt x="3228" y="144"/>
                  <a:pt x="3268" y="96"/>
                  <a:pt x="3326" y="96"/>
                </a:cubicBezTo>
                <a:cubicBezTo>
                  <a:pt x="3360" y="96"/>
                  <a:pt x="3382" y="113"/>
                  <a:pt x="3394" y="134"/>
                </a:cubicBezTo>
                <a:lnTo>
                  <a:pt x="3394" y="100"/>
                </a:lnTo>
                <a:lnTo>
                  <a:pt x="3427" y="100"/>
                </a:lnTo>
                <a:lnTo>
                  <a:pt x="3427" y="295"/>
                </a:lnTo>
                <a:cubicBezTo>
                  <a:pt x="3427" y="356"/>
                  <a:pt x="3386" y="386"/>
                  <a:pt x="3327" y="386"/>
                </a:cubicBezTo>
                <a:cubicBezTo>
                  <a:pt x="3265" y="386"/>
                  <a:pt x="3238" y="356"/>
                  <a:pt x="3232" y="321"/>
                </a:cubicBezTo>
                <a:close/>
                <a:moveTo>
                  <a:pt x="3159" y="184"/>
                </a:moveTo>
                <a:cubicBezTo>
                  <a:pt x="3156" y="141"/>
                  <a:pt x="3133" y="124"/>
                  <a:pt x="3099" y="124"/>
                </a:cubicBezTo>
                <a:cubicBezTo>
                  <a:pt x="3065" y="124"/>
                  <a:pt x="3042" y="147"/>
                  <a:pt x="3036" y="184"/>
                </a:cubicBezTo>
                <a:lnTo>
                  <a:pt x="3159" y="184"/>
                </a:lnTo>
                <a:close/>
                <a:moveTo>
                  <a:pt x="3001" y="207"/>
                </a:moveTo>
                <a:lnTo>
                  <a:pt x="3001" y="204"/>
                </a:lnTo>
                <a:cubicBezTo>
                  <a:pt x="3001" y="140"/>
                  <a:pt x="3041" y="96"/>
                  <a:pt x="3099" y="96"/>
                </a:cubicBezTo>
                <a:cubicBezTo>
                  <a:pt x="3147" y="96"/>
                  <a:pt x="3193" y="126"/>
                  <a:pt x="3193" y="200"/>
                </a:cubicBezTo>
                <a:lnTo>
                  <a:pt x="3193" y="211"/>
                </a:lnTo>
                <a:lnTo>
                  <a:pt x="3035" y="211"/>
                </a:lnTo>
                <a:cubicBezTo>
                  <a:pt x="3037" y="259"/>
                  <a:pt x="3060" y="285"/>
                  <a:pt x="3102" y="285"/>
                </a:cubicBezTo>
                <a:cubicBezTo>
                  <a:pt x="3135" y="285"/>
                  <a:pt x="3154" y="273"/>
                  <a:pt x="3158" y="249"/>
                </a:cubicBezTo>
                <a:lnTo>
                  <a:pt x="3191" y="249"/>
                </a:lnTo>
                <a:cubicBezTo>
                  <a:pt x="3184" y="291"/>
                  <a:pt x="3149" y="313"/>
                  <a:pt x="3102" y="313"/>
                </a:cubicBezTo>
                <a:cubicBezTo>
                  <a:pt x="3043" y="313"/>
                  <a:pt x="3001" y="271"/>
                  <a:pt x="3001" y="207"/>
                </a:cubicBezTo>
                <a:close/>
                <a:moveTo>
                  <a:pt x="2882" y="257"/>
                </a:moveTo>
                <a:lnTo>
                  <a:pt x="2882" y="128"/>
                </a:lnTo>
                <a:lnTo>
                  <a:pt x="2852" y="128"/>
                </a:lnTo>
                <a:lnTo>
                  <a:pt x="2852" y="100"/>
                </a:lnTo>
                <a:lnTo>
                  <a:pt x="2882" y="100"/>
                </a:lnTo>
                <a:lnTo>
                  <a:pt x="2882" y="52"/>
                </a:lnTo>
                <a:lnTo>
                  <a:pt x="2915" y="52"/>
                </a:lnTo>
                <a:lnTo>
                  <a:pt x="2915" y="100"/>
                </a:lnTo>
                <a:lnTo>
                  <a:pt x="2964" y="100"/>
                </a:lnTo>
                <a:lnTo>
                  <a:pt x="2964" y="128"/>
                </a:lnTo>
                <a:lnTo>
                  <a:pt x="2915" y="128"/>
                </a:lnTo>
                <a:lnTo>
                  <a:pt x="2915" y="254"/>
                </a:lnTo>
                <a:cubicBezTo>
                  <a:pt x="2915" y="274"/>
                  <a:pt x="2924" y="284"/>
                  <a:pt x="2941" y="284"/>
                </a:cubicBezTo>
                <a:cubicBezTo>
                  <a:pt x="2951" y="284"/>
                  <a:pt x="2959" y="282"/>
                  <a:pt x="2966" y="280"/>
                </a:cubicBezTo>
                <a:lnTo>
                  <a:pt x="2966" y="308"/>
                </a:lnTo>
                <a:cubicBezTo>
                  <a:pt x="2960" y="310"/>
                  <a:pt x="2952" y="312"/>
                  <a:pt x="2938" y="312"/>
                </a:cubicBezTo>
                <a:cubicBezTo>
                  <a:pt x="2900" y="312"/>
                  <a:pt x="2882" y="290"/>
                  <a:pt x="2882" y="257"/>
                </a:cubicBezTo>
                <a:close/>
                <a:moveTo>
                  <a:pt x="2776" y="236"/>
                </a:moveTo>
                <a:lnTo>
                  <a:pt x="2776" y="210"/>
                </a:lnTo>
                <a:lnTo>
                  <a:pt x="2747" y="210"/>
                </a:lnTo>
                <a:cubicBezTo>
                  <a:pt x="2705" y="210"/>
                  <a:pt x="2674" y="220"/>
                  <a:pt x="2674" y="251"/>
                </a:cubicBezTo>
                <a:cubicBezTo>
                  <a:pt x="2674" y="273"/>
                  <a:pt x="2685" y="286"/>
                  <a:pt x="2714" y="286"/>
                </a:cubicBezTo>
                <a:cubicBezTo>
                  <a:pt x="2749" y="286"/>
                  <a:pt x="2776" y="268"/>
                  <a:pt x="2776" y="236"/>
                </a:cubicBezTo>
                <a:close/>
                <a:moveTo>
                  <a:pt x="2641" y="251"/>
                </a:moveTo>
                <a:cubicBezTo>
                  <a:pt x="2641" y="203"/>
                  <a:pt x="2692" y="186"/>
                  <a:pt x="2746" y="186"/>
                </a:cubicBezTo>
                <a:lnTo>
                  <a:pt x="2776" y="186"/>
                </a:lnTo>
                <a:lnTo>
                  <a:pt x="2776" y="171"/>
                </a:lnTo>
                <a:cubicBezTo>
                  <a:pt x="2776" y="138"/>
                  <a:pt x="2763" y="124"/>
                  <a:pt x="2731" y="124"/>
                </a:cubicBezTo>
                <a:cubicBezTo>
                  <a:pt x="2702" y="124"/>
                  <a:pt x="2686" y="136"/>
                  <a:pt x="2683" y="162"/>
                </a:cubicBezTo>
                <a:lnTo>
                  <a:pt x="2650" y="162"/>
                </a:lnTo>
                <a:cubicBezTo>
                  <a:pt x="2654" y="114"/>
                  <a:pt x="2692" y="96"/>
                  <a:pt x="2733" y="96"/>
                </a:cubicBezTo>
                <a:cubicBezTo>
                  <a:pt x="2773" y="96"/>
                  <a:pt x="2809" y="113"/>
                  <a:pt x="2809" y="171"/>
                </a:cubicBezTo>
                <a:lnTo>
                  <a:pt x="2809" y="309"/>
                </a:lnTo>
                <a:lnTo>
                  <a:pt x="2776" y="309"/>
                </a:lnTo>
                <a:lnTo>
                  <a:pt x="2776" y="283"/>
                </a:lnTo>
                <a:cubicBezTo>
                  <a:pt x="2760" y="302"/>
                  <a:pt x="2742" y="313"/>
                  <a:pt x="2711" y="313"/>
                </a:cubicBezTo>
                <a:cubicBezTo>
                  <a:pt x="2672" y="313"/>
                  <a:pt x="2641" y="294"/>
                  <a:pt x="2641" y="251"/>
                </a:cubicBezTo>
                <a:moveTo>
                  <a:pt x="2510" y="100"/>
                </a:moveTo>
                <a:lnTo>
                  <a:pt x="2543" y="100"/>
                </a:lnTo>
                <a:lnTo>
                  <a:pt x="2543" y="138"/>
                </a:lnTo>
                <a:cubicBezTo>
                  <a:pt x="2556" y="114"/>
                  <a:pt x="2574" y="98"/>
                  <a:pt x="2612" y="96"/>
                </a:cubicBezTo>
                <a:lnTo>
                  <a:pt x="2612" y="128"/>
                </a:lnTo>
                <a:cubicBezTo>
                  <a:pt x="2570" y="130"/>
                  <a:pt x="2543" y="143"/>
                  <a:pt x="2543" y="194"/>
                </a:cubicBezTo>
                <a:lnTo>
                  <a:pt x="2543" y="309"/>
                </a:lnTo>
                <a:lnTo>
                  <a:pt x="2510" y="309"/>
                </a:lnTo>
                <a:lnTo>
                  <a:pt x="2510" y="100"/>
                </a:lnTo>
                <a:close/>
                <a:moveTo>
                  <a:pt x="2375" y="257"/>
                </a:moveTo>
                <a:lnTo>
                  <a:pt x="2375" y="128"/>
                </a:lnTo>
                <a:lnTo>
                  <a:pt x="2345" y="128"/>
                </a:lnTo>
                <a:lnTo>
                  <a:pt x="2345" y="100"/>
                </a:lnTo>
                <a:lnTo>
                  <a:pt x="2375" y="100"/>
                </a:lnTo>
                <a:lnTo>
                  <a:pt x="2375" y="52"/>
                </a:lnTo>
                <a:lnTo>
                  <a:pt x="2408" y="52"/>
                </a:lnTo>
                <a:lnTo>
                  <a:pt x="2408" y="100"/>
                </a:lnTo>
                <a:lnTo>
                  <a:pt x="2457" y="100"/>
                </a:lnTo>
                <a:lnTo>
                  <a:pt x="2457" y="128"/>
                </a:lnTo>
                <a:lnTo>
                  <a:pt x="2408" y="128"/>
                </a:lnTo>
                <a:lnTo>
                  <a:pt x="2408" y="254"/>
                </a:lnTo>
                <a:cubicBezTo>
                  <a:pt x="2408" y="274"/>
                  <a:pt x="2418" y="284"/>
                  <a:pt x="2434" y="284"/>
                </a:cubicBezTo>
                <a:cubicBezTo>
                  <a:pt x="2445" y="284"/>
                  <a:pt x="2453" y="282"/>
                  <a:pt x="2460" y="280"/>
                </a:cubicBezTo>
                <a:lnTo>
                  <a:pt x="2460" y="308"/>
                </a:lnTo>
                <a:cubicBezTo>
                  <a:pt x="2453" y="310"/>
                  <a:pt x="2445" y="312"/>
                  <a:pt x="2432" y="312"/>
                </a:cubicBezTo>
                <a:cubicBezTo>
                  <a:pt x="2394" y="312"/>
                  <a:pt x="2375" y="290"/>
                  <a:pt x="2375" y="257"/>
                </a:cubicBezTo>
                <a:moveTo>
                  <a:pt x="2103" y="222"/>
                </a:moveTo>
                <a:lnTo>
                  <a:pt x="2136" y="222"/>
                </a:lnTo>
                <a:cubicBezTo>
                  <a:pt x="2141" y="256"/>
                  <a:pt x="2154" y="285"/>
                  <a:pt x="2212" y="285"/>
                </a:cubicBezTo>
                <a:cubicBezTo>
                  <a:pt x="2249" y="285"/>
                  <a:pt x="2277" y="263"/>
                  <a:pt x="2277" y="231"/>
                </a:cubicBezTo>
                <a:cubicBezTo>
                  <a:pt x="2277" y="198"/>
                  <a:pt x="2262" y="185"/>
                  <a:pt x="2208" y="176"/>
                </a:cubicBezTo>
                <a:cubicBezTo>
                  <a:pt x="2148" y="167"/>
                  <a:pt x="2112" y="148"/>
                  <a:pt x="2112" y="97"/>
                </a:cubicBezTo>
                <a:cubicBezTo>
                  <a:pt x="2112" y="53"/>
                  <a:pt x="2150" y="20"/>
                  <a:pt x="2204" y="20"/>
                </a:cubicBezTo>
                <a:cubicBezTo>
                  <a:pt x="2262" y="20"/>
                  <a:pt x="2297" y="48"/>
                  <a:pt x="2303" y="98"/>
                </a:cubicBezTo>
                <a:lnTo>
                  <a:pt x="2272" y="98"/>
                </a:lnTo>
                <a:cubicBezTo>
                  <a:pt x="2265" y="62"/>
                  <a:pt x="2244" y="48"/>
                  <a:pt x="2204" y="48"/>
                </a:cubicBezTo>
                <a:cubicBezTo>
                  <a:pt x="2165" y="48"/>
                  <a:pt x="2145" y="67"/>
                  <a:pt x="2145" y="94"/>
                </a:cubicBezTo>
                <a:cubicBezTo>
                  <a:pt x="2145" y="122"/>
                  <a:pt x="2155" y="136"/>
                  <a:pt x="2214" y="145"/>
                </a:cubicBezTo>
                <a:cubicBezTo>
                  <a:pt x="2277" y="155"/>
                  <a:pt x="2311" y="174"/>
                  <a:pt x="2311" y="228"/>
                </a:cubicBezTo>
                <a:cubicBezTo>
                  <a:pt x="2311" y="276"/>
                  <a:pt x="2269" y="313"/>
                  <a:pt x="2212" y="313"/>
                </a:cubicBezTo>
                <a:cubicBezTo>
                  <a:pt x="2136" y="313"/>
                  <a:pt x="2108" y="271"/>
                  <a:pt x="2103" y="222"/>
                </a:cubicBezTo>
                <a:moveTo>
                  <a:pt x="1938" y="182"/>
                </a:moveTo>
                <a:cubicBezTo>
                  <a:pt x="1936" y="150"/>
                  <a:pt x="1920" y="135"/>
                  <a:pt x="1892" y="135"/>
                </a:cubicBezTo>
                <a:cubicBezTo>
                  <a:pt x="1866" y="135"/>
                  <a:pt x="1849" y="152"/>
                  <a:pt x="1844" y="182"/>
                </a:cubicBezTo>
                <a:lnTo>
                  <a:pt x="1938" y="182"/>
                </a:lnTo>
                <a:close/>
                <a:moveTo>
                  <a:pt x="1785" y="207"/>
                </a:moveTo>
                <a:lnTo>
                  <a:pt x="1785" y="204"/>
                </a:lnTo>
                <a:cubicBezTo>
                  <a:pt x="1785" y="138"/>
                  <a:pt x="1832" y="95"/>
                  <a:pt x="1892" y="95"/>
                </a:cubicBezTo>
                <a:cubicBezTo>
                  <a:pt x="1946" y="95"/>
                  <a:pt x="1994" y="127"/>
                  <a:pt x="1994" y="202"/>
                </a:cubicBezTo>
                <a:lnTo>
                  <a:pt x="1994" y="218"/>
                </a:lnTo>
                <a:lnTo>
                  <a:pt x="1844" y="218"/>
                </a:lnTo>
                <a:cubicBezTo>
                  <a:pt x="1845" y="252"/>
                  <a:pt x="1864" y="272"/>
                  <a:pt x="1896" y="272"/>
                </a:cubicBezTo>
                <a:cubicBezTo>
                  <a:pt x="1922" y="272"/>
                  <a:pt x="1936" y="261"/>
                  <a:pt x="1939" y="243"/>
                </a:cubicBezTo>
                <a:lnTo>
                  <a:pt x="1994" y="243"/>
                </a:lnTo>
                <a:cubicBezTo>
                  <a:pt x="1987" y="288"/>
                  <a:pt x="1951" y="314"/>
                  <a:pt x="1894" y="314"/>
                </a:cubicBezTo>
                <a:cubicBezTo>
                  <a:pt x="1831" y="314"/>
                  <a:pt x="1785" y="274"/>
                  <a:pt x="1785" y="207"/>
                </a:cubicBezTo>
                <a:close/>
                <a:moveTo>
                  <a:pt x="1638" y="100"/>
                </a:moveTo>
                <a:lnTo>
                  <a:pt x="1696" y="100"/>
                </a:lnTo>
                <a:lnTo>
                  <a:pt x="1696" y="140"/>
                </a:lnTo>
                <a:cubicBezTo>
                  <a:pt x="1709" y="112"/>
                  <a:pt x="1730" y="97"/>
                  <a:pt x="1764" y="97"/>
                </a:cubicBezTo>
                <a:lnTo>
                  <a:pt x="1764" y="151"/>
                </a:lnTo>
                <a:cubicBezTo>
                  <a:pt x="1721" y="150"/>
                  <a:pt x="1696" y="164"/>
                  <a:pt x="1696" y="204"/>
                </a:cubicBezTo>
                <a:lnTo>
                  <a:pt x="1696" y="309"/>
                </a:lnTo>
                <a:lnTo>
                  <a:pt x="1638" y="309"/>
                </a:lnTo>
                <a:lnTo>
                  <a:pt x="1638" y="100"/>
                </a:lnTo>
                <a:close/>
                <a:moveTo>
                  <a:pt x="1392" y="235"/>
                </a:moveTo>
                <a:lnTo>
                  <a:pt x="1392" y="100"/>
                </a:lnTo>
                <a:lnTo>
                  <a:pt x="1449" y="100"/>
                </a:lnTo>
                <a:lnTo>
                  <a:pt x="1449" y="227"/>
                </a:lnTo>
                <a:cubicBezTo>
                  <a:pt x="1449" y="255"/>
                  <a:pt x="1461" y="269"/>
                  <a:pt x="1486" y="269"/>
                </a:cubicBezTo>
                <a:cubicBezTo>
                  <a:pt x="1510" y="269"/>
                  <a:pt x="1529" y="254"/>
                  <a:pt x="1529" y="223"/>
                </a:cubicBezTo>
                <a:lnTo>
                  <a:pt x="1529" y="100"/>
                </a:lnTo>
                <a:lnTo>
                  <a:pt x="1587" y="100"/>
                </a:lnTo>
                <a:lnTo>
                  <a:pt x="1587" y="309"/>
                </a:lnTo>
                <a:lnTo>
                  <a:pt x="1529" y="309"/>
                </a:lnTo>
                <a:lnTo>
                  <a:pt x="1529" y="276"/>
                </a:lnTo>
                <a:cubicBezTo>
                  <a:pt x="1518" y="298"/>
                  <a:pt x="1497" y="314"/>
                  <a:pt x="1463" y="314"/>
                </a:cubicBezTo>
                <a:cubicBezTo>
                  <a:pt x="1422" y="314"/>
                  <a:pt x="1392" y="290"/>
                  <a:pt x="1392" y="235"/>
                </a:cubicBezTo>
                <a:moveTo>
                  <a:pt x="1251" y="247"/>
                </a:moveTo>
                <a:lnTo>
                  <a:pt x="1251" y="141"/>
                </a:lnTo>
                <a:lnTo>
                  <a:pt x="1224" y="141"/>
                </a:lnTo>
                <a:lnTo>
                  <a:pt x="1224" y="100"/>
                </a:lnTo>
                <a:lnTo>
                  <a:pt x="1251" y="100"/>
                </a:lnTo>
                <a:lnTo>
                  <a:pt x="1251" y="55"/>
                </a:lnTo>
                <a:lnTo>
                  <a:pt x="1309" y="55"/>
                </a:lnTo>
                <a:lnTo>
                  <a:pt x="1309" y="100"/>
                </a:lnTo>
                <a:lnTo>
                  <a:pt x="1353" y="100"/>
                </a:lnTo>
                <a:lnTo>
                  <a:pt x="1353" y="141"/>
                </a:lnTo>
                <a:lnTo>
                  <a:pt x="1309" y="141"/>
                </a:lnTo>
                <a:lnTo>
                  <a:pt x="1309" y="242"/>
                </a:lnTo>
                <a:cubicBezTo>
                  <a:pt x="1309" y="259"/>
                  <a:pt x="1317" y="267"/>
                  <a:pt x="1332" y="267"/>
                </a:cubicBezTo>
                <a:cubicBezTo>
                  <a:pt x="1341" y="267"/>
                  <a:pt x="1347" y="266"/>
                  <a:pt x="1354" y="263"/>
                </a:cubicBezTo>
                <a:lnTo>
                  <a:pt x="1354" y="308"/>
                </a:lnTo>
                <a:cubicBezTo>
                  <a:pt x="1346" y="310"/>
                  <a:pt x="1334" y="313"/>
                  <a:pt x="1319" y="313"/>
                </a:cubicBezTo>
                <a:cubicBezTo>
                  <a:pt x="1275" y="313"/>
                  <a:pt x="1251" y="291"/>
                  <a:pt x="1251" y="247"/>
                </a:cubicBezTo>
                <a:moveTo>
                  <a:pt x="996" y="100"/>
                </a:moveTo>
                <a:lnTo>
                  <a:pt x="1054" y="100"/>
                </a:lnTo>
                <a:lnTo>
                  <a:pt x="1054" y="133"/>
                </a:lnTo>
                <a:cubicBezTo>
                  <a:pt x="1065" y="112"/>
                  <a:pt x="1088" y="95"/>
                  <a:pt x="1122" y="95"/>
                </a:cubicBezTo>
                <a:cubicBezTo>
                  <a:pt x="1164" y="95"/>
                  <a:pt x="1193" y="120"/>
                  <a:pt x="1193" y="176"/>
                </a:cubicBezTo>
                <a:lnTo>
                  <a:pt x="1193" y="309"/>
                </a:lnTo>
                <a:lnTo>
                  <a:pt x="1135" y="309"/>
                </a:lnTo>
                <a:lnTo>
                  <a:pt x="1135" y="184"/>
                </a:lnTo>
                <a:cubicBezTo>
                  <a:pt x="1135" y="156"/>
                  <a:pt x="1124" y="142"/>
                  <a:pt x="1098" y="142"/>
                </a:cubicBezTo>
                <a:cubicBezTo>
                  <a:pt x="1073" y="142"/>
                  <a:pt x="1054" y="158"/>
                  <a:pt x="1054" y="188"/>
                </a:cubicBezTo>
                <a:lnTo>
                  <a:pt x="1054" y="309"/>
                </a:lnTo>
                <a:lnTo>
                  <a:pt x="996" y="309"/>
                </a:lnTo>
                <a:lnTo>
                  <a:pt x="996" y="100"/>
                </a:lnTo>
                <a:close/>
                <a:moveTo>
                  <a:pt x="902" y="182"/>
                </a:moveTo>
                <a:cubicBezTo>
                  <a:pt x="900" y="150"/>
                  <a:pt x="884" y="135"/>
                  <a:pt x="856" y="135"/>
                </a:cubicBezTo>
                <a:cubicBezTo>
                  <a:pt x="830" y="135"/>
                  <a:pt x="813" y="152"/>
                  <a:pt x="808" y="182"/>
                </a:cubicBezTo>
                <a:lnTo>
                  <a:pt x="902" y="182"/>
                </a:lnTo>
                <a:close/>
                <a:moveTo>
                  <a:pt x="749" y="207"/>
                </a:moveTo>
                <a:lnTo>
                  <a:pt x="749" y="204"/>
                </a:lnTo>
                <a:cubicBezTo>
                  <a:pt x="749" y="138"/>
                  <a:pt x="796" y="95"/>
                  <a:pt x="856" y="95"/>
                </a:cubicBezTo>
                <a:cubicBezTo>
                  <a:pt x="910" y="95"/>
                  <a:pt x="958" y="127"/>
                  <a:pt x="958" y="202"/>
                </a:cubicBezTo>
                <a:lnTo>
                  <a:pt x="958" y="218"/>
                </a:lnTo>
                <a:lnTo>
                  <a:pt x="808" y="218"/>
                </a:lnTo>
                <a:cubicBezTo>
                  <a:pt x="809" y="252"/>
                  <a:pt x="828" y="272"/>
                  <a:pt x="860" y="272"/>
                </a:cubicBezTo>
                <a:cubicBezTo>
                  <a:pt x="886" y="272"/>
                  <a:pt x="900" y="261"/>
                  <a:pt x="903" y="243"/>
                </a:cubicBezTo>
                <a:lnTo>
                  <a:pt x="958" y="243"/>
                </a:lnTo>
                <a:cubicBezTo>
                  <a:pt x="951" y="288"/>
                  <a:pt x="915" y="314"/>
                  <a:pt x="858" y="314"/>
                </a:cubicBezTo>
                <a:cubicBezTo>
                  <a:pt x="795" y="314"/>
                  <a:pt x="749" y="274"/>
                  <a:pt x="749" y="207"/>
                </a:cubicBezTo>
                <a:close/>
                <a:moveTo>
                  <a:pt x="518" y="207"/>
                </a:moveTo>
                <a:lnTo>
                  <a:pt x="518" y="204"/>
                </a:lnTo>
                <a:cubicBezTo>
                  <a:pt x="518" y="136"/>
                  <a:pt x="566" y="95"/>
                  <a:pt x="626" y="95"/>
                </a:cubicBezTo>
                <a:cubicBezTo>
                  <a:pt x="674" y="95"/>
                  <a:pt x="719" y="116"/>
                  <a:pt x="724" y="176"/>
                </a:cubicBezTo>
                <a:lnTo>
                  <a:pt x="669" y="176"/>
                </a:lnTo>
                <a:cubicBezTo>
                  <a:pt x="665" y="152"/>
                  <a:pt x="650" y="141"/>
                  <a:pt x="627" y="141"/>
                </a:cubicBezTo>
                <a:cubicBezTo>
                  <a:pt x="597" y="141"/>
                  <a:pt x="577" y="163"/>
                  <a:pt x="577" y="203"/>
                </a:cubicBezTo>
                <a:lnTo>
                  <a:pt x="577" y="206"/>
                </a:lnTo>
                <a:cubicBezTo>
                  <a:pt x="577" y="248"/>
                  <a:pt x="596" y="270"/>
                  <a:pt x="628" y="270"/>
                </a:cubicBezTo>
                <a:cubicBezTo>
                  <a:pt x="651" y="270"/>
                  <a:pt x="670" y="256"/>
                  <a:pt x="673" y="230"/>
                </a:cubicBezTo>
                <a:lnTo>
                  <a:pt x="725" y="230"/>
                </a:lnTo>
                <a:cubicBezTo>
                  <a:pt x="722" y="279"/>
                  <a:pt x="686" y="314"/>
                  <a:pt x="625" y="314"/>
                </a:cubicBezTo>
                <a:cubicBezTo>
                  <a:pt x="564" y="314"/>
                  <a:pt x="518" y="276"/>
                  <a:pt x="518" y="207"/>
                </a:cubicBezTo>
                <a:moveTo>
                  <a:pt x="286" y="207"/>
                </a:moveTo>
                <a:lnTo>
                  <a:pt x="286" y="204"/>
                </a:lnTo>
                <a:cubicBezTo>
                  <a:pt x="286" y="136"/>
                  <a:pt x="335" y="95"/>
                  <a:pt x="394" y="95"/>
                </a:cubicBezTo>
                <a:cubicBezTo>
                  <a:pt x="443" y="95"/>
                  <a:pt x="488" y="116"/>
                  <a:pt x="493" y="176"/>
                </a:cubicBezTo>
                <a:lnTo>
                  <a:pt x="438" y="176"/>
                </a:lnTo>
                <a:cubicBezTo>
                  <a:pt x="434" y="152"/>
                  <a:pt x="419" y="141"/>
                  <a:pt x="396" y="141"/>
                </a:cubicBezTo>
                <a:cubicBezTo>
                  <a:pt x="366" y="141"/>
                  <a:pt x="346" y="163"/>
                  <a:pt x="346" y="203"/>
                </a:cubicBezTo>
                <a:lnTo>
                  <a:pt x="346" y="206"/>
                </a:lnTo>
                <a:cubicBezTo>
                  <a:pt x="346" y="248"/>
                  <a:pt x="364" y="270"/>
                  <a:pt x="397" y="270"/>
                </a:cubicBezTo>
                <a:cubicBezTo>
                  <a:pt x="420" y="270"/>
                  <a:pt x="439" y="256"/>
                  <a:pt x="442" y="230"/>
                </a:cubicBezTo>
                <a:lnTo>
                  <a:pt x="494" y="230"/>
                </a:lnTo>
                <a:cubicBezTo>
                  <a:pt x="491" y="279"/>
                  <a:pt x="455" y="314"/>
                  <a:pt x="394" y="314"/>
                </a:cubicBezTo>
                <a:cubicBezTo>
                  <a:pt x="333" y="314"/>
                  <a:pt x="286" y="276"/>
                  <a:pt x="286" y="207"/>
                </a:cubicBezTo>
                <a:moveTo>
                  <a:pt x="94" y="200"/>
                </a:moveTo>
                <a:lnTo>
                  <a:pt x="170" y="200"/>
                </a:lnTo>
                <a:lnTo>
                  <a:pt x="132" y="76"/>
                </a:lnTo>
                <a:lnTo>
                  <a:pt x="94" y="200"/>
                </a:lnTo>
                <a:close/>
                <a:moveTo>
                  <a:pt x="94" y="23"/>
                </a:moveTo>
                <a:lnTo>
                  <a:pt x="178" y="23"/>
                </a:lnTo>
                <a:lnTo>
                  <a:pt x="271" y="309"/>
                </a:lnTo>
                <a:lnTo>
                  <a:pt x="204" y="309"/>
                </a:lnTo>
                <a:lnTo>
                  <a:pt x="184" y="246"/>
                </a:lnTo>
                <a:lnTo>
                  <a:pt x="80" y="246"/>
                </a:lnTo>
                <a:lnTo>
                  <a:pt x="61" y="309"/>
                </a:lnTo>
                <a:lnTo>
                  <a:pt x="0" y="309"/>
                </a:lnTo>
                <a:lnTo>
                  <a:pt x="94" y="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45626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scriptor + A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0E6FEF0E-3829-4A00-A502-98228EDAA443}"/>
              </a:ext>
            </a:extLst>
          </p:cNvPr>
          <p:cNvSpPr/>
          <p:nvPr userDrawn="1"/>
        </p:nvSpPr>
        <p:spPr>
          <a:xfrm>
            <a:off x="8698891" y="81000"/>
            <a:ext cx="3413559" cy="669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B6B9DDA-9017-4266-B071-72BFF4F2DD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1699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01" imgH="501" progId="TCLayout.ActiveDocument.1">
                  <p:embed/>
                </p:oleObj>
              </mc:Choice>
              <mc:Fallback>
                <p:oleObj name="think-cell Folie" r:id="rId3" imgW="501" imgH="50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B6B9DDA-9017-4266-B071-72BFF4F2DD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9DC0B51-2B63-4616-9F2B-67B095427E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245776"/>
            <a:ext cx="5774741" cy="169277"/>
          </a:xfrm>
        </p:spPr>
        <p:txBody>
          <a:bodyPr wrap="square">
            <a:spAutoFit/>
          </a:bodyPr>
          <a:lstStyle>
            <a:lvl1pPr>
              <a:defRPr lang="en-US" sz="1100" b="0" i="0" kern="0" cap="all" spc="0" baseline="0" dirty="0">
                <a:solidFill>
                  <a:schemeClr val="tx1"/>
                </a:solidFill>
                <a:latin typeface="Graphik Light" panose="020B040303020206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imple Description of slid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C82B452-9094-4D11-B841-4942F82C2C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430758"/>
            <a:ext cx="8020050" cy="765994"/>
          </a:xfrm>
        </p:spPr>
        <p:txBody>
          <a:bodyPr vert="horz" tIns="36000"/>
          <a:lstStyle>
            <a:lvl1pPr>
              <a:defRPr/>
            </a:lvl1pPr>
          </a:lstStyle>
          <a:p>
            <a:r>
              <a:rPr lang="en-US"/>
              <a:t>Action title/Statement on Implications of information below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E9E7F8AE-6B26-49E8-B254-1A868F28CC8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1288870"/>
            <a:ext cx="8020050" cy="33337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  <a:lvl2pPr>
              <a:defRPr sz="1600">
                <a:solidFill>
                  <a:schemeClr val="tx1"/>
                </a:solidFill>
                <a:latin typeface="+mj-lt"/>
              </a:defRPr>
            </a:lvl2pPr>
            <a:lvl3pPr>
              <a:defRPr sz="1600">
                <a:solidFill>
                  <a:schemeClr val="tx1"/>
                </a:solidFill>
                <a:latin typeface="+mj-lt"/>
              </a:defRPr>
            </a:lvl3pPr>
            <a:lvl4pPr>
              <a:defRPr sz="1600">
                <a:solidFill>
                  <a:schemeClr val="tx1"/>
                </a:solidFill>
                <a:latin typeface="+mj-lt"/>
              </a:defRPr>
            </a:lvl4pPr>
            <a:lvl5pPr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/>
              <a:t>Insert header text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558744C-8655-4CF8-ABA8-0520015838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21947" y="1288870"/>
            <a:ext cx="2998578" cy="5056368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  <a:lvl2pPr>
              <a:defRPr sz="1200">
                <a:solidFill>
                  <a:schemeClr val="tx1"/>
                </a:solidFill>
                <a:latin typeface="Graphik Light" panose="020B0403030202060203" pitchFamily="34" charset="0"/>
              </a:defRPr>
            </a:lvl2pPr>
            <a:lvl3pPr>
              <a:defRPr sz="1200">
                <a:solidFill>
                  <a:schemeClr val="tx1"/>
                </a:solidFill>
                <a:latin typeface="Graphik Light" panose="020B0403030202060203" pitchFamily="34" charset="0"/>
              </a:defRPr>
            </a:lvl3pPr>
            <a:lvl4pPr>
              <a:defRPr sz="1200">
                <a:solidFill>
                  <a:schemeClr val="tx1"/>
                </a:solidFill>
                <a:latin typeface="Graphik Light" panose="020B0403030202060203" pitchFamily="34" charset="0"/>
              </a:defRPr>
            </a:lvl4pPr>
            <a:lvl5pPr>
              <a:defRPr sz="1200">
                <a:solidFill>
                  <a:schemeClr val="tx1"/>
                </a:solidFill>
                <a:latin typeface="Graphik Light" panose="020B040303020206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  <a:p>
            <a:pPr lvl="0"/>
            <a:endParaRPr lang="de-DE"/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F56F8FA4-3D40-4DDC-A073-14D5E69EC6C8}"/>
              </a:ext>
            </a:extLst>
          </p:cNvPr>
          <p:cNvSpPr txBox="1"/>
          <p:nvPr userDrawn="1"/>
        </p:nvSpPr>
        <p:spPr>
          <a:xfrm>
            <a:off x="11430000" y="6443459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US" sz="80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3ADF09E0-9CC7-4CCF-8B3B-C8F1F6AA6D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39667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264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5ACBF0"/>
          </p15:clr>
        </p15:guide>
        <p15:guide id="2" orient="horz" pos="935">
          <p15:clr>
            <a:srgbClr val="FBAE40"/>
          </p15:clr>
        </p15:guide>
        <p15:guide id="3" pos="5292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scriptor + A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B6B9DDA-9017-4266-B071-72BFF4F2DD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1699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01" imgH="501" progId="TCLayout.ActiveDocument.1">
                  <p:embed/>
                </p:oleObj>
              </mc:Choice>
              <mc:Fallback>
                <p:oleObj name="think-cell Folie" r:id="rId3" imgW="501" imgH="50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B6B9DDA-9017-4266-B071-72BFF4F2DD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9DC0B51-2B63-4616-9F2B-67B095427E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245776"/>
            <a:ext cx="5774741" cy="169277"/>
          </a:xfrm>
        </p:spPr>
        <p:txBody>
          <a:bodyPr wrap="square">
            <a:spAutoFit/>
          </a:bodyPr>
          <a:lstStyle>
            <a:lvl1pPr>
              <a:defRPr lang="en-US" sz="1100" b="0" i="0" kern="0" cap="all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imple Description of slid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C82B452-9094-4D11-B841-4942F82C2C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430758"/>
            <a:ext cx="11430000" cy="765994"/>
          </a:xfrm>
        </p:spPr>
        <p:txBody>
          <a:bodyPr vert="horz" tIns="36000"/>
          <a:lstStyle>
            <a:lvl1pPr>
              <a:defRPr/>
            </a:lvl1pPr>
          </a:lstStyle>
          <a:p>
            <a:r>
              <a:rPr lang="en-US"/>
              <a:t>Action title/Statement on Implications of information below</a:t>
            </a:r>
          </a:p>
        </p:txBody>
      </p:sp>
    </p:spTree>
    <p:extLst>
      <p:ext uri="{BB962C8B-B14F-4D97-AF65-F5344CB8AC3E}">
        <p14:creationId xmlns:p14="http://schemas.microsoft.com/office/powerpoint/2010/main" val="2095851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5ACBF0"/>
          </p15:clr>
        </p15:guide>
        <p15:guide id="2" orient="horz" pos="935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3643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1" hasCustomPrompt="1"/>
          </p:nvPr>
        </p:nvSpPr>
        <p:spPr>
          <a:xfrm>
            <a:off x="465320" y="904875"/>
            <a:ext cx="11261361" cy="5329056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0" indent="-230400">
              <a:buFont typeface="Arial" pitchFamily="34" charset="0"/>
              <a:buChar char="•"/>
              <a:defRPr/>
            </a:lvl2pPr>
            <a:lvl3pPr marL="457200" indent="-230400">
              <a:buFont typeface="Arial" pitchFamily="34" charset="0"/>
              <a:buChar char="–"/>
              <a:defRPr/>
            </a:lvl3pPr>
            <a:lvl4pPr marL="687600" indent="-226800">
              <a:buFont typeface="Arial" pitchFamily="34" charset="0"/>
              <a:buChar char="•"/>
              <a:defRPr/>
            </a:lvl4pPr>
            <a:lvl5pPr marL="914400" indent="-230400"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4059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76E6D04-541E-4FE7-BDD9-DC49CFE222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268D48-5255-43CB-8AAC-A79BB790BD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0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34F1F3-C590-4E2F-B1B3-62C6C9DB97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DCC6F7-C8B1-40CD-A8D8-3C2361D5F0FC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978203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72905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7759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6448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 descr="Background image placeholder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99A6723-3F53-4981-840E-D1D62874F6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5607811"/>
            <a:ext cx="641502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156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894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slideLayout" Target="../slideLayouts/slideLayout67.xml"/><Relationship Id="rId39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62.xml"/><Relationship Id="rId34" Type="http://schemas.openxmlformats.org/officeDocument/2006/relationships/slideLayout" Target="../slideLayouts/slideLayout75.xml"/><Relationship Id="rId42" Type="http://schemas.openxmlformats.org/officeDocument/2006/relationships/slideLayout" Target="../slideLayouts/slideLayout83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29" Type="http://schemas.openxmlformats.org/officeDocument/2006/relationships/slideLayout" Target="../slideLayouts/slideLayout70.xml"/><Relationship Id="rId41" Type="http://schemas.openxmlformats.org/officeDocument/2006/relationships/slideLayout" Target="../slideLayouts/slideLayout82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37" Type="http://schemas.openxmlformats.org/officeDocument/2006/relationships/slideLayout" Target="../slideLayouts/slideLayout78.xml"/><Relationship Id="rId40" Type="http://schemas.openxmlformats.org/officeDocument/2006/relationships/slideLayout" Target="../slideLayouts/slideLayout81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72.xml"/><Relationship Id="rId44" Type="http://schemas.openxmlformats.org/officeDocument/2006/relationships/theme" Target="../theme/theme2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slideLayout" Target="../slideLayouts/slideLayout76.xml"/><Relationship Id="rId43" Type="http://schemas.openxmlformats.org/officeDocument/2006/relationships/slideLayout" Target="../slideLayouts/slideLayout84.xml"/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38" Type="http://schemas.openxmlformats.org/officeDocument/2006/relationships/slideLayout" Target="../slideLayouts/slideLayout7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87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20" Type="http://schemas.openxmlformats.org/officeDocument/2006/relationships/image" Target="../media/image16.jpeg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94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Relationship Id="rId22" Type="http://schemas.openxmlformats.org/officeDocument/2006/relationships/image" Target="../media/image17.emf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4.xml"/><Relationship Id="rId18" Type="http://schemas.openxmlformats.org/officeDocument/2006/relationships/slideLayout" Target="../slideLayouts/slideLayout119.xml"/><Relationship Id="rId26" Type="http://schemas.openxmlformats.org/officeDocument/2006/relationships/slideLayout" Target="../slideLayouts/slideLayout127.xml"/><Relationship Id="rId39" Type="http://schemas.openxmlformats.org/officeDocument/2006/relationships/slideLayout" Target="../slideLayouts/slideLayout140.xml"/><Relationship Id="rId21" Type="http://schemas.openxmlformats.org/officeDocument/2006/relationships/slideLayout" Target="../slideLayouts/slideLayout122.xml"/><Relationship Id="rId34" Type="http://schemas.openxmlformats.org/officeDocument/2006/relationships/slideLayout" Target="../slideLayouts/slideLayout135.xml"/><Relationship Id="rId42" Type="http://schemas.openxmlformats.org/officeDocument/2006/relationships/theme" Target="../theme/theme4.xml"/><Relationship Id="rId7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103.xml"/><Relationship Id="rId16" Type="http://schemas.openxmlformats.org/officeDocument/2006/relationships/slideLayout" Target="../slideLayouts/slideLayout117.xml"/><Relationship Id="rId20" Type="http://schemas.openxmlformats.org/officeDocument/2006/relationships/slideLayout" Target="../slideLayouts/slideLayout121.xml"/><Relationship Id="rId29" Type="http://schemas.openxmlformats.org/officeDocument/2006/relationships/slideLayout" Target="../slideLayouts/slideLayout130.xml"/><Relationship Id="rId41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24" Type="http://schemas.openxmlformats.org/officeDocument/2006/relationships/slideLayout" Target="../slideLayouts/slideLayout125.xml"/><Relationship Id="rId32" Type="http://schemas.openxmlformats.org/officeDocument/2006/relationships/slideLayout" Target="../slideLayouts/slideLayout133.xml"/><Relationship Id="rId37" Type="http://schemas.openxmlformats.org/officeDocument/2006/relationships/slideLayout" Target="../slideLayouts/slideLayout138.xml"/><Relationship Id="rId40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06.xml"/><Relationship Id="rId15" Type="http://schemas.openxmlformats.org/officeDocument/2006/relationships/slideLayout" Target="../slideLayouts/slideLayout116.xml"/><Relationship Id="rId23" Type="http://schemas.openxmlformats.org/officeDocument/2006/relationships/slideLayout" Target="../slideLayouts/slideLayout124.xml"/><Relationship Id="rId28" Type="http://schemas.openxmlformats.org/officeDocument/2006/relationships/slideLayout" Target="../slideLayouts/slideLayout129.xml"/><Relationship Id="rId36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11.xml"/><Relationship Id="rId19" Type="http://schemas.openxmlformats.org/officeDocument/2006/relationships/slideLayout" Target="../slideLayouts/slideLayout120.xml"/><Relationship Id="rId31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Relationship Id="rId22" Type="http://schemas.openxmlformats.org/officeDocument/2006/relationships/slideLayout" Target="../slideLayouts/slideLayout123.xml"/><Relationship Id="rId27" Type="http://schemas.openxmlformats.org/officeDocument/2006/relationships/slideLayout" Target="../slideLayouts/slideLayout128.xml"/><Relationship Id="rId30" Type="http://schemas.openxmlformats.org/officeDocument/2006/relationships/slideLayout" Target="../slideLayouts/slideLayout131.xml"/><Relationship Id="rId35" Type="http://schemas.openxmlformats.org/officeDocument/2006/relationships/slideLayout" Target="../slideLayouts/slideLayout136.xml"/><Relationship Id="rId8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13.xml"/><Relationship Id="rId17" Type="http://schemas.openxmlformats.org/officeDocument/2006/relationships/slideLayout" Target="../slideLayouts/slideLayout118.xml"/><Relationship Id="rId25" Type="http://schemas.openxmlformats.org/officeDocument/2006/relationships/slideLayout" Target="../slideLayouts/slideLayout126.xml"/><Relationship Id="rId33" Type="http://schemas.openxmlformats.org/officeDocument/2006/relationships/slideLayout" Target="../slideLayouts/slideLayout134.xml"/><Relationship Id="rId38" Type="http://schemas.openxmlformats.org/officeDocument/2006/relationships/slideLayout" Target="../slideLayouts/slideLayout13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5.xml"/><Relationship Id="rId18" Type="http://schemas.openxmlformats.org/officeDocument/2006/relationships/slideLayout" Target="../slideLayouts/slideLayout160.xml"/><Relationship Id="rId26" Type="http://schemas.openxmlformats.org/officeDocument/2006/relationships/slideLayout" Target="../slideLayouts/slideLayout168.xml"/><Relationship Id="rId39" Type="http://schemas.openxmlformats.org/officeDocument/2006/relationships/slideLayout" Target="../slideLayouts/slideLayout181.xml"/><Relationship Id="rId21" Type="http://schemas.openxmlformats.org/officeDocument/2006/relationships/slideLayout" Target="../slideLayouts/slideLayout163.xml"/><Relationship Id="rId34" Type="http://schemas.openxmlformats.org/officeDocument/2006/relationships/slideLayout" Target="../slideLayouts/slideLayout176.xml"/><Relationship Id="rId42" Type="http://schemas.openxmlformats.org/officeDocument/2006/relationships/slideLayout" Target="../slideLayouts/slideLayout184.xml"/><Relationship Id="rId47" Type="http://schemas.openxmlformats.org/officeDocument/2006/relationships/slideLayout" Target="../slideLayouts/slideLayout189.xml"/><Relationship Id="rId7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44.xml"/><Relationship Id="rId16" Type="http://schemas.openxmlformats.org/officeDocument/2006/relationships/slideLayout" Target="../slideLayouts/slideLayout158.xml"/><Relationship Id="rId29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53.xml"/><Relationship Id="rId24" Type="http://schemas.openxmlformats.org/officeDocument/2006/relationships/slideLayout" Target="../slideLayouts/slideLayout166.xml"/><Relationship Id="rId32" Type="http://schemas.openxmlformats.org/officeDocument/2006/relationships/slideLayout" Target="../slideLayouts/slideLayout174.xml"/><Relationship Id="rId37" Type="http://schemas.openxmlformats.org/officeDocument/2006/relationships/slideLayout" Target="../slideLayouts/slideLayout179.xml"/><Relationship Id="rId40" Type="http://schemas.openxmlformats.org/officeDocument/2006/relationships/slideLayout" Target="../slideLayouts/slideLayout182.xml"/><Relationship Id="rId45" Type="http://schemas.openxmlformats.org/officeDocument/2006/relationships/slideLayout" Target="../slideLayouts/slideLayout187.xml"/><Relationship Id="rId5" Type="http://schemas.openxmlformats.org/officeDocument/2006/relationships/slideLayout" Target="../slideLayouts/slideLayout147.xml"/><Relationship Id="rId15" Type="http://schemas.openxmlformats.org/officeDocument/2006/relationships/slideLayout" Target="../slideLayouts/slideLayout157.xml"/><Relationship Id="rId23" Type="http://schemas.openxmlformats.org/officeDocument/2006/relationships/slideLayout" Target="../slideLayouts/slideLayout165.xml"/><Relationship Id="rId28" Type="http://schemas.openxmlformats.org/officeDocument/2006/relationships/slideLayout" Target="../slideLayouts/slideLayout170.xml"/><Relationship Id="rId36" Type="http://schemas.openxmlformats.org/officeDocument/2006/relationships/slideLayout" Target="../slideLayouts/slideLayout178.xml"/><Relationship Id="rId49" Type="http://schemas.openxmlformats.org/officeDocument/2006/relationships/theme" Target="../theme/theme5.xml"/><Relationship Id="rId10" Type="http://schemas.openxmlformats.org/officeDocument/2006/relationships/slideLayout" Target="../slideLayouts/slideLayout152.xml"/><Relationship Id="rId19" Type="http://schemas.openxmlformats.org/officeDocument/2006/relationships/slideLayout" Target="../slideLayouts/slideLayout161.xml"/><Relationship Id="rId31" Type="http://schemas.openxmlformats.org/officeDocument/2006/relationships/slideLayout" Target="../slideLayouts/slideLayout173.xml"/><Relationship Id="rId44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slideLayout" Target="../slideLayouts/slideLayout156.xml"/><Relationship Id="rId22" Type="http://schemas.openxmlformats.org/officeDocument/2006/relationships/slideLayout" Target="../slideLayouts/slideLayout164.xml"/><Relationship Id="rId27" Type="http://schemas.openxmlformats.org/officeDocument/2006/relationships/slideLayout" Target="../slideLayouts/slideLayout169.xml"/><Relationship Id="rId30" Type="http://schemas.openxmlformats.org/officeDocument/2006/relationships/slideLayout" Target="../slideLayouts/slideLayout172.xml"/><Relationship Id="rId35" Type="http://schemas.openxmlformats.org/officeDocument/2006/relationships/slideLayout" Target="../slideLayouts/slideLayout177.xml"/><Relationship Id="rId43" Type="http://schemas.openxmlformats.org/officeDocument/2006/relationships/slideLayout" Target="../slideLayouts/slideLayout185.xml"/><Relationship Id="rId48" Type="http://schemas.openxmlformats.org/officeDocument/2006/relationships/slideLayout" Target="../slideLayouts/slideLayout190.xml"/><Relationship Id="rId8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45.xml"/><Relationship Id="rId12" Type="http://schemas.openxmlformats.org/officeDocument/2006/relationships/slideLayout" Target="../slideLayouts/slideLayout154.xml"/><Relationship Id="rId17" Type="http://schemas.openxmlformats.org/officeDocument/2006/relationships/slideLayout" Target="../slideLayouts/slideLayout159.xml"/><Relationship Id="rId25" Type="http://schemas.openxmlformats.org/officeDocument/2006/relationships/slideLayout" Target="../slideLayouts/slideLayout167.xml"/><Relationship Id="rId33" Type="http://schemas.openxmlformats.org/officeDocument/2006/relationships/slideLayout" Target="../slideLayouts/slideLayout175.xml"/><Relationship Id="rId38" Type="http://schemas.openxmlformats.org/officeDocument/2006/relationships/slideLayout" Target="../slideLayouts/slideLayout180.xml"/><Relationship Id="rId46" Type="http://schemas.openxmlformats.org/officeDocument/2006/relationships/slideLayout" Target="../slideLayouts/slideLayout188.xml"/><Relationship Id="rId20" Type="http://schemas.openxmlformats.org/officeDocument/2006/relationships/slideLayout" Target="../slideLayouts/slideLayout162.xml"/><Relationship Id="rId41" Type="http://schemas.openxmlformats.org/officeDocument/2006/relationships/slideLayout" Target="../slideLayouts/slideLayout183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3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192.xml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5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94.xml"/></Relationships>
</file>

<file path=ppt/slideMasters/_rels/slideMaster7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313.xml"/><Relationship Id="rId21" Type="http://schemas.openxmlformats.org/officeDocument/2006/relationships/slideLayout" Target="../slideLayouts/slideLayout217.xml"/><Relationship Id="rId42" Type="http://schemas.openxmlformats.org/officeDocument/2006/relationships/slideLayout" Target="../slideLayouts/slideLayout238.xml"/><Relationship Id="rId63" Type="http://schemas.openxmlformats.org/officeDocument/2006/relationships/slideLayout" Target="../slideLayouts/slideLayout259.xml"/><Relationship Id="rId84" Type="http://schemas.openxmlformats.org/officeDocument/2006/relationships/slideLayout" Target="../slideLayouts/slideLayout280.xml"/><Relationship Id="rId138" Type="http://schemas.openxmlformats.org/officeDocument/2006/relationships/image" Target="../media/image24.svg"/><Relationship Id="rId16" Type="http://schemas.openxmlformats.org/officeDocument/2006/relationships/slideLayout" Target="../slideLayouts/slideLayout212.xml"/><Relationship Id="rId107" Type="http://schemas.openxmlformats.org/officeDocument/2006/relationships/slideLayout" Target="../slideLayouts/slideLayout303.xml"/><Relationship Id="rId11" Type="http://schemas.openxmlformats.org/officeDocument/2006/relationships/slideLayout" Target="../slideLayouts/slideLayout207.xml"/><Relationship Id="rId32" Type="http://schemas.openxmlformats.org/officeDocument/2006/relationships/slideLayout" Target="../slideLayouts/slideLayout228.xml"/><Relationship Id="rId37" Type="http://schemas.openxmlformats.org/officeDocument/2006/relationships/slideLayout" Target="../slideLayouts/slideLayout233.xml"/><Relationship Id="rId53" Type="http://schemas.openxmlformats.org/officeDocument/2006/relationships/slideLayout" Target="../slideLayouts/slideLayout249.xml"/><Relationship Id="rId58" Type="http://schemas.openxmlformats.org/officeDocument/2006/relationships/slideLayout" Target="../slideLayouts/slideLayout254.xml"/><Relationship Id="rId74" Type="http://schemas.openxmlformats.org/officeDocument/2006/relationships/slideLayout" Target="../slideLayouts/slideLayout270.xml"/><Relationship Id="rId79" Type="http://schemas.openxmlformats.org/officeDocument/2006/relationships/slideLayout" Target="../slideLayouts/slideLayout275.xml"/><Relationship Id="rId102" Type="http://schemas.openxmlformats.org/officeDocument/2006/relationships/slideLayout" Target="../slideLayouts/slideLayout298.xml"/><Relationship Id="rId123" Type="http://schemas.openxmlformats.org/officeDocument/2006/relationships/slideLayout" Target="../slideLayouts/slideLayout319.xml"/><Relationship Id="rId128" Type="http://schemas.openxmlformats.org/officeDocument/2006/relationships/slideLayout" Target="../slideLayouts/slideLayout324.xml"/><Relationship Id="rId5" Type="http://schemas.openxmlformats.org/officeDocument/2006/relationships/slideLayout" Target="../slideLayouts/slideLayout201.xml"/><Relationship Id="rId90" Type="http://schemas.openxmlformats.org/officeDocument/2006/relationships/slideLayout" Target="../slideLayouts/slideLayout286.xml"/><Relationship Id="rId95" Type="http://schemas.openxmlformats.org/officeDocument/2006/relationships/slideLayout" Target="../slideLayouts/slideLayout291.xml"/><Relationship Id="rId22" Type="http://schemas.openxmlformats.org/officeDocument/2006/relationships/slideLayout" Target="../slideLayouts/slideLayout218.xml"/><Relationship Id="rId27" Type="http://schemas.openxmlformats.org/officeDocument/2006/relationships/slideLayout" Target="../slideLayouts/slideLayout223.xml"/><Relationship Id="rId43" Type="http://schemas.openxmlformats.org/officeDocument/2006/relationships/slideLayout" Target="../slideLayouts/slideLayout239.xml"/><Relationship Id="rId48" Type="http://schemas.openxmlformats.org/officeDocument/2006/relationships/slideLayout" Target="../slideLayouts/slideLayout244.xml"/><Relationship Id="rId64" Type="http://schemas.openxmlformats.org/officeDocument/2006/relationships/slideLayout" Target="../slideLayouts/slideLayout260.xml"/><Relationship Id="rId69" Type="http://schemas.openxmlformats.org/officeDocument/2006/relationships/slideLayout" Target="../slideLayouts/slideLayout265.xml"/><Relationship Id="rId113" Type="http://schemas.openxmlformats.org/officeDocument/2006/relationships/slideLayout" Target="../slideLayouts/slideLayout309.xml"/><Relationship Id="rId118" Type="http://schemas.openxmlformats.org/officeDocument/2006/relationships/slideLayout" Target="../slideLayouts/slideLayout314.xml"/><Relationship Id="rId134" Type="http://schemas.openxmlformats.org/officeDocument/2006/relationships/slideLayout" Target="../slideLayouts/slideLayout330.xml"/><Relationship Id="rId80" Type="http://schemas.openxmlformats.org/officeDocument/2006/relationships/slideLayout" Target="../slideLayouts/slideLayout276.xml"/><Relationship Id="rId85" Type="http://schemas.openxmlformats.org/officeDocument/2006/relationships/slideLayout" Target="../slideLayouts/slideLayout281.xml"/><Relationship Id="rId12" Type="http://schemas.openxmlformats.org/officeDocument/2006/relationships/slideLayout" Target="../slideLayouts/slideLayout208.xml"/><Relationship Id="rId17" Type="http://schemas.openxmlformats.org/officeDocument/2006/relationships/slideLayout" Target="../slideLayouts/slideLayout213.xml"/><Relationship Id="rId33" Type="http://schemas.openxmlformats.org/officeDocument/2006/relationships/slideLayout" Target="../slideLayouts/slideLayout229.xml"/><Relationship Id="rId38" Type="http://schemas.openxmlformats.org/officeDocument/2006/relationships/slideLayout" Target="../slideLayouts/slideLayout234.xml"/><Relationship Id="rId59" Type="http://schemas.openxmlformats.org/officeDocument/2006/relationships/slideLayout" Target="../slideLayouts/slideLayout255.xml"/><Relationship Id="rId103" Type="http://schemas.openxmlformats.org/officeDocument/2006/relationships/slideLayout" Target="../slideLayouts/slideLayout299.xml"/><Relationship Id="rId108" Type="http://schemas.openxmlformats.org/officeDocument/2006/relationships/slideLayout" Target="../slideLayouts/slideLayout304.xml"/><Relationship Id="rId124" Type="http://schemas.openxmlformats.org/officeDocument/2006/relationships/slideLayout" Target="../slideLayouts/slideLayout320.xml"/><Relationship Id="rId129" Type="http://schemas.openxmlformats.org/officeDocument/2006/relationships/slideLayout" Target="../slideLayouts/slideLayout325.xml"/><Relationship Id="rId54" Type="http://schemas.openxmlformats.org/officeDocument/2006/relationships/slideLayout" Target="../slideLayouts/slideLayout250.xml"/><Relationship Id="rId70" Type="http://schemas.openxmlformats.org/officeDocument/2006/relationships/slideLayout" Target="../slideLayouts/slideLayout266.xml"/><Relationship Id="rId75" Type="http://schemas.openxmlformats.org/officeDocument/2006/relationships/slideLayout" Target="../slideLayouts/slideLayout271.xml"/><Relationship Id="rId91" Type="http://schemas.openxmlformats.org/officeDocument/2006/relationships/slideLayout" Target="../slideLayouts/slideLayout287.xml"/><Relationship Id="rId96" Type="http://schemas.openxmlformats.org/officeDocument/2006/relationships/slideLayout" Target="../slideLayouts/slideLayout292.xml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23" Type="http://schemas.openxmlformats.org/officeDocument/2006/relationships/slideLayout" Target="../slideLayouts/slideLayout219.xml"/><Relationship Id="rId28" Type="http://schemas.openxmlformats.org/officeDocument/2006/relationships/slideLayout" Target="../slideLayouts/slideLayout224.xml"/><Relationship Id="rId49" Type="http://schemas.openxmlformats.org/officeDocument/2006/relationships/slideLayout" Target="../slideLayouts/slideLayout245.xml"/><Relationship Id="rId114" Type="http://schemas.openxmlformats.org/officeDocument/2006/relationships/slideLayout" Target="../slideLayouts/slideLayout310.xml"/><Relationship Id="rId119" Type="http://schemas.openxmlformats.org/officeDocument/2006/relationships/slideLayout" Target="../slideLayouts/slideLayout315.xml"/><Relationship Id="rId44" Type="http://schemas.openxmlformats.org/officeDocument/2006/relationships/slideLayout" Target="../slideLayouts/slideLayout240.xml"/><Relationship Id="rId60" Type="http://schemas.openxmlformats.org/officeDocument/2006/relationships/slideLayout" Target="../slideLayouts/slideLayout256.xml"/><Relationship Id="rId65" Type="http://schemas.openxmlformats.org/officeDocument/2006/relationships/slideLayout" Target="../slideLayouts/slideLayout261.xml"/><Relationship Id="rId81" Type="http://schemas.openxmlformats.org/officeDocument/2006/relationships/slideLayout" Target="../slideLayouts/slideLayout277.xml"/><Relationship Id="rId86" Type="http://schemas.openxmlformats.org/officeDocument/2006/relationships/slideLayout" Target="../slideLayouts/slideLayout282.xml"/><Relationship Id="rId130" Type="http://schemas.openxmlformats.org/officeDocument/2006/relationships/slideLayout" Target="../slideLayouts/slideLayout326.xml"/><Relationship Id="rId135" Type="http://schemas.openxmlformats.org/officeDocument/2006/relationships/slideLayout" Target="../slideLayouts/slideLayout331.xml"/><Relationship Id="rId13" Type="http://schemas.openxmlformats.org/officeDocument/2006/relationships/slideLayout" Target="../slideLayouts/slideLayout209.xml"/><Relationship Id="rId18" Type="http://schemas.openxmlformats.org/officeDocument/2006/relationships/slideLayout" Target="../slideLayouts/slideLayout214.xml"/><Relationship Id="rId39" Type="http://schemas.openxmlformats.org/officeDocument/2006/relationships/slideLayout" Target="../slideLayouts/slideLayout235.xml"/><Relationship Id="rId109" Type="http://schemas.openxmlformats.org/officeDocument/2006/relationships/slideLayout" Target="../slideLayouts/slideLayout305.xml"/><Relationship Id="rId34" Type="http://schemas.openxmlformats.org/officeDocument/2006/relationships/slideLayout" Target="../slideLayouts/slideLayout230.xml"/><Relationship Id="rId50" Type="http://schemas.openxmlformats.org/officeDocument/2006/relationships/slideLayout" Target="../slideLayouts/slideLayout246.xml"/><Relationship Id="rId55" Type="http://schemas.openxmlformats.org/officeDocument/2006/relationships/slideLayout" Target="../slideLayouts/slideLayout251.xml"/><Relationship Id="rId76" Type="http://schemas.openxmlformats.org/officeDocument/2006/relationships/slideLayout" Target="../slideLayouts/slideLayout272.xml"/><Relationship Id="rId97" Type="http://schemas.openxmlformats.org/officeDocument/2006/relationships/slideLayout" Target="../slideLayouts/slideLayout293.xml"/><Relationship Id="rId104" Type="http://schemas.openxmlformats.org/officeDocument/2006/relationships/slideLayout" Target="../slideLayouts/slideLayout300.xml"/><Relationship Id="rId120" Type="http://schemas.openxmlformats.org/officeDocument/2006/relationships/slideLayout" Target="../slideLayouts/slideLayout316.xml"/><Relationship Id="rId125" Type="http://schemas.openxmlformats.org/officeDocument/2006/relationships/slideLayout" Target="../slideLayouts/slideLayout321.xml"/><Relationship Id="rId7" Type="http://schemas.openxmlformats.org/officeDocument/2006/relationships/slideLayout" Target="../slideLayouts/slideLayout203.xml"/><Relationship Id="rId71" Type="http://schemas.openxmlformats.org/officeDocument/2006/relationships/slideLayout" Target="../slideLayouts/slideLayout267.xml"/><Relationship Id="rId92" Type="http://schemas.openxmlformats.org/officeDocument/2006/relationships/slideLayout" Target="../slideLayouts/slideLayout288.xml"/><Relationship Id="rId2" Type="http://schemas.openxmlformats.org/officeDocument/2006/relationships/slideLayout" Target="../slideLayouts/slideLayout198.xml"/><Relationship Id="rId29" Type="http://schemas.openxmlformats.org/officeDocument/2006/relationships/slideLayout" Target="../slideLayouts/slideLayout225.xml"/><Relationship Id="rId24" Type="http://schemas.openxmlformats.org/officeDocument/2006/relationships/slideLayout" Target="../slideLayouts/slideLayout220.xml"/><Relationship Id="rId40" Type="http://schemas.openxmlformats.org/officeDocument/2006/relationships/slideLayout" Target="../slideLayouts/slideLayout236.xml"/><Relationship Id="rId45" Type="http://schemas.openxmlformats.org/officeDocument/2006/relationships/slideLayout" Target="../slideLayouts/slideLayout241.xml"/><Relationship Id="rId66" Type="http://schemas.openxmlformats.org/officeDocument/2006/relationships/slideLayout" Target="../slideLayouts/slideLayout262.xml"/><Relationship Id="rId87" Type="http://schemas.openxmlformats.org/officeDocument/2006/relationships/slideLayout" Target="../slideLayouts/slideLayout283.xml"/><Relationship Id="rId110" Type="http://schemas.openxmlformats.org/officeDocument/2006/relationships/slideLayout" Target="../slideLayouts/slideLayout306.xml"/><Relationship Id="rId115" Type="http://schemas.openxmlformats.org/officeDocument/2006/relationships/slideLayout" Target="../slideLayouts/slideLayout311.xml"/><Relationship Id="rId131" Type="http://schemas.openxmlformats.org/officeDocument/2006/relationships/slideLayout" Target="../slideLayouts/slideLayout327.xml"/><Relationship Id="rId136" Type="http://schemas.openxmlformats.org/officeDocument/2006/relationships/theme" Target="../theme/theme7.xml"/><Relationship Id="rId61" Type="http://schemas.openxmlformats.org/officeDocument/2006/relationships/slideLayout" Target="../slideLayouts/slideLayout257.xml"/><Relationship Id="rId82" Type="http://schemas.openxmlformats.org/officeDocument/2006/relationships/slideLayout" Target="../slideLayouts/slideLayout278.xml"/><Relationship Id="rId19" Type="http://schemas.openxmlformats.org/officeDocument/2006/relationships/slideLayout" Target="../slideLayouts/slideLayout215.xml"/><Relationship Id="rId14" Type="http://schemas.openxmlformats.org/officeDocument/2006/relationships/slideLayout" Target="../slideLayouts/slideLayout210.xml"/><Relationship Id="rId30" Type="http://schemas.openxmlformats.org/officeDocument/2006/relationships/slideLayout" Target="../slideLayouts/slideLayout226.xml"/><Relationship Id="rId35" Type="http://schemas.openxmlformats.org/officeDocument/2006/relationships/slideLayout" Target="../slideLayouts/slideLayout231.xml"/><Relationship Id="rId56" Type="http://schemas.openxmlformats.org/officeDocument/2006/relationships/slideLayout" Target="../slideLayouts/slideLayout252.xml"/><Relationship Id="rId77" Type="http://schemas.openxmlformats.org/officeDocument/2006/relationships/slideLayout" Target="../slideLayouts/slideLayout273.xml"/><Relationship Id="rId100" Type="http://schemas.openxmlformats.org/officeDocument/2006/relationships/slideLayout" Target="../slideLayouts/slideLayout296.xml"/><Relationship Id="rId105" Type="http://schemas.openxmlformats.org/officeDocument/2006/relationships/slideLayout" Target="../slideLayouts/slideLayout301.xml"/><Relationship Id="rId126" Type="http://schemas.openxmlformats.org/officeDocument/2006/relationships/slideLayout" Target="../slideLayouts/slideLayout322.xml"/><Relationship Id="rId8" Type="http://schemas.openxmlformats.org/officeDocument/2006/relationships/slideLayout" Target="../slideLayouts/slideLayout204.xml"/><Relationship Id="rId51" Type="http://schemas.openxmlformats.org/officeDocument/2006/relationships/slideLayout" Target="../slideLayouts/slideLayout247.xml"/><Relationship Id="rId72" Type="http://schemas.openxmlformats.org/officeDocument/2006/relationships/slideLayout" Target="../slideLayouts/slideLayout268.xml"/><Relationship Id="rId93" Type="http://schemas.openxmlformats.org/officeDocument/2006/relationships/slideLayout" Target="../slideLayouts/slideLayout289.xml"/><Relationship Id="rId98" Type="http://schemas.openxmlformats.org/officeDocument/2006/relationships/slideLayout" Target="../slideLayouts/slideLayout294.xml"/><Relationship Id="rId121" Type="http://schemas.openxmlformats.org/officeDocument/2006/relationships/slideLayout" Target="../slideLayouts/slideLayout317.xml"/><Relationship Id="rId3" Type="http://schemas.openxmlformats.org/officeDocument/2006/relationships/slideLayout" Target="../slideLayouts/slideLayout199.xml"/><Relationship Id="rId25" Type="http://schemas.openxmlformats.org/officeDocument/2006/relationships/slideLayout" Target="../slideLayouts/slideLayout221.xml"/><Relationship Id="rId46" Type="http://schemas.openxmlformats.org/officeDocument/2006/relationships/slideLayout" Target="../slideLayouts/slideLayout242.xml"/><Relationship Id="rId67" Type="http://schemas.openxmlformats.org/officeDocument/2006/relationships/slideLayout" Target="../slideLayouts/slideLayout263.xml"/><Relationship Id="rId116" Type="http://schemas.openxmlformats.org/officeDocument/2006/relationships/slideLayout" Target="../slideLayouts/slideLayout312.xml"/><Relationship Id="rId137" Type="http://schemas.openxmlformats.org/officeDocument/2006/relationships/image" Target="../media/image23.png"/><Relationship Id="rId20" Type="http://schemas.openxmlformats.org/officeDocument/2006/relationships/slideLayout" Target="../slideLayouts/slideLayout216.xml"/><Relationship Id="rId41" Type="http://schemas.openxmlformats.org/officeDocument/2006/relationships/slideLayout" Target="../slideLayouts/slideLayout237.xml"/><Relationship Id="rId62" Type="http://schemas.openxmlformats.org/officeDocument/2006/relationships/slideLayout" Target="../slideLayouts/slideLayout258.xml"/><Relationship Id="rId83" Type="http://schemas.openxmlformats.org/officeDocument/2006/relationships/slideLayout" Target="../slideLayouts/slideLayout279.xml"/><Relationship Id="rId88" Type="http://schemas.openxmlformats.org/officeDocument/2006/relationships/slideLayout" Target="../slideLayouts/slideLayout284.xml"/><Relationship Id="rId111" Type="http://schemas.openxmlformats.org/officeDocument/2006/relationships/slideLayout" Target="../slideLayouts/slideLayout307.xml"/><Relationship Id="rId132" Type="http://schemas.openxmlformats.org/officeDocument/2006/relationships/slideLayout" Target="../slideLayouts/slideLayout328.xml"/><Relationship Id="rId15" Type="http://schemas.openxmlformats.org/officeDocument/2006/relationships/slideLayout" Target="../slideLayouts/slideLayout211.xml"/><Relationship Id="rId36" Type="http://schemas.openxmlformats.org/officeDocument/2006/relationships/slideLayout" Target="../slideLayouts/slideLayout232.xml"/><Relationship Id="rId57" Type="http://schemas.openxmlformats.org/officeDocument/2006/relationships/slideLayout" Target="../slideLayouts/slideLayout253.xml"/><Relationship Id="rId106" Type="http://schemas.openxmlformats.org/officeDocument/2006/relationships/slideLayout" Target="../slideLayouts/slideLayout302.xml"/><Relationship Id="rId127" Type="http://schemas.openxmlformats.org/officeDocument/2006/relationships/slideLayout" Target="../slideLayouts/slideLayout323.xml"/><Relationship Id="rId10" Type="http://schemas.openxmlformats.org/officeDocument/2006/relationships/slideLayout" Target="../slideLayouts/slideLayout206.xml"/><Relationship Id="rId31" Type="http://schemas.openxmlformats.org/officeDocument/2006/relationships/slideLayout" Target="../slideLayouts/slideLayout227.xml"/><Relationship Id="rId52" Type="http://schemas.openxmlformats.org/officeDocument/2006/relationships/slideLayout" Target="../slideLayouts/slideLayout248.xml"/><Relationship Id="rId73" Type="http://schemas.openxmlformats.org/officeDocument/2006/relationships/slideLayout" Target="../slideLayouts/slideLayout269.xml"/><Relationship Id="rId78" Type="http://schemas.openxmlformats.org/officeDocument/2006/relationships/slideLayout" Target="../slideLayouts/slideLayout274.xml"/><Relationship Id="rId94" Type="http://schemas.openxmlformats.org/officeDocument/2006/relationships/slideLayout" Target="../slideLayouts/slideLayout290.xml"/><Relationship Id="rId99" Type="http://schemas.openxmlformats.org/officeDocument/2006/relationships/slideLayout" Target="../slideLayouts/slideLayout295.xml"/><Relationship Id="rId101" Type="http://schemas.openxmlformats.org/officeDocument/2006/relationships/slideLayout" Target="../slideLayouts/slideLayout297.xml"/><Relationship Id="rId122" Type="http://schemas.openxmlformats.org/officeDocument/2006/relationships/slideLayout" Target="../slideLayouts/slideLayout318.xml"/><Relationship Id="rId4" Type="http://schemas.openxmlformats.org/officeDocument/2006/relationships/slideLayout" Target="../slideLayouts/slideLayout200.xml"/><Relationship Id="rId9" Type="http://schemas.openxmlformats.org/officeDocument/2006/relationships/slideLayout" Target="../slideLayouts/slideLayout205.xml"/><Relationship Id="rId26" Type="http://schemas.openxmlformats.org/officeDocument/2006/relationships/slideLayout" Target="../slideLayouts/slideLayout222.xml"/><Relationship Id="rId47" Type="http://schemas.openxmlformats.org/officeDocument/2006/relationships/slideLayout" Target="../slideLayouts/slideLayout243.xml"/><Relationship Id="rId68" Type="http://schemas.openxmlformats.org/officeDocument/2006/relationships/slideLayout" Target="../slideLayouts/slideLayout264.xml"/><Relationship Id="rId89" Type="http://schemas.openxmlformats.org/officeDocument/2006/relationships/slideLayout" Target="../slideLayouts/slideLayout285.xml"/><Relationship Id="rId112" Type="http://schemas.openxmlformats.org/officeDocument/2006/relationships/slideLayout" Target="../slideLayouts/slideLayout308.xml"/><Relationship Id="rId133" Type="http://schemas.openxmlformats.org/officeDocument/2006/relationships/slideLayout" Target="../slideLayouts/slideLayout3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First level (bullet 20pt)</a:t>
            </a:r>
          </a:p>
          <a:p>
            <a:pPr lvl="1"/>
            <a:r>
              <a:rPr lang="en-GB"/>
              <a:t>Second level (bullet 20pt)</a:t>
            </a:r>
          </a:p>
          <a:p>
            <a:pPr lvl="2"/>
            <a:r>
              <a:rPr lang="en-GB"/>
              <a:t>Third level (bullet 20pt)</a:t>
            </a:r>
          </a:p>
          <a:p>
            <a:pPr lvl="3"/>
            <a:r>
              <a:rPr lang="en-GB"/>
              <a:t>Fourth level (bullet 18pt)</a:t>
            </a:r>
          </a:p>
          <a:p>
            <a:pPr lvl="4"/>
            <a:r>
              <a:rPr lang="en-GB"/>
              <a:t>Fifth level (bullet 18pt)</a:t>
            </a:r>
          </a:p>
          <a:p>
            <a:pPr lvl="5"/>
            <a:r>
              <a:rPr lang="en-GB"/>
              <a:t>Sixth level (copy 16pt)</a:t>
            </a:r>
          </a:p>
          <a:p>
            <a:pPr lvl="6"/>
            <a:r>
              <a:rPr lang="en-GB"/>
              <a:t>Seventh level (small copy 12pt)</a:t>
            </a:r>
          </a:p>
          <a:p>
            <a:pPr lvl="7"/>
            <a:r>
              <a:rPr lang="en-GB"/>
              <a:t>EIGHT LEVEL (DESCRIPTOR 10PT)</a:t>
            </a:r>
          </a:p>
          <a:p>
            <a:pPr lvl="8"/>
            <a:r>
              <a:rPr lang="en-GB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2770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2" r:id="rId1"/>
    <p:sldLayoutId id="2147484173" r:id="rId2"/>
    <p:sldLayoutId id="2147484174" r:id="rId3"/>
    <p:sldLayoutId id="2147484175" r:id="rId4"/>
    <p:sldLayoutId id="2147484176" r:id="rId5"/>
    <p:sldLayoutId id="2147484177" r:id="rId6"/>
    <p:sldLayoutId id="2147484178" r:id="rId7"/>
    <p:sldLayoutId id="2147484179" r:id="rId8"/>
    <p:sldLayoutId id="2147484180" r:id="rId9"/>
    <p:sldLayoutId id="2147484181" r:id="rId10"/>
    <p:sldLayoutId id="2147484182" r:id="rId11"/>
    <p:sldLayoutId id="2147484183" r:id="rId12"/>
    <p:sldLayoutId id="2147484184" r:id="rId13"/>
    <p:sldLayoutId id="2147484185" r:id="rId14"/>
    <p:sldLayoutId id="2147484186" r:id="rId15"/>
    <p:sldLayoutId id="2147484187" r:id="rId16"/>
    <p:sldLayoutId id="2147484188" r:id="rId17"/>
    <p:sldLayoutId id="2147484189" r:id="rId18"/>
    <p:sldLayoutId id="2147484190" r:id="rId19"/>
    <p:sldLayoutId id="2147484191" r:id="rId20"/>
    <p:sldLayoutId id="2147484192" r:id="rId21"/>
    <p:sldLayoutId id="2147484193" r:id="rId22"/>
    <p:sldLayoutId id="2147484194" r:id="rId23"/>
    <p:sldLayoutId id="2147484195" r:id="rId24"/>
    <p:sldLayoutId id="2147484196" r:id="rId25"/>
    <p:sldLayoutId id="2147484197" r:id="rId26"/>
    <p:sldLayoutId id="2147484198" r:id="rId27"/>
    <p:sldLayoutId id="2147484199" r:id="rId28"/>
    <p:sldLayoutId id="2147484200" r:id="rId29"/>
    <p:sldLayoutId id="2147484201" r:id="rId30"/>
    <p:sldLayoutId id="2147484202" r:id="rId31"/>
    <p:sldLayoutId id="2147484203" r:id="rId32"/>
    <p:sldLayoutId id="2147484204" r:id="rId33"/>
    <p:sldLayoutId id="2147484205" r:id="rId34"/>
    <p:sldLayoutId id="2147484206" r:id="rId35"/>
    <p:sldLayoutId id="2147484207" r:id="rId36"/>
    <p:sldLayoutId id="2147484208" r:id="rId37"/>
    <p:sldLayoutId id="2147484209" r:id="rId38"/>
    <p:sldLayoutId id="2147484210" r:id="rId39"/>
    <p:sldLayoutId id="2147484211" r:id="rId40"/>
    <p:sldLayoutId id="2147484212" r:id="rId41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First level (bullet 20pt)</a:t>
            </a:r>
          </a:p>
          <a:p>
            <a:pPr lvl="1"/>
            <a:r>
              <a:rPr lang="en-GB"/>
              <a:t>Second level (bullet 20pt)</a:t>
            </a:r>
          </a:p>
          <a:p>
            <a:pPr lvl="2"/>
            <a:r>
              <a:rPr lang="en-GB"/>
              <a:t>Third level (bullet 20pt)</a:t>
            </a:r>
          </a:p>
          <a:p>
            <a:pPr lvl="3"/>
            <a:r>
              <a:rPr lang="en-GB"/>
              <a:t>Fourth level (bullet 18pt)</a:t>
            </a:r>
          </a:p>
          <a:p>
            <a:pPr lvl="4"/>
            <a:r>
              <a:rPr lang="en-GB"/>
              <a:t>Fifth level (bullet 18pt)</a:t>
            </a:r>
          </a:p>
          <a:p>
            <a:pPr lvl="5"/>
            <a:r>
              <a:rPr lang="en-GB"/>
              <a:t>Sixth level (copy 16pt)</a:t>
            </a:r>
          </a:p>
          <a:p>
            <a:pPr lvl="6"/>
            <a:r>
              <a:rPr lang="en-GB"/>
              <a:t>Seventh level (small copy 12pt)</a:t>
            </a:r>
          </a:p>
          <a:p>
            <a:pPr lvl="7"/>
            <a:r>
              <a:rPr lang="en-GB"/>
              <a:t>EIGHT LEVEL (DESCRIPTOR 10PT)</a:t>
            </a:r>
          </a:p>
          <a:p>
            <a:pPr lvl="8"/>
            <a:r>
              <a:rPr lang="en-GB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69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5" r:id="rId1"/>
    <p:sldLayoutId id="2147484216" r:id="rId2"/>
    <p:sldLayoutId id="2147484217" r:id="rId3"/>
    <p:sldLayoutId id="2147484218" r:id="rId4"/>
    <p:sldLayoutId id="2147484219" r:id="rId5"/>
    <p:sldLayoutId id="2147484220" r:id="rId6"/>
    <p:sldLayoutId id="2147484221" r:id="rId7"/>
    <p:sldLayoutId id="2147484222" r:id="rId8"/>
    <p:sldLayoutId id="2147484223" r:id="rId9"/>
    <p:sldLayoutId id="2147484224" r:id="rId10"/>
    <p:sldLayoutId id="2147484225" r:id="rId11"/>
    <p:sldLayoutId id="2147484226" r:id="rId12"/>
    <p:sldLayoutId id="2147484227" r:id="rId13"/>
    <p:sldLayoutId id="2147484228" r:id="rId14"/>
    <p:sldLayoutId id="2147484229" r:id="rId15"/>
    <p:sldLayoutId id="2147484230" r:id="rId16"/>
    <p:sldLayoutId id="2147484231" r:id="rId17"/>
    <p:sldLayoutId id="2147484232" r:id="rId18"/>
    <p:sldLayoutId id="2147484233" r:id="rId19"/>
    <p:sldLayoutId id="2147484234" r:id="rId20"/>
    <p:sldLayoutId id="2147484235" r:id="rId21"/>
    <p:sldLayoutId id="2147484236" r:id="rId22"/>
    <p:sldLayoutId id="2147484237" r:id="rId23"/>
    <p:sldLayoutId id="2147484238" r:id="rId24"/>
    <p:sldLayoutId id="2147484239" r:id="rId25"/>
    <p:sldLayoutId id="2147484240" r:id="rId26"/>
    <p:sldLayoutId id="2147484241" r:id="rId27"/>
    <p:sldLayoutId id="2147484242" r:id="rId28"/>
    <p:sldLayoutId id="2147484243" r:id="rId29"/>
    <p:sldLayoutId id="2147484244" r:id="rId30"/>
    <p:sldLayoutId id="2147484245" r:id="rId31"/>
    <p:sldLayoutId id="2147484246" r:id="rId32"/>
    <p:sldLayoutId id="2147484247" r:id="rId33"/>
    <p:sldLayoutId id="2147484248" r:id="rId34"/>
    <p:sldLayoutId id="2147484249" r:id="rId35"/>
    <p:sldLayoutId id="2147484250" r:id="rId36"/>
    <p:sldLayoutId id="2147484251" r:id="rId37"/>
    <p:sldLayoutId id="2147484252" r:id="rId38"/>
    <p:sldLayoutId id="2147484253" r:id="rId39"/>
    <p:sldLayoutId id="2147484254" r:id="rId40"/>
    <p:sldLayoutId id="2147484255" r:id="rId41"/>
    <p:sldLayoutId id="2147484256" r:id="rId42"/>
    <p:sldLayoutId id="2147484257" r:id="rId43"/>
  </p:sldLayoutIdLst>
  <p:hf sldNum="0"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BDBE19E-FBEC-42F5-9627-60DE29AF14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139461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1" imgW="473" imgH="476" progId="TCLayout.ActiveDocument.1">
                  <p:embed/>
                </p:oleObj>
              </mc:Choice>
              <mc:Fallback>
                <p:oleObj name="think-cell Folie" r:id="rId21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BDBE19E-FBEC-42F5-9627-60DE29AF14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CE259151-98C7-42EE-A157-21E25C3112DE}"/>
              </a:ext>
            </a:extLst>
          </p:cNvPr>
          <p:cNvSpPr/>
          <p:nvPr userDrawn="1"/>
        </p:nvSpPr>
        <p:spPr>
          <a:xfrm>
            <a:off x="79550" y="81000"/>
            <a:ext cx="12032900" cy="669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381001" y="6444745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tx1">
                    <a:lumMod val="85000"/>
                    <a:lumOff val="15000"/>
                  </a:schemeClr>
                </a:solidFill>
              </a:rPr>
              <a:t>Copyright © 2024 Accenture. All rights reserved.</a:t>
            </a:r>
            <a:endParaRPr lang="en-US" noProof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43459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US" sz="80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39667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1000"/>
            <a:ext cx="11430000" cy="81425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1" y="1196975"/>
            <a:ext cx="11430000" cy="51149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copy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69131C8-CE6B-6341-9DA7-272C9136918C}"/>
              </a:ext>
            </a:extLst>
          </p:cNvPr>
          <p:cNvSpPr txBox="1"/>
          <p:nvPr userDrawn="1"/>
        </p:nvSpPr>
        <p:spPr>
          <a:xfrm>
            <a:off x="1348740" y="10287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780D8D1-76D6-ED4D-915F-1DEEA7BF98C6}"/>
              </a:ext>
            </a:extLst>
          </p:cNvPr>
          <p:cNvSpPr txBox="1"/>
          <p:nvPr userDrawn="1"/>
        </p:nvSpPr>
        <p:spPr>
          <a:xfrm>
            <a:off x="1634490" y="2286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66301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5" r:id="rId1"/>
    <p:sldLayoutId id="2147484266" r:id="rId2"/>
    <p:sldLayoutId id="2147484267" r:id="rId3"/>
    <p:sldLayoutId id="2147484268" r:id="rId4"/>
    <p:sldLayoutId id="2147484269" r:id="rId5"/>
    <p:sldLayoutId id="2147484270" r:id="rId6"/>
    <p:sldLayoutId id="2147484271" r:id="rId7"/>
    <p:sldLayoutId id="2147484443" r:id="rId8"/>
    <p:sldLayoutId id="2147483669" r:id="rId9"/>
    <p:sldLayoutId id="2147483670" r:id="rId10"/>
    <p:sldLayoutId id="2147483671" r:id="rId11"/>
    <p:sldLayoutId id="2147483672" r:id="rId12"/>
    <p:sldLayoutId id="2147484632" r:id="rId13"/>
    <p:sldLayoutId id="2147484773" r:id="rId14"/>
    <p:sldLayoutId id="2147484774" r:id="rId15"/>
    <p:sldLayoutId id="2147484777" r:id="rId16"/>
    <p:sldLayoutId id="2147484778" r:id="rId17"/>
  </p:sldLayoutIdLst>
  <p:hf hdr="0" ft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spcAft>
          <a:spcPts val="0"/>
        </a:spcAft>
        <a:buFontTx/>
        <a:buNone/>
        <a:tabLst>
          <a:tab pos="1879600" algn="l"/>
        </a:tabLst>
        <a:defRPr sz="2800" b="1" i="0" kern="1200">
          <a:solidFill>
            <a:schemeClr val="accent2"/>
          </a:solidFill>
          <a:latin typeface="Graphik Semibold" panose="020B0703030202060203" pitchFamily="34" charset="0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lang="en-US" sz="1200" b="0" kern="0" spc="-30" dirty="0">
          <a:solidFill>
            <a:schemeClr val="tx1">
              <a:lumMod val="95000"/>
              <a:lumOff val="5000"/>
            </a:schemeClr>
          </a:solidFill>
          <a:latin typeface="Graphik Light"/>
          <a:ea typeface="+mj-ea"/>
          <a:cs typeface="+mj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lang="en-US" sz="1200" b="0" kern="0" spc="-30" dirty="0">
          <a:solidFill>
            <a:schemeClr val="tx1">
              <a:lumMod val="95000"/>
              <a:lumOff val="5000"/>
            </a:schemeClr>
          </a:solidFill>
          <a:latin typeface="Graphik Light"/>
          <a:ea typeface="+mj-ea"/>
          <a:cs typeface="+mj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System Font"/>
        <a:buChar char="–"/>
        <a:defRPr lang="en-US" sz="1200" b="0" kern="0" spc="-30" dirty="0">
          <a:solidFill>
            <a:schemeClr val="tx1">
              <a:lumMod val="95000"/>
              <a:lumOff val="5000"/>
            </a:schemeClr>
          </a:solidFill>
          <a:latin typeface="Graphik Light"/>
          <a:ea typeface="+mj-ea"/>
          <a:cs typeface="+mj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lang="en-US" sz="1200" b="0" kern="0" spc="-30" dirty="0">
          <a:solidFill>
            <a:schemeClr val="tx1">
              <a:lumMod val="95000"/>
              <a:lumOff val="5000"/>
            </a:schemeClr>
          </a:solidFill>
          <a:latin typeface="Graphik Light"/>
          <a:ea typeface="+mj-ea"/>
          <a:cs typeface="+mj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System Font"/>
        <a:buChar char="–"/>
        <a:defRPr lang="en-US" sz="1200" b="0" kern="0" spc="-30" dirty="0">
          <a:solidFill>
            <a:schemeClr val="tx1">
              <a:lumMod val="95000"/>
              <a:lumOff val="5000"/>
            </a:schemeClr>
          </a:solidFill>
          <a:latin typeface="Graphik Light"/>
          <a:ea typeface="+mj-ea"/>
          <a:cs typeface="+mj-cs"/>
        </a:defRPr>
      </a:lvl5pPr>
      <a:lvl6pPr marL="11113" indent="0" algn="l" defTabSz="2286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Graphik" panose="020B0503030202060203" pitchFamily="34" charset="0"/>
        <a:buNone/>
        <a:tabLst/>
        <a:defRPr lang="en-US" sz="1200" b="0" kern="0" spc="-30" dirty="0">
          <a:solidFill>
            <a:schemeClr val="tx1">
              <a:lumMod val="95000"/>
              <a:lumOff val="5000"/>
            </a:schemeClr>
          </a:solidFill>
          <a:latin typeface="Graphik Light"/>
          <a:ea typeface="+mj-ea"/>
          <a:cs typeface="+mj-cs"/>
        </a:defRPr>
      </a:lvl6pPr>
      <a:lvl7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lang="en-US" sz="1200" b="0" kern="0" spc="-30" dirty="0">
          <a:solidFill>
            <a:schemeClr val="tx1">
              <a:lumMod val="95000"/>
              <a:lumOff val="5000"/>
            </a:schemeClr>
          </a:solidFill>
          <a:latin typeface="Graphik Light"/>
          <a:ea typeface="+mj-ea"/>
          <a:cs typeface="+mj-cs"/>
        </a:defRPr>
      </a:lvl7pPr>
      <a:lvl8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lang="en-US" sz="1200" b="0" kern="0" spc="-30" dirty="0">
          <a:solidFill>
            <a:schemeClr val="tx1">
              <a:lumMod val="95000"/>
              <a:lumOff val="5000"/>
            </a:schemeClr>
          </a:solidFill>
          <a:latin typeface="Graphik Light"/>
          <a:ea typeface="+mj-ea"/>
          <a:cs typeface="+mj-cs"/>
        </a:defRPr>
      </a:lvl8pPr>
      <a:lvl9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lang="en-US" sz="1200" b="0" kern="0" spc="-30" dirty="0">
          <a:solidFill>
            <a:schemeClr val="tx1">
              <a:lumMod val="95000"/>
              <a:lumOff val="5000"/>
            </a:schemeClr>
          </a:solidFill>
          <a:latin typeface="Graphik Light"/>
          <a:ea typeface="+mj-ea"/>
          <a:cs typeface="+mj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5ACBF0"/>
          </p15:clr>
        </p15:guide>
        <p15:guide id="2" orient="horz" pos="3997">
          <p15:clr>
            <a:srgbClr val="FBAE40"/>
          </p15:clr>
        </p15:guide>
        <p15:guide id="3" pos="234">
          <p15:clr>
            <a:srgbClr val="FBAE40"/>
          </p15:clr>
        </p15:guide>
        <p15:guide id="4" pos="7446">
          <p15:clr>
            <a:srgbClr val="FBAE40"/>
          </p15:clr>
        </p15:guide>
        <p15:guide id="5" orient="horz" pos="4148">
          <p15:clr>
            <a:srgbClr val="5ACBF0"/>
          </p15:clr>
        </p15:guide>
        <p15:guide id="6" pos="3840">
          <p15:clr>
            <a:srgbClr val="A4A3A4"/>
          </p15:clr>
        </p15:guide>
        <p15:guide id="7" pos="3953">
          <p15:clr>
            <a:srgbClr val="A4A3A4"/>
          </p15:clr>
        </p15:guide>
        <p15:guide id="8" pos="3727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First level (bullet 20pt)</a:t>
            </a:r>
          </a:p>
          <a:p>
            <a:pPr lvl="1"/>
            <a:r>
              <a:rPr lang="en-GB"/>
              <a:t>Second level (bullet 20pt)</a:t>
            </a:r>
          </a:p>
          <a:p>
            <a:pPr lvl="2"/>
            <a:r>
              <a:rPr lang="en-GB"/>
              <a:t>Third level (bullet 20pt)</a:t>
            </a:r>
          </a:p>
          <a:p>
            <a:pPr lvl="3"/>
            <a:r>
              <a:rPr lang="en-GB"/>
              <a:t>Fourth level (bullet 18pt)</a:t>
            </a:r>
          </a:p>
          <a:p>
            <a:pPr lvl="4"/>
            <a:r>
              <a:rPr lang="en-GB"/>
              <a:t>Fifth level (bullet 18pt)</a:t>
            </a:r>
          </a:p>
          <a:p>
            <a:pPr lvl="5"/>
            <a:r>
              <a:rPr lang="en-GB"/>
              <a:t>Sixth level (copy 16pt)</a:t>
            </a:r>
          </a:p>
          <a:p>
            <a:pPr lvl="6"/>
            <a:r>
              <a:rPr lang="en-GB"/>
              <a:t>Seventh level (small copy 12pt)</a:t>
            </a:r>
          </a:p>
          <a:p>
            <a:pPr lvl="7"/>
            <a:r>
              <a:rPr lang="en-GB"/>
              <a:t>EIGHT LEVEL (DESCRIPTOR 10PT)</a:t>
            </a:r>
          </a:p>
          <a:p>
            <a:pPr lvl="8"/>
            <a:r>
              <a:rPr lang="en-GB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0170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6" r:id="rId1"/>
    <p:sldLayoutId id="2147484287" r:id="rId2"/>
    <p:sldLayoutId id="2147484288" r:id="rId3"/>
    <p:sldLayoutId id="2147484289" r:id="rId4"/>
    <p:sldLayoutId id="2147484290" r:id="rId5"/>
    <p:sldLayoutId id="2147484291" r:id="rId6"/>
    <p:sldLayoutId id="2147484292" r:id="rId7"/>
    <p:sldLayoutId id="2147484293" r:id="rId8"/>
    <p:sldLayoutId id="2147484294" r:id="rId9"/>
    <p:sldLayoutId id="2147484295" r:id="rId10"/>
    <p:sldLayoutId id="2147484296" r:id="rId11"/>
    <p:sldLayoutId id="2147484297" r:id="rId12"/>
    <p:sldLayoutId id="2147484298" r:id="rId13"/>
    <p:sldLayoutId id="2147484299" r:id="rId14"/>
    <p:sldLayoutId id="2147484300" r:id="rId15"/>
    <p:sldLayoutId id="2147484301" r:id="rId16"/>
    <p:sldLayoutId id="2147484302" r:id="rId17"/>
    <p:sldLayoutId id="2147484303" r:id="rId18"/>
    <p:sldLayoutId id="2147484304" r:id="rId19"/>
    <p:sldLayoutId id="2147484305" r:id="rId20"/>
    <p:sldLayoutId id="2147484306" r:id="rId21"/>
    <p:sldLayoutId id="2147484307" r:id="rId22"/>
    <p:sldLayoutId id="2147484308" r:id="rId23"/>
    <p:sldLayoutId id="2147484309" r:id="rId24"/>
    <p:sldLayoutId id="2147484310" r:id="rId25"/>
    <p:sldLayoutId id="2147484311" r:id="rId26"/>
    <p:sldLayoutId id="2147484312" r:id="rId27"/>
    <p:sldLayoutId id="2147484313" r:id="rId28"/>
    <p:sldLayoutId id="2147484314" r:id="rId29"/>
    <p:sldLayoutId id="2147484315" r:id="rId30"/>
    <p:sldLayoutId id="2147484316" r:id="rId31"/>
    <p:sldLayoutId id="2147484317" r:id="rId32"/>
    <p:sldLayoutId id="2147484318" r:id="rId33"/>
    <p:sldLayoutId id="2147484319" r:id="rId34"/>
    <p:sldLayoutId id="2147484320" r:id="rId35"/>
    <p:sldLayoutId id="2147484321" r:id="rId36"/>
    <p:sldLayoutId id="2147484322" r:id="rId37"/>
    <p:sldLayoutId id="2147484323" r:id="rId38"/>
    <p:sldLayoutId id="2147484324" r:id="rId39"/>
    <p:sldLayoutId id="2147484325" r:id="rId40"/>
    <p:sldLayoutId id="2147484326" r:id="rId41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sp>
        <p:nvSpPr>
          <p:cNvPr id="9" name="GTS_Purple">
            <a:extLst>
              <a:ext uri="{FF2B5EF4-FFF2-40B4-BE49-F238E27FC236}">
                <a16:creationId xmlns:a16="http://schemas.microsoft.com/office/drawing/2014/main" id="{AE0355C2-058C-4310-9508-BCC0F498FB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120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9" r:id="rId1"/>
    <p:sldLayoutId id="2147484370" r:id="rId2"/>
    <p:sldLayoutId id="2147484371" r:id="rId3"/>
    <p:sldLayoutId id="2147484372" r:id="rId4"/>
    <p:sldLayoutId id="2147484373" r:id="rId5"/>
    <p:sldLayoutId id="2147484374" r:id="rId6"/>
    <p:sldLayoutId id="2147484375" r:id="rId7"/>
    <p:sldLayoutId id="2147484376" r:id="rId8"/>
    <p:sldLayoutId id="2147484377" r:id="rId9"/>
    <p:sldLayoutId id="2147484378" r:id="rId10"/>
    <p:sldLayoutId id="2147484379" r:id="rId11"/>
    <p:sldLayoutId id="2147484380" r:id="rId12"/>
    <p:sldLayoutId id="2147484381" r:id="rId13"/>
    <p:sldLayoutId id="2147484382" r:id="rId14"/>
    <p:sldLayoutId id="2147484383" r:id="rId15"/>
    <p:sldLayoutId id="2147484384" r:id="rId16"/>
    <p:sldLayoutId id="2147484385" r:id="rId17"/>
    <p:sldLayoutId id="2147484386" r:id="rId18"/>
    <p:sldLayoutId id="2147484387" r:id="rId19"/>
    <p:sldLayoutId id="2147484388" r:id="rId20"/>
    <p:sldLayoutId id="2147484389" r:id="rId21"/>
    <p:sldLayoutId id="2147484390" r:id="rId22"/>
    <p:sldLayoutId id="2147484391" r:id="rId23"/>
    <p:sldLayoutId id="2147484392" r:id="rId24"/>
    <p:sldLayoutId id="2147484393" r:id="rId25"/>
    <p:sldLayoutId id="2147484394" r:id="rId26"/>
    <p:sldLayoutId id="2147484395" r:id="rId27"/>
    <p:sldLayoutId id="2147484396" r:id="rId28"/>
    <p:sldLayoutId id="2147484397" r:id="rId29"/>
    <p:sldLayoutId id="2147484398" r:id="rId30"/>
    <p:sldLayoutId id="2147484399" r:id="rId31"/>
    <p:sldLayoutId id="2147484400" r:id="rId32"/>
    <p:sldLayoutId id="2147484401" r:id="rId33"/>
    <p:sldLayoutId id="2147484402" r:id="rId34"/>
    <p:sldLayoutId id="2147484403" r:id="rId35"/>
    <p:sldLayoutId id="2147484404" r:id="rId36"/>
    <p:sldLayoutId id="2147484405" r:id="rId37"/>
    <p:sldLayoutId id="2147484406" r:id="rId38"/>
    <p:sldLayoutId id="2147484407" r:id="rId39"/>
    <p:sldLayoutId id="2147484408" r:id="rId40"/>
    <p:sldLayoutId id="2147484409" r:id="rId41"/>
    <p:sldLayoutId id="2147484410" r:id="rId42"/>
    <p:sldLayoutId id="2147484411" r:id="rId43"/>
    <p:sldLayoutId id="2147484412" r:id="rId44"/>
    <p:sldLayoutId id="2147484413" r:id="rId45"/>
    <p:sldLayoutId id="2147484414" r:id="rId46"/>
    <p:sldLayoutId id="2147484415" r:id="rId47"/>
    <p:sldLayoutId id="2147484416" r:id="rId48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12954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8CA602B-CE7D-43E6-B1B5-19FE60D27118}"/>
              </a:ext>
            </a:extLst>
          </p:cNvPr>
          <p:cNvSpPr txBox="1"/>
          <p:nvPr userDrawn="1"/>
        </p:nvSpPr>
        <p:spPr>
          <a:xfrm>
            <a:off x="8996363" y="6521886"/>
            <a:ext cx="2728956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871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Copyright © 2024 Accenture  All rights reserved. </a:t>
            </a:r>
            <a:endParaRPr lang="en-GB" sz="1000" b="0" i="0" kern="120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643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1" r:id="rId1"/>
    <p:sldLayoutId id="2147484613" r:id="rId2"/>
    <p:sldLayoutId id="2147484614" r:id="rId3"/>
    <p:sldLayoutId id="2147484615" r:id="rId4"/>
    <p:sldLayoutId id="2147484616" r:id="rId5"/>
    <p:sldLayoutId id="2147484617" r:id="rId6"/>
  </p:sldLayoutIdLst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  <p:hf sldNum="0" hdr="0" ft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1" i="0" kern="1200" cap="all" spc="-150" baseline="0">
          <a:solidFill>
            <a:schemeClr val="tx1"/>
          </a:solidFill>
          <a:latin typeface="Graphik Black" panose="020B0503030202060203" pitchFamily="34" charset="77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5000"/>
        </a:lnSpc>
        <a:spcBef>
          <a:spcPts val="0"/>
        </a:spcBef>
        <a:buFont typeface="Arial" panose="020B0604020202020204" pitchFamily="34" charset="0"/>
        <a:buNone/>
        <a:defRPr sz="1800" b="1" kern="1200" cap="all" baseline="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3034" indent="-169858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46066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24">
          <p15:clr>
            <a:srgbClr val="F26B43"/>
          </p15:clr>
        </p15:guide>
        <p15:guide id="2" pos="5640">
          <p15:clr>
            <a:srgbClr val="F26B43"/>
          </p15:clr>
        </p15:guide>
        <p15:guide id="4">
          <p15:clr>
            <a:srgbClr val="F26B43"/>
          </p15:clr>
        </p15:guide>
        <p15:guide id="5" orient="horz" pos="240">
          <p15:clr>
            <a:srgbClr val="F26B43"/>
          </p15:clr>
        </p15:guide>
        <p15:guide id="6" orient="horz">
          <p15:clr>
            <a:srgbClr val="F26B43"/>
          </p15:clr>
        </p15:guide>
        <p15:guide id="7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5" orient="horz" pos="2232">
          <p15:clr>
            <a:srgbClr val="F26B43"/>
          </p15:clr>
        </p15:guide>
        <p15:guide id="16" orient="horz" pos="32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6296E6-A69F-4136-B9BE-F650A3DF64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251825" y="6480578"/>
            <a:ext cx="3175200" cy="132523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800">
                <a:solidFill>
                  <a:schemeClr val="tx1">
                    <a:alpha val="65000"/>
                  </a:schemeClr>
                </a:solidFill>
              </a:defRPr>
            </a:lvl1pPr>
          </a:lstStyle>
          <a:p>
            <a:r>
              <a:rPr lang="en-US"/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516AA6-7BAE-48E9-A6DB-33C7D7A17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813" y="6480578"/>
            <a:ext cx="381600" cy="132523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800">
                <a:solidFill>
                  <a:schemeClr val="tx1">
                    <a:alpha val="65000"/>
                  </a:schemeClr>
                </a:solidFill>
              </a:defRPr>
            </a:lvl1pPr>
          </a:lstStyle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A2D51E3-A1D7-490E-A8E4-BCE05E45A9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00" y="346108"/>
            <a:ext cx="11460213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30ECA2-8DCA-43AA-8405-1F532ACC0F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717675"/>
            <a:ext cx="11428412" cy="4324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Accenture GTS">
            <a:extLst>
              <a:ext uri="{FF2B5EF4-FFF2-40B4-BE49-F238E27FC236}">
                <a16:creationId xmlns:a16="http://schemas.microsoft.com/office/drawing/2014/main" id="{AC9F4903-0471-4C80-8E15-B8D2D4B3EFC2}"/>
              </a:ext>
            </a:extLst>
          </p:cNvPr>
          <p:cNvPicPr>
            <a:picLocks noChangeAspect="1"/>
          </p:cNvPicPr>
          <p:nvPr userDrawn="1"/>
        </p:nvPicPr>
        <p:blipFill>
          <a:blip r:embed="rId13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8"/>
              </a:ext>
            </a:extLst>
          </a:blip>
          <a:stretch>
            <a:fillRect/>
          </a:stretch>
        </p:blipFill>
        <p:spPr>
          <a:xfrm>
            <a:off x="381000" y="6474701"/>
            <a:ext cx="190800" cy="209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88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4" r:id="rId1"/>
    <p:sldLayoutId id="2147484635" r:id="rId2"/>
    <p:sldLayoutId id="2147484636" r:id="rId3"/>
    <p:sldLayoutId id="2147484637" r:id="rId4"/>
    <p:sldLayoutId id="2147484638" r:id="rId5"/>
    <p:sldLayoutId id="2147484639" r:id="rId6"/>
    <p:sldLayoutId id="2147484640" r:id="rId7"/>
    <p:sldLayoutId id="2147484641" r:id="rId8"/>
    <p:sldLayoutId id="2147484642" r:id="rId9"/>
    <p:sldLayoutId id="2147484643" r:id="rId10"/>
    <p:sldLayoutId id="2147484644" r:id="rId11"/>
    <p:sldLayoutId id="2147484645" r:id="rId12"/>
    <p:sldLayoutId id="2147484646" r:id="rId13"/>
    <p:sldLayoutId id="2147484647" r:id="rId14"/>
    <p:sldLayoutId id="2147484648" r:id="rId15"/>
    <p:sldLayoutId id="2147484649" r:id="rId16"/>
    <p:sldLayoutId id="2147484650" r:id="rId17"/>
    <p:sldLayoutId id="2147484651" r:id="rId18"/>
    <p:sldLayoutId id="2147484652" r:id="rId19"/>
    <p:sldLayoutId id="2147484653" r:id="rId20"/>
    <p:sldLayoutId id="2147484654" r:id="rId21"/>
    <p:sldLayoutId id="2147484655" r:id="rId22"/>
    <p:sldLayoutId id="2147484656" r:id="rId23"/>
    <p:sldLayoutId id="2147484657" r:id="rId24"/>
    <p:sldLayoutId id="2147484658" r:id="rId25"/>
    <p:sldLayoutId id="2147484659" r:id="rId26"/>
    <p:sldLayoutId id="2147484660" r:id="rId27"/>
    <p:sldLayoutId id="2147484661" r:id="rId28"/>
    <p:sldLayoutId id="2147484662" r:id="rId29"/>
    <p:sldLayoutId id="2147484663" r:id="rId30"/>
    <p:sldLayoutId id="2147484664" r:id="rId31"/>
    <p:sldLayoutId id="2147484665" r:id="rId32"/>
    <p:sldLayoutId id="2147484666" r:id="rId33"/>
    <p:sldLayoutId id="2147484667" r:id="rId34"/>
    <p:sldLayoutId id="2147484668" r:id="rId35"/>
    <p:sldLayoutId id="2147484669" r:id="rId36"/>
    <p:sldLayoutId id="2147484670" r:id="rId37"/>
    <p:sldLayoutId id="2147484671" r:id="rId38"/>
    <p:sldLayoutId id="2147484672" r:id="rId39"/>
    <p:sldLayoutId id="2147484673" r:id="rId40"/>
    <p:sldLayoutId id="2147484674" r:id="rId41"/>
    <p:sldLayoutId id="2147484675" r:id="rId42"/>
    <p:sldLayoutId id="2147484676" r:id="rId43"/>
    <p:sldLayoutId id="2147484677" r:id="rId44"/>
    <p:sldLayoutId id="2147484678" r:id="rId45"/>
    <p:sldLayoutId id="2147484679" r:id="rId46"/>
    <p:sldLayoutId id="2147484680" r:id="rId47"/>
    <p:sldLayoutId id="2147484681" r:id="rId48"/>
    <p:sldLayoutId id="2147484682" r:id="rId49"/>
    <p:sldLayoutId id="2147484683" r:id="rId50"/>
    <p:sldLayoutId id="2147484684" r:id="rId51"/>
    <p:sldLayoutId id="2147484685" r:id="rId52"/>
    <p:sldLayoutId id="2147484686" r:id="rId53"/>
    <p:sldLayoutId id="2147484687" r:id="rId54"/>
    <p:sldLayoutId id="2147484688" r:id="rId55"/>
    <p:sldLayoutId id="2147484689" r:id="rId56"/>
    <p:sldLayoutId id="2147484690" r:id="rId57"/>
    <p:sldLayoutId id="2147484691" r:id="rId58"/>
    <p:sldLayoutId id="2147484692" r:id="rId59"/>
    <p:sldLayoutId id="2147484693" r:id="rId60"/>
    <p:sldLayoutId id="2147484694" r:id="rId61"/>
    <p:sldLayoutId id="2147484695" r:id="rId62"/>
    <p:sldLayoutId id="2147484696" r:id="rId63"/>
    <p:sldLayoutId id="2147484697" r:id="rId64"/>
    <p:sldLayoutId id="2147484698" r:id="rId65"/>
    <p:sldLayoutId id="2147484699" r:id="rId66"/>
    <p:sldLayoutId id="2147484700" r:id="rId67"/>
    <p:sldLayoutId id="2147484701" r:id="rId68"/>
    <p:sldLayoutId id="2147484702" r:id="rId69"/>
    <p:sldLayoutId id="2147484703" r:id="rId70"/>
    <p:sldLayoutId id="2147484704" r:id="rId71"/>
    <p:sldLayoutId id="2147484705" r:id="rId72"/>
    <p:sldLayoutId id="2147484706" r:id="rId73"/>
    <p:sldLayoutId id="2147484707" r:id="rId74"/>
    <p:sldLayoutId id="2147484708" r:id="rId75"/>
    <p:sldLayoutId id="2147484709" r:id="rId76"/>
    <p:sldLayoutId id="2147484710" r:id="rId77"/>
    <p:sldLayoutId id="2147484711" r:id="rId78"/>
    <p:sldLayoutId id="2147484712" r:id="rId79"/>
    <p:sldLayoutId id="2147484713" r:id="rId80"/>
    <p:sldLayoutId id="2147484714" r:id="rId81"/>
    <p:sldLayoutId id="2147484715" r:id="rId82"/>
    <p:sldLayoutId id="2147484716" r:id="rId83"/>
    <p:sldLayoutId id="2147484717" r:id="rId84"/>
    <p:sldLayoutId id="2147484718" r:id="rId85"/>
    <p:sldLayoutId id="2147484719" r:id="rId86"/>
    <p:sldLayoutId id="2147484720" r:id="rId87"/>
    <p:sldLayoutId id="2147484721" r:id="rId88"/>
    <p:sldLayoutId id="2147484722" r:id="rId89"/>
    <p:sldLayoutId id="2147484723" r:id="rId90"/>
    <p:sldLayoutId id="2147484724" r:id="rId91"/>
    <p:sldLayoutId id="2147484725" r:id="rId92"/>
    <p:sldLayoutId id="2147484726" r:id="rId93"/>
    <p:sldLayoutId id="2147484727" r:id="rId94"/>
    <p:sldLayoutId id="2147484728" r:id="rId95"/>
    <p:sldLayoutId id="2147484729" r:id="rId96"/>
    <p:sldLayoutId id="2147484730" r:id="rId97"/>
    <p:sldLayoutId id="2147484731" r:id="rId98"/>
    <p:sldLayoutId id="2147484732" r:id="rId99"/>
    <p:sldLayoutId id="2147484733" r:id="rId100"/>
    <p:sldLayoutId id="2147484734" r:id="rId101"/>
    <p:sldLayoutId id="2147484735" r:id="rId102"/>
    <p:sldLayoutId id="2147484736" r:id="rId103"/>
    <p:sldLayoutId id="2147484737" r:id="rId104"/>
    <p:sldLayoutId id="2147484738" r:id="rId105"/>
    <p:sldLayoutId id="2147484739" r:id="rId106"/>
    <p:sldLayoutId id="2147484740" r:id="rId107"/>
    <p:sldLayoutId id="2147484741" r:id="rId108"/>
    <p:sldLayoutId id="2147484742" r:id="rId109"/>
    <p:sldLayoutId id="2147484743" r:id="rId110"/>
    <p:sldLayoutId id="2147484744" r:id="rId111"/>
    <p:sldLayoutId id="2147484745" r:id="rId112"/>
    <p:sldLayoutId id="2147484746" r:id="rId113"/>
    <p:sldLayoutId id="2147484747" r:id="rId114"/>
    <p:sldLayoutId id="2147484748" r:id="rId115"/>
    <p:sldLayoutId id="2147484749" r:id="rId116"/>
    <p:sldLayoutId id="2147484750" r:id="rId117"/>
    <p:sldLayoutId id="2147484751" r:id="rId118"/>
    <p:sldLayoutId id="2147484752" r:id="rId119"/>
    <p:sldLayoutId id="2147484753" r:id="rId120"/>
    <p:sldLayoutId id="2147484754" r:id="rId121"/>
    <p:sldLayoutId id="2147484755" r:id="rId122"/>
    <p:sldLayoutId id="2147484756" r:id="rId123"/>
    <p:sldLayoutId id="2147484757" r:id="rId124"/>
    <p:sldLayoutId id="2147484758" r:id="rId125"/>
    <p:sldLayoutId id="2147484759" r:id="rId126"/>
    <p:sldLayoutId id="2147484760" r:id="rId127"/>
    <p:sldLayoutId id="2147484761" r:id="rId128"/>
    <p:sldLayoutId id="2147484762" r:id="rId129"/>
    <p:sldLayoutId id="2147484763" r:id="rId130"/>
    <p:sldLayoutId id="2147484764" r:id="rId131"/>
    <p:sldLayoutId id="2147484765" r:id="rId132"/>
    <p:sldLayoutId id="2147484766" r:id="rId133"/>
    <p:sldLayoutId id="2147484767" r:id="rId134"/>
    <p:sldLayoutId id="2147484776" r:id="rId13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800"/>
        </a:spcBef>
        <a:buFont typeface="Graphik" panose="020B05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0">
          <p15:clr>
            <a:srgbClr val="5ACBF0"/>
          </p15:clr>
        </p15:guide>
        <p15:guide id="2" pos="622">
          <p15:clr>
            <a:srgbClr val="C35EA4"/>
          </p15:clr>
        </p15:guide>
        <p15:guide id="3" pos="860">
          <p15:clr>
            <a:srgbClr val="A4A3A4"/>
          </p15:clr>
        </p15:guide>
        <p15:guide id="4" pos="1241">
          <p15:clr>
            <a:srgbClr val="A4A3A4"/>
          </p15:clr>
        </p15:guide>
        <p15:guide id="5" pos="1480">
          <p15:clr>
            <a:srgbClr val="A4A3A4"/>
          </p15:clr>
        </p15:guide>
        <p15:guide id="6" pos="1861">
          <p15:clr>
            <a:srgbClr val="A4A3A4"/>
          </p15:clr>
        </p15:guide>
        <p15:guide id="7" pos="2100">
          <p15:clr>
            <a:srgbClr val="A4A3A4"/>
          </p15:clr>
        </p15:guide>
        <p15:guide id="8" pos="2482">
          <p15:clr>
            <a:srgbClr val="A4A3A4"/>
          </p15:clr>
        </p15:guide>
        <p15:guide id="9" pos="2719">
          <p15:clr>
            <a:srgbClr val="A4A3A4"/>
          </p15:clr>
        </p15:guide>
        <p15:guide id="10" pos="3101">
          <p15:clr>
            <a:srgbClr val="A4A3A4"/>
          </p15:clr>
        </p15:guide>
        <p15:guide id="11" pos="3338">
          <p15:clr>
            <a:srgbClr val="A4A3A4"/>
          </p15:clr>
        </p15:guide>
        <p15:guide id="12" pos="3720">
          <p15:clr>
            <a:srgbClr val="A4A3A4"/>
          </p15:clr>
        </p15:guide>
        <p15:guide id="13" pos="3959">
          <p15:clr>
            <a:srgbClr val="A4A3A4"/>
          </p15:clr>
        </p15:guide>
        <p15:guide id="14" pos="4340">
          <p15:clr>
            <a:srgbClr val="A4A3A4"/>
          </p15:clr>
        </p15:guide>
        <p15:guide id="15" pos="4578">
          <p15:clr>
            <a:srgbClr val="A4A3A4"/>
          </p15:clr>
        </p15:guide>
        <p15:guide id="16" pos="4960">
          <p15:clr>
            <a:srgbClr val="A4A3A4"/>
          </p15:clr>
        </p15:guide>
        <p15:guide id="17" pos="5198">
          <p15:clr>
            <a:srgbClr val="A4A3A4"/>
          </p15:clr>
        </p15:guide>
        <p15:guide id="18" pos="5580">
          <p15:clr>
            <a:srgbClr val="A4A3A4"/>
          </p15:clr>
        </p15:guide>
        <p15:guide id="19" pos="5818">
          <p15:clr>
            <a:srgbClr val="A4A3A4"/>
          </p15:clr>
        </p15:guide>
        <p15:guide id="20" pos="6199">
          <p15:clr>
            <a:srgbClr val="A4A3A4"/>
          </p15:clr>
        </p15:guide>
        <p15:guide id="21" pos="6438">
          <p15:clr>
            <a:srgbClr val="A4A3A4"/>
          </p15:clr>
        </p15:guide>
        <p15:guide id="22" pos="6820">
          <p15:clr>
            <a:srgbClr val="A4A3A4"/>
          </p15:clr>
        </p15:guide>
        <p15:guide id="23" pos="7057">
          <p15:clr>
            <a:srgbClr val="C35EA4"/>
          </p15:clr>
        </p15:guide>
        <p15:guide id="24" pos="7439">
          <p15:clr>
            <a:srgbClr val="5ACBF0"/>
          </p15:clr>
        </p15:guide>
        <p15:guide id="25" orient="horz" pos="240">
          <p15:clr>
            <a:srgbClr val="5ACBF0"/>
          </p15:clr>
        </p15:guide>
        <p15:guide id="26" orient="horz" pos="4148">
          <p15:clr>
            <a:srgbClr val="5ACBF0"/>
          </p15:clr>
        </p15:guide>
        <p15:guide id="27" orient="horz" pos="4084">
          <p15:clr>
            <a:srgbClr val="5ACBF0"/>
          </p15:clr>
        </p15:guide>
        <p15:guide id="28" orient="horz" pos="3976">
          <p15:clr>
            <a:srgbClr val="9FCC3B"/>
          </p15:clr>
        </p15:guide>
        <p15:guide id="29" orient="horz" pos="3806">
          <p15:clr>
            <a:srgbClr val="C35EA4"/>
          </p15:clr>
        </p15:guide>
        <p15:guide id="30" orient="horz" pos="911">
          <p15:clr>
            <a:srgbClr val="9FCC3B"/>
          </p15:clr>
        </p15:guide>
        <p15:guide id="31" orient="horz" pos="1082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8.xml"/><Relationship Id="rId5" Type="http://schemas.openxmlformats.org/officeDocument/2006/relationships/image" Target="../media/image31.svg"/><Relationship Id="rId4" Type="http://schemas.openxmlformats.org/officeDocument/2006/relationships/image" Target="../media/image30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0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29.png"/><Relationship Id="rId12" Type="http://schemas.openxmlformats.org/officeDocument/2006/relationships/image" Target="../media/image134.png"/><Relationship Id="rId2" Type="http://schemas.openxmlformats.org/officeDocument/2006/relationships/slideLayout" Target="../slideLayouts/slideLayout92.xml"/><Relationship Id="rId1" Type="http://schemas.openxmlformats.org/officeDocument/2006/relationships/tags" Target="../tags/tag14.xml"/><Relationship Id="rId6" Type="http://schemas.openxmlformats.org/officeDocument/2006/relationships/image" Target="../media/image128.jpeg"/><Relationship Id="rId11" Type="http://schemas.openxmlformats.org/officeDocument/2006/relationships/image" Target="../media/image133.png"/><Relationship Id="rId5" Type="http://schemas.openxmlformats.org/officeDocument/2006/relationships/image" Target="../media/image32.emf"/><Relationship Id="rId10" Type="http://schemas.openxmlformats.org/officeDocument/2006/relationships/image" Target="../media/image132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131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kxdocuments.accenture.com/Contribution/4b623a23-8560-456c-aaaf-defab1f659eb" TargetMode="External"/><Relationship Id="rId1" Type="http://schemas.openxmlformats.org/officeDocument/2006/relationships/slideLayout" Target="../slideLayouts/slideLayout9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24.svg"/><Relationship Id="rId2" Type="http://schemas.openxmlformats.org/officeDocument/2006/relationships/slideLayout" Target="../slideLayouts/slideLayout92.xml"/><Relationship Id="rId1" Type="http://schemas.openxmlformats.org/officeDocument/2006/relationships/tags" Target="../tags/tag15.xml"/><Relationship Id="rId6" Type="http://schemas.openxmlformats.org/officeDocument/2006/relationships/image" Target="../media/image123.png"/><Relationship Id="rId5" Type="http://schemas.openxmlformats.org/officeDocument/2006/relationships/image" Target="../media/image32.emf"/><Relationship Id="rId10" Type="http://schemas.openxmlformats.org/officeDocument/2006/relationships/image" Target="../media/image127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126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92.xml"/><Relationship Id="rId1" Type="http://schemas.openxmlformats.org/officeDocument/2006/relationships/tags" Target="../tags/tag16.xml"/><Relationship Id="rId6" Type="http://schemas.openxmlformats.org/officeDocument/2006/relationships/image" Target="../media/image135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6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92.xml"/><Relationship Id="rId1" Type="http://schemas.openxmlformats.org/officeDocument/2006/relationships/tags" Target="../tags/tag17.xml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7.bin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24.svg"/><Relationship Id="rId2" Type="http://schemas.openxmlformats.org/officeDocument/2006/relationships/slideLayout" Target="../slideLayouts/slideLayout92.xml"/><Relationship Id="rId1" Type="http://schemas.openxmlformats.org/officeDocument/2006/relationships/tags" Target="../tags/tag18.xml"/><Relationship Id="rId6" Type="http://schemas.openxmlformats.org/officeDocument/2006/relationships/image" Target="../media/image123.png"/><Relationship Id="rId5" Type="http://schemas.openxmlformats.org/officeDocument/2006/relationships/image" Target="../media/image32.emf"/><Relationship Id="rId10" Type="http://schemas.openxmlformats.org/officeDocument/2006/relationships/image" Target="../media/image127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126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13" Type="http://schemas.openxmlformats.org/officeDocument/2006/relationships/image" Target="../media/image35.png"/><Relationship Id="rId18" Type="http://schemas.openxmlformats.org/officeDocument/2006/relationships/image" Target="../media/image40.png"/><Relationship Id="rId26" Type="http://schemas.openxmlformats.org/officeDocument/2006/relationships/image" Target="../media/image100.png"/><Relationship Id="rId3" Type="http://schemas.openxmlformats.org/officeDocument/2006/relationships/notesSlide" Target="../notesSlides/notesSlide13.xml"/><Relationship Id="rId21" Type="http://schemas.openxmlformats.org/officeDocument/2006/relationships/image" Target="../media/image44.png"/><Relationship Id="rId7" Type="http://schemas.openxmlformats.org/officeDocument/2006/relationships/image" Target="../media/image124.svg"/><Relationship Id="rId12" Type="http://schemas.openxmlformats.org/officeDocument/2006/relationships/image" Target="../media/image34.png"/><Relationship Id="rId17" Type="http://schemas.openxmlformats.org/officeDocument/2006/relationships/image" Target="../media/image39.png"/><Relationship Id="rId25" Type="http://schemas.openxmlformats.org/officeDocument/2006/relationships/image" Target="../media/image47.png"/><Relationship Id="rId2" Type="http://schemas.openxmlformats.org/officeDocument/2006/relationships/slideLayout" Target="../slideLayouts/slideLayout92.xml"/><Relationship Id="rId16" Type="http://schemas.openxmlformats.org/officeDocument/2006/relationships/image" Target="../media/image38.png"/><Relationship Id="rId20" Type="http://schemas.openxmlformats.org/officeDocument/2006/relationships/image" Target="../media/image43.jpeg"/><Relationship Id="rId1" Type="http://schemas.openxmlformats.org/officeDocument/2006/relationships/tags" Target="../tags/tag19.xml"/><Relationship Id="rId6" Type="http://schemas.openxmlformats.org/officeDocument/2006/relationships/image" Target="../media/image123.png"/><Relationship Id="rId11" Type="http://schemas.openxmlformats.org/officeDocument/2006/relationships/image" Target="../media/image33.png"/><Relationship Id="rId24" Type="http://schemas.openxmlformats.org/officeDocument/2006/relationships/image" Target="../media/image46.png"/><Relationship Id="rId5" Type="http://schemas.openxmlformats.org/officeDocument/2006/relationships/image" Target="../media/image32.emf"/><Relationship Id="rId15" Type="http://schemas.openxmlformats.org/officeDocument/2006/relationships/image" Target="../media/image37.png"/><Relationship Id="rId23" Type="http://schemas.openxmlformats.org/officeDocument/2006/relationships/image" Target="../media/image45.png"/><Relationship Id="rId10" Type="http://schemas.openxmlformats.org/officeDocument/2006/relationships/image" Target="../media/image127.emf"/><Relationship Id="rId19" Type="http://schemas.openxmlformats.org/officeDocument/2006/relationships/image" Target="../media/image42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126.svg"/><Relationship Id="rId14" Type="http://schemas.openxmlformats.org/officeDocument/2006/relationships/image" Target="../media/image36.png"/><Relationship Id="rId22" Type="http://schemas.openxmlformats.org/officeDocument/2006/relationships/image" Target="../media/image136.png"/><Relationship Id="rId27" Type="http://schemas.openxmlformats.org/officeDocument/2006/relationships/image" Target="../media/image10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24.svg"/><Relationship Id="rId2" Type="http://schemas.openxmlformats.org/officeDocument/2006/relationships/slideLayout" Target="../slideLayouts/slideLayout92.xml"/><Relationship Id="rId1" Type="http://schemas.openxmlformats.org/officeDocument/2006/relationships/tags" Target="../tags/tag20.xml"/><Relationship Id="rId6" Type="http://schemas.openxmlformats.org/officeDocument/2006/relationships/image" Target="../media/image123.png"/><Relationship Id="rId5" Type="http://schemas.openxmlformats.org/officeDocument/2006/relationships/image" Target="../media/image32.emf"/><Relationship Id="rId10" Type="http://schemas.openxmlformats.org/officeDocument/2006/relationships/image" Target="../media/image127.emf"/><Relationship Id="rId4" Type="http://schemas.openxmlformats.org/officeDocument/2006/relationships/oleObject" Target="../embeddings/oleObject20.bin"/><Relationship Id="rId9" Type="http://schemas.openxmlformats.org/officeDocument/2006/relationships/image" Target="../media/image126.sv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0.png"/><Relationship Id="rId18" Type="http://schemas.openxmlformats.org/officeDocument/2006/relationships/image" Target="../media/image45.png"/><Relationship Id="rId26" Type="http://schemas.openxmlformats.org/officeDocument/2006/relationships/image" Target="../media/image51.png"/><Relationship Id="rId39" Type="http://schemas.openxmlformats.org/officeDocument/2006/relationships/image" Target="../media/image64.png"/><Relationship Id="rId21" Type="http://schemas.openxmlformats.org/officeDocument/2006/relationships/chart" Target="../charts/chart1.xml"/><Relationship Id="rId34" Type="http://schemas.openxmlformats.org/officeDocument/2006/relationships/image" Target="../media/image59.png"/><Relationship Id="rId42" Type="http://schemas.openxmlformats.org/officeDocument/2006/relationships/image" Target="../media/image67.png"/><Relationship Id="rId47" Type="http://schemas.openxmlformats.org/officeDocument/2006/relationships/image" Target="../media/image72.png"/><Relationship Id="rId50" Type="http://schemas.openxmlformats.org/officeDocument/2006/relationships/image" Target="../media/image75.png"/><Relationship Id="rId55" Type="http://schemas.openxmlformats.org/officeDocument/2006/relationships/image" Target="../media/image80.png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92.xml"/><Relationship Id="rId16" Type="http://schemas.openxmlformats.org/officeDocument/2006/relationships/image" Target="../media/image43.jpeg"/><Relationship Id="rId29" Type="http://schemas.openxmlformats.org/officeDocument/2006/relationships/image" Target="../media/image54.png"/><Relationship Id="rId11" Type="http://schemas.openxmlformats.org/officeDocument/2006/relationships/image" Target="../media/image38.png"/><Relationship Id="rId24" Type="http://schemas.openxmlformats.org/officeDocument/2006/relationships/image" Target="../media/image49.png"/><Relationship Id="rId32" Type="http://schemas.openxmlformats.org/officeDocument/2006/relationships/image" Target="../media/image57.png"/><Relationship Id="rId37" Type="http://schemas.openxmlformats.org/officeDocument/2006/relationships/image" Target="../media/image62.jpeg"/><Relationship Id="rId40" Type="http://schemas.openxmlformats.org/officeDocument/2006/relationships/image" Target="../media/image65.emf"/><Relationship Id="rId45" Type="http://schemas.openxmlformats.org/officeDocument/2006/relationships/image" Target="../media/image70.png"/><Relationship Id="rId53" Type="http://schemas.openxmlformats.org/officeDocument/2006/relationships/image" Target="../media/image78.png"/><Relationship Id="rId5" Type="http://schemas.openxmlformats.org/officeDocument/2006/relationships/image" Target="../media/image32.emf"/><Relationship Id="rId19" Type="http://schemas.openxmlformats.org/officeDocument/2006/relationships/image" Target="../media/image46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36.png"/><Relationship Id="rId14" Type="http://schemas.openxmlformats.org/officeDocument/2006/relationships/image" Target="../media/image41.png"/><Relationship Id="rId22" Type="http://schemas.openxmlformats.org/officeDocument/2006/relationships/chart" Target="../charts/chart2.xml"/><Relationship Id="rId27" Type="http://schemas.openxmlformats.org/officeDocument/2006/relationships/image" Target="../media/image52.png"/><Relationship Id="rId30" Type="http://schemas.openxmlformats.org/officeDocument/2006/relationships/image" Target="../media/image55.png"/><Relationship Id="rId35" Type="http://schemas.openxmlformats.org/officeDocument/2006/relationships/image" Target="../media/image60.png"/><Relationship Id="rId43" Type="http://schemas.openxmlformats.org/officeDocument/2006/relationships/image" Target="../media/image68.png"/><Relationship Id="rId48" Type="http://schemas.openxmlformats.org/officeDocument/2006/relationships/image" Target="../media/image73.png"/><Relationship Id="rId56" Type="http://schemas.openxmlformats.org/officeDocument/2006/relationships/image" Target="../media/image81.jpeg"/><Relationship Id="rId8" Type="http://schemas.openxmlformats.org/officeDocument/2006/relationships/image" Target="../media/image35.png"/><Relationship Id="rId51" Type="http://schemas.openxmlformats.org/officeDocument/2006/relationships/image" Target="../media/image76.png"/><Relationship Id="rId3" Type="http://schemas.openxmlformats.org/officeDocument/2006/relationships/notesSlide" Target="../notesSlides/notesSlide2.xml"/><Relationship Id="rId12" Type="http://schemas.openxmlformats.org/officeDocument/2006/relationships/image" Target="../media/image39.png"/><Relationship Id="rId17" Type="http://schemas.openxmlformats.org/officeDocument/2006/relationships/image" Target="../media/image44.png"/><Relationship Id="rId25" Type="http://schemas.openxmlformats.org/officeDocument/2006/relationships/image" Target="../media/image50.png"/><Relationship Id="rId33" Type="http://schemas.openxmlformats.org/officeDocument/2006/relationships/image" Target="../media/image58.png"/><Relationship Id="rId38" Type="http://schemas.openxmlformats.org/officeDocument/2006/relationships/image" Target="../media/image63.png"/><Relationship Id="rId46" Type="http://schemas.openxmlformats.org/officeDocument/2006/relationships/image" Target="../media/image71.jpeg"/><Relationship Id="rId20" Type="http://schemas.openxmlformats.org/officeDocument/2006/relationships/image" Target="../media/image47.png"/><Relationship Id="rId41" Type="http://schemas.openxmlformats.org/officeDocument/2006/relationships/image" Target="../media/image66.png"/><Relationship Id="rId54" Type="http://schemas.openxmlformats.org/officeDocument/2006/relationships/image" Target="../media/image79.png"/><Relationship Id="rId1" Type="http://schemas.openxmlformats.org/officeDocument/2006/relationships/tags" Target="../tags/tag9.xml"/><Relationship Id="rId6" Type="http://schemas.openxmlformats.org/officeDocument/2006/relationships/image" Target="../media/image33.png"/><Relationship Id="rId15" Type="http://schemas.openxmlformats.org/officeDocument/2006/relationships/image" Target="../media/image42.png"/><Relationship Id="rId23" Type="http://schemas.openxmlformats.org/officeDocument/2006/relationships/image" Target="../media/image48.png"/><Relationship Id="rId28" Type="http://schemas.openxmlformats.org/officeDocument/2006/relationships/image" Target="../media/image53.png"/><Relationship Id="rId36" Type="http://schemas.openxmlformats.org/officeDocument/2006/relationships/image" Target="../media/image61.jpeg"/><Relationship Id="rId49" Type="http://schemas.openxmlformats.org/officeDocument/2006/relationships/image" Target="../media/image74.jpeg"/><Relationship Id="rId57" Type="http://schemas.openxmlformats.org/officeDocument/2006/relationships/image" Target="../media/image82.png"/><Relationship Id="rId10" Type="http://schemas.openxmlformats.org/officeDocument/2006/relationships/image" Target="../media/image37.png"/><Relationship Id="rId31" Type="http://schemas.openxmlformats.org/officeDocument/2006/relationships/image" Target="../media/image56.jpeg"/><Relationship Id="rId44" Type="http://schemas.openxmlformats.org/officeDocument/2006/relationships/image" Target="../media/image69.png"/><Relationship Id="rId52" Type="http://schemas.openxmlformats.org/officeDocument/2006/relationships/image" Target="../media/image77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8.svg"/><Relationship Id="rId13" Type="http://schemas.openxmlformats.org/officeDocument/2006/relationships/image" Target="../media/image143.png"/><Relationship Id="rId18" Type="http://schemas.openxmlformats.org/officeDocument/2006/relationships/image" Target="../media/image148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37.png"/><Relationship Id="rId12" Type="http://schemas.openxmlformats.org/officeDocument/2006/relationships/image" Target="../media/image142.svg"/><Relationship Id="rId17" Type="http://schemas.openxmlformats.org/officeDocument/2006/relationships/image" Target="../media/image147.svg"/><Relationship Id="rId2" Type="http://schemas.openxmlformats.org/officeDocument/2006/relationships/slideLayout" Target="../slideLayouts/slideLayout92.xml"/><Relationship Id="rId16" Type="http://schemas.openxmlformats.org/officeDocument/2006/relationships/image" Target="../media/image146.png"/><Relationship Id="rId1" Type="http://schemas.openxmlformats.org/officeDocument/2006/relationships/tags" Target="../tags/tag21.xml"/><Relationship Id="rId6" Type="http://schemas.openxmlformats.org/officeDocument/2006/relationships/image" Target="../media/image32.emf"/><Relationship Id="rId11" Type="http://schemas.openxmlformats.org/officeDocument/2006/relationships/image" Target="../media/image141.png"/><Relationship Id="rId5" Type="http://schemas.openxmlformats.org/officeDocument/2006/relationships/oleObject" Target="../embeddings/oleObject21.bin"/><Relationship Id="rId15" Type="http://schemas.openxmlformats.org/officeDocument/2006/relationships/image" Target="../media/image145.png"/><Relationship Id="rId10" Type="http://schemas.openxmlformats.org/officeDocument/2006/relationships/image" Target="../media/image140.svg"/><Relationship Id="rId19" Type="http://schemas.openxmlformats.org/officeDocument/2006/relationships/image" Target="../media/image149.svg"/><Relationship Id="rId4" Type="http://schemas.microsoft.com/office/2018/10/relationships/comments" Target="../comments/modernComment_7FFFFD3C_5C901F55.xml"/><Relationship Id="rId9" Type="http://schemas.openxmlformats.org/officeDocument/2006/relationships/image" Target="../media/image139.png"/><Relationship Id="rId14" Type="http://schemas.openxmlformats.org/officeDocument/2006/relationships/image" Target="../media/image144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153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90.svg"/><Relationship Id="rId12" Type="http://schemas.openxmlformats.org/officeDocument/2006/relationships/image" Target="../media/image49.png"/><Relationship Id="rId2" Type="http://schemas.openxmlformats.org/officeDocument/2006/relationships/slideLayout" Target="../slideLayouts/slideLayout92.xml"/><Relationship Id="rId1" Type="http://schemas.openxmlformats.org/officeDocument/2006/relationships/tags" Target="../tags/tag22.xml"/><Relationship Id="rId6" Type="http://schemas.openxmlformats.org/officeDocument/2006/relationships/image" Target="../media/image89.png"/><Relationship Id="rId11" Type="http://schemas.openxmlformats.org/officeDocument/2006/relationships/image" Target="../media/image152.png"/><Relationship Id="rId5" Type="http://schemas.openxmlformats.org/officeDocument/2006/relationships/image" Target="../media/image32.emf"/><Relationship Id="rId10" Type="http://schemas.openxmlformats.org/officeDocument/2006/relationships/image" Target="../media/image151.pn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50.png"/><Relationship Id="rId14" Type="http://schemas.openxmlformats.org/officeDocument/2006/relationships/image" Target="../media/image15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13" Type="http://schemas.openxmlformats.org/officeDocument/2006/relationships/hyperlink" Target="https://digitalpoland.org/publikacje/pobierz?id=8684d256-b68e-4624-9229-e9e3bd33da0c" TargetMode="External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124.svg"/><Relationship Id="rId12" Type="http://schemas.openxmlformats.org/officeDocument/2006/relationships/hyperlink" Target="https://www.auswaertiges-amt.de/blob/2344738/b2a4e47fdb9e8e2739bab2565f8fe7c2/deutsch-als-fremdsprache-data.pdf" TargetMode="External"/><Relationship Id="rId17" Type="http://schemas.openxmlformats.org/officeDocument/2006/relationships/hyperlink" Target="https://www.hackerrank.com/blog/which-country-would-win-in-the-programming-olympics/" TargetMode="External"/><Relationship Id="rId2" Type="http://schemas.openxmlformats.org/officeDocument/2006/relationships/slideLayout" Target="../slideLayouts/slideLayout92.xml"/><Relationship Id="rId16" Type="http://schemas.openxmlformats.org/officeDocument/2006/relationships/hyperlink" Target="https://stat.gov.pl/en/topics/education/education/higher-education-in-the-202122-academic-year-preliminary-data,10,8.html" TargetMode="External"/><Relationship Id="rId1" Type="http://schemas.openxmlformats.org/officeDocument/2006/relationships/tags" Target="../tags/tag23.xml"/><Relationship Id="rId6" Type="http://schemas.openxmlformats.org/officeDocument/2006/relationships/image" Target="../media/image123.png"/><Relationship Id="rId11" Type="http://schemas.openxmlformats.org/officeDocument/2006/relationships/hyperlink" Target="https://www.oecd.org/pisa/PISA%202018%20Insights%20and%20Interpretations%20FINAL%20PDF.pdf" TargetMode="External"/><Relationship Id="rId5" Type="http://schemas.openxmlformats.org/officeDocument/2006/relationships/image" Target="../media/image32.emf"/><Relationship Id="rId15" Type="http://schemas.openxmlformats.org/officeDocument/2006/relationships/hyperlink" Target="https://ec.europa.eu/eurostat/documents/15234730/15241943/KS-HA-21-001-EN-N.pdf/202462e1-b947-a2c5-6da2-c3d999018134?t=1667396809671" TargetMode="External"/><Relationship Id="rId10" Type="http://schemas.openxmlformats.org/officeDocument/2006/relationships/image" Target="../media/image127.emf"/><Relationship Id="rId4" Type="http://schemas.openxmlformats.org/officeDocument/2006/relationships/oleObject" Target="../embeddings/oleObject23.bin"/><Relationship Id="rId9" Type="http://schemas.openxmlformats.org/officeDocument/2006/relationships/image" Target="../media/image126.svg"/><Relationship Id="rId14" Type="http://schemas.openxmlformats.org/officeDocument/2006/relationships/hyperlink" Target="https://digitalpoland.org/publikacje/pobierz?id=2dcba0cd-6666-4049-83b7-462343b137fd" TargetMode="Externa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13" Type="http://schemas.openxmlformats.org/officeDocument/2006/relationships/diagramQuickStyle" Target="../diagrams/quickStyle1.xml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124.svg"/><Relationship Id="rId12" Type="http://schemas.openxmlformats.org/officeDocument/2006/relationships/diagramLayout" Target="../diagrams/layout1.xml"/><Relationship Id="rId2" Type="http://schemas.openxmlformats.org/officeDocument/2006/relationships/slideLayout" Target="../slideLayouts/slideLayout92.xml"/><Relationship Id="rId1" Type="http://schemas.openxmlformats.org/officeDocument/2006/relationships/tags" Target="../tags/tag24.xml"/><Relationship Id="rId6" Type="http://schemas.openxmlformats.org/officeDocument/2006/relationships/image" Target="../media/image123.png"/><Relationship Id="rId11" Type="http://schemas.openxmlformats.org/officeDocument/2006/relationships/diagramData" Target="../diagrams/data1.xml"/><Relationship Id="rId5" Type="http://schemas.openxmlformats.org/officeDocument/2006/relationships/image" Target="../media/image32.emf"/><Relationship Id="rId15" Type="http://schemas.microsoft.com/office/2007/relationships/diagramDrawing" Target="../diagrams/drawing1.xml"/><Relationship Id="rId10" Type="http://schemas.openxmlformats.org/officeDocument/2006/relationships/image" Target="../media/image127.emf"/><Relationship Id="rId4" Type="http://schemas.openxmlformats.org/officeDocument/2006/relationships/oleObject" Target="../embeddings/oleObject24.bin"/><Relationship Id="rId9" Type="http://schemas.openxmlformats.org/officeDocument/2006/relationships/image" Target="../media/image126.svg"/><Relationship Id="rId14" Type="http://schemas.openxmlformats.org/officeDocument/2006/relationships/diagramColors" Target="../diagrams/colors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svg"/><Relationship Id="rId13" Type="http://schemas.openxmlformats.org/officeDocument/2006/relationships/image" Target="../media/image157.svg"/><Relationship Id="rId18" Type="http://schemas.openxmlformats.org/officeDocument/2006/relationships/image" Target="../media/image162.pn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123.png"/><Relationship Id="rId12" Type="http://schemas.openxmlformats.org/officeDocument/2006/relationships/image" Target="../media/image156.png"/><Relationship Id="rId17" Type="http://schemas.openxmlformats.org/officeDocument/2006/relationships/image" Target="../media/image161.svg"/><Relationship Id="rId2" Type="http://schemas.openxmlformats.org/officeDocument/2006/relationships/slideLayout" Target="../slideLayouts/slideLayout92.xml"/><Relationship Id="rId16" Type="http://schemas.openxmlformats.org/officeDocument/2006/relationships/image" Target="../media/image160.png"/><Relationship Id="rId1" Type="http://schemas.openxmlformats.org/officeDocument/2006/relationships/tags" Target="../tags/tag25.xml"/><Relationship Id="rId6" Type="http://schemas.openxmlformats.org/officeDocument/2006/relationships/image" Target="../media/image32.emf"/><Relationship Id="rId11" Type="http://schemas.openxmlformats.org/officeDocument/2006/relationships/image" Target="../media/image127.emf"/><Relationship Id="rId5" Type="http://schemas.openxmlformats.org/officeDocument/2006/relationships/oleObject" Target="../embeddings/oleObject25.bin"/><Relationship Id="rId15" Type="http://schemas.openxmlformats.org/officeDocument/2006/relationships/image" Target="../media/image159.svg"/><Relationship Id="rId10" Type="http://schemas.openxmlformats.org/officeDocument/2006/relationships/image" Target="../media/image126.svg"/><Relationship Id="rId19" Type="http://schemas.openxmlformats.org/officeDocument/2006/relationships/image" Target="../media/image163.svg"/><Relationship Id="rId4" Type="http://schemas.openxmlformats.org/officeDocument/2006/relationships/image" Target="../media/image155.png"/><Relationship Id="rId9" Type="http://schemas.openxmlformats.org/officeDocument/2006/relationships/image" Target="../media/image125.png"/><Relationship Id="rId14" Type="http://schemas.openxmlformats.org/officeDocument/2006/relationships/image" Target="../media/image15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99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2.png"/><Relationship Id="rId18" Type="http://schemas.openxmlformats.org/officeDocument/2006/relationships/image" Target="../media/image97.png"/><Relationship Id="rId26" Type="http://schemas.openxmlformats.org/officeDocument/2006/relationships/image" Target="../media/image104.png"/><Relationship Id="rId39" Type="http://schemas.openxmlformats.org/officeDocument/2006/relationships/image" Target="../media/image48.png"/><Relationship Id="rId21" Type="http://schemas.openxmlformats.org/officeDocument/2006/relationships/image" Target="../media/image100.png"/><Relationship Id="rId34" Type="http://schemas.openxmlformats.org/officeDocument/2006/relationships/image" Target="../media/image112.png"/><Relationship Id="rId42" Type="http://schemas.openxmlformats.org/officeDocument/2006/relationships/image" Target="../media/image51.png"/><Relationship Id="rId7" Type="http://schemas.openxmlformats.org/officeDocument/2006/relationships/image" Target="../media/image86.svg"/><Relationship Id="rId2" Type="http://schemas.openxmlformats.org/officeDocument/2006/relationships/slideLayout" Target="../slideLayouts/slideLayout92.xml"/><Relationship Id="rId16" Type="http://schemas.openxmlformats.org/officeDocument/2006/relationships/image" Target="../media/image95.png"/><Relationship Id="rId20" Type="http://schemas.openxmlformats.org/officeDocument/2006/relationships/image" Target="../media/image99.svg"/><Relationship Id="rId29" Type="http://schemas.openxmlformats.org/officeDocument/2006/relationships/image" Target="../media/image107.png"/><Relationship Id="rId41" Type="http://schemas.openxmlformats.org/officeDocument/2006/relationships/image" Target="../media/image50.png"/><Relationship Id="rId1" Type="http://schemas.openxmlformats.org/officeDocument/2006/relationships/tags" Target="../tags/tag10.xml"/><Relationship Id="rId6" Type="http://schemas.openxmlformats.org/officeDocument/2006/relationships/image" Target="../media/image85.png"/><Relationship Id="rId11" Type="http://schemas.openxmlformats.org/officeDocument/2006/relationships/image" Target="../media/image90.svg"/><Relationship Id="rId24" Type="http://schemas.openxmlformats.org/officeDocument/2006/relationships/image" Target="../media/image103.png"/><Relationship Id="rId32" Type="http://schemas.openxmlformats.org/officeDocument/2006/relationships/image" Target="../media/image110.png"/><Relationship Id="rId37" Type="http://schemas.openxmlformats.org/officeDocument/2006/relationships/image" Target="../media/image115.png"/><Relationship Id="rId40" Type="http://schemas.openxmlformats.org/officeDocument/2006/relationships/image" Target="../media/image49.png"/><Relationship Id="rId5" Type="http://schemas.openxmlformats.org/officeDocument/2006/relationships/image" Target="../media/image32.emf"/><Relationship Id="rId15" Type="http://schemas.openxmlformats.org/officeDocument/2006/relationships/image" Target="../media/image94.svg"/><Relationship Id="rId23" Type="http://schemas.openxmlformats.org/officeDocument/2006/relationships/image" Target="../media/image102.png"/><Relationship Id="rId28" Type="http://schemas.openxmlformats.org/officeDocument/2006/relationships/image" Target="../media/image106.png"/><Relationship Id="rId36" Type="http://schemas.openxmlformats.org/officeDocument/2006/relationships/image" Target="../media/image114.png"/><Relationship Id="rId10" Type="http://schemas.openxmlformats.org/officeDocument/2006/relationships/image" Target="../media/image89.png"/><Relationship Id="rId19" Type="http://schemas.openxmlformats.org/officeDocument/2006/relationships/image" Target="../media/image98.png"/><Relationship Id="rId31" Type="http://schemas.openxmlformats.org/officeDocument/2006/relationships/image" Target="../media/image109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88.svg"/><Relationship Id="rId14" Type="http://schemas.openxmlformats.org/officeDocument/2006/relationships/image" Target="../media/image93.png"/><Relationship Id="rId22" Type="http://schemas.openxmlformats.org/officeDocument/2006/relationships/image" Target="../media/image101.png"/><Relationship Id="rId27" Type="http://schemas.openxmlformats.org/officeDocument/2006/relationships/image" Target="../media/image105.png"/><Relationship Id="rId30" Type="http://schemas.openxmlformats.org/officeDocument/2006/relationships/image" Target="../media/image108.png"/><Relationship Id="rId35" Type="http://schemas.openxmlformats.org/officeDocument/2006/relationships/image" Target="../media/image113.png"/><Relationship Id="rId43" Type="http://schemas.openxmlformats.org/officeDocument/2006/relationships/image" Target="../media/image117.png"/><Relationship Id="rId8" Type="http://schemas.openxmlformats.org/officeDocument/2006/relationships/image" Target="../media/image87.png"/><Relationship Id="rId3" Type="http://schemas.openxmlformats.org/officeDocument/2006/relationships/notesSlide" Target="../notesSlides/notesSlide3.xml"/><Relationship Id="rId12" Type="http://schemas.openxmlformats.org/officeDocument/2006/relationships/image" Target="../media/image91.png"/><Relationship Id="rId17" Type="http://schemas.openxmlformats.org/officeDocument/2006/relationships/image" Target="../media/image96.svg"/><Relationship Id="rId25" Type="http://schemas.openxmlformats.org/officeDocument/2006/relationships/image" Target="../media/image41.png"/><Relationship Id="rId33" Type="http://schemas.openxmlformats.org/officeDocument/2006/relationships/image" Target="../media/image111.png"/><Relationship Id="rId38" Type="http://schemas.openxmlformats.org/officeDocument/2006/relationships/image" Target="../media/image116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18.png"/><Relationship Id="rId2" Type="http://schemas.openxmlformats.org/officeDocument/2006/relationships/slideLayout" Target="../slideLayouts/slideLayout92.xml"/><Relationship Id="rId1" Type="http://schemas.openxmlformats.org/officeDocument/2006/relationships/tags" Target="../tags/tag11.xml"/><Relationship Id="rId6" Type="http://schemas.openxmlformats.org/officeDocument/2006/relationships/chart" Target="../charts/chart3.xml"/><Relationship Id="rId11" Type="http://schemas.openxmlformats.org/officeDocument/2006/relationships/image" Target="../media/image122.png"/><Relationship Id="rId5" Type="http://schemas.openxmlformats.org/officeDocument/2006/relationships/image" Target="../media/image32.emf"/><Relationship Id="rId10" Type="http://schemas.openxmlformats.org/officeDocument/2006/relationships/image" Target="../media/image121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2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13" Type="http://schemas.openxmlformats.org/officeDocument/2006/relationships/chart" Target="../charts/chart6.xml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24.svg"/><Relationship Id="rId12" Type="http://schemas.openxmlformats.org/officeDocument/2006/relationships/chart" Target="../charts/chart5.xml"/><Relationship Id="rId2" Type="http://schemas.openxmlformats.org/officeDocument/2006/relationships/slideLayout" Target="../slideLayouts/slideLayout92.xml"/><Relationship Id="rId1" Type="http://schemas.openxmlformats.org/officeDocument/2006/relationships/tags" Target="../tags/tag12.xml"/><Relationship Id="rId6" Type="http://schemas.openxmlformats.org/officeDocument/2006/relationships/image" Target="../media/image123.png"/><Relationship Id="rId11" Type="http://schemas.openxmlformats.org/officeDocument/2006/relationships/chart" Target="../charts/chart4.xml"/><Relationship Id="rId5" Type="http://schemas.openxmlformats.org/officeDocument/2006/relationships/image" Target="../media/image32.emf"/><Relationship Id="rId15" Type="http://schemas.openxmlformats.org/officeDocument/2006/relationships/chart" Target="../charts/chart8.xml"/><Relationship Id="rId10" Type="http://schemas.openxmlformats.org/officeDocument/2006/relationships/image" Target="../media/image127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26.svg"/><Relationship Id="rId14" Type="http://schemas.openxmlformats.org/officeDocument/2006/relationships/chart" Target="../charts/char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24.svg"/><Relationship Id="rId2" Type="http://schemas.openxmlformats.org/officeDocument/2006/relationships/slideLayout" Target="../slideLayouts/slideLayout92.xml"/><Relationship Id="rId1" Type="http://schemas.openxmlformats.org/officeDocument/2006/relationships/tags" Target="../tags/tag13.xml"/><Relationship Id="rId6" Type="http://schemas.openxmlformats.org/officeDocument/2006/relationships/image" Target="../media/image123.png"/><Relationship Id="rId5" Type="http://schemas.openxmlformats.org/officeDocument/2006/relationships/image" Target="../media/image32.emf"/><Relationship Id="rId10" Type="http://schemas.openxmlformats.org/officeDocument/2006/relationships/image" Target="../media/image127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126.sv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A person standing in front of a purple and orange background&#10;&#10;Description automatically generated">
            <a:extLst>
              <a:ext uri="{FF2B5EF4-FFF2-40B4-BE49-F238E27FC236}">
                <a16:creationId xmlns:a16="http://schemas.microsoft.com/office/drawing/2014/main" id="{8B50062F-2C45-1FD9-2FFA-A0CE39CA1D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32879"/>
          </a:xfrm>
          <a:prstGeom prst="rect">
            <a:avLst/>
          </a:prstGeom>
        </p:spPr>
      </p:pic>
      <p:sp>
        <p:nvSpPr>
          <p:cNvPr id="4" name="Subtitle 3">
            <a:extLst>
              <a:ext uri="{FF2B5EF4-FFF2-40B4-BE49-F238E27FC236}">
                <a16:creationId xmlns:a16="http://schemas.microsoft.com/office/drawing/2014/main" id="{3779DA44-9013-4D31-B10F-78A68A3CB5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12077" y="5597199"/>
            <a:ext cx="4301168" cy="1092845"/>
          </a:xfrm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ure </a:t>
            </a:r>
            <a:r>
              <a:rPr kumimoji="0" lang="pl-PL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&amp; AI</a:t>
            </a:r>
            <a:br>
              <a:rPr kumimoji="0" lang="pl-PL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r>
              <a:rPr kumimoji="0" lang="pl-PL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Intelligent Consulting Hub</a:t>
            </a:r>
          </a:p>
        </p:txBody>
      </p:sp>
      <p:pic>
        <p:nvPicPr>
          <p:cNvPr id="8" name="ACN Logo">
            <a:extLst>
              <a:ext uri="{FF2B5EF4-FFF2-40B4-BE49-F238E27FC236}">
                <a16:creationId xmlns:a16="http://schemas.microsoft.com/office/drawing/2014/main" id="{76BE3168-61F2-4FA6-9D03-ECC4839120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9497" y="381001"/>
            <a:ext cx="641502" cy="70408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272D2F1-10EF-46D5-80A8-596A4B4D57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2077" y="1159332"/>
            <a:ext cx="10676359" cy="1750123"/>
          </a:xfrm>
        </p:spPr>
        <p:txBody>
          <a:bodyPr/>
          <a:lstStyle/>
          <a:p>
            <a:pPr algn="ctr"/>
            <a:r>
              <a:rPr lang="pl-PL" sz="6600">
                <a:solidFill>
                  <a:schemeClr val="tx1"/>
                </a:solidFill>
              </a:rPr>
              <a:t>AI </a:t>
            </a:r>
            <a:r>
              <a:rPr lang="pl-PL" sz="6600" err="1">
                <a:solidFill>
                  <a:schemeClr val="tx1"/>
                </a:solidFill>
              </a:rPr>
              <a:t>Industry</a:t>
            </a:r>
            <a:r>
              <a:rPr lang="pl-PL" sz="6600">
                <a:solidFill>
                  <a:schemeClr val="tx1"/>
                </a:solidFill>
              </a:rPr>
              <a:t> Hub</a:t>
            </a:r>
            <a:br>
              <a:rPr lang="pl-PL" sz="6600"/>
            </a:br>
            <a:r>
              <a:rPr lang="pl-PL" sz="3200" err="1">
                <a:solidFill>
                  <a:schemeClr val="tx1"/>
                </a:solidFill>
              </a:rPr>
              <a:t>Scale</a:t>
            </a:r>
            <a:r>
              <a:rPr lang="pl-PL" sz="3200">
                <a:solidFill>
                  <a:schemeClr val="tx1"/>
                </a:solidFill>
              </a:rPr>
              <a:t> </a:t>
            </a:r>
            <a:r>
              <a:rPr lang="pl-PL" sz="3200" err="1">
                <a:solidFill>
                  <a:schemeClr val="tx1"/>
                </a:solidFill>
              </a:rPr>
              <a:t>up</a:t>
            </a:r>
            <a:r>
              <a:rPr lang="pl-PL" sz="3200">
                <a:solidFill>
                  <a:schemeClr val="tx1"/>
                </a:solidFill>
              </a:rPr>
              <a:t> easy</a:t>
            </a:r>
            <a:endParaRPr lang="en-US" sz="4000">
              <a:solidFill>
                <a:schemeClr val="tx1"/>
              </a:solidFill>
              <a:latin typeface="Graphik Semibold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9BF739D-E8AD-93C0-8B05-A03B78B81389}"/>
              </a:ext>
            </a:extLst>
          </p:cNvPr>
          <p:cNvSpPr txBox="1"/>
          <p:nvPr/>
        </p:nvSpPr>
        <p:spPr>
          <a:xfrm>
            <a:off x="10521968" y="6476786"/>
            <a:ext cx="1432560" cy="1983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en-US" sz="900" noProof="0"/>
              <a:t>Generated by </a:t>
            </a:r>
            <a:r>
              <a:rPr lang="en-US" sz="900" noProof="0" err="1"/>
              <a:t>Midjourney</a:t>
            </a:r>
            <a:endParaRPr lang="en-US" sz="900" noProof="0"/>
          </a:p>
        </p:txBody>
      </p:sp>
    </p:spTree>
    <p:extLst>
      <p:ext uri="{BB962C8B-B14F-4D97-AF65-F5344CB8AC3E}">
        <p14:creationId xmlns:p14="http://schemas.microsoft.com/office/powerpoint/2010/main" val="2423525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E8A82B-C4D1-4A09-9EC8-5D93EACE1C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E8A82B-C4D1-4A09-9EC8-5D93EACE1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3" name="Title 1">
            <a:extLst>
              <a:ext uri="{FF2B5EF4-FFF2-40B4-BE49-F238E27FC236}">
                <a16:creationId xmlns:a16="http://schemas.microsoft.com/office/drawing/2014/main" id="{D59545F7-0203-C7F3-1C53-BE4FF3E604E7}"/>
              </a:ext>
            </a:extLst>
          </p:cNvPr>
          <p:cNvSpPr txBox="1">
            <a:spLocks/>
          </p:cNvSpPr>
          <p:nvPr/>
        </p:nvSpPr>
        <p:spPr>
          <a:xfrm>
            <a:off x="338546" y="207092"/>
            <a:ext cx="11641970" cy="77613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inden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79600" algn="l"/>
              </a:tabLst>
              <a:defRPr sz="3600" b="1" i="0">
                <a:solidFill>
                  <a:schemeClr val="accent2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Among </a:t>
            </a:r>
            <a:r>
              <a:rPr lang="en-US">
                <a:solidFill>
                  <a:schemeClr val="tx1"/>
                </a:solidFill>
              </a:rPr>
              <a:t>our clients:</a:t>
            </a:r>
          </a:p>
        </p:txBody>
      </p:sp>
      <p:pic>
        <p:nvPicPr>
          <p:cNvPr id="12" name="Picture 11" descr="A person sitting at a table with a computer&#10;&#10;Description automatically generated">
            <a:extLst>
              <a:ext uri="{FF2B5EF4-FFF2-40B4-BE49-F238E27FC236}">
                <a16:creationId xmlns:a16="http://schemas.microsoft.com/office/drawing/2014/main" id="{7139AC7D-381F-1F47-F17D-E348999AB205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88" r="47872"/>
          <a:stretch/>
        </p:blipFill>
        <p:spPr>
          <a:xfrm>
            <a:off x="8662846" y="0"/>
            <a:ext cx="3529153" cy="6045200"/>
          </a:xfrm>
          <a:prstGeom prst="rect">
            <a:avLst/>
          </a:prstGeom>
        </p:spPr>
      </p:pic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9ED3333-CB09-FE8B-28CA-9FEFC4E29B46}"/>
              </a:ext>
            </a:extLst>
          </p:cNvPr>
          <p:cNvSpPr txBox="1">
            <a:spLocks/>
          </p:cNvSpPr>
          <p:nvPr/>
        </p:nvSpPr>
        <p:spPr>
          <a:xfrm>
            <a:off x="360375" y="2528339"/>
            <a:ext cx="2588400" cy="1140312"/>
          </a:xfrm>
          <a:prstGeom prst="rect">
            <a:avLst/>
          </a:prstGeom>
        </p:spPr>
        <p:txBody>
          <a:bodyPr/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1pPr>
            <a:lvl2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2pPr>
            <a:lvl3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stem Font"/>
              <a:buChar char="–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3pPr>
            <a:lvl4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4pPr>
            <a:lvl5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stem Font"/>
              <a:buChar char="–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5pPr>
            <a:lvl6pPr marL="11113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None/>
              <a:tabLst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6pPr>
            <a:lvl7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7pPr>
            <a:lvl8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8pPr>
            <a:lvl9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9pPr>
          </a:lstStyle>
          <a:p>
            <a:endParaRPr lang="en-US"/>
          </a:p>
          <a:p>
            <a:pPr lvl="1"/>
            <a:r>
              <a:rPr lang="en-US" sz="1600"/>
              <a:t>Broad DS &amp; ML Ops cooperation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647EE9ED-2703-F185-E8FD-E353F3290B65}"/>
              </a:ext>
            </a:extLst>
          </p:cNvPr>
          <p:cNvSpPr txBox="1">
            <a:spLocks/>
          </p:cNvSpPr>
          <p:nvPr/>
        </p:nvSpPr>
        <p:spPr>
          <a:xfrm>
            <a:off x="6190191" y="2528339"/>
            <a:ext cx="2588400" cy="1140312"/>
          </a:xfrm>
          <a:prstGeom prst="rect">
            <a:avLst/>
          </a:prstGeom>
        </p:spPr>
        <p:txBody>
          <a:bodyPr/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1pPr>
            <a:lvl2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2pPr>
            <a:lvl3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stem Font"/>
              <a:buChar char="–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3pPr>
            <a:lvl4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4pPr>
            <a:lvl5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stem Font"/>
              <a:buChar char="–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5pPr>
            <a:lvl6pPr marL="11113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None/>
              <a:tabLst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6pPr>
            <a:lvl7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7pPr>
            <a:lvl8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8pPr>
            <a:lvl9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9pPr>
          </a:lstStyle>
          <a:p>
            <a:endParaRPr lang="en-US"/>
          </a:p>
          <a:p>
            <a:pPr lvl="1"/>
            <a:r>
              <a:rPr lang="en-US" sz="1600"/>
              <a:t>Market Basket </a:t>
            </a:r>
            <a:br>
              <a:rPr lang="en-US" sz="1600"/>
            </a:br>
            <a:r>
              <a:rPr lang="en-US" sz="1600"/>
              <a:t>Analysis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6C98A788-7D62-33CD-9D58-4B89B39A3DAD}"/>
              </a:ext>
            </a:extLst>
          </p:cNvPr>
          <p:cNvSpPr txBox="1">
            <a:spLocks/>
          </p:cNvSpPr>
          <p:nvPr/>
        </p:nvSpPr>
        <p:spPr>
          <a:xfrm>
            <a:off x="3217411" y="2528339"/>
            <a:ext cx="2588400" cy="1140312"/>
          </a:xfrm>
          <a:prstGeom prst="rect">
            <a:avLst/>
          </a:prstGeom>
        </p:spPr>
        <p:txBody>
          <a:bodyPr/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1pPr>
            <a:lvl2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2pPr>
            <a:lvl3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stem Font"/>
              <a:buChar char="–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3pPr>
            <a:lvl4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4pPr>
            <a:lvl5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stem Font"/>
              <a:buChar char="–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5pPr>
            <a:lvl6pPr marL="11113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None/>
              <a:tabLst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6pPr>
            <a:lvl7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7pPr>
            <a:lvl8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8pPr>
            <a:lvl9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9pPr>
          </a:lstStyle>
          <a:p>
            <a:endParaRPr lang="en-US"/>
          </a:p>
          <a:p>
            <a:pPr lvl="1"/>
            <a:r>
              <a:rPr lang="en-US" sz="1600"/>
              <a:t>CRM Analytics </a:t>
            </a:r>
            <a:br>
              <a:rPr lang="en-US" sz="1600"/>
            </a:br>
            <a:r>
              <a:rPr lang="en-US" sz="1600"/>
              <a:t>strategy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AF78FF0E-D131-458C-EEE8-2EBAA1486E04}"/>
              </a:ext>
            </a:extLst>
          </p:cNvPr>
          <p:cNvSpPr txBox="1">
            <a:spLocks/>
          </p:cNvSpPr>
          <p:nvPr/>
        </p:nvSpPr>
        <p:spPr>
          <a:xfrm>
            <a:off x="360375" y="4736891"/>
            <a:ext cx="2588400" cy="1386533"/>
          </a:xfrm>
          <a:prstGeom prst="rect">
            <a:avLst/>
          </a:prstGeom>
        </p:spPr>
        <p:txBody>
          <a:bodyPr/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1pPr>
            <a:lvl2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2pPr>
            <a:lvl3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stem Font"/>
              <a:buChar char="–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3pPr>
            <a:lvl4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4pPr>
            <a:lvl5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stem Font"/>
              <a:buChar char="–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5pPr>
            <a:lvl6pPr marL="11113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None/>
              <a:tabLst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6pPr>
            <a:lvl7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7pPr>
            <a:lvl8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8pPr>
            <a:lvl9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9pPr>
          </a:lstStyle>
          <a:p>
            <a:endParaRPr lang="en-US"/>
          </a:p>
          <a:p>
            <a:pPr lvl="1"/>
            <a:r>
              <a:rPr lang="en-US" sz="1600"/>
              <a:t>GenAI first steps, </a:t>
            </a:r>
            <a:br>
              <a:rPr lang="en-US" sz="1600"/>
            </a:br>
            <a:r>
              <a:rPr lang="en-US" sz="1600"/>
              <a:t>sales analytics &amp; data visualisation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25ED63D-B70E-3C07-5814-04CDCE6C72F1}"/>
              </a:ext>
            </a:extLst>
          </p:cNvPr>
          <p:cNvSpPr txBox="1">
            <a:spLocks/>
          </p:cNvSpPr>
          <p:nvPr/>
        </p:nvSpPr>
        <p:spPr>
          <a:xfrm>
            <a:off x="6190191" y="4736891"/>
            <a:ext cx="2588400" cy="1178784"/>
          </a:xfrm>
          <a:prstGeom prst="rect">
            <a:avLst/>
          </a:prstGeom>
        </p:spPr>
        <p:txBody>
          <a:bodyPr/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1pPr>
            <a:lvl2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2pPr>
            <a:lvl3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stem Font"/>
              <a:buChar char="–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3pPr>
            <a:lvl4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4pPr>
            <a:lvl5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stem Font"/>
              <a:buChar char="–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5pPr>
            <a:lvl6pPr marL="11113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None/>
              <a:tabLst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6pPr>
            <a:lvl7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7pPr>
            <a:lvl8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8pPr>
            <a:lvl9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9pPr>
          </a:lstStyle>
          <a:p>
            <a:endParaRPr lang="en-US"/>
          </a:p>
          <a:p>
            <a:pPr lvl="1"/>
            <a:r>
              <a:rPr lang="en-US" sz="1600"/>
              <a:t>BI &amp; Analytics</a:t>
            </a:r>
          </a:p>
          <a:p>
            <a:pPr lvl="1"/>
            <a:r>
              <a:rPr lang="en-US" sz="1600"/>
              <a:t>strategy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3904E985-A52F-480B-525E-5304B78E0153}"/>
              </a:ext>
            </a:extLst>
          </p:cNvPr>
          <p:cNvSpPr txBox="1">
            <a:spLocks/>
          </p:cNvSpPr>
          <p:nvPr/>
        </p:nvSpPr>
        <p:spPr>
          <a:xfrm>
            <a:off x="3217411" y="4736891"/>
            <a:ext cx="2588400" cy="1140312"/>
          </a:xfrm>
          <a:prstGeom prst="rect">
            <a:avLst/>
          </a:prstGeom>
        </p:spPr>
        <p:txBody>
          <a:bodyPr/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1pPr>
            <a:lvl2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2pPr>
            <a:lvl3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stem Font"/>
              <a:buChar char="–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3pPr>
            <a:lvl4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4pPr>
            <a:lvl5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stem Font"/>
              <a:buChar char="–"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5pPr>
            <a:lvl6pPr marL="11113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None/>
              <a:tabLst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6pPr>
            <a:lvl7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7pPr>
            <a:lvl8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8pPr>
            <a:lvl9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0" spc="-30" dirty="0">
                <a:solidFill>
                  <a:schemeClr val="tx1">
                    <a:lumMod val="95000"/>
                    <a:lumOff val="5000"/>
                  </a:schemeClr>
                </a:solidFill>
                <a:latin typeface="Graphik Light"/>
                <a:ea typeface="+mj-ea"/>
                <a:cs typeface="+mj-cs"/>
              </a:defRPr>
            </a:lvl9pPr>
          </a:lstStyle>
          <a:p>
            <a:endParaRPr lang="en-US"/>
          </a:p>
          <a:p>
            <a:pPr lvl="1"/>
            <a:r>
              <a:rPr lang="en-US" sz="1600"/>
              <a:t>CRM Analytics </a:t>
            </a:r>
            <a:br>
              <a:rPr lang="en-US" sz="1600"/>
            </a:br>
            <a:r>
              <a:rPr lang="en-US" sz="1600"/>
              <a:t>strategy</a:t>
            </a:r>
          </a:p>
        </p:txBody>
      </p:sp>
      <p:pic>
        <p:nvPicPr>
          <p:cNvPr id="19" name="Picture 18" descr="Aldi Nord logo">
            <a:extLst>
              <a:ext uri="{FF2B5EF4-FFF2-40B4-BE49-F238E27FC236}">
                <a16:creationId xmlns:a16="http://schemas.microsoft.com/office/drawing/2014/main" id="{42493F04-EF3F-0A5F-796D-B0AA8A21862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375" y="1865719"/>
            <a:ext cx="826985" cy="868422"/>
          </a:xfrm>
          <a:prstGeom prst="rect">
            <a:avLst/>
          </a:prstGeom>
        </p:spPr>
      </p:pic>
      <p:pic>
        <p:nvPicPr>
          <p:cNvPr id="20" name="Picture 19" descr="Carrefour logo">
            <a:extLst>
              <a:ext uri="{FF2B5EF4-FFF2-40B4-BE49-F238E27FC236}">
                <a16:creationId xmlns:a16="http://schemas.microsoft.com/office/drawing/2014/main" id="{7B50D3E6-323D-3D2E-EF63-1BA37740C64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0464" y="1941051"/>
            <a:ext cx="977897" cy="783491"/>
          </a:xfrm>
          <a:prstGeom prst="rect">
            <a:avLst/>
          </a:prstGeom>
        </p:spPr>
      </p:pic>
      <p:pic>
        <p:nvPicPr>
          <p:cNvPr id="21" name="Picture 20" descr="CCC logo">
            <a:extLst>
              <a:ext uri="{FF2B5EF4-FFF2-40B4-BE49-F238E27FC236}">
                <a16:creationId xmlns:a16="http://schemas.microsoft.com/office/drawing/2014/main" id="{A8D952EF-057A-2977-3EDD-A9BE3E1C87B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7797" y="1978873"/>
            <a:ext cx="1485020" cy="618758"/>
          </a:xfrm>
          <a:prstGeom prst="rect">
            <a:avLst/>
          </a:prstGeom>
        </p:spPr>
      </p:pic>
      <p:pic>
        <p:nvPicPr>
          <p:cNvPr id="22" name="Picture 21" descr="IKEA logo">
            <a:extLst>
              <a:ext uri="{FF2B5EF4-FFF2-40B4-BE49-F238E27FC236}">
                <a16:creationId xmlns:a16="http://schemas.microsoft.com/office/drawing/2014/main" id="{8B5BDED5-39F9-6E9A-38EA-5622D323BD5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559" y="4304961"/>
            <a:ext cx="1740241" cy="621515"/>
          </a:xfrm>
          <a:prstGeom prst="rect">
            <a:avLst/>
          </a:prstGeom>
        </p:spPr>
      </p:pic>
      <p:pic>
        <p:nvPicPr>
          <p:cNvPr id="23" name="Picture 22" descr="Inter Cars logo">
            <a:extLst>
              <a:ext uri="{FF2B5EF4-FFF2-40B4-BE49-F238E27FC236}">
                <a16:creationId xmlns:a16="http://schemas.microsoft.com/office/drawing/2014/main" id="{0DD23C29-328E-B8D0-394A-EAEFD25E722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2221" y="4221720"/>
            <a:ext cx="1935811" cy="704756"/>
          </a:xfrm>
          <a:prstGeom prst="rect">
            <a:avLst/>
          </a:prstGeom>
        </p:spPr>
      </p:pic>
      <p:pic>
        <p:nvPicPr>
          <p:cNvPr id="24" name="Picture 23" descr="A green logo with a smile&#10;&#10;Description automatically generated">
            <a:extLst>
              <a:ext uri="{FF2B5EF4-FFF2-40B4-BE49-F238E27FC236}">
                <a16:creationId xmlns:a16="http://schemas.microsoft.com/office/drawing/2014/main" id="{072C9542-1B1F-59FC-811C-8ECD05EE68C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7411" y="4293312"/>
            <a:ext cx="1626834" cy="633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5568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pPr lvl="0"/>
            <a:fld id="{90CBDC3A-D49F-4631-A8C7-55D59B33E5FA}" type="slidenum">
              <a:rPr lang="en-US" noProof="0"/>
              <a:pPr lvl="0"/>
              <a:t>11</a:t>
            </a:fld>
            <a:endParaRPr lang="en-US" noProof="0"/>
          </a:p>
        </p:txBody>
      </p:sp>
      <p:sp>
        <p:nvSpPr>
          <p:cNvPr id="71" name="Title 58"/>
          <p:cNvSpPr txBox="1">
            <a:spLocks/>
          </p:cNvSpPr>
          <p:nvPr/>
        </p:nvSpPr>
        <p:spPr>
          <a:xfrm>
            <a:off x="359309" y="1083176"/>
            <a:ext cx="3535774" cy="2659190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ctr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3600" kern="1200" cap="all" spc="0" baseline="0" dirty="0" smtClean="0">
                <a:solidFill>
                  <a:schemeClr val="bg1"/>
                </a:solidFill>
                <a:latin typeface="Arial Black" panose="020B0A04020102020204" pitchFamily="34" charset="0"/>
                <a:ea typeface="Roboto Black" panose="02000000000000000000" pitchFamily="2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ts val="3466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3466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3466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3466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2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609493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5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1218987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5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82848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5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2437973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5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marL="0" marR="0" lvl="0" indent="0" algn="l" defTabSz="914217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pl-PL" cap="none">
                <a:solidFill>
                  <a:srgbClr val="000000"/>
                </a:solidFill>
                <a:latin typeface="Graphik Semibold"/>
                <a:ea typeface="+mj-ea"/>
                <a:cs typeface="+mj-cs"/>
              </a:rPr>
              <a:t>Poland</a:t>
            </a:r>
            <a:r>
              <a:rPr lang="en-US" cap="none">
                <a:solidFill>
                  <a:srgbClr val="000000"/>
                </a:solidFill>
                <a:latin typeface="Graphik Semibold"/>
                <a:ea typeface="+mj-ea"/>
                <a:cs typeface="+mj-cs"/>
              </a:rPr>
              <a:t> AI team is </a:t>
            </a:r>
            <a:r>
              <a:rPr lang="en-US" cap="none">
                <a:solidFill>
                  <a:schemeClr val="accent2"/>
                </a:solidFill>
                <a:latin typeface="Graphik Semibold"/>
                <a:ea typeface="+mj-ea"/>
                <a:cs typeface="+mj-cs"/>
              </a:rPr>
              <a:t>highly experienced </a:t>
            </a:r>
            <a:r>
              <a:rPr lang="en-US" cap="none">
                <a:solidFill>
                  <a:srgbClr val="000000"/>
                </a:solidFill>
                <a:latin typeface="Graphik Semibold"/>
                <a:ea typeface="+mj-ea"/>
                <a:cs typeface="+mj-cs"/>
              </a:rPr>
              <a:t>in delivering </a:t>
            </a:r>
            <a:r>
              <a:rPr lang="pl-PL" b="1" cap="none">
                <a:solidFill>
                  <a:schemeClr val="accent2"/>
                </a:solidFill>
                <a:latin typeface="Graphik Semibold"/>
                <a:ea typeface="+mj-ea"/>
                <a:cs typeface="+mj-cs"/>
              </a:rPr>
              <a:t>retail</a:t>
            </a:r>
            <a:r>
              <a:rPr lang="pl-PL" cap="none">
                <a:solidFill>
                  <a:srgbClr val="000000"/>
                </a:solidFill>
                <a:latin typeface="Graphik Semibold"/>
                <a:ea typeface="+mj-ea"/>
                <a:cs typeface="+mj-cs"/>
              </a:rPr>
              <a:t> analytics projects</a:t>
            </a:r>
            <a:r>
              <a:rPr lang="pl-PL" sz="3200"/>
              <a:t>nts:</a:t>
            </a:r>
            <a:endParaRPr kumimoji="0" lang="en-US" sz="3199" b="0" i="0" u="none" strike="noStrike" kern="1200" cap="all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raphik Black" panose="020B0A03030202060203" pitchFamily="34" charset="-18"/>
              <a:ea typeface="Roboto Black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59309" y="3852515"/>
            <a:ext cx="3535774" cy="296476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217" rtl="0" eaLnBrk="1" fontAlgn="base" latinLnBrk="0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 panose="020B0503030202060203" pitchFamily="34" charset="-18"/>
                <a:ea typeface="+mn-ea"/>
                <a:cs typeface="Gotham Light" pitchFamily="2" charset="0"/>
              </a:rPr>
              <a:t>Our capabilities span across a wide range of functional areas, supported by technology skills that allowing end-to-end delivery of analytics projects, from data to insights.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9887914" y="1751185"/>
            <a:ext cx="2556881" cy="1116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07443" marR="0" lvl="1" indent="-171450" algn="l" defTabSz="914217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20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Market Basekt Analysis</a:t>
            </a:r>
          </a:p>
          <a:p>
            <a:pPr marL="207443" marR="0" lvl="1" indent="-171450" algn="l" defTabSz="914217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20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Promotion analysis</a:t>
            </a:r>
          </a:p>
          <a:p>
            <a:pPr marL="207443" marR="0" lvl="1" indent="-171450" algn="l" defTabSz="914217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pl-PL" sz="1200" kern="0">
                <a:solidFill>
                  <a:srgbClr val="000000">
                    <a:lumMod val="75000"/>
                    <a:lumOff val="25000"/>
                  </a:srgbClr>
                </a:solidFill>
                <a:latin typeface="Graphik" panose="020B0503030202060203" pitchFamily="34" charset="-18"/>
                <a:cs typeface="Arial" charset="0"/>
              </a:rPr>
              <a:t>Promotion </a:t>
            </a:r>
            <a:r>
              <a:rPr kumimoji="0" lang="pl-PL" sz="120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optimization</a:t>
            </a:r>
          </a:p>
          <a:p>
            <a:pPr marL="207443" marR="0" lvl="1" indent="-171450" algn="l" defTabSz="914217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20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Pricing and price elasticity</a:t>
            </a:r>
            <a:endParaRPr lang="pl-PL" sz="1200" kern="0">
              <a:solidFill>
                <a:srgbClr val="000000">
                  <a:lumMod val="75000"/>
                  <a:lumOff val="25000"/>
                </a:srgbClr>
              </a:solidFill>
              <a:latin typeface="Graphik" panose="020B0503030202060203" pitchFamily="34" charset="-18"/>
              <a:cs typeface="Arial" charset="0"/>
            </a:endParaRPr>
          </a:p>
          <a:p>
            <a:pPr marL="207443" marR="0" lvl="1" indent="-171450" algn="l" defTabSz="914217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pl-PL" sz="1200" kern="0">
                <a:solidFill>
                  <a:srgbClr val="000000">
                    <a:lumMod val="75000"/>
                    <a:lumOff val="25000"/>
                  </a:srgbClr>
                </a:solidFill>
                <a:latin typeface="Graphik" panose="020B0503030202060203" pitchFamily="34" charset="-18"/>
                <a:cs typeface="Arial" charset="0"/>
              </a:rPr>
              <a:t>A</a:t>
            </a:r>
            <a:r>
              <a:rPr kumimoji="0" lang="pl-PL" sz="120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ssortment optimization 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9898519" y="3971152"/>
            <a:ext cx="2556881" cy="9856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07443" marR="0" lvl="1" indent="-171450" algn="l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20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Marketing Mix Modeling </a:t>
            </a:r>
          </a:p>
          <a:p>
            <a:pPr marL="207443" marR="0" lvl="1" indent="-171450" algn="l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20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Customer segmentation</a:t>
            </a:r>
          </a:p>
          <a:p>
            <a:pPr marL="207443" marR="0" lvl="1" indent="-171450" algn="l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20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Sentiment analysis</a:t>
            </a:r>
          </a:p>
          <a:p>
            <a:pPr marL="207443" marR="0" lvl="1" indent="-171450" algn="l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20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Personalization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4448509" y="2025820"/>
            <a:ext cx="2556880" cy="9052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07443" marR="0" lvl="1" indent="-171450" defTabSz="914217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2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Demand forecasting</a:t>
            </a:r>
          </a:p>
          <a:p>
            <a:pPr marL="207443" marR="0" lvl="1" indent="-171450" defTabSz="914217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pl-PL" sz="1200" b="1" kern="0">
                <a:solidFill>
                  <a:srgbClr val="000000">
                    <a:lumMod val="75000"/>
                    <a:lumOff val="25000"/>
                  </a:srgbClr>
                </a:solidFill>
                <a:latin typeface="Graphik" panose="020B0503030202060203" pitchFamily="34" charset="-18"/>
                <a:cs typeface="Arial" charset="0"/>
              </a:rPr>
              <a:t>W</a:t>
            </a:r>
            <a:r>
              <a:rPr kumimoji="0" lang="pl-PL" sz="12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arehouse planning</a:t>
            </a:r>
          </a:p>
          <a:p>
            <a:pPr marL="207443" marR="0" lvl="1" indent="-171450" defTabSz="914217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pl-PL" sz="1200" kern="0">
                <a:solidFill>
                  <a:srgbClr val="000000">
                    <a:lumMod val="75000"/>
                    <a:lumOff val="25000"/>
                  </a:srgbClr>
                </a:solidFill>
                <a:latin typeface="Graphik" panose="020B0503030202060203" pitchFamily="34" charset="-18"/>
                <a:cs typeface="Arial" charset="0"/>
              </a:rPr>
              <a:t>D</a:t>
            </a:r>
            <a:r>
              <a:rPr kumimoji="0" lang="pl-PL" sz="120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elivery planning</a:t>
            </a:r>
            <a:endParaRPr lang="pl-PL" sz="1200" kern="0">
              <a:solidFill>
                <a:srgbClr val="000000">
                  <a:lumMod val="75000"/>
                  <a:lumOff val="25000"/>
                </a:srgbClr>
              </a:solidFill>
              <a:latin typeface="Graphik" panose="020B0503030202060203" pitchFamily="34" charset="-18"/>
              <a:cs typeface="Arial" charset="0"/>
            </a:endParaRPr>
          </a:p>
          <a:p>
            <a:pPr marL="207443" marR="0" lvl="1" indent="-171450" defTabSz="914217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pl-PL" sz="1200" kern="0">
                <a:solidFill>
                  <a:srgbClr val="000000">
                    <a:lumMod val="75000"/>
                    <a:lumOff val="25000"/>
                  </a:srgbClr>
                </a:solidFill>
                <a:latin typeface="Graphik" panose="020B0503030202060203" pitchFamily="34" charset="-18"/>
                <a:cs typeface="Arial" charset="0"/>
              </a:rPr>
              <a:t>W</a:t>
            </a:r>
            <a:r>
              <a:rPr kumimoji="0" lang="pl-PL" sz="120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astage analysis 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4448508" y="3898066"/>
            <a:ext cx="2507063" cy="9787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07443" marR="0" lvl="1" indent="-171450" defTabSz="914217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20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Platforms architecture</a:t>
            </a:r>
          </a:p>
          <a:p>
            <a:pPr marL="207443" marR="0" lvl="1" indent="-171450" defTabSz="914217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pl-PL" sz="1200" kern="0">
                <a:solidFill>
                  <a:srgbClr val="000000">
                    <a:lumMod val="75000"/>
                    <a:lumOff val="25000"/>
                  </a:srgbClr>
                </a:solidFill>
                <a:latin typeface="Graphik" panose="020B0503030202060203" pitchFamily="34" charset="-18"/>
                <a:cs typeface="Arial" charset="0"/>
              </a:rPr>
              <a:t>M</a:t>
            </a:r>
            <a:r>
              <a:rPr kumimoji="0" lang="pl-PL" sz="120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odels deployments</a:t>
            </a:r>
          </a:p>
          <a:p>
            <a:pPr marL="207443" marR="0" lvl="1" indent="-171450" defTabSz="914217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pl-PL" sz="1200" b="1" kern="0">
                <a:solidFill>
                  <a:srgbClr val="000000">
                    <a:lumMod val="75000"/>
                    <a:lumOff val="25000"/>
                  </a:srgbClr>
                </a:solidFill>
                <a:latin typeface="Graphik" panose="020B0503030202060203" pitchFamily="34" charset="-18"/>
                <a:cs typeface="Arial" charset="0"/>
              </a:rPr>
              <a:t>O</a:t>
            </a:r>
            <a:r>
              <a:rPr kumimoji="0" lang="pl-PL" sz="12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perationalization</a:t>
            </a:r>
          </a:p>
          <a:p>
            <a:pPr marL="207443" marR="0" lvl="1" indent="-171450" defTabSz="914217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pl-PL" sz="1200" kern="0">
                <a:solidFill>
                  <a:srgbClr val="000000">
                    <a:lumMod val="75000"/>
                    <a:lumOff val="25000"/>
                  </a:srgbClr>
                </a:solidFill>
                <a:latin typeface="Graphik" panose="020B0503030202060203" pitchFamily="34" charset="-18"/>
                <a:cs typeface="Arial" charset="0"/>
              </a:rPr>
              <a:t>Model lifecycle management</a:t>
            </a:r>
          </a:p>
        </p:txBody>
      </p:sp>
      <p:sp>
        <p:nvSpPr>
          <p:cNvPr id="130" name="TextBox 129"/>
          <p:cNvSpPr txBox="1"/>
          <p:nvPr/>
        </p:nvSpPr>
        <p:spPr>
          <a:xfrm>
            <a:off x="7203939" y="835520"/>
            <a:ext cx="2558147" cy="8072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07443" marR="0" lvl="1" indent="-171450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20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Sales forecasting</a:t>
            </a:r>
          </a:p>
          <a:p>
            <a:pPr marL="207443" marR="0" lvl="1" indent="-171450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20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Customer LTV</a:t>
            </a:r>
          </a:p>
          <a:p>
            <a:pPr marL="207443" marR="0" lvl="1" indent="-171450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20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Shelf optimization</a:t>
            </a:r>
          </a:p>
          <a:p>
            <a:pPr marL="207443" lvl="1" indent="-171450" defTabSz="914217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pl-PL" sz="120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Recommendation engines</a:t>
            </a:r>
          </a:p>
        </p:txBody>
      </p:sp>
      <p:sp>
        <p:nvSpPr>
          <p:cNvPr id="134" name="Freeform 6"/>
          <p:cNvSpPr>
            <a:spLocks/>
          </p:cNvSpPr>
          <p:nvPr/>
        </p:nvSpPr>
        <p:spPr bwMode="auto">
          <a:xfrm>
            <a:off x="6264037" y="1766820"/>
            <a:ext cx="1499951" cy="1631051"/>
          </a:xfrm>
          <a:custGeom>
            <a:avLst/>
            <a:gdLst>
              <a:gd name="T0" fmla="*/ 3215 w 3215"/>
              <a:gd name="T1" fmla="*/ 2072 h 3496"/>
              <a:gd name="T2" fmla="*/ 2019 w 3215"/>
              <a:gd name="T3" fmla="*/ 0 h 3496"/>
              <a:gd name="T4" fmla="*/ 0 w 3215"/>
              <a:gd name="T5" fmla="*/ 3496 h 3496"/>
              <a:gd name="T6" fmla="*/ 2395 w 3215"/>
              <a:gd name="T7" fmla="*/ 3496 h 3496"/>
              <a:gd name="T8" fmla="*/ 3215 w 3215"/>
              <a:gd name="T9" fmla="*/ 2072 h 34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15" h="3496">
                <a:moveTo>
                  <a:pt x="3215" y="2072"/>
                </a:moveTo>
                <a:lnTo>
                  <a:pt x="2019" y="0"/>
                </a:lnTo>
                <a:lnTo>
                  <a:pt x="0" y="3496"/>
                </a:lnTo>
                <a:lnTo>
                  <a:pt x="2395" y="3496"/>
                </a:lnTo>
                <a:lnTo>
                  <a:pt x="3215" y="2072"/>
                </a:lnTo>
                <a:close/>
              </a:path>
            </a:pathLst>
          </a:custGeom>
          <a:solidFill>
            <a:srgbClr val="7030A0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35" name="Freeform 7"/>
          <p:cNvSpPr>
            <a:spLocks/>
          </p:cNvSpPr>
          <p:nvPr/>
        </p:nvSpPr>
        <p:spPr bwMode="auto">
          <a:xfrm>
            <a:off x="6264037" y="3486049"/>
            <a:ext cx="1499951" cy="1630118"/>
          </a:xfrm>
          <a:custGeom>
            <a:avLst/>
            <a:gdLst>
              <a:gd name="T0" fmla="*/ 2395 w 3215"/>
              <a:gd name="T1" fmla="*/ 0 h 3494"/>
              <a:gd name="T2" fmla="*/ 0 w 3215"/>
              <a:gd name="T3" fmla="*/ 0 h 3494"/>
              <a:gd name="T4" fmla="*/ 2019 w 3215"/>
              <a:gd name="T5" fmla="*/ 3494 h 3494"/>
              <a:gd name="T6" fmla="*/ 3215 w 3215"/>
              <a:gd name="T7" fmla="*/ 1422 h 3494"/>
              <a:gd name="T8" fmla="*/ 2395 w 3215"/>
              <a:gd name="T9" fmla="*/ 0 h 34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15" h="3494">
                <a:moveTo>
                  <a:pt x="2395" y="0"/>
                </a:moveTo>
                <a:lnTo>
                  <a:pt x="0" y="0"/>
                </a:lnTo>
                <a:lnTo>
                  <a:pt x="2019" y="3494"/>
                </a:lnTo>
                <a:lnTo>
                  <a:pt x="3215" y="1422"/>
                </a:lnTo>
                <a:lnTo>
                  <a:pt x="2395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36" name="Freeform 8"/>
          <p:cNvSpPr>
            <a:spLocks/>
          </p:cNvSpPr>
          <p:nvPr/>
        </p:nvSpPr>
        <p:spPr bwMode="auto">
          <a:xfrm>
            <a:off x="7282045" y="1722499"/>
            <a:ext cx="1883920" cy="966687"/>
          </a:xfrm>
          <a:custGeom>
            <a:avLst/>
            <a:gdLst>
              <a:gd name="T0" fmla="*/ 2840 w 4038"/>
              <a:gd name="T1" fmla="*/ 2072 h 2072"/>
              <a:gd name="T2" fmla="*/ 4038 w 4038"/>
              <a:gd name="T3" fmla="*/ 0 h 2072"/>
              <a:gd name="T4" fmla="*/ 0 w 4038"/>
              <a:gd name="T5" fmla="*/ 0 h 2072"/>
              <a:gd name="T6" fmla="*/ 1198 w 4038"/>
              <a:gd name="T7" fmla="*/ 2072 h 2072"/>
              <a:gd name="T8" fmla="*/ 2840 w 4038"/>
              <a:gd name="T9" fmla="*/ 2072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38" h="2072">
                <a:moveTo>
                  <a:pt x="2840" y="2072"/>
                </a:moveTo>
                <a:lnTo>
                  <a:pt x="4038" y="0"/>
                </a:lnTo>
                <a:lnTo>
                  <a:pt x="0" y="0"/>
                </a:lnTo>
                <a:lnTo>
                  <a:pt x="1198" y="2072"/>
                </a:lnTo>
                <a:lnTo>
                  <a:pt x="2840" y="2072"/>
                </a:lnTo>
                <a:close/>
              </a:path>
            </a:pathLst>
          </a:custGeom>
          <a:solidFill>
            <a:srgbClr val="7030A0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Sale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-18"/>
              <a:ea typeface="+mn-ea"/>
              <a:cs typeface="Arial" charset="0"/>
            </a:endParaRPr>
          </a:p>
        </p:txBody>
      </p:sp>
      <p:sp>
        <p:nvSpPr>
          <p:cNvPr id="137" name="Freeform 9"/>
          <p:cNvSpPr>
            <a:spLocks/>
          </p:cNvSpPr>
          <p:nvPr/>
        </p:nvSpPr>
        <p:spPr bwMode="auto">
          <a:xfrm>
            <a:off x="7282045" y="4193336"/>
            <a:ext cx="1883920" cy="966687"/>
          </a:xfrm>
          <a:custGeom>
            <a:avLst/>
            <a:gdLst>
              <a:gd name="T0" fmla="*/ 1198 w 4038"/>
              <a:gd name="T1" fmla="*/ 0 h 2072"/>
              <a:gd name="T2" fmla="*/ 0 w 4038"/>
              <a:gd name="T3" fmla="*/ 2072 h 2072"/>
              <a:gd name="T4" fmla="*/ 4038 w 4038"/>
              <a:gd name="T5" fmla="*/ 2072 h 2072"/>
              <a:gd name="T6" fmla="*/ 2840 w 4038"/>
              <a:gd name="T7" fmla="*/ 0 h 2072"/>
              <a:gd name="T8" fmla="*/ 1198 w 4038"/>
              <a:gd name="T9" fmla="*/ 0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38" h="2072">
                <a:moveTo>
                  <a:pt x="1198" y="0"/>
                </a:moveTo>
                <a:lnTo>
                  <a:pt x="0" y="2072"/>
                </a:lnTo>
                <a:lnTo>
                  <a:pt x="4038" y="2072"/>
                </a:lnTo>
                <a:lnTo>
                  <a:pt x="2840" y="0"/>
                </a:lnTo>
                <a:lnTo>
                  <a:pt x="1198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txBody>
          <a:bodyPr vert="horz" wrap="square" lIns="91419" tIns="45709" rIns="91419" bIns="45709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Gen AI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Graphik" panose="020B0503030202060203" pitchFamily="34" charset="-18"/>
              <a:ea typeface="+mn-ea"/>
              <a:cs typeface="Arial" charset="0"/>
            </a:endParaRPr>
          </a:p>
        </p:txBody>
      </p:sp>
      <p:sp>
        <p:nvSpPr>
          <p:cNvPr id="138" name="Freeform 11"/>
          <p:cNvSpPr>
            <a:spLocks/>
          </p:cNvSpPr>
          <p:nvPr/>
        </p:nvSpPr>
        <p:spPr bwMode="auto">
          <a:xfrm>
            <a:off x="8683088" y="3486049"/>
            <a:ext cx="1499951" cy="1630118"/>
          </a:xfrm>
          <a:custGeom>
            <a:avLst/>
            <a:gdLst>
              <a:gd name="T0" fmla="*/ 0 w 3215"/>
              <a:gd name="T1" fmla="*/ 1422 h 3494"/>
              <a:gd name="T2" fmla="*/ 1198 w 3215"/>
              <a:gd name="T3" fmla="*/ 3494 h 3494"/>
              <a:gd name="T4" fmla="*/ 3215 w 3215"/>
              <a:gd name="T5" fmla="*/ 0 h 3494"/>
              <a:gd name="T6" fmla="*/ 822 w 3215"/>
              <a:gd name="T7" fmla="*/ 0 h 3494"/>
              <a:gd name="T8" fmla="*/ 0 w 3215"/>
              <a:gd name="T9" fmla="*/ 1422 h 34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15" h="3494">
                <a:moveTo>
                  <a:pt x="0" y="1422"/>
                </a:moveTo>
                <a:lnTo>
                  <a:pt x="1198" y="3494"/>
                </a:lnTo>
                <a:lnTo>
                  <a:pt x="3215" y="0"/>
                </a:lnTo>
                <a:lnTo>
                  <a:pt x="822" y="0"/>
                </a:lnTo>
                <a:lnTo>
                  <a:pt x="0" y="1422"/>
                </a:lnTo>
                <a:close/>
              </a:path>
            </a:pathLst>
          </a:custGeom>
          <a:solidFill>
            <a:srgbClr val="7030A0"/>
          </a:solidFill>
          <a:ln>
            <a:noFill/>
          </a:ln>
        </p:spPr>
        <p:txBody>
          <a:bodyPr vert="horz" wrap="square" lIns="91419" tIns="45709" rIns="91419" bIns="45709" numCol="1" anchor="b" anchorCtr="0" compatLnSpc="1">
            <a:prstTxWarp prst="textNoShape">
              <a:avLst/>
            </a:prstTxWarp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39" name="Freeform 12"/>
          <p:cNvSpPr>
            <a:spLocks/>
          </p:cNvSpPr>
          <p:nvPr/>
        </p:nvSpPr>
        <p:spPr bwMode="auto">
          <a:xfrm>
            <a:off x="8683088" y="1766820"/>
            <a:ext cx="1499951" cy="1631051"/>
          </a:xfrm>
          <a:custGeom>
            <a:avLst/>
            <a:gdLst>
              <a:gd name="T0" fmla="*/ 0 w 3215"/>
              <a:gd name="T1" fmla="*/ 2072 h 3496"/>
              <a:gd name="T2" fmla="*/ 822 w 3215"/>
              <a:gd name="T3" fmla="*/ 3496 h 3496"/>
              <a:gd name="T4" fmla="*/ 3215 w 3215"/>
              <a:gd name="T5" fmla="*/ 3496 h 3496"/>
              <a:gd name="T6" fmla="*/ 1198 w 3215"/>
              <a:gd name="T7" fmla="*/ 0 h 3496"/>
              <a:gd name="T8" fmla="*/ 0 w 3215"/>
              <a:gd name="T9" fmla="*/ 2072 h 34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15" h="3496">
                <a:moveTo>
                  <a:pt x="0" y="2072"/>
                </a:moveTo>
                <a:lnTo>
                  <a:pt x="822" y="3496"/>
                </a:lnTo>
                <a:lnTo>
                  <a:pt x="3215" y="3496"/>
                </a:lnTo>
                <a:lnTo>
                  <a:pt x="1198" y="0"/>
                </a:lnTo>
                <a:lnTo>
                  <a:pt x="0" y="2072"/>
                </a:lnTo>
                <a:close/>
              </a:path>
            </a:pathLst>
          </a:custGeom>
          <a:solidFill>
            <a:srgbClr val="7030A0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868A4FD-214C-4469-B3CA-93497B0DC079}"/>
              </a:ext>
            </a:extLst>
          </p:cNvPr>
          <p:cNvSpPr txBox="1"/>
          <p:nvPr/>
        </p:nvSpPr>
        <p:spPr>
          <a:xfrm rot="18024140">
            <a:off x="8660115" y="3904586"/>
            <a:ext cx="1634588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Category management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-18"/>
              <a:ea typeface="+mn-ea"/>
              <a:cs typeface="Arial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7BE463CB-A9E3-4023-A6D9-2E61F0BC810B}"/>
              </a:ext>
            </a:extLst>
          </p:cNvPr>
          <p:cNvSpPr txBox="1"/>
          <p:nvPr/>
        </p:nvSpPr>
        <p:spPr>
          <a:xfrm rot="3619419">
            <a:off x="6153355" y="4016637"/>
            <a:ext cx="1634588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MLop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Graphik" panose="020B0503030202060203" pitchFamily="34" charset="-18"/>
              <a:ea typeface="+mn-ea"/>
              <a:cs typeface="Arial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86964983-16F3-4E06-964B-3091918C589C}"/>
              </a:ext>
            </a:extLst>
          </p:cNvPr>
          <p:cNvSpPr txBox="1"/>
          <p:nvPr/>
        </p:nvSpPr>
        <p:spPr>
          <a:xfrm rot="17977262">
            <a:off x="6127673" y="2604160"/>
            <a:ext cx="1634588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Supply chain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-18"/>
              <a:ea typeface="+mn-ea"/>
              <a:cs typeface="Arial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C7D541A4-6D66-4822-9349-3CFD1A6FDF56}"/>
              </a:ext>
            </a:extLst>
          </p:cNvPr>
          <p:cNvSpPr txBox="1"/>
          <p:nvPr/>
        </p:nvSpPr>
        <p:spPr>
          <a:xfrm rot="3625313">
            <a:off x="8755055" y="2497088"/>
            <a:ext cx="1634588" cy="30770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Marketing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-18"/>
              <a:ea typeface="+mn-ea"/>
              <a:cs typeface="Arial" charset="0"/>
            </a:endParaRPr>
          </a:p>
        </p:txBody>
      </p:sp>
      <p:sp>
        <p:nvSpPr>
          <p:cNvPr id="49" name="Slide Number Placeholder 5">
            <a:extLst>
              <a:ext uri="{FF2B5EF4-FFF2-40B4-BE49-F238E27FC236}">
                <a16:creationId xmlns:a16="http://schemas.microsoft.com/office/drawing/2014/main" id="{A8F6A98C-4726-4362-A01E-9AD65C897882}"/>
              </a:ext>
            </a:extLst>
          </p:cNvPr>
          <p:cNvSpPr txBox="1">
            <a:spLocks/>
          </p:cNvSpPr>
          <p:nvPr/>
        </p:nvSpPr>
        <p:spPr>
          <a:xfrm flipH="1">
            <a:off x="11613567" y="6537475"/>
            <a:ext cx="215950" cy="161888"/>
          </a:xfrm>
          <a:prstGeom prst="rect">
            <a:avLst/>
          </a:prstGeom>
        </p:spPr>
        <p:txBody>
          <a:bodyPr vert="horz" wrap="square" lIns="0" tIns="60930" rIns="0" bIns="6093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>
                    <a:alpha val="50000"/>
                  </a:schemeClr>
                </a:solidFill>
                <a:latin typeface="+mn-lt"/>
                <a:ea typeface="Roboto Light" panose="02000000000000000000" pitchFamily="2" charset="0"/>
                <a:cs typeface="Gotham Medium" pitchFamily="2" charset="0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3047213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656656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4266097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875541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r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0CBDC3A-D49F-4631-A8C7-55D59B33E5FA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8A8A8A">
                    <a:alpha val="50000"/>
                  </a:srgbClr>
                </a:solidFill>
                <a:effectLst/>
                <a:uLnTx/>
                <a:uFillTx/>
                <a:latin typeface="Arial"/>
                <a:ea typeface="Roboto Light" panose="02000000000000000000" pitchFamily="2" charset="0"/>
              </a:rPr>
              <a:pPr marL="0" marR="0" lvl="0" indent="0" algn="r" defTabSz="91421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8A8A8A">
                  <a:alpha val="50000"/>
                </a:srgbClr>
              </a:solidFill>
              <a:effectLst/>
              <a:uLnTx/>
              <a:uFillTx/>
              <a:latin typeface="Arial"/>
              <a:ea typeface="Roboto Light" panose="02000000000000000000" pitchFamily="2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C928C24-02A8-B862-0D3C-8F4D3D5EF39D}"/>
              </a:ext>
            </a:extLst>
          </p:cNvPr>
          <p:cNvSpPr txBox="1"/>
          <p:nvPr/>
        </p:nvSpPr>
        <p:spPr>
          <a:xfrm>
            <a:off x="7200002" y="5295047"/>
            <a:ext cx="2507062" cy="9787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07443" marR="0" lvl="1" indent="-171450" defTabSz="914217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20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Text analysis</a:t>
            </a:r>
          </a:p>
          <a:p>
            <a:pPr marL="207443" marR="0" lvl="1" indent="-171450" defTabSz="914217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pl-PL" sz="1200" kern="0">
                <a:solidFill>
                  <a:srgbClr val="000000">
                    <a:lumMod val="75000"/>
                    <a:lumOff val="25000"/>
                  </a:srgbClr>
                </a:solidFill>
                <a:latin typeface="Graphik" panose="020B0503030202060203" pitchFamily="34" charset="-18"/>
                <a:cs typeface="Arial" charset="0"/>
              </a:rPr>
              <a:t>Knowledge search</a:t>
            </a:r>
          </a:p>
        </p:txBody>
      </p:sp>
      <p:sp>
        <p:nvSpPr>
          <p:cNvPr id="31" name="Footer Placeholder 1">
            <a:extLst>
              <a:ext uri="{FF2B5EF4-FFF2-40B4-BE49-F238E27FC236}">
                <a16:creationId xmlns:a16="http://schemas.microsoft.com/office/drawing/2014/main" id="{32AACD0D-E1CE-805C-43A6-93DAE4327DC4}"/>
              </a:ext>
            </a:extLst>
          </p:cNvPr>
          <p:cNvSpPr txBox="1">
            <a:spLocks/>
          </p:cNvSpPr>
          <p:nvPr/>
        </p:nvSpPr>
        <p:spPr>
          <a:xfrm>
            <a:off x="8251825" y="6480578"/>
            <a:ext cx="3175200" cy="132523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alpha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000000">
                    <a:alpha val="65000"/>
                  </a:srgbClr>
                </a:solidFill>
                <a:latin typeface="Graphik"/>
              </a:rPr>
              <a:t>Copyright © 2024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931136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A2AD61CE-9FDB-4F62-9AD2-A7DEB3E14762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pl-PL" sz="3600" spc="-150">
                <a:solidFill>
                  <a:schemeClr val="tx1"/>
                </a:solidFill>
              </a:rPr>
              <a:t>Use Cases </a:t>
            </a:r>
            <a:r>
              <a:rPr lang="pl-PL" sz="3600" spc="-150"/>
              <a:t>we grew with our clients this and last year</a:t>
            </a:r>
            <a:endParaRPr lang="en-US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F03787C1-CF32-4A56-8A80-A0AA4DB195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929513"/>
              </p:ext>
            </p:extLst>
          </p:nvPr>
        </p:nvGraphicFramePr>
        <p:xfrm>
          <a:off x="296882" y="1040079"/>
          <a:ext cx="11631884" cy="50322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07971">
                  <a:extLst>
                    <a:ext uri="{9D8B030D-6E8A-4147-A177-3AD203B41FA5}">
                      <a16:colId xmlns:a16="http://schemas.microsoft.com/office/drawing/2014/main" val="4166367809"/>
                    </a:ext>
                  </a:extLst>
                </a:gridCol>
                <a:gridCol w="2907971">
                  <a:extLst>
                    <a:ext uri="{9D8B030D-6E8A-4147-A177-3AD203B41FA5}">
                      <a16:colId xmlns:a16="http://schemas.microsoft.com/office/drawing/2014/main" val="1704389007"/>
                    </a:ext>
                  </a:extLst>
                </a:gridCol>
                <a:gridCol w="2907971">
                  <a:extLst>
                    <a:ext uri="{9D8B030D-6E8A-4147-A177-3AD203B41FA5}">
                      <a16:colId xmlns:a16="http://schemas.microsoft.com/office/drawing/2014/main" val="1817149303"/>
                    </a:ext>
                  </a:extLst>
                </a:gridCol>
                <a:gridCol w="2907971">
                  <a:extLst>
                    <a:ext uri="{9D8B030D-6E8A-4147-A177-3AD203B41FA5}">
                      <a16:colId xmlns:a16="http://schemas.microsoft.com/office/drawing/2014/main" val="1900939547"/>
                    </a:ext>
                  </a:extLst>
                </a:gridCol>
              </a:tblGrid>
              <a:tr h="1620000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en-US" sz="2000" b="1" i="0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  </a:t>
                      </a:r>
                      <a:r>
                        <a:rPr lang="pl-PL" sz="2000" b="1" i="0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chine Learning Factory </a:t>
                      </a:r>
                      <a:endParaRPr lang="en-US" sz="2000" b="1" i="0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n-US" sz="1400" b="0" kern="1200">
                          <a:solidFill>
                            <a:schemeClr val="dk1"/>
                          </a:solidFill>
                          <a:latin typeface="Graphik Light"/>
                          <a:ea typeface="+mn-ea"/>
                          <a:cs typeface="+mn-cs"/>
                        </a:rPr>
                        <a:t>A new age of </a:t>
                      </a:r>
                      <a:r>
                        <a:rPr lang="pl-PL" sz="1400" b="0" kern="1200">
                          <a:solidFill>
                            <a:schemeClr val="dk1"/>
                          </a:solidFill>
                          <a:latin typeface="Graphik Light"/>
                          <a:ea typeface="+mn-ea"/>
                          <a:cs typeface="+mn-cs"/>
                        </a:rPr>
                        <a:t>solving data science use cases from end to end. ML Ops checked.</a:t>
                      </a:r>
                      <a:endParaRPr lang="en-US" sz="1400" b="0" kern="1200">
                        <a:solidFill>
                          <a:schemeClr val="dk1"/>
                        </a:solidFill>
                        <a:latin typeface="Graphik Light"/>
                        <a:ea typeface="+mn-ea"/>
                        <a:cs typeface="+mn-cs"/>
                      </a:endParaRPr>
                    </a:p>
                  </a:txBody>
                  <a:tcPr marR="45720" marT="9144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en-US" sz="2000" b="1" i="0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  </a:t>
                      </a:r>
                      <a:r>
                        <a:rPr lang="pl-PL" sz="2000" b="1" i="0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e we out of stock?</a:t>
                      </a:r>
                      <a:endParaRPr lang="en-US" sz="2000" b="1" i="0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pl-PL" sz="1400" b="0" kern="1200">
                          <a:solidFill>
                            <a:schemeClr val="dk1"/>
                          </a:solidFill>
                          <a:latin typeface="Graphik Light"/>
                          <a:ea typeface="+mn-ea"/>
                          <a:cs typeface="+mn-cs"/>
                        </a:rPr>
                        <a:t>Estimating intraday availability of popular goods from shelf perspective.</a:t>
                      </a:r>
                    </a:p>
                  </a:txBody>
                  <a:tcPr marR="45720" marT="9144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en-US" sz="2000" b="1" i="0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 </a:t>
                      </a:r>
                      <a:r>
                        <a:rPr lang="pl-PL" sz="2000" b="1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uck fulfillment optimization</a:t>
                      </a:r>
                      <a:endParaRPr lang="en-US" sz="2000" b="1" i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pl-PL" sz="1400" b="0" kern="1200">
                          <a:solidFill>
                            <a:schemeClr val="dk1"/>
                          </a:solidFill>
                          <a:latin typeface="Graphik Light"/>
                          <a:ea typeface="+mn-ea"/>
                          <a:cs typeface="+mn-cs"/>
                        </a:rPr>
                        <a:t>Recommendations of goods quantities changes depending on necessary business scenarios. </a:t>
                      </a:r>
                    </a:p>
                  </a:txBody>
                  <a:tcPr marR="45720" marT="9144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en-US" sz="2000" b="1" i="0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. </a:t>
                      </a:r>
                      <a:r>
                        <a:rPr lang="en-US" sz="2000" b="1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ople who </a:t>
                      </a:r>
                      <a:br>
                        <a:rPr lang="en-US" sz="2000" b="1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2000" b="1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ught this…</a:t>
                      </a:r>
                      <a:endParaRPr lang="pl-PL" sz="2000" b="1" i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indent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1200"/>
                        </a:spcAft>
                        <a:buFont typeface="+mj-lt"/>
                        <a:buNone/>
                      </a:pPr>
                      <a:r>
                        <a:rPr lang="pl-PL" sz="1400" b="0" kern="1200">
                          <a:solidFill>
                            <a:schemeClr val="dk1"/>
                          </a:solidFill>
                          <a:latin typeface="Graphik Light"/>
                          <a:ea typeface="+mn-ea"/>
                          <a:cs typeface="+mn-cs"/>
                        </a:rPr>
                        <a:t>Recommendation engine</a:t>
                      </a:r>
                      <a:br>
                        <a:rPr lang="en-US" sz="1400" b="0" kern="1200">
                          <a:solidFill>
                            <a:schemeClr val="dk1"/>
                          </a:solidFill>
                          <a:latin typeface="Graphik Light"/>
                          <a:ea typeface="+mn-ea"/>
                          <a:cs typeface="+mn-cs"/>
                        </a:rPr>
                      </a:br>
                      <a:r>
                        <a:rPr lang="pl-PL" sz="1400" b="0" kern="1200">
                          <a:solidFill>
                            <a:schemeClr val="dk1"/>
                          </a:solidFill>
                          <a:latin typeface="Graphik Light"/>
                          <a:ea typeface="+mn-ea"/>
                          <a:cs typeface="+mn-cs"/>
                        </a:rPr>
                        <a:t>classics.</a:t>
                      </a:r>
                    </a:p>
                  </a:txBody>
                  <a:tcPr marR="45720" marT="9144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9299103"/>
                  </a:ext>
                </a:extLst>
              </a:tr>
              <a:tr h="1620000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en-US" sz="2000" b="1" i="0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 </a:t>
                      </a:r>
                      <a:r>
                        <a:rPr lang="pl-PL" sz="2000" b="1" i="0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tday </a:t>
                      </a:r>
                      <a:br>
                        <a:rPr lang="en-US" sz="2000" b="1" i="0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pl-PL" sz="2000" b="1" i="0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anning</a:t>
                      </a:r>
                      <a:endParaRPr lang="en-US" sz="2000" b="1" i="0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400">
                          <a:latin typeface="Graphik Light"/>
                        </a:rPr>
                        <a:t>Forecasting weekly shares of goods demands in weeks impacted by holidays.</a:t>
                      </a:r>
                      <a:endParaRPr lang="en-US" sz="1400"/>
                    </a:p>
                  </a:txBody>
                  <a:tcPr marR="45720" marT="9144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dkUpDiag">
                      <a:fgClr>
                        <a:schemeClr val="bg2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en-US" sz="2000" b="1" i="0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 </a:t>
                      </a:r>
                      <a:r>
                        <a:rPr lang="pl-PL" sz="2000" b="1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ortment</a:t>
                      </a:r>
                      <a:r>
                        <a:rPr lang="en-US" sz="2000" b="1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2000" b="1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timization</a:t>
                      </a:r>
                      <a:endParaRPr lang="en-US" sz="2000" b="1" i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indent="0" algn="l" defTabSz="914400" rtl="0" eaLnBrk="1" latinLnBrk="0" hangingPunct="1">
                        <a:spcAft>
                          <a:spcPts val="1200"/>
                        </a:spcAft>
                        <a:buFont typeface="+mj-lt"/>
                        <a:buNone/>
                      </a:pPr>
                      <a:r>
                        <a:rPr lang="pl-PL" sz="1400" kern="1200">
                          <a:solidFill>
                            <a:schemeClr val="dk1"/>
                          </a:solidFill>
                          <a:latin typeface="Graphik Light"/>
                          <a:ea typeface="+mn-ea"/>
                          <a:cs typeface="+mn-cs"/>
                        </a:rPr>
                        <a:t>Market basket analysis on the track of articles that can be delisted.</a:t>
                      </a:r>
                      <a:endParaRPr lang="en-US" sz="1400" kern="1200">
                        <a:solidFill>
                          <a:schemeClr val="dk1"/>
                        </a:solidFill>
                        <a:latin typeface="Graphik Light"/>
                        <a:ea typeface="+mn-ea"/>
                        <a:cs typeface="+mn-cs"/>
                      </a:endParaRPr>
                    </a:p>
                  </a:txBody>
                  <a:tcPr marR="45720" marT="9144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dkUpDiag">
                      <a:fgClr>
                        <a:schemeClr val="bg2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en-US" sz="2000" b="1" i="0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 </a:t>
                      </a:r>
                      <a:r>
                        <a:rPr lang="pl-PL" sz="2000" b="1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awberry </a:t>
                      </a:r>
                      <a:br>
                        <a:rPr lang="pl-PL" sz="2000" b="1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pl-PL" sz="2000" b="1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 vanilla?</a:t>
                      </a:r>
                      <a:endParaRPr lang="en-US" sz="2000" b="1" i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indent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1200"/>
                        </a:spcAft>
                        <a:buFont typeface="+mj-lt"/>
                        <a:buNone/>
                      </a:pPr>
                      <a:r>
                        <a:rPr lang="pl-PL" sz="1400" kern="1200">
                          <a:solidFill>
                            <a:schemeClr val="dk1"/>
                          </a:solidFill>
                          <a:latin typeface="Graphik Light"/>
                          <a:ea typeface="+mn-ea"/>
                          <a:cs typeface="+mn-cs"/>
                        </a:rPr>
                        <a:t>Using advanced analytics to optimize articles varieties split.</a:t>
                      </a:r>
                      <a:endParaRPr lang="en-US" sz="1400" kern="1200">
                        <a:solidFill>
                          <a:schemeClr val="dk1"/>
                        </a:solidFill>
                        <a:latin typeface="Graphik Light"/>
                        <a:ea typeface="+mn-ea"/>
                        <a:cs typeface="+mn-cs"/>
                      </a:endParaRPr>
                    </a:p>
                  </a:txBody>
                  <a:tcPr marR="45720" marT="9144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dkUpDiag">
                      <a:fgClr>
                        <a:schemeClr val="bg2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en-US" sz="2000" b="1" i="0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. </a:t>
                      </a:r>
                      <a:r>
                        <a:rPr lang="pl-PL" sz="2000" b="1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ke it personal</a:t>
                      </a:r>
                    </a:p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+mj-lt"/>
                        <a:buNone/>
                      </a:pPr>
                      <a:endParaRPr lang="en-US" sz="1400" b="0" kern="1200">
                        <a:solidFill>
                          <a:schemeClr val="dk1"/>
                        </a:solidFill>
                        <a:latin typeface="Graphik Light"/>
                        <a:ea typeface="+mn-ea"/>
                        <a:cs typeface="+mn-cs"/>
                      </a:endParaRPr>
                    </a:p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+mj-lt"/>
                        <a:buNone/>
                      </a:pPr>
                      <a:r>
                        <a:rPr lang="pl-PL" sz="1400" b="0" kern="1200">
                          <a:solidFill>
                            <a:schemeClr val="dk1"/>
                          </a:solidFill>
                          <a:latin typeface="Graphik Light"/>
                          <a:ea typeface="+mn-ea"/>
                          <a:cs typeface="+mn-cs"/>
                        </a:rPr>
                        <a:t>Offer and content personalization study &amp; workshops.</a:t>
                      </a:r>
                      <a:endParaRPr lang="en-US" sz="1400" b="0" kern="1200">
                        <a:solidFill>
                          <a:schemeClr val="dk1"/>
                        </a:solidFill>
                        <a:latin typeface="Graphik Light"/>
                        <a:ea typeface="+mn-ea"/>
                        <a:cs typeface="+mn-cs"/>
                      </a:endParaRPr>
                    </a:p>
                    <a:p>
                      <a:pPr marL="0" lvl="0" indent="0" algn="l" defTabSz="914400" rtl="0" eaLnBrk="1" latinLnBrk="0" hangingPunct="1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+mj-lt"/>
                        <a:buNone/>
                      </a:pPr>
                      <a:endParaRPr lang="en-US" sz="1400" kern="1200">
                        <a:solidFill>
                          <a:schemeClr val="dk1"/>
                        </a:solidFill>
                        <a:latin typeface="Graphik Light"/>
                        <a:ea typeface="+mn-ea"/>
                        <a:cs typeface="+mn-cs"/>
                      </a:endParaRPr>
                    </a:p>
                  </a:txBody>
                  <a:tcPr marR="45720" marT="9144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dkUpDiag">
                      <a:fgClr>
                        <a:schemeClr val="bg2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627938066"/>
                  </a:ext>
                </a:extLst>
              </a:tr>
              <a:tr h="1620000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en-US" sz="2000" b="1" i="0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. </a:t>
                      </a:r>
                      <a:r>
                        <a:rPr lang="en-US" sz="2000" b="1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eriment </a:t>
                      </a:r>
                      <a:br>
                        <a:rPr lang="en-US" sz="2000" b="1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2000" b="1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 success</a:t>
                      </a:r>
                    </a:p>
                    <a:p>
                      <a:pPr marL="0" lvl="0" indent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1200"/>
                        </a:spcAft>
                        <a:buFont typeface="+mj-lt"/>
                        <a:buNone/>
                      </a:pPr>
                      <a:r>
                        <a:rPr lang="pl-PL" sz="1400" kern="1200">
                          <a:solidFill>
                            <a:schemeClr val="dk1"/>
                          </a:solidFill>
                          <a:latin typeface="Graphik Light"/>
                          <a:ea typeface="+mn-ea"/>
                          <a:cs typeface="+mn-cs"/>
                        </a:rPr>
                        <a:t>T</a:t>
                      </a:r>
                      <a:r>
                        <a:rPr lang="en-US" sz="1400" kern="1200">
                          <a:solidFill>
                            <a:schemeClr val="dk1"/>
                          </a:solidFill>
                          <a:latin typeface="Graphik Light"/>
                          <a:ea typeface="+mn-ea"/>
                          <a:cs typeface="+mn-cs"/>
                        </a:rPr>
                        <a:t>here’s no innovation without testing new ideas</a:t>
                      </a:r>
                      <a:r>
                        <a:rPr lang="pl-PL" sz="1400" kern="1200">
                          <a:solidFill>
                            <a:schemeClr val="dk1"/>
                          </a:solidFill>
                          <a:latin typeface="Graphik Light"/>
                          <a:ea typeface="+mn-ea"/>
                          <a:cs typeface="+mn-cs"/>
                        </a:rPr>
                        <a:t> - </a:t>
                      </a:r>
                      <a:r>
                        <a:rPr lang="en-US" sz="1400" kern="1200">
                          <a:solidFill>
                            <a:schemeClr val="dk1"/>
                          </a:solidFill>
                          <a:latin typeface="Graphik Light"/>
                          <a:ea typeface="+mn-ea"/>
                          <a:cs typeface="+mn-cs"/>
                        </a:rPr>
                        <a:t>framework for data-driven decision making</a:t>
                      </a:r>
                      <a:r>
                        <a:rPr lang="pl-PL" sz="1400" kern="1200">
                          <a:solidFill>
                            <a:schemeClr val="dk1"/>
                          </a:solidFill>
                          <a:latin typeface="Graphik Light"/>
                          <a:ea typeface="+mn-ea"/>
                          <a:cs typeface="+mn-cs"/>
                        </a:rPr>
                        <a:t>.</a:t>
                      </a:r>
                      <a:endParaRPr lang="en-US" sz="1400" kern="1200">
                        <a:solidFill>
                          <a:schemeClr val="dk1"/>
                        </a:solidFill>
                        <a:latin typeface="Graphik Light"/>
                        <a:ea typeface="+mn-ea"/>
                        <a:cs typeface="+mn-cs"/>
                      </a:endParaRPr>
                    </a:p>
                    <a:p>
                      <a:pPr marL="0" lvl="0" indent="0" algn="l" defTabSz="914400" rtl="0" eaLnBrk="1" latinLnBrk="0" hangingPunct="1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+mj-lt"/>
                        <a:buNone/>
                      </a:pPr>
                      <a:endParaRPr lang="en-US" sz="1400" b="0" kern="1200">
                        <a:solidFill>
                          <a:schemeClr val="dk1"/>
                        </a:solidFill>
                        <a:latin typeface="Graphik Light"/>
                        <a:ea typeface="+mn-ea"/>
                        <a:cs typeface="+mn-cs"/>
                      </a:endParaRPr>
                    </a:p>
                  </a:txBody>
                  <a:tcPr marR="45720" marT="9144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en-US" sz="2000" b="1" i="0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 </a:t>
                      </a:r>
                      <a:r>
                        <a:rPr lang="pl-PL" sz="2000" b="1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w to build </a:t>
                      </a:r>
                      <a:br>
                        <a:rPr lang="pl-PL" sz="2000" b="1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pl-PL" sz="2000" b="1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warehouse?</a:t>
                      </a:r>
                    </a:p>
                    <a:p>
                      <a:pPr marL="0" lvl="0" indent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1200"/>
                        </a:spcAft>
                        <a:buFont typeface="+mj-lt"/>
                        <a:buNone/>
                      </a:pPr>
                      <a:r>
                        <a:rPr lang="pl-PL" sz="1400" kern="1200">
                          <a:solidFill>
                            <a:schemeClr val="dk1"/>
                          </a:solidFill>
                          <a:latin typeface="Graphik Light"/>
                          <a:ea typeface="+mn-ea"/>
                          <a:cs typeface="+mn-cs"/>
                        </a:rPr>
                        <a:t>Plan space, personnel, costs and automatization degree of a new or existing warehouse using advanced analytics.</a:t>
                      </a:r>
                      <a:endParaRPr lang="en-US" sz="1400" kern="1200">
                        <a:solidFill>
                          <a:schemeClr val="dk1"/>
                        </a:solidFill>
                        <a:latin typeface="Graphik Light"/>
                        <a:ea typeface="+mn-ea"/>
                        <a:cs typeface="+mn-cs"/>
                      </a:endParaRPr>
                    </a:p>
                  </a:txBody>
                  <a:tcPr marR="45720" marT="9144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en-US" sz="2000" b="1" i="0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. </a:t>
                      </a:r>
                      <a:r>
                        <a:rPr lang="pl-PL" sz="2000" b="1" i="0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stomer pathways</a:t>
                      </a:r>
                      <a:endParaRPr lang="en-US" sz="2000" b="1" i="0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pl-PL" sz="1400" b="0" kern="1200">
                          <a:solidFill>
                            <a:schemeClr val="dk1"/>
                          </a:solidFill>
                          <a:latin typeface="Graphik Light"/>
                          <a:ea typeface="+mn-ea"/>
                          <a:cs typeface="+mn-cs"/>
                        </a:rPr>
                        <a:t>Optimizing store layout by analyzing cutomer common pathways through the store</a:t>
                      </a:r>
                      <a:endParaRPr lang="en-US" sz="1400" b="0" kern="1200">
                        <a:solidFill>
                          <a:schemeClr val="dk1"/>
                        </a:solidFill>
                        <a:latin typeface="Graphik Light"/>
                        <a:ea typeface="+mn-ea"/>
                        <a:cs typeface="+mn-cs"/>
                      </a:endParaRPr>
                    </a:p>
                    <a:p>
                      <a:pPr marL="0" lvl="0" indent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1200"/>
                        </a:spcAft>
                        <a:buFont typeface="+mj-lt"/>
                        <a:buNone/>
                      </a:pPr>
                      <a:endParaRPr lang="en-US" sz="1400" kern="1200">
                        <a:solidFill>
                          <a:schemeClr val="dk1"/>
                        </a:solidFill>
                        <a:latin typeface="Graphik Light"/>
                        <a:ea typeface="+mn-ea"/>
                        <a:cs typeface="+mn-cs"/>
                      </a:endParaRPr>
                    </a:p>
                  </a:txBody>
                  <a:tcPr marR="45720" marT="9144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2000" b="1" i="0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 </a:t>
                      </a:r>
                      <a:r>
                        <a:rPr lang="pl-PL" sz="2000" b="1" i="0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umer feedback &amp; genAI</a:t>
                      </a:r>
                      <a:endParaRPr lang="en-US" sz="2000" b="1" i="0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pl-PL" sz="1400" b="0" kern="1200">
                          <a:solidFill>
                            <a:schemeClr val="dk1"/>
                          </a:solidFill>
                          <a:latin typeface="Graphik Light"/>
                          <a:ea typeface="+mn-ea"/>
                          <a:cs typeface="+mn-cs"/>
                        </a:rPr>
                        <a:t>Using genAI to analyze surveys and Google reviews (anonymization, translation, sentiment, topics classification)</a:t>
                      </a:r>
                    </a:p>
                  </a:txBody>
                  <a:tcPr marR="45720" marT="9144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7484343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5E3CB07-5C47-44DC-A556-25ECAD161A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822273A-7788-3EB4-7095-6C344839B3FA}"/>
              </a:ext>
            </a:extLst>
          </p:cNvPr>
          <p:cNvSpPr txBox="1"/>
          <p:nvPr/>
        </p:nvSpPr>
        <p:spPr>
          <a:xfrm>
            <a:off x="6096000" y="6369278"/>
            <a:ext cx="686797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More use cases: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lang="it-IT" sz="1400">
                <a:hlinkClick r:id="rId2"/>
              </a:rPr>
              <a:t>Retail Analytics @ICH Data&amp;AI (accenture.com)</a:t>
            </a:r>
            <a:endParaRPr kumimoji="0" lang="pl-PL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0D79DCE-D71C-84B5-7B4D-2F855B407EA0}"/>
              </a:ext>
            </a:extLst>
          </p:cNvPr>
          <p:cNvSpPr/>
          <p:nvPr/>
        </p:nvSpPr>
        <p:spPr>
          <a:xfrm>
            <a:off x="1187533" y="-1223159"/>
            <a:ext cx="593766" cy="60564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 err="1"/>
          </a:p>
        </p:txBody>
      </p:sp>
    </p:spTree>
    <p:extLst>
      <p:ext uri="{BB962C8B-B14F-4D97-AF65-F5344CB8AC3E}">
        <p14:creationId xmlns:p14="http://schemas.microsoft.com/office/powerpoint/2010/main" val="14533580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Rectangle 364">
            <a:extLst>
              <a:ext uri="{FF2B5EF4-FFF2-40B4-BE49-F238E27FC236}">
                <a16:creationId xmlns:a16="http://schemas.microsoft.com/office/drawing/2014/main" id="{EE782C3F-C94F-3415-05E2-30C77D58C065}"/>
              </a:ext>
            </a:extLst>
          </p:cNvPr>
          <p:cNvSpPr/>
          <p:nvPr/>
        </p:nvSpPr>
        <p:spPr>
          <a:xfrm>
            <a:off x="918653" y="7420841"/>
            <a:ext cx="4599870" cy="32133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E8A82B-C4D1-4A09-9EC8-5D93EACE1C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E8A82B-C4D1-4A09-9EC8-5D93EACE1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2558906F-C64F-EF33-2CE7-EE97543099D3}"/>
              </a:ext>
            </a:extLst>
          </p:cNvPr>
          <p:cNvSpPr txBox="1">
            <a:spLocks/>
          </p:cNvSpPr>
          <p:nvPr/>
        </p:nvSpPr>
        <p:spPr>
          <a:xfrm>
            <a:off x="3041452" y="7820383"/>
            <a:ext cx="2409783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I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nsultants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/>
                <a:ea typeface="+mn-ea"/>
                <a:cs typeface="+mn-cs"/>
              </a:rPr>
              <a:t>in nearshore/offshore locations</a:t>
            </a:r>
            <a:endParaRPr kumimoji="0" lang="pl-PL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CCCFAC07-3EB2-FA6A-3A82-2958ED1F5B27}"/>
              </a:ext>
            </a:extLst>
          </p:cNvPr>
          <p:cNvSpPr txBox="1">
            <a:spLocks/>
          </p:cNvSpPr>
          <p:nvPr/>
        </p:nvSpPr>
        <p:spPr>
          <a:xfrm>
            <a:off x="1877564" y="7814191"/>
            <a:ext cx="1393371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60</a:t>
            </a:r>
            <a:r>
              <a:rPr kumimoji="0" lang="pl-PL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0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+</a:t>
            </a:r>
          </a:p>
        </p:txBody>
      </p:sp>
      <p:sp>
        <p:nvSpPr>
          <p:cNvPr id="73" name="Text Placeholder 9">
            <a:extLst>
              <a:ext uri="{FF2B5EF4-FFF2-40B4-BE49-F238E27FC236}">
                <a16:creationId xmlns:a16="http://schemas.microsoft.com/office/drawing/2014/main" id="{07F84233-924F-17DC-8C7F-2B01BAB0267E}"/>
              </a:ext>
            </a:extLst>
          </p:cNvPr>
          <p:cNvSpPr txBox="1">
            <a:spLocks/>
          </p:cNvSpPr>
          <p:nvPr/>
        </p:nvSpPr>
        <p:spPr>
          <a:xfrm>
            <a:off x="1157277" y="8728820"/>
            <a:ext cx="3931064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lping with: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285" name="Group 26">
            <a:extLst>
              <a:ext uri="{FF2B5EF4-FFF2-40B4-BE49-F238E27FC236}">
                <a16:creationId xmlns:a16="http://schemas.microsoft.com/office/drawing/2014/main" id="{C592E709-2024-BDF5-944E-3A75936A21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94451" y="7617775"/>
            <a:ext cx="761527" cy="689879"/>
            <a:chOff x="3614" y="1720"/>
            <a:chExt cx="454" cy="385"/>
          </a:xfrm>
          <a:solidFill>
            <a:schemeClr val="tx1">
              <a:lumMod val="95000"/>
              <a:lumOff val="5000"/>
            </a:schemeClr>
          </a:solidFill>
        </p:grpSpPr>
        <p:sp>
          <p:nvSpPr>
            <p:cNvPr id="286" name="Freeform 27">
              <a:extLst>
                <a:ext uri="{FF2B5EF4-FFF2-40B4-BE49-F238E27FC236}">
                  <a16:creationId xmlns:a16="http://schemas.microsoft.com/office/drawing/2014/main" id="{1E597458-4B0B-2C3E-ADE4-343C0D2C06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" y="1720"/>
              <a:ext cx="142" cy="189"/>
            </a:xfrm>
            <a:custGeom>
              <a:avLst/>
              <a:gdLst>
                <a:gd name="T0" fmla="*/ 10 w 60"/>
                <a:gd name="T1" fmla="*/ 51 h 80"/>
                <a:gd name="T2" fmla="*/ 14 w 60"/>
                <a:gd name="T3" fmla="*/ 64 h 80"/>
                <a:gd name="T4" fmla="*/ 14 w 60"/>
                <a:gd name="T5" fmla="*/ 72 h 80"/>
                <a:gd name="T6" fmla="*/ 30 w 60"/>
                <a:gd name="T7" fmla="*/ 80 h 80"/>
                <a:gd name="T8" fmla="*/ 46 w 60"/>
                <a:gd name="T9" fmla="*/ 72 h 80"/>
                <a:gd name="T10" fmla="*/ 46 w 60"/>
                <a:gd name="T11" fmla="*/ 64 h 80"/>
                <a:gd name="T12" fmla="*/ 50 w 60"/>
                <a:gd name="T13" fmla="*/ 51 h 80"/>
                <a:gd name="T14" fmla="*/ 55 w 60"/>
                <a:gd name="T15" fmla="*/ 50 h 80"/>
                <a:gd name="T16" fmla="*/ 58 w 60"/>
                <a:gd name="T17" fmla="*/ 36 h 80"/>
                <a:gd name="T18" fmla="*/ 54 w 60"/>
                <a:gd name="T19" fmla="*/ 34 h 80"/>
                <a:gd name="T20" fmla="*/ 54 w 60"/>
                <a:gd name="T21" fmla="*/ 21 h 80"/>
                <a:gd name="T22" fmla="*/ 45 w 60"/>
                <a:gd name="T23" fmla="*/ 8 h 80"/>
                <a:gd name="T24" fmla="*/ 30 w 60"/>
                <a:gd name="T25" fmla="*/ 0 h 80"/>
                <a:gd name="T26" fmla="*/ 6 w 60"/>
                <a:gd name="T27" fmla="*/ 20 h 80"/>
                <a:gd name="T28" fmla="*/ 6 w 60"/>
                <a:gd name="T29" fmla="*/ 34 h 80"/>
                <a:gd name="T30" fmla="*/ 2 w 60"/>
                <a:gd name="T31" fmla="*/ 36 h 80"/>
                <a:gd name="T32" fmla="*/ 5 w 60"/>
                <a:gd name="T33" fmla="*/ 50 h 80"/>
                <a:gd name="T34" fmla="*/ 10 w 60"/>
                <a:gd name="T35" fmla="*/ 5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" h="80">
                  <a:moveTo>
                    <a:pt x="10" y="51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30" y="80"/>
                    <a:pt x="30" y="80"/>
                    <a:pt x="30" y="80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1"/>
                    <a:pt x="53" y="51"/>
                    <a:pt x="55" y="50"/>
                  </a:cubicBezTo>
                  <a:cubicBezTo>
                    <a:pt x="58" y="47"/>
                    <a:pt x="60" y="40"/>
                    <a:pt x="58" y="36"/>
                  </a:cubicBezTo>
                  <a:cubicBezTo>
                    <a:pt x="57" y="33"/>
                    <a:pt x="54" y="34"/>
                    <a:pt x="54" y="34"/>
                  </a:cubicBezTo>
                  <a:cubicBezTo>
                    <a:pt x="54" y="34"/>
                    <a:pt x="54" y="28"/>
                    <a:pt x="54" y="21"/>
                  </a:cubicBezTo>
                  <a:cubicBezTo>
                    <a:pt x="54" y="13"/>
                    <a:pt x="52" y="8"/>
                    <a:pt x="45" y="8"/>
                  </a:cubicBezTo>
                  <a:cubicBezTo>
                    <a:pt x="43" y="3"/>
                    <a:pt x="37" y="0"/>
                    <a:pt x="30" y="0"/>
                  </a:cubicBezTo>
                  <a:cubicBezTo>
                    <a:pt x="15" y="0"/>
                    <a:pt x="6" y="9"/>
                    <a:pt x="6" y="20"/>
                  </a:cubicBezTo>
                  <a:cubicBezTo>
                    <a:pt x="6" y="27"/>
                    <a:pt x="6" y="34"/>
                    <a:pt x="6" y="34"/>
                  </a:cubicBezTo>
                  <a:cubicBezTo>
                    <a:pt x="6" y="34"/>
                    <a:pt x="3" y="33"/>
                    <a:pt x="2" y="36"/>
                  </a:cubicBezTo>
                  <a:cubicBezTo>
                    <a:pt x="0" y="40"/>
                    <a:pt x="2" y="47"/>
                    <a:pt x="5" y="50"/>
                  </a:cubicBezTo>
                  <a:cubicBezTo>
                    <a:pt x="7" y="51"/>
                    <a:pt x="10" y="51"/>
                    <a:pt x="10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12240E1C-BF45-3896-0413-CF8DDB48CA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4" y="1767"/>
              <a:ext cx="454" cy="322"/>
            </a:xfrm>
            <a:custGeom>
              <a:avLst/>
              <a:gdLst>
                <a:gd name="T0" fmla="*/ 72 w 192"/>
                <a:gd name="T1" fmla="*/ 61 h 136"/>
                <a:gd name="T2" fmla="*/ 62 w 192"/>
                <a:gd name="T3" fmla="*/ 54 h 136"/>
                <a:gd name="T4" fmla="*/ 120 w 192"/>
                <a:gd name="T5" fmla="*/ 61 h 136"/>
                <a:gd name="T6" fmla="*/ 128 w 192"/>
                <a:gd name="T7" fmla="*/ 56 h 136"/>
                <a:gd name="T8" fmla="*/ 120 w 192"/>
                <a:gd name="T9" fmla="*/ 61 h 136"/>
                <a:gd name="T10" fmla="*/ 44 w 192"/>
                <a:gd name="T11" fmla="*/ 63 h 136"/>
                <a:gd name="T12" fmla="*/ 44 w 192"/>
                <a:gd name="T13" fmla="*/ 70 h 136"/>
                <a:gd name="T14" fmla="*/ 51 w 192"/>
                <a:gd name="T15" fmla="*/ 69 h 136"/>
                <a:gd name="T16" fmla="*/ 52 w 192"/>
                <a:gd name="T17" fmla="*/ 63 h 136"/>
                <a:gd name="T18" fmla="*/ 166 w 192"/>
                <a:gd name="T19" fmla="*/ 46 h 136"/>
                <a:gd name="T20" fmla="*/ 144 w 192"/>
                <a:gd name="T21" fmla="*/ 0 h 136"/>
                <a:gd name="T22" fmla="*/ 128 w 192"/>
                <a:gd name="T23" fmla="*/ 21 h 136"/>
                <a:gd name="T24" fmla="*/ 126 w 192"/>
                <a:gd name="T25" fmla="*/ 48 h 136"/>
                <a:gd name="T26" fmla="*/ 133 w 192"/>
                <a:gd name="T27" fmla="*/ 52 h 136"/>
                <a:gd name="T28" fmla="*/ 146 w 192"/>
                <a:gd name="T29" fmla="*/ 70 h 136"/>
                <a:gd name="T30" fmla="*/ 166 w 192"/>
                <a:gd name="T31" fmla="*/ 46 h 136"/>
                <a:gd name="T32" fmla="*/ 36 w 192"/>
                <a:gd name="T33" fmla="*/ 44 h 136"/>
                <a:gd name="T34" fmla="*/ 48 w 192"/>
                <a:gd name="T35" fmla="*/ 56 h 136"/>
                <a:gd name="T36" fmla="*/ 60 w 192"/>
                <a:gd name="T37" fmla="*/ 44 h 136"/>
                <a:gd name="T38" fmla="*/ 61 w 192"/>
                <a:gd name="T39" fmla="*/ 24 h 136"/>
                <a:gd name="T40" fmla="*/ 64 w 192"/>
                <a:gd name="T41" fmla="*/ 7 h 136"/>
                <a:gd name="T42" fmla="*/ 48 w 192"/>
                <a:gd name="T43" fmla="*/ 0 h 136"/>
                <a:gd name="T44" fmla="*/ 32 w 192"/>
                <a:gd name="T45" fmla="*/ 24 h 136"/>
                <a:gd name="T46" fmla="*/ 32 w 192"/>
                <a:gd name="T47" fmla="*/ 35 h 136"/>
                <a:gd name="T48" fmla="*/ 8 w 192"/>
                <a:gd name="T49" fmla="*/ 63 h 136"/>
                <a:gd name="T50" fmla="*/ 20 w 192"/>
                <a:gd name="T51" fmla="*/ 136 h 136"/>
                <a:gd name="T52" fmla="*/ 34 w 192"/>
                <a:gd name="T53" fmla="*/ 76 h 136"/>
                <a:gd name="T54" fmla="*/ 34 w 192"/>
                <a:gd name="T55" fmla="*/ 54 h 136"/>
                <a:gd name="T56" fmla="*/ 192 w 192"/>
                <a:gd name="T57" fmla="*/ 136 h 136"/>
                <a:gd name="T58" fmla="*/ 160 w 192"/>
                <a:gd name="T59" fmla="*/ 56 h 136"/>
                <a:gd name="T60" fmla="*/ 154 w 192"/>
                <a:gd name="T61" fmla="*/ 72 h 136"/>
                <a:gd name="T62" fmla="*/ 157 w 192"/>
                <a:gd name="T63" fmla="*/ 76 h 136"/>
                <a:gd name="T64" fmla="*/ 158 w 192"/>
                <a:gd name="T65" fmla="*/ 76 h 136"/>
                <a:gd name="T66" fmla="*/ 172 w 192"/>
                <a:gd name="T67" fmla="*/ 129 h 136"/>
                <a:gd name="T68" fmla="*/ 192 w 192"/>
                <a:gd name="T69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136">
                  <a:moveTo>
                    <a:pt x="58" y="66"/>
                  </a:moveTo>
                  <a:cubicBezTo>
                    <a:pt x="62" y="65"/>
                    <a:pt x="67" y="63"/>
                    <a:pt x="72" y="61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67" y="55"/>
                    <a:pt x="62" y="54"/>
                    <a:pt x="62" y="54"/>
                  </a:cubicBezTo>
                  <a:lnTo>
                    <a:pt x="58" y="66"/>
                  </a:lnTo>
                  <a:close/>
                  <a:moveTo>
                    <a:pt x="120" y="61"/>
                  </a:moveTo>
                  <a:cubicBezTo>
                    <a:pt x="121" y="62"/>
                    <a:pt x="123" y="62"/>
                    <a:pt x="124" y="63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56"/>
                    <a:pt x="124" y="57"/>
                    <a:pt x="120" y="59"/>
                  </a:cubicBezTo>
                  <a:lnTo>
                    <a:pt x="120" y="61"/>
                  </a:lnTo>
                  <a:close/>
                  <a:moveTo>
                    <a:pt x="48" y="59"/>
                  </a:moveTo>
                  <a:cubicBezTo>
                    <a:pt x="44" y="63"/>
                    <a:pt x="44" y="63"/>
                    <a:pt x="44" y="63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6" y="70"/>
                    <a:pt x="48" y="70"/>
                    <a:pt x="51" y="69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2" y="63"/>
                    <a:pt x="52" y="63"/>
                    <a:pt x="52" y="63"/>
                  </a:cubicBezTo>
                  <a:lnTo>
                    <a:pt x="48" y="59"/>
                  </a:lnTo>
                  <a:close/>
                  <a:moveTo>
                    <a:pt x="166" y="46"/>
                  </a:moveTo>
                  <a:cubicBezTo>
                    <a:pt x="161" y="39"/>
                    <a:pt x="162" y="26"/>
                    <a:pt x="162" y="26"/>
                  </a:cubicBezTo>
                  <a:cubicBezTo>
                    <a:pt x="162" y="15"/>
                    <a:pt x="162" y="0"/>
                    <a:pt x="144" y="0"/>
                  </a:cubicBezTo>
                  <a:cubicBezTo>
                    <a:pt x="135" y="0"/>
                    <a:pt x="130" y="4"/>
                    <a:pt x="128" y="9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129" y="22"/>
                    <a:pt x="130" y="23"/>
                    <a:pt x="131" y="24"/>
                  </a:cubicBezTo>
                  <a:cubicBezTo>
                    <a:pt x="135" y="32"/>
                    <a:pt x="132" y="43"/>
                    <a:pt x="126" y="48"/>
                  </a:cubicBezTo>
                  <a:cubicBezTo>
                    <a:pt x="126" y="48"/>
                    <a:pt x="126" y="48"/>
                    <a:pt x="126" y="48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41" y="69"/>
                    <a:pt x="141" y="69"/>
                    <a:pt x="141" y="69"/>
                  </a:cubicBezTo>
                  <a:cubicBezTo>
                    <a:pt x="143" y="69"/>
                    <a:pt x="145" y="70"/>
                    <a:pt x="146" y="70"/>
                  </a:cubicBezTo>
                  <a:cubicBezTo>
                    <a:pt x="155" y="52"/>
                    <a:pt x="155" y="52"/>
                    <a:pt x="155" y="52"/>
                  </a:cubicBezTo>
                  <a:lnTo>
                    <a:pt x="166" y="46"/>
                  </a:lnTo>
                  <a:close/>
                  <a:moveTo>
                    <a:pt x="34" y="36"/>
                  </a:moveTo>
                  <a:cubicBezTo>
                    <a:pt x="36" y="44"/>
                    <a:pt x="36" y="44"/>
                    <a:pt x="36" y="44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44"/>
                    <a:pt x="60" y="44"/>
                    <a:pt x="60" y="44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59" y="35"/>
                    <a:pt x="58" y="29"/>
                    <a:pt x="61" y="24"/>
                  </a:cubicBezTo>
                  <a:cubicBezTo>
                    <a:pt x="62" y="23"/>
                    <a:pt x="63" y="22"/>
                    <a:pt x="64" y="21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3" y="6"/>
                    <a:pt x="61" y="5"/>
                    <a:pt x="59" y="5"/>
                  </a:cubicBezTo>
                  <a:cubicBezTo>
                    <a:pt x="57" y="1"/>
                    <a:pt x="53" y="0"/>
                    <a:pt x="48" y="0"/>
                  </a:cubicBezTo>
                  <a:cubicBezTo>
                    <a:pt x="37" y="0"/>
                    <a:pt x="32" y="6"/>
                    <a:pt x="32" y="14"/>
                  </a:cubicBezTo>
                  <a:cubicBezTo>
                    <a:pt x="32" y="19"/>
                    <a:pt x="32" y="24"/>
                    <a:pt x="32" y="24"/>
                  </a:cubicBezTo>
                  <a:cubicBezTo>
                    <a:pt x="32" y="24"/>
                    <a:pt x="31" y="24"/>
                    <a:pt x="30" y="26"/>
                  </a:cubicBezTo>
                  <a:cubicBezTo>
                    <a:pt x="28" y="28"/>
                    <a:pt x="29" y="33"/>
                    <a:pt x="32" y="35"/>
                  </a:cubicBezTo>
                  <a:cubicBezTo>
                    <a:pt x="33" y="36"/>
                    <a:pt x="34" y="36"/>
                    <a:pt x="34" y="36"/>
                  </a:cubicBezTo>
                  <a:close/>
                  <a:moveTo>
                    <a:pt x="8" y="63"/>
                  </a:moveTo>
                  <a:cubicBezTo>
                    <a:pt x="5" y="66"/>
                    <a:pt x="0" y="94"/>
                    <a:pt x="0" y="136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0" y="128"/>
                    <a:pt x="20" y="128"/>
                    <a:pt x="20" y="128"/>
                  </a:cubicBezTo>
                  <a:cubicBezTo>
                    <a:pt x="22" y="103"/>
                    <a:pt x="25" y="83"/>
                    <a:pt x="34" y="76"/>
                  </a:cubicBezTo>
                  <a:cubicBezTo>
                    <a:pt x="35" y="75"/>
                    <a:pt x="36" y="75"/>
                    <a:pt x="40" y="73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10" y="61"/>
                    <a:pt x="8" y="63"/>
                  </a:cubicBezTo>
                  <a:close/>
                  <a:moveTo>
                    <a:pt x="192" y="136"/>
                  </a:moveTo>
                  <a:cubicBezTo>
                    <a:pt x="192" y="94"/>
                    <a:pt x="187" y="69"/>
                    <a:pt x="184" y="66"/>
                  </a:cubicBezTo>
                  <a:cubicBezTo>
                    <a:pt x="182" y="65"/>
                    <a:pt x="160" y="56"/>
                    <a:pt x="160" y="56"/>
                  </a:cubicBezTo>
                  <a:cubicBezTo>
                    <a:pt x="170" y="72"/>
                    <a:pt x="170" y="72"/>
                    <a:pt x="170" y="72"/>
                  </a:cubicBezTo>
                  <a:cubicBezTo>
                    <a:pt x="154" y="72"/>
                    <a:pt x="154" y="72"/>
                    <a:pt x="154" y="72"/>
                  </a:cubicBezTo>
                  <a:cubicBezTo>
                    <a:pt x="153" y="73"/>
                    <a:pt x="153" y="73"/>
                    <a:pt x="153" y="73"/>
                  </a:cubicBezTo>
                  <a:cubicBezTo>
                    <a:pt x="156" y="75"/>
                    <a:pt x="157" y="75"/>
                    <a:pt x="157" y="76"/>
                  </a:cubicBezTo>
                  <a:cubicBezTo>
                    <a:pt x="157" y="76"/>
                    <a:pt x="158" y="76"/>
                    <a:pt x="158" y="76"/>
                  </a:cubicBezTo>
                  <a:cubicBezTo>
                    <a:pt x="158" y="76"/>
                    <a:pt x="158" y="76"/>
                    <a:pt x="158" y="76"/>
                  </a:cubicBezTo>
                  <a:cubicBezTo>
                    <a:pt x="158" y="76"/>
                    <a:pt x="158" y="76"/>
                    <a:pt x="158" y="76"/>
                  </a:cubicBezTo>
                  <a:cubicBezTo>
                    <a:pt x="167" y="83"/>
                    <a:pt x="170" y="105"/>
                    <a:pt x="172" y="129"/>
                  </a:cubicBezTo>
                  <a:cubicBezTo>
                    <a:pt x="172" y="136"/>
                    <a:pt x="172" y="136"/>
                    <a:pt x="172" y="136"/>
                  </a:cubicBezTo>
                  <a:lnTo>
                    <a:pt x="192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  <p:sp>
          <p:nvSpPr>
            <p:cNvPr id="288" name="Freeform 28">
              <a:extLst>
                <a:ext uri="{FF2B5EF4-FFF2-40B4-BE49-F238E27FC236}">
                  <a16:creationId xmlns:a16="http://schemas.microsoft.com/office/drawing/2014/main" id="{94001647-9682-1B67-73A5-EAC89D040F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1" y="1890"/>
              <a:ext cx="321" cy="215"/>
            </a:xfrm>
            <a:custGeom>
              <a:avLst/>
              <a:gdLst>
                <a:gd name="T0" fmla="*/ 125 w 136"/>
                <a:gd name="T1" fmla="*/ 13 h 91"/>
                <a:gd name="T2" fmla="*/ 88 w 136"/>
                <a:gd name="T3" fmla="*/ 0 h 91"/>
                <a:gd name="T4" fmla="*/ 76 w 136"/>
                <a:gd name="T5" fmla="*/ 49 h 91"/>
                <a:gd name="T6" fmla="*/ 76 w 136"/>
                <a:gd name="T7" fmla="*/ 29 h 91"/>
                <a:gd name="T8" fmla="*/ 70 w 136"/>
                <a:gd name="T9" fmla="*/ 19 h 91"/>
                <a:gd name="T10" fmla="*/ 76 w 136"/>
                <a:gd name="T11" fmla="*/ 13 h 91"/>
                <a:gd name="T12" fmla="*/ 68 w 136"/>
                <a:gd name="T13" fmla="*/ 5 h 91"/>
                <a:gd name="T14" fmla="*/ 60 w 136"/>
                <a:gd name="T15" fmla="*/ 13 h 91"/>
                <a:gd name="T16" fmla="*/ 66 w 136"/>
                <a:gd name="T17" fmla="*/ 19 h 91"/>
                <a:gd name="T18" fmla="*/ 60 w 136"/>
                <a:gd name="T19" fmla="*/ 29 h 91"/>
                <a:gd name="T20" fmla="*/ 60 w 136"/>
                <a:gd name="T21" fmla="*/ 49 h 91"/>
                <a:gd name="T22" fmla="*/ 48 w 136"/>
                <a:gd name="T23" fmla="*/ 0 h 91"/>
                <a:gd name="T24" fmla="*/ 11 w 136"/>
                <a:gd name="T25" fmla="*/ 13 h 91"/>
                <a:gd name="T26" fmla="*/ 0 w 136"/>
                <a:gd name="T27" fmla="*/ 91 h 91"/>
                <a:gd name="T28" fmla="*/ 136 w 136"/>
                <a:gd name="T29" fmla="*/ 91 h 91"/>
                <a:gd name="T30" fmla="*/ 125 w 136"/>
                <a:gd name="T31" fmla="*/ 1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6" h="91">
                  <a:moveTo>
                    <a:pt x="125" y="13"/>
                  </a:moveTo>
                  <a:cubicBezTo>
                    <a:pt x="121" y="10"/>
                    <a:pt x="88" y="0"/>
                    <a:pt x="88" y="0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49"/>
                    <a:pt x="60" y="49"/>
                    <a:pt x="60" y="49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15" y="10"/>
                    <a:pt x="11" y="13"/>
                  </a:cubicBezTo>
                  <a:cubicBezTo>
                    <a:pt x="7" y="17"/>
                    <a:pt x="0" y="35"/>
                    <a:pt x="0" y="91"/>
                  </a:cubicBezTo>
                  <a:cubicBezTo>
                    <a:pt x="136" y="91"/>
                    <a:pt x="136" y="91"/>
                    <a:pt x="136" y="91"/>
                  </a:cubicBezTo>
                  <a:cubicBezTo>
                    <a:pt x="136" y="35"/>
                    <a:pt x="129" y="17"/>
                    <a:pt x="12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</p:grpSp>
      <p:pic>
        <p:nvPicPr>
          <p:cNvPr id="290" name="Graphic 289" descr="Scientific Thought outline">
            <a:extLst>
              <a:ext uri="{FF2B5EF4-FFF2-40B4-BE49-F238E27FC236}">
                <a16:creationId xmlns:a16="http://schemas.microsoft.com/office/drawing/2014/main" id="{A92FE2FC-13DD-475A-F953-02B5245EEF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09989" y="9822587"/>
            <a:ext cx="473170" cy="473170"/>
          </a:xfrm>
          <a:prstGeom prst="rect">
            <a:avLst/>
          </a:prstGeom>
        </p:spPr>
      </p:pic>
      <p:pic>
        <p:nvPicPr>
          <p:cNvPr id="292" name="Graphic 291" descr="Coins outline">
            <a:extLst>
              <a:ext uri="{FF2B5EF4-FFF2-40B4-BE49-F238E27FC236}">
                <a16:creationId xmlns:a16="http://schemas.microsoft.com/office/drawing/2014/main" id="{071ED58D-8075-DC35-A51C-0A966E4EEB3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428954" y="8992457"/>
            <a:ext cx="473170" cy="473170"/>
          </a:xfrm>
          <a:prstGeom prst="rect">
            <a:avLst/>
          </a:prstGeom>
        </p:spPr>
      </p:pic>
      <p:grpSp>
        <p:nvGrpSpPr>
          <p:cNvPr id="322" name="Complexit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4B734C9-8C10-BD6D-1466-D4E1DCCD4817}"/>
              </a:ext>
            </a:extLst>
          </p:cNvPr>
          <p:cNvGrpSpPr>
            <a:grpSpLocks noChangeAspect="1"/>
          </p:cNvGrpSpPr>
          <p:nvPr/>
        </p:nvGrpSpPr>
        <p:grpSpPr>
          <a:xfrm>
            <a:off x="1207728" y="9849957"/>
            <a:ext cx="401358" cy="402156"/>
            <a:chOff x="6367463" y="1652588"/>
            <a:chExt cx="796925" cy="798513"/>
          </a:xfrm>
          <a:noFill/>
        </p:grpSpPr>
        <p:sp>
          <p:nvSpPr>
            <p:cNvPr id="323" name="Oval 270">
              <a:extLst>
                <a:ext uri="{FF2B5EF4-FFF2-40B4-BE49-F238E27FC236}">
                  <a16:creationId xmlns:a16="http://schemas.microsoft.com/office/drawing/2014/main" id="{8750AA29-2872-B963-05A6-D70F0D6A37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16573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4" name="Oval 271">
              <a:extLst>
                <a:ext uri="{FF2B5EF4-FFF2-40B4-BE49-F238E27FC236}">
                  <a16:creationId xmlns:a16="http://schemas.microsoft.com/office/drawing/2014/main" id="{5641A773-1700-1DEC-E12E-DD4A5E1ECE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18859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5" name="Oval 272">
              <a:extLst>
                <a:ext uri="{FF2B5EF4-FFF2-40B4-BE49-F238E27FC236}">
                  <a16:creationId xmlns:a16="http://schemas.microsoft.com/office/drawing/2014/main" id="{6A47D83E-017B-A64E-921E-ACF46B8905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21145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6" name="Oval 273">
              <a:extLst>
                <a:ext uri="{FF2B5EF4-FFF2-40B4-BE49-F238E27FC236}">
                  <a16:creationId xmlns:a16="http://schemas.microsoft.com/office/drawing/2014/main" id="{DEFBD32A-9BC6-512F-FD17-5D2B57ECFA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2116138"/>
              <a:ext cx="100013" cy="100013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7" name="Oval 274">
              <a:extLst>
                <a:ext uri="{FF2B5EF4-FFF2-40B4-BE49-F238E27FC236}">
                  <a16:creationId xmlns:a16="http://schemas.microsoft.com/office/drawing/2014/main" id="{66602972-9E17-55D9-4167-11BFE7D0BE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2344738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8" name="Oval 275">
              <a:extLst>
                <a:ext uri="{FF2B5EF4-FFF2-40B4-BE49-F238E27FC236}">
                  <a16:creationId xmlns:a16="http://schemas.microsoft.com/office/drawing/2014/main" id="{EABD3B47-385A-E4AC-4011-553F7897BA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1885951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9" name="Oval 276">
              <a:extLst>
                <a:ext uri="{FF2B5EF4-FFF2-40B4-BE49-F238E27FC236}">
                  <a16:creationId xmlns:a16="http://schemas.microsoft.com/office/drawing/2014/main" id="{8982B920-6253-3859-6E4B-30202BBCA3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18859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0" name="Oval 277">
              <a:extLst>
                <a:ext uri="{FF2B5EF4-FFF2-40B4-BE49-F238E27FC236}">
                  <a16:creationId xmlns:a16="http://schemas.microsoft.com/office/drawing/2014/main" id="{B80FE0E5-451D-E0FD-D09C-72879BA12B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2344738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1" name="Oval 278">
              <a:extLst>
                <a:ext uri="{FF2B5EF4-FFF2-40B4-BE49-F238E27FC236}">
                  <a16:creationId xmlns:a16="http://schemas.microsoft.com/office/drawing/2014/main" id="{1F4155F9-76D6-2D08-C4B2-EA95F3E7CE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1657351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Oval 279">
              <a:extLst>
                <a:ext uri="{FF2B5EF4-FFF2-40B4-BE49-F238E27FC236}">
                  <a16:creationId xmlns:a16="http://schemas.microsoft.com/office/drawing/2014/main" id="{6E4F0129-F63B-E196-B212-AF1CFAA91C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16573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Oval 280">
              <a:extLst>
                <a:ext uri="{FF2B5EF4-FFF2-40B4-BE49-F238E27FC236}">
                  <a16:creationId xmlns:a16="http://schemas.microsoft.com/office/drawing/2014/main" id="{099C5B32-2BA6-7920-0373-B4A137F276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2116138"/>
              <a:ext cx="100013" cy="100013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4" name="Oval 281">
              <a:extLst>
                <a:ext uri="{FF2B5EF4-FFF2-40B4-BE49-F238E27FC236}">
                  <a16:creationId xmlns:a16="http://schemas.microsoft.com/office/drawing/2014/main" id="{0D3C2AFE-C62A-E710-882F-6159EBA0A9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2344738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5" name="Freeform 282">
              <a:extLst>
                <a:ext uri="{FF2B5EF4-FFF2-40B4-BE49-F238E27FC236}">
                  <a16:creationId xmlns:a16="http://schemas.microsoft.com/office/drawing/2014/main" id="{238333B1-AE3E-C787-6296-EC600B925A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1652588"/>
              <a:ext cx="112713" cy="111125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6"/>
                    <a:pt x="17" y="83"/>
                  </a:cubicBezTo>
                  <a:cubicBezTo>
                    <a:pt x="17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8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6" name="Freeform 283">
              <a:extLst>
                <a:ext uri="{FF2B5EF4-FFF2-40B4-BE49-F238E27FC236}">
                  <a16:creationId xmlns:a16="http://schemas.microsoft.com/office/drawing/2014/main" id="{CFC185DC-AF0C-BEB4-5BE0-7D4948CF57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1652588"/>
              <a:ext cx="112713" cy="111125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8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7" name="Freeform 284">
              <a:extLst>
                <a:ext uri="{FF2B5EF4-FFF2-40B4-BE49-F238E27FC236}">
                  <a16:creationId xmlns:a16="http://schemas.microsoft.com/office/drawing/2014/main" id="{F25F9C7C-DDD9-3448-C85D-7A51CA003B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1652588"/>
              <a:ext cx="111125" cy="111125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2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8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" name="Freeform 285">
              <a:extLst>
                <a:ext uri="{FF2B5EF4-FFF2-40B4-BE49-F238E27FC236}">
                  <a16:creationId xmlns:a16="http://schemas.microsoft.com/office/drawing/2014/main" id="{97FA3557-F089-7B05-6F0A-D6FA34477F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18811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6"/>
                    <a:pt x="17" y="83"/>
                  </a:cubicBezTo>
                  <a:cubicBezTo>
                    <a:pt x="17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9" name="Freeform 286">
              <a:extLst>
                <a:ext uri="{FF2B5EF4-FFF2-40B4-BE49-F238E27FC236}">
                  <a16:creationId xmlns:a16="http://schemas.microsoft.com/office/drawing/2014/main" id="{D5CA1230-DFE3-9ED2-DBD0-D8AF595CE9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18811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0" name="Freeform 287">
              <a:extLst>
                <a:ext uri="{FF2B5EF4-FFF2-40B4-BE49-F238E27FC236}">
                  <a16:creationId xmlns:a16="http://schemas.microsoft.com/office/drawing/2014/main" id="{41912A39-5FF7-4BBA-7A07-D2A2A694F4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18811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2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1" name="Freeform 288">
              <a:extLst>
                <a:ext uri="{FF2B5EF4-FFF2-40B4-BE49-F238E27FC236}">
                  <a16:creationId xmlns:a16="http://schemas.microsoft.com/office/drawing/2014/main" id="{DBC9F78C-5169-5CAC-8925-53AE657034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21097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7"/>
                    <a:pt x="17" y="83"/>
                  </a:cubicBezTo>
                  <a:cubicBezTo>
                    <a:pt x="17" y="120"/>
                    <a:pt x="46" y="149"/>
                    <a:pt x="83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2" name="Freeform 289">
              <a:extLst>
                <a:ext uri="{FF2B5EF4-FFF2-40B4-BE49-F238E27FC236}">
                  <a16:creationId xmlns:a16="http://schemas.microsoft.com/office/drawing/2014/main" id="{C0CEF2FC-EFBB-0FB0-F63F-BAA62766A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21097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49"/>
                    <a:pt x="83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3" name="Freeform 290">
              <a:extLst>
                <a:ext uri="{FF2B5EF4-FFF2-40B4-BE49-F238E27FC236}">
                  <a16:creationId xmlns:a16="http://schemas.microsoft.com/office/drawing/2014/main" id="{246F591D-74E8-D293-506D-98B26A4853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21097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49"/>
                    <a:pt x="82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4" name="Freeform 291">
              <a:extLst>
                <a:ext uri="{FF2B5EF4-FFF2-40B4-BE49-F238E27FC236}">
                  <a16:creationId xmlns:a16="http://schemas.microsoft.com/office/drawing/2014/main" id="{8E1A3E17-B212-6627-3429-A0E7707EE4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23383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50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7"/>
                    <a:pt x="17" y="83"/>
                  </a:cubicBezTo>
                  <a:cubicBezTo>
                    <a:pt x="17" y="120"/>
                    <a:pt x="46" y="150"/>
                    <a:pt x="83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29" y="0"/>
                    <a:pt x="166" y="38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5" name="Freeform 292">
              <a:extLst>
                <a:ext uri="{FF2B5EF4-FFF2-40B4-BE49-F238E27FC236}">
                  <a16:creationId xmlns:a16="http://schemas.microsoft.com/office/drawing/2014/main" id="{476FD096-7B07-A81A-D4F2-FDB411ECBC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23383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50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50"/>
                    <a:pt x="83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28" y="0"/>
                    <a:pt x="166" y="38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6" name="Freeform 293">
              <a:extLst>
                <a:ext uri="{FF2B5EF4-FFF2-40B4-BE49-F238E27FC236}">
                  <a16:creationId xmlns:a16="http://schemas.microsoft.com/office/drawing/2014/main" id="{C5138855-CC2E-FAD6-E1C7-DB5A06A093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23383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50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50"/>
                    <a:pt x="82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2" y="0"/>
                  </a:cubicBezTo>
                  <a:cubicBezTo>
                    <a:pt x="128" y="0"/>
                    <a:pt x="165" y="38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7" name="Rectangle 294">
              <a:extLst>
                <a:ext uri="{FF2B5EF4-FFF2-40B4-BE49-F238E27FC236}">
                  <a16:creationId xmlns:a16="http://schemas.microsoft.com/office/drawing/2014/main" id="{228C2AB2-8A51-1D85-1CB3-F60A5153B5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6725" y="2160588"/>
              <a:ext cx="242888" cy="11113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8" name="Rectangle 295">
              <a:extLst>
                <a:ext uri="{FF2B5EF4-FFF2-40B4-BE49-F238E27FC236}">
                  <a16:creationId xmlns:a16="http://schemas.microsoft.com/office/drawing/2014/main" id="{3D4404BC-B98D-F67F-9E56-50E96BC67A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6725" y="1931988"/>
              <a:ext cx="242888" cy="11113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9" name="Freeform 296">
              <a:extLst>
                <a:ext uri="{FF2B5EF4-FFF2-40B4-BE49-F238E27FC236}">
                  <a16:creationId xmlns:a16="http://schemas.microsoft.com/office/drawing/2014/main" id="{739C4033-8B2B-7244-F177-7D5E8E375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125" y="1957388"/>
              <a:ext cx="269875" cy="185738"/>
            </a:xfrm>
            <a:custGeom>
              <a:avLst/>
              <a:gdLst>
                <a:gd name="T0" fmla="*/ 4 w 170"/>
                <a:gd name="T1" fmla="*/ 117 h 117"/>
                <a:gd name="T2" fmla="*/ 0 w 170"/>
                <a:gd name="T3" fmla="*/ 111 h 117"/>
                <a:gd name="T4" fmla="*/ 166 w 170"/>
                <a:gd name="T5" fmla="*/ 0 h 117"/>
                <a:gd name="T6" fmla="*/ 170 w 170"/>
                <a:gd name="T7" fmla="*/ 6 h 117"/>
                <a:gd name="T8" fmla="*/ 4 w 170"/>
                <a:gd name="T9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117">
                  <a:moveTo>
                    <a:pt x="4" y="117"/>
                  </a:moveTo>
                  <a:lnTo>
                    <a:pt x="0" y="111"/>
                  </a:lnTo>
                  <a:lnTo>
                    <a:pt x="166" y="0"/>
                  </a:lnTo>
                  <a:lnTo>
                    <a:pt x="170" y="6"/>
                  </a:lnTo>
                  <a:lnTo>
                    <a:pt x="4" y="117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0" name="Freeform 297">
              <a:extLst>
                <a:ext uri="{FF2B5EF4-FFF2-40B4-BE49-F238E27FC236}">
                  <a16:creationId xmlns:a16="http://schemas.microsoft.com/office/drawing/2014/main" id="{B93FBDB0-3853-0FD6-EF68-64718CC5E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2713" y="1728788"/>
              <a:ext cx="268288" cy="184150"/>
            </a:xfrm>
            <a:custGeom>
              <a:avLst/>
              <a:gdLst>
                <a:gd name="T0" fmla="*/ 4 w 169"/>
                <a:gd name="T1" fmla="*/ 116 h 116"/>
                <a:gd name="T2" fmla="*/ 0 w 169"/>
                <a:gd name="T3" fmla="*/ 110 h 116"/>
                <a:gd name="T4" fmla="*/ 165 w 169"/>
                <a:gd name="T5" fmla="*/ 0 h 116"/>
                <a:gd name="T6" fmla="*/ 169 w 169"/>
                <a:gd name="T7" fmla="*/ 6 h 116"/>
                <a:gd name="T8" fmla="*/ 4 w 169"/>
                <a:gd name="T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116">
                  <a:moveTo>
                    <a:pt x="4" y="116"/>
                  </a:moveTo>
                  <a:lnTo>
                    <a:pt x="0" y="110"/>
                  </a:lnTo>
                  <a:lnTo>
                    <a:pt x="165" y="0"/>
                  </a:lnTo>
                  <a:lnTo>
                    <a:pt x="169" y="6"/>
                  </a:lnTo>
                  <a:lnTo>
                    <a:pt x="4" y="116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1" name="Rectangle 298">
              <a:extLst>
                <a:ext uri="{FF2B5EF4-FFF2-40B4-BE49-F238E27FC236}">
                  <a16:creationId xmlns:a16="http://schemas.microsoft.com/office/drawing/2014/main" id="{0B92437C-17D3-A394-A185-CC25F9103F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3825" y="1701801"/>
              <a:ext cx="242888" cy="12700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2" name="Freeform 299">
              <a:extLst>
                <a:ext uri="{FF2B5EF4-FFF2-40B4-BE49-F238E27FC236}">
                  <a16:creationId xmlns:a16="http://schemas.microsoft.com/office/drawing/2014/main" id="{BAE73AC4-167A-CBBB-5235-55916C1E4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125" y="2189163"/>
              <a:ext cx="266700" cy="182563"/>
            </a:xfrm>
            <a:custGeom>
              <a:avLst/>
              <a:gdLst>
                <a:gd name="T0" fmla="*/ 164 w 168"/>
                <a:gd name="T1" fmla="*/ 115 h 115"/>
                <a:gd name="T2" fmla="*/ 0 w 168"/>
                <a:gd name="T3" fmla="*/ 6 h 115"/>
                <a:gd name="T4" fmla="*/ 4 w 168"/>
                <a:gd name="T5" fmla="*/ 0 h 115"/>
                <a:gd name="T6" fmla="*/ 168 w 168"/>
                <a:gd name="T7" fmla="*/ 109 h 115"/>
                <a:gd name="T8" fmla="*/ 164 w 168"/>
                <a:gd name="T9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115">
                  <a:moveTo>
                    <a:pt x="164" y="115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168" y="109"/>
                  </a:lnTo>
                  <a:lnTo>
                    <a:pt x="164" y="115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3" name="Rectangle 300">
              <a:extLst>
                <a:ext uri="{FF2B5EF4-FFF2-40B4-BE49-F238E27FC236}">
                  <a16:creationId xmlns:a16="http://schemas.microsoft.com/office/drawing/2014/main" id="{0FCB488A-D2D1-1AC4-CB34-053B485385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4063" y="2216151"/>
              <a:ext cx="11113" cy="128588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4" name="Rectangle 301">
              <a:extLst>
                <a:ext uri="{FF2B5EF4-FFF2-40B4-BE49-F238E27FC236}">
                  <a16:creationId xmlns:a16="http://schemas.microsoft.com/office/drawing/2014/main" id="{B92F33E3-309E-BBE9-4D18-7380D66378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4063" y="1758951"/>
              <a:ext cx="11113" cy="127000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55" name="Text Placeholder 9">
            <a:extLst>
              <a:ext uri="{FF2B5EF4-FFF2-40B4-BE49-F238E27FC236}">
                <a16:creationId xmlns:a16="http://schemas.microsoft.com/office/drawing/2014/main" id="{520DE371-5AF1-F8FF-8707-45EE4454FB90}"/>
              </a:ext>
            </a:extLst>
          </p:cNvPr>
          <p:cNvSpPr txBox="1">
            <a:spLocks/>
          </p:cNvSpPr>
          <p:nvPr/>
        </p:nvSpPr>
        <p:spPr>
          <a:xfrm>
            <a:off x="1840804" y="9157871"/>
            <a:ext cx="1595631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en AI scaling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6" name="Text Placeholder 9">
            <a:extLst>
              <a:ext uri="{FF2B5EF4-FFF2-40B4-BE49-F238E27FC236}">
                <a16:creationId xmlns:a16="http://schemas.microsoft.com/office/drawing/2014/main" id="{45893D60-F6F4-C53C-3A02-E32909DD2E69}"/>
              </a:ext>
            </a:extLst>
          </p:cNvPr>
          <p:cNvSpPr txBox="1">
            <a:spLocks/>
          </p:cNvSpPr>
          <p:nvPr/>
        </p:nvSpPr>
        <p:spPr>
          <a:xfrm>
            <a:off x="4041458" y="9142081"/>
            <a:ext cx="2074602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monetizatio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7" name="Text Placeholder 9">
            <a:extLst>
              <a:ext uri="{FF2B5EF4-FFF2-40B4-BE49-F238E27FC236}">
                <a16:creationId xmlns:a16="http://schemas.microsoft.com/office/drawing/2014/main" id="{E15DB0F8-FBE2-D8CC-A4FB-F6A6E1AAAE0A}"/>
              </a:ext>
            </a:extLst>
          </p:cNvPr>
          <p:cNvSpPr txBox="1">
            <a:spLocks/>
          </p:cNvSpPr>
          <p:nvPr/>
        </p:nvSpPr>
        <p:spPr>
          <a:xfrm>
            <a:off x="1855406" y="9906497"/>
            <a:ext cx="1404274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led modelling</a:t>
            </a:r>
            <a:b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&amp; transformatio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8" name="Text Placeholder 9">
            <a:extLst>
              <a:ext uri="{FF2B5EF4-FFF2-40B4-BE49-F238E27FC236}">
                <a16:creationId xmlns:a16="http://schemas.microsoft.com/office/drawing/2014/main" id="{DDA5DDE7-3083-CDF4-FE22-D3B32B014AAD}"/>
              </a:ext>
            </a:extLst>
          </p:cNvPr>
          <p:cNvSpPr txBox="1">
            <a:spLocks/>
          </p:cNvSpPr>
          <p:nvPr/>
        </p:nvSpPr>
        <p:spPr>
          <a:xfrm>
            <a:off x="4018723" y="9819929"/>
            <a:ext cx="2182529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science</a:t>
            </a:r>
            <a:b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&amp; MLOp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0B02FCB-7E30-92CF-CD77-808E9C6C0E12}"/>
              </a:ext>
            </a:extLst>
          </p:cNvPr>
          <p:cNvGrpSpPr>
            <a:grpSpLocks noChangeAspect="1"/>
          </p:cNvGrpSpPr>
          <p:nvPr/>
        </p:nvGrpSpPr>
        <p:grpSpPr>
          <a:xfrm>
            <a:off x="1200445" y="9029289"/>
            <a:ext cx="537346" cy="548260"/>
            <a:chOff x="10258820" y="2140818"/>
            <a:chExt cx="366798" cy="374248"/>
          </a:xfrm>
        </p:grpSpPr>
        <p:pic>
          <p:nvPicPr>
            <p:cNvPr id="5" name="Picture 15">
              <a:extLst>
                <a:ext uri="{FF2B5EF4-FFF2-40B4-BE49-F238E27FC236}">
                  <a16:creationId xmlns:a16="http://schemas.microsoft.com/office/drawing/2014/main" id="{BEC42C73-505A-B9B3-F678-B09427999B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58820" y="2140818"/>
              <a:ext cx="307574" cy="3075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99E2FCC-DFCD-B7CA-664F-15A9FC9E47F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475107" y="2362873"/>
              <a:ext cx="150511" cy="152193"/>
              <a:chOff x="3482" y="1979"/>
              <a:chExt cx="358" cy="362"/>
            </a:xfrm>
          </p:grpSpPr>
          <p:sp>
            <p:nvSpPr>
              <p:cNvPr id="30" name="AutoShape 3">
                <a:extLst>
                  <a:ext uri="{FF2B5EF4-FFF2-40B4-BE49-F238E27FC236}">
                    <a16:creationId xmlns:a16="http://schemas.microsoft.com/office/drawing/2014/main" id="{56D7674C-01B8-FA42-FD21-27A27CC19321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3482" y="1979"/>
                <a:ext cx="358" cy="3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2" name="Freeform 5">
                <a:extLst>
                  <a:ext uri="{FF2B5EF4-FFF2-40B4-BE49-F238E27FC236}">
                    <a16:creationId xmlns:a16="http://schemas.microsoft.com/office/drawing/2014/main" id="{02BDD43F-1A64-F293-2644-D1EA3A98C6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46" y="2045"/>
                <a:ext cx="230" cy="229"/>
              </a:xfrm>
              <a:custGeom>
                <a:avLst/>
                <a:gdLst>
                  <a:gd name="T0" fmla="*/ 174 w 192"/>
                  <a:gd name="T1" fmla="*/ 192 h 192"/>
                  <a:gd name="T2" fmla="*/ 18 w 192"/>
                  <a:gd name="T3" fmla="*/ 192 h 192"/>
                  <a:gd name="T4" fmla="*/ 0 w 192"/>
                  <a:gd name="T5" fmla="*/ 174 h 192"/>
                  <a:gd name="T6" fmla="*/ 0 w 192"/>
                  <a:gd name="T7" fmla="*/ 18 h 192"/>
                  <a:gd name="T8" fmla="*/ 18 w 192"/>
                  <a:gd name="T9" fmla="*/ 0 h 192"/>
                  <a:gd name="T10" fmla="*/ 174 w 192"/>
                  <a:gd name="T11" fmla="*/ 0 h 192"/>
                  <a:gd name="T12" fmla="*/ 192 w 192"/>
                  <a:gd name="T13" fmla="*/ 18 h 192"/>
                  <a:gd name="T14" fmla="*/ 192 w 192"/>
                  <a:gd name="T15" fmla="*/ 174 h 192"/>
                  <a:gd name="T16" fmla="*/ 174 w 192"/>
                  <a:gd name="T17" fmla="*/ 192 h 192"/>
                  <a:gd name="T18" fmla="*/ 18 w 192"/>
                  <a:gd name="T19" fmla="*/ 12 h 192"/>
                  <a:gd name="T20" fmla="*/ 12 w 192"/>
                  <a:gd name="T21" fmla="*/ 18 h 192"/>
                  <a:gd name="T22" fmla="*/ 12 w 192"/>
                  <a:gd name="T23" fmla="*/ 174 h 192"/>
                  <a:gd name="T24" fmla="*/ 18 w 192"/>
                  <a:gd name="T25" fmla="*/ 180 h 192"/>
                  <a:gd name="T26" fmla="*/ 174 w 192"/>
                  <a:gd name="T27" fmla="*/ 180 h 192"/>
                  <a:gd name="T28" fmla="*/ 180 w 192"/>
                  <a:gd name="T29" fmla="*/ 174 h 192"/>
                  <a:gd name="T30" fmla="*/ 180 w 192"/>
                  <a:gd name="T31" fmla="*/ 18 h 192"/>
                  <a:gd name="T32" fmla="*/ 174 w 192"/>
                  <a:gd name="T33" fmla="*/ 12 h 192"/>
                  <a:gd name="T34" fmla="*/ 18 w 192"/>
                  <a:gd name="T35" fmla="*/ 1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2" h="192">
                    <a:moveTo>
                      <a:pt x="174" y="192"/>
                    </a:moveTo>
                    <a:cubicBezTo>
                      <a:pt x="18" y="192"/>
                      <a:pt x="18" y="192"/>
                      <a:pt x="18" y="192"/>
                    </a:cubicBezTo>
                    <a:cubicBezTo>
                      <a:pt x="8" y="192"/>
                      <a:pt x="0" y="184"/>
                      <a:pt x="0" y="17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9"/>
                      <a:pt x="8" y="0"/>
                      <a:pt x="18" y="0"/>
                    </a:cubicBezTo>
                    <a:cubicBezTo>
                      <a:pt x="174" y="0"/>
                      <a:pt x="174" y="0"/>
                      <a:pt x="174" y="0"/>
                    </a:cubicBezTo>
                    <a:cubicBezTo>
                      <a:pt x="184" y="0"/>
                      <a:pt x="192" y="9"/>
                      <a:pt x="192" y="18"/>
                    </a:cubicBezTo>
                    <a:cubicBezTo>
                      <a:pt x="192" y="174"/>
                      <a:pt x="192" y="174"/>
                      <a:pt x="192" y="174"/>
                    </a:cubicBezTo>
                    <a:cubicBezTo>
                      <a:pt x="192" y="184"/>
                      <a:pt x="184" y="192"/>
                      <a:pt x="174" y="192"/>
                    </a:cubicBezTo>
                    <a:close/>
                    <a:moveTo>
                      <a:pt x="18" y="12"/>
                    </a:moveTo>
                    <a:cubicBezTo>
                      <a:pt x="14" y="12"/>
                      <a:pt x="12" y="15"/>
                      <a:pt x="12" y="18"/>
                    </a:cubicBezTo>
                    <a:cubicBezTo>
                      <a:pt x="12" y="174"/>
                      <a:pt x="12" y="174"/>
                      <a:pt x="12" y="174"/>
                    </a:cubicBezTo>
                    <a:cubicBezTo>
                      <a:pt x="12" y="178"/>
                      <a:pt x="14" y="180"/>
                      <a:pt x="18" y="180"/>
                    </a:cubicBezTo>
                    <a:cubicBezTo>
                      <a:pt x="174" y="180"/>
                      <a:pt x="174" y="180"/>
                      <a:pt x="174" y="180"/>
                    </a:cubicBezTo>
                    <a:cubicBezTo>
                      <a:pt x="177" y="180"/>
                      <a:pt x="180" y="178"/>
                      <a:pt x="180" y="174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80" y="15"/>
                      <a:pt x="177" y="12"/>
                      <a:pt x="174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3" name="Freeform 6">
                <a:extLst>
                  <a:ext uri="{FF2B5EF4-FFF2-40B4-BE49-F238E27FC236}">
                    <a16:creationId xmlns:a16="http://schemas.microsoft.com/office/drawing/2014/main" id="{5ACA7CCF-D8E5-F461-D897-8F8B1ACCDE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7" y="1987"/>
                <a:ext cx="14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4" name="Freeform 7">
                <a:extLst>
                  <a:ext uri="{FF2B5EF4-FFF2-40B4-BE49-F238E27FC236}">
                    <a16:creationId xmlns:a16="http://schemas.microsoft.com/office/drawing/2014/main" id="{DA7FCD83-1A31-2783-B006-E94B12E175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9" y="1987"/>
                <a:ext cx="15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C564A4A5-7BA5-3E2B-9C9B-B196458058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8" y="1987"/>
                <a:ext cx="15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232F9287-6B2F-2BBA-A60E-C6DB0F1D6F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159"/>
                <a:ext cx="72" cy="15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5C3C1E82-6E1A-7E80-11DE-E803700622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217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93A8DE0F-276E-0F23-BEE5-DA1BB47F55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088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BF9FC08A-B4B5-8F36-AC96-F028036F72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1" y="2260"/>
                <a:ext cx="14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CC31D09A-932E-9099-C77A-DED0AF0B49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8" y="2260"/>
                <a:ext cx="15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EC5637C0-6F96-F43C-8F96-879339D29B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9" y="2260"/>
                <a:ext cx="15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385621BC-3E7A-7EF0-37C2-CC410CF25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145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EE7A0448-B2D9-EEC4-33CA-08B824B7F4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088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4" name="Freeform 17">
                <a:extLst>
                  <a:ext uri="{FF2B5EF4-FFF2-40B4-BE49-F238E27FC236}">
                    <a16:creationId xmlns:a16="http://schemas.microsoft.com/office/drawing/2014/main" id="{4B0AF812-181D-6EA3-35F4-C78C79B6F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217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5" name="Freeform 18">
                <a:extLst>
                  <a:ext uri="{FF2B5EF4-FFF2-40B4-BE49-F238E27FC236}">
                    <a16:creationId xmlns:a16="http://schemas.microsoft.com/office/drawing/2014/main" id="{45E430B0-9863-78C2-5C35-BB65D0C9FE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5" y="2073"/>
                <a:ext cx="172" cy="172"/>
              </a:xfrm>
              <a:custGeom>
                <a:avLst/>
                <a:gdLst>
                  <a:gd name="T0" fmla="*/ 114 w 144"/>
                  <a:gd name="T1" fmla="*/ 144 h 144"/>
                  <a:gd name="T2" fmla="*/ 30 w 144"/>
                  <a:gd name="T3" fmla="*/ 144 h 144"/>
                  <a:gd name="T4" fmla="*/ 0 w 144"/>
                  <a:gd name="T5" fmla="*/ 114 h 144"/>
                  <a:gd name="T6" fmla="*/ 0 w 144"/>
                  <a:gd name="T7" fmla="*/ 30 h 144"/>
                  <a:gd name="T8" fmla="*/ 30 w 144"/>
                  <a:gd name="T9" fmla="*/ 0 h 144"/>
                  <a:gd name="T10" fmla="*/ 114 w 144"/>
                  <a:gd name="T11" fmla="*/ 0 h 144"/>
                  <a:gd name="T12" fmla="*/ 144 w 144"/>
                  <a:gd name="T13" fmla="*/ 30 h 144"/>
                  <a:gd name="T14" fmla="*/ 144 w 144"/>
                  <a:gd name="T15" fmla="*/ 114 h 144"/>
                  <a:gd name="T16" fmla="*/ 114 w 144"/>
                  <a:gd name="T17" fmla="*/ 144 h 144"/>
                  <a:gd name="T18" fmla="*/ 30 w 144"/>
                  <a:gd name="T19" fmla="*/ 12 h 144"/>
                  <a:gd name="T20" fmla="*/ 12 w 144"/>
                  <a:gd name="T21" fmla="*/ 30 h 144"/>
                  <a:gd name="T22" fmla="*/ 12 w 144"/>
                  <a:gd name="T23" fmla="*/ 114 h 144"/>
                  <a:gd name="T24" fmla="*/ 30 w 144"/>
                  <a:gd name="T25" fmla="*/ 132 h 144"/>
                  <a:gd name="T26" fmla="*/ 114 w 144"/>
                  <a:gd name="T27" fmla="*/ 132 h 144"/>
                  <a:gd name="T28" fmla="*/ 132 w 144"/>
                  <a:gd name="T29" fmla="*/ 114 h 144"/>
                  <a:gd name="T30" fmla="*/ 132 w 144"/>
                  <a:gd name="T31" fmla="*/ 30 h 144"/>
                  <a:gd name="T32" fmla="*/ 114 w 144"/>
                  <a:gd name="T33" fmla="*/ 12 h 144"/>
                  <a:gd name="T34" fmla="*/ 30 w 144"/>
                  <a:gd name="T35" fmla="*/ 1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144">
                    <a:moveTo>
                      <a:pt x="114" y="144"/>
                    </a:moveTo>
                    <a:cubicBezTo>
                      <a:pt x="30" y="144"/>
                      <a:pt x="30" y="144"/>
                      <a:pt x="30" y="144"/>
                    </a:cubicBezTo>
                    <a:cubicBezTo>
                      <a:pt x="13" y="144"/>
                      <a:pt x="0" y="131"/>
                      <a:pt x="0" y="114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14"/>
                      <a:pt x="13" y="0"/>
                      <a:pt x="30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130" y="0"/>
                      <a:pt x="144" y="14"/>
                      <a:pt x="144" y="30"/>
                    </a:cubicBezTo>
                    <a:cubicBezTo>
                      <a:pt x="144" y="114"/>
                      <a:pt x="144" y="114"/>
                      <a:pt x="144" y="114"/>
                    </a:cubicBezTo>
                    <a:cubicBezTo>
                      <a:pt x="144" y="131"/>
                      <a:pt x="130" y="144"/>
                      <a:pt x="114" y="144"/>
                    </a:cubicBezTo>
                    <a:close/>
                    <a:moveTo>
                      <a:pt x="30" y="12"/>
                    </a:moveTo>
                    <a:cubicBezTo>
                      <a:pt x="20" y="12"/>
                      <a:pt x="12" y="21"/>
                      <a:pt x="12" y="30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2" y="124"/>
                      <a:pt x="20" y="132"/>
                      <a:pt x="30" y="132"/>
                    </a:cubicBezTo>
                    <a:cubicBezTo>
                      <a:pt x="114" y="132"/>
                      <a:pt x="114" y="132"/>
                      <a:pt x="114" y="132"/>
                    </a:cubicBezTo>
                    <a:cubicBezTo>
                      <a:pt x="124" y="132"/>
                      <a:pt x="132" y="124"/>
                      <a:pt x="132" y="114"/>
                    </a:cubicBezTo>
                    <a:cubicBezTo>
                      <a:pt x="132" y="30"/>
                      <a:pt x="132" y="30"/>
                      <a:pt x="132" y="30"/>
                    </a:cubicBezTo>
                    <a:cubicBezTo>
                      <a:pt x="132" y="21"/>
                      <a:pt x="124" y="12"/>
                      <a:pt x="114" y="12"/>
                    </a:cubicBez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</p:grpSp>
      </p:grpSp>
      <p:sp>
        <p:nvSpPr>
          <p:cNvPr id="62" name="Rectangle 3">
            <a:extLst>
              <a:ext uri="{FF2B5EF4-FFF2-40B4-BE49-F238E27FC236}">
                <a16:creationId xmlns:a16="http://schemas.microsoft.com/office/drawing/2014/main" id="{49AF690D-26F3-1CDB-6F4D-838976866FF7}"/>
              </a:ext>
            </a:extLst>
          </p:cNvPr>
          <p:cNvSpPr/>
          <p:nvPr/>
        </p:nvSpPr>
        <p:spPr>
          <a:xfrm>
            <a:off x="5505140" y="1057833"/>
            <a:ext cx="3638707" cy="184666"/>
          </a:xfrm>
          <a:prstGeom prst="rect">
            <a:avLst/>
          </a:prstGeom>
          <a:solidFill>
            <a:schemeClr val="bg1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914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pl-PL" sz="1200" b="1" i="0" u="none" strike="noStrike" kern="0" cap="all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 Black" panose="020B0A03030202060203" pitchFamily="34" charset="-18"/>
                <a:ea typeface="+mn-ea"/>
                <a:cs typeface="+mn-cs"/>
              </a:rPr>
              <a:t>Lorem ipsum</a:t>
            </a:r>
            <a:endParaRPr kumimoji="0" lang="en-US" sz="1200" b="1" i="0" u="none" strike="noStrike" kern="0" cap="all" spc="0" normalizeH="0" baseline="0" noProof="0">
              <a:ln>
                <a:noFill/>
              </a:ln>
              <a:solidFill>
                <a:srgbClr val="A100FF"/>
              </a:solidFill>
              <a:effectLst/>
              <a:uLnTx/>
              <a:uFillTx/>
              <a:latin typeface="Graphik Black" panose="020B0A03030202060203" pitchFamily="34" charset="-18"/>
              <a:ea typeface="+mn-ea"/>
              <a:cs typeface="+mn-cs"/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A63BB6E-9EAD-115F-0A81-2D2042F29EFF}"/>
              </a:ext>
            </a:extLst>
          </p:cNvPr>
          <p:cNvCxnSpPr>
            <a:cxnSpLocks/>
          </p:cNvCxnSpPr>
          <p:nvPr/>
        </p:nvCxnSpPr>
        <p:spPr>
          <a:xfrm>
            <a:off x="5495105" y="1248604"/>
            <a:ext cx="6302996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itle 1">
            <a:extLst>
              <a:ext uri="{FF2B5EF4-FFF2-40B4-BE49-F238E27FC236}">
                <a16:creationId xmlns:a16="http://schemas.microsoft.com/office/drawing/2014/main" id="{D59545F7-0203-C7F3-1C53-BE4FF3E604E7}"/>
              </a:ext>
            </a:extLst>
          </p:cNvPr>
          <p:cNvSpPr txBox="1">
            <a:spLocks/>
          </p:cNvSpPr>
          <p:nvPr/>
        </p:nvSpPr>
        <p:spPr>
          <a:xfrm>
            <a:off x="338546" y="207092"/>
            <a:ext cx="11641970" cy="77613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inden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79600" algn="l"/>
              </a:tabLst>
              <a:defRPr sz="3600" b="1" i="0">
                <a:solidFill>
                  <a:schemeClr val="accent2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pl-PL"/>
              <a:t>AI Industry Hub | </a:t>
            </a:r>
            <a:r>
              <a:rPr lang="pl-PL">
                <a:solidFill>
                  <a:schemeClr val="tx1"/>
                </a:solidFill>
              </a:rPr>
              <a:t>Health &amp; Public Services</a:t>
            </a:r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2631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E8A82B-C4D1-4A09-9EC8-5D93EACE1C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E8A82B-C4D1-4A09-9EC8-5D93EACE1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Rectangle 3">
            <a:extLst>
              <a:ext uri="{FF2B5EF4-FFF2-40B4-BE49-F238E27FC236}">
                <a16:creationId xmlns:a16="http://schemas.microsoft.com/office/drawing/2014/main" id="{49AF690D-26F3-1CDB-6F4D-838976866FF7}"/>
              </a:ext>
            </a:extLst>
          </p:cNvPr>
          <p:cNvSpPr/>
          <p:nvPr/>
        </p:nvSpPr>
        <p:spPr>
          <a:xfrm>
            <a:off x="5505140" y="1057833"/>
            <a:ext cx="3638707" cy="184666"/>
          </a:xfrm>
          <a:prstGeom prst="rect">
            <a:avLst/>
          </a:prstGeom>
          <a:solidFill>
            <a:schemeClr val="bg1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914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pl-PL" sz="1200" b="1" i="0" u="none" strike="noStrike" kern="0" cap="all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 Black" panose="020B0A03030202060203" pitchFamily="34" charset="-18"/>
                <a:ea typeface="+mn-ea"/>
                <a:cs typeface="+mn-cs"/>
              </a:rPr>
              <a:t>Client stories</a:t>
            </a:r>
            <a:endParaRPr kumimoji="0" lang="en-US" sz="1200" b="1" i="0" u="none" strike="noStrike" kern="0" cap="all" spc="0" normalizeH="0" baseline="0" noProof="0">
              <a:ln>
                <a:noFill/>
              </a:ln>
              <a:solidFill>
                <a:srgbClr val="A100FF"/>
              </a:solidFill>
              <a:effectLst/>
              <a:uLnTx/>
              <a:uFillTx/>
              <a:latin typeface="Graphik Black" panose="020B0A03030202060203" pitchFamily="34" charset="-18"/>
              <a:ea typeface="+mn-ea"/>
              <a:cs typeface="+mn-cs"/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A63BB6E-9EAD-115F-0A81-2D2042F29EFF}"/>
              </a:ext>
            </a:extLst>
          </p:cNvPr>
          <p:cNvCxnSpPr>
            <a:cxnSpLocks/>
          </p:cNvCxnSpPr>
          <p:nvPr/>
        </p:nvCxnSpPr>
        <p:spPr>
          <a:xfrm>
            <a:off x="5495105" y="1248604"/>
            <a:ext cx="6302996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itle 1">
            <a:extLst>
              <a:ext uri="{FF2B5EF4-FFF2-40B4-BE49-F238E27FC236}">
                <a16:creationId xmlns:a16="http://schemas.microsoft.com/office/drawing/2014/main" id="{D59545F7-0203-C7F3-1C53-BE4FF3E604E7}"/>
              </a:ext>
            </a:extLst>
          </p:cNvPr>
          <p:cNvSpPr txBox="1">
            <a:spLocks/>
          </p:cNvSpPr>
          <p:nvPr/>
        </p:nvSpPr>
        <p:spPr>
          <a:xfrm>
            <a:off x="338546" y="207092"/>
            <a:ext cx="11641970" cy="77613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inden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79600" algn="l"/>
              </a:tabLst>
              <a:defRPr sz="3600" b="1" i="0">
                <a:solidFill>
                  <a:schemeClr val="accent2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pl-PL"/>
              <a:t>AI Industry Hub | </a:t>
            </a:r>
            <a:r>
              <a:rPr lang="pl-PL">
                <a:solidFill>
                  <a:schemeClr val="tx1"/>
                </a:solidFill>
              </a:rPr>
              <a:t>Resources</a:t>
            </a:r>
            <a:endParaRPr lang="en-GB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9421F53-72AE-8ABD-ED39-F3E40738E59C}"/>
              </a:ext>
            </a:extLst>
          </p:cNvPr>
          <p:cNvSpPr/>
          <p:nvPr/>
        </p:nvSpPr>
        <p:spPr>
          <a:xfrm>
            <a:off x="5501002" y="1360451"/>
            <a:ext cx="1851468" cy="2163337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A9AD5BC-FC75-B1BA-FBD9-54327DA50A0E}"/>
              </a:ext>
            </a:extLst>
          </p:cNvPr>
          <p:cNvSpPr/>
          <p:nvPr/>
        </p:nvSpPr>
        <p:spPr>
          <a:xfrm>
            <a:off x="7797897" y="1360450"/>
            <a:ext cx="1851468" cy="2163337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A233C42-E7DE-2856-C0F4-7476EB0F849A}"/>
              </a:ext>
            </a:extLst>
          </p:cNvPr>
          <p:cNvSpPr/>
          <p:nvPr/>
        </p:nvSpPr>
        <p:spPr>
          <a:xfrm>
            <a:off x="9960568" y="1360452"/>
            <a:ext cx="1851468" cy="2163337"/>
          </a:xfrm>
          <a:prstGeom prst="rect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2938A8D-B95F-5450-3587-5BB0C915674D}"/>
              </a:ext>
            </a:extLst>
          </p:cNvPr>
          <p:cNvSpPr/>
          <p:nvPr/>
        </p:nvSpPr>
        <p:spPr>
          <a:xfrm>
            <a:off x="5501002" y="4006578"/>
            <a:ext cx="1851468" cy="2163337"/>
          </a:xfrm>
          <a:prstGeom prst="rect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B2C89C0-2FCD-6820-9B6C-41EBDC333489}"/>
              </a:ext>
            </a:extLst>
          </p:cNvPr>
          <p:cNvSpPr/>
          <p:nvPr/>
        </p:nvSpPr>
        <p:spPr>
          <a:xfrm>
            <a:off x="7797897" y="4006577"/>
            <a:ext cx="1851468" cy="2163337"/>
          </a:xfrm>
          <a:prstGeom prst="rect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4E64974-9918-D352-2A9D-0C3CECEAD047}"/>
              </a:ext>
            </a:extLst>
          </p:cNvPr>
          <p:cNvSpPr/>
          <p:nvPr/>
        </p:nvSpPr>
        <p:spPr>
          <a:xfrm>
            <a:off x="9960568" y="4006579"/>
            <a:ext cx="1851468" cy="2163337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F35959B-E5BF-3A76-4160-8FA6F5115DA5}"/>
              </a:ext>
            </a:extLst>
          </p:cNvPr>
          <p:cNvSpPr txBox="1"/>
          <p:nvPr/>
        </p:nvSpPr>
        <p:spPr>
          <a:xfrm>
            <a:off x="5501003" y="2280235"/>
            <a:ext cx="18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200">
                <a:latin typeface="Graphik" panose="020B0503030202060203" pitchFamily="34" charset="-18"/>
              </a:rPr>
              <a:t>Orlen – SAS C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8538990-38BE-5942-2A6B-B75DCA903ABD}"/>
              </a:ext>
            </a:extLst>
          </p:cNvPr>
          <p:cNvSpPr txBox="1"/>
          <p:nvPr/>
        </p:nvSpPr>
        <p:spPr>
          <a:xfrm>
            <a:off x="7745028" y="2280235"/>
            <a:ext cx="18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200">
                <a:latin typeface="Graphik" panose="020B0503030202060203" pitchFamily="34" charset="-18"/>
              </a:rPr>
              <a:t>BP - Piotrka J</a:t>
            </a:r>
            <a:endParaRPr lang="pl-PL" sz="1200" b="1">
              <a:latin typeface="Graphik" panose="020B0503030202060203" pitchFamily="34" charset="-1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88D425D-2A40-C6DF-BB38-E4BD1ECD1A0C}"/>
              </a:ext>
            </a:extLst>
          </p:cNvPr>
          <p:cNvSpPr txBox="1"/>
          <p:nvPr/>
        </p:nvSpPr>
        <p:spPr>
          <a:xfrm>
            <a:off x="9907699" y="2280235"/>
            <a:ext cx="18720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100"/>
              <a:t>E.On - </a:t>
            </a:r>
            <a:r>
              <a:rPr lang="en-US" sz="1100"/>
              <a:t>Average Handing Time </a:t>
            </a:r>
            <a:r>
              <a:rPr lang="pl-PL" sz="1100"/>
              <a:t>in CC</a:t>
            </a:r>
            <a:endParaRPr lang="pl-PL" sz="1100" b="1">
              <a:latin typeface="Graphik" panose="020B0503030202060203" pitchFamily="34" charset="-1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4BA6AA6-2479-50DB-CBFE-28512D14DD0B}"/>
              </a:ext>
            </a:extLst>
          </p:cNvPr>
          <p:cNvSpPr txBox="1"/>
          <p:nvPr/>
        </p:nvSpPr>
        <p:spPr>
          <a:xfrm>
            <a:off x="5501003" y="4858923"/>
            <a:ext cx="1872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100"/>
              <a:t>Orlen – BI strategy</a:t>
            </a:r>
            <a:endParaRPr lang="pl-PL" sz="1200" b="1">
              <a:latin typeface="Graphik" panose="020B0503030202060203" pitchFamily="34" charset="-18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3C152F8-629E-9034-6AB6-81697E143EDE}"/>
              </a:ext>
            </a:extLst>
          </p:cNvPr>
          <p:cNvSpPr txBox="1"/>
          <p:nvPr/>
        </p:nvSpPr>
        <p:spPr>
          <a:xfrm>
            <a:off x="7745027" y="4858923"/>
            <a:ext cx="1872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100"/>
              <a:t>National Grid - </a:t>
            </a:r>
            <a:endParaRPr lang="pl-PL" sz="1200" b="1">
              <a:latin typeface="Graphik" panose="020B0503030202060203" pitchFamily="34" charset="-1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D2AF40E-C699-884A-7002-086C666AE5D9}"/>
              </a:ext>
            </a:extLst>
          </p:cNvPr>
          <p:cNvSpPr txBox="1"/>
          <p:nvPr/>
        </p:nvSpPr>
        <p:spPr>
          <a:xfrm>
            <a:off x="9924293" y="4858923"/>
            <a:ext cx="1872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100"/>
              <a:t>Connected mine</a:t>
            </a:r>
            <a:endParaRPr lang="pl-PL" sz="1200">
              <a:latin typeface="Graphik" panose="020B0503030202060203" pitchFamily="34" charset="-1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E460956-655E-0420-93B6-FC2B58CE49EA}"/>
              </a:ext>
            </a:extLst>
          </p:cNvPr>
          <p:cNvSpPr/>
          <p:nvPr/>
        </p:nvSpPr>
        <p:spPr>
          <a:xfrm>
            <a:off x="5661294" y="1534602"/>
            <a:ext cx="1418875" cy="57929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pl-PL"/>
              <a:t>Client logo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74896C9-6AAE-335F-AD9D-370ED778E6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722" y="855677"/>
            <a:ext cx="5271897" cy="5931018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2D758423-85E2-6A0A-DD74-8D3B6F3C0C8A}"/>
              </a:ext>
            </a:extLst>
          </p:cNvPr>
          <p:cNvSpPr/>
          <p:nvPr/>
        </p:nvSpPr>
        <p:spPr>
          <a:xfrm>
            <a:off x="120373" y="4693920"/>
            <a:ext cx="5210247" cy="1772696"/>
          </a:xfrm>
          <a:prstGeom prst="rect">
            <a:avLst/>
          </a:prstGeom>
          <a:solidFill>
            <a:schemeClr val="bg1">
              <a:lumMod val="95000"/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A5EE5D9-03BC-C420-53AF-AD6EF4921A04}"/>
              </a:ext>
            </a:extLst>
          </p:cNvPr>
          <p:cNvSpPr txBox="1"/>
          <p:nvPr/>
        </p:nvSpPr>
        <p:spPr>
          <a:xfrm>
            <a:off x="338546" y="5093583"/>
            <a:ext cx="4887528" cy="12487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285750" indent="-285750" algn="l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noProof="0">
                <a:solidFill>
                  <a:schemeClr val="accent2"/>
                </a:solidFill>
              </a:rPr>
              <a:t>delivering in Poland, near-shore and off-shore locations, </a:t>
            </a:r>
          </a:p>
          <a:p>
            <a:pPr marL="285750" indent="-285750" algn="l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noProof="0">
                <a:solidFill>
                  <a:schemeClr val="accent2"/>
                </a:solidFill>
              </a:rPr>
              <a:t>with flexible, cost effective work model, </a:t>
            </a:r>
            <a:endParaRPr lang="pl-PL" noProof="0">
              <a:solidFill>
                <a:schemeClr val="accent2"/>
              </a:solidFill>
            </a:endParaRPr>
          </a:p>
          <a:p>
            <a:pPr marL="285750" indent="-285750" algn="l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l-PL">
                <a:solidFill>
                  <a:schemeClr val="accent2"/>
                </a:solidFill>
              </a:rPr>
              <a:t>xxx</a:t>
            </a:r>
            <a:endParaRPr lang="en-US" noProof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97255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E8A82B-C4D1-4A09-9EC8-5D93EACE1C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E8A82B-C4D1-4A09-9EC8-5D93EACE1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3" name="Title 1">
            <a:extLst>
              <a:ext uri="{FF2B5EF4-FFF2-40B4-BE49-F238E27FC236}">
                <a16:creationId xmlns:a16="http://schemas.microsoft.com/office/drawing/2014/main" id="{D59545F7-0203-C7F3-1C53-BE4FF3E604E7}"/>
              </a:ext>
            </a:extLst>
          </p:cNvPr>
          <p:cNvSpPr txBox="1">
            <a:spLocks/>
          </p:cNvSpPr>
          <p:nvPr/>
        </p:nvSpPr>
        <p:spPr>
          <a:xfrm>
            <a:off x="338546" y="207092"/>
            <a:ext cx="11641970" cy="77613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inden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79600" algn="l"/>
              </a:tabLst>
              <a:defRPr sz="3600" b="1" i="0">
                <a:solidFill>
                  <a:schemeClr val="accent2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pl-PL"/>
              <a:t>AI Industry Hub | </a:t>
            </a:r>
            <a:r>
              <a:rPr lang="pl-PL">
                <a:solidFill>
                  <a:schemeClr val="tx1"/>
                </a:solidFill>
              </a:rPr>
              <a:t>Comm, Media &amp; Technology</a:t>
            </a:r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9853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FB5035-7C72-43BF-A8DB-A7280ED54461}"/>
              </a:ext>
            </a:extLst>
          </p:cNvPr>
          <p:cNvSpPr>
            <a:spLocks noGrp="1"/>
          </p:cNvSpPr>
          <p:nvPr>
            <p:ph type="ctrTitle"/>
          </p:nvPr>
        </p:nvSpPr>
        <p:spPr bwMode="white">
          <a:xfrm>
            <a:off x="4545564" y="2643861"/>
            <a:ext cx="5152292" cy="1329595"/>
          </a:xfrm>
        </p:spPr>
        <p:txBody>
          <a:bodyPr/>
          <a:lstStyle/>
          <a:p>
            <a:r>
              <a:rPr lang="pl-PL">
                <a:solidFill>
                  <a:srgbClr val="FFFFFF"/>
                </a:solidFill>
                <a:latin typeface="Graphik"/>
                <a:ea typeface="Calibri"/>
                <a:cs typeface="Calibri"/>
              </a:rPr>
              <a:t>One sliders</a:t>
            </a:r>
            <a:br>
              <a:rPr lang="pl-PL">
                <a:solidFill>
                  <a:srgbClr val="FFFFFF"/>
                </a:solidFill>
                <a:latin typeface="Graphik"/>
                <a:ea typeface="Calibri"/>
                <a:cs typeface="Calibri"/>
              </a:rPr>
            </a:br>
            <a:r>
              <a:rPr lang="pl-PL" b="1">
                <a:solidFill>
                  <a:srgbClr val="FFFFFF"/>
                </a:solidFill>
                <a:latin typeface="Graphik"/>
                <a:ea typeface="Calibri"/>
                <a:cs typeface="Calibri"/>
              </a:rPr>
              <a:t>by Technology</a:t>
            </a:r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12582388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Rectangle 364">
            <a:extLst>
              <a:ext uri="{FF2B5EF4-FFF2-40B4-BE49-F238E27FC236}">
                <a16:creationId xmlns:a16="http://schemas.microsoft.com/office/drawing/2014/main" id="{EE782C3F-C94F-3415-05E2-30C77D58C065}"/>
              </a:ext>
            </a:extLst>
          </p:cNvPr>
          <p:cNvSpPr/>
          <p:nvPr/>
        </p:nvSpPr>
        <p:spPr>
          <a:xfrm>
            <a:off x="1299653" y="6858000"/>
            <a:ext cx="4599870" cy="32133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E8A82B-C4D1-4A09-9EC8-5D93EACE1C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E8A82B-C4D1-4A09-9EC8-5D93EACE1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2558906F-C64F-EF33-2CE7-EE97543099D3}"/>
              </a:ext>
            </a:extLst>
          </p:cNvPr>
          <p:cNvSpPr txBox="1">
            <a:spLocks/>
          </p:cNvSpPr>
          <p:nvPr/>
        </p:nvSpPr>
        <p:spPr>
          <a:xfrm>
            <a:off x="3422452" y="7257542"/>
            <a:ext cx="2409783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I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nsultants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/>
                <a:ea typeface="+mn-ea"/>
                <a:cs typeface="+mn-cs"/>
              </a:rPr>
              <a:t>in nearshore/offshore locations</a:t>
            </a:r>
            <a:endParaRPr kumimoji="0" lang="pl-PL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CCCFAC07-3EB2-FA6A-3A82-2958ED1F5B27}"/>
              </a:ext>
            </a:extLst>
          </p:cNvPr>
          <p:cNvSpPr txBox="1">
            <a:spLocks/>
          </p:cNvSpPr>
          <p:nvPr/>
        </p:nvSpPr>
        <p:spPr>
          <a:xfrm>
            <a:off x="2258564" y="7251350"/>
            <a:ext cx="1393371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60</a:t>
            </a:r>
            <a:r>
              <a:rPr kumimoji="0" lang="pl-PL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0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+</a:t>
            </a:r>
          </a:p>
        </p:txBody>
      </p:sp>
      <p:sp>
        <p:nvSpPr>
          <p:cNvPr id="73" name="Text Placeholder 9">
            <a:extLst>
              <a:ext uri="{FF2B5EF4-FFF2-40B4-BE49-F238E27FC236}">
                <a16:creationId xmlns:a16="http://schemas.microsoft.com/office/drawing/2014/main" id="{07F84233-924F-17DC-8C7F-2B01BAB0267E}"/>
              </a:ext>
            </a:extLst>
          </p:cNvPr>
          <p:cNvSpPr txBox="1">
            <a:spLocks/>
          </p:cNvSpPr>
          <p:nvPr/>
        </p:nvSpPr>
        <p:spPr>
          <a:xfrm>
            <a:off x="1538277" y="8165979"/>
            <a:ext cx="3931064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lping with: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285" name="Group 26">
            <a:extLst>
              <a:ext uri="{FF2B5EF4-FFF2-40B4-BE49-F238E27FC236}">
                <a16:creationId xmlns:a16="http://schemas.microsoft.com/office/drawing/2014/main" id="{C592E709-2024-BDF5-944E-3A75936A21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575451" y="7054934"/>
            <a:ext cx="761527" cy="689879"/>
            <a:chOff x="3614" y="1720"/>
            <a:chExt cx="454" cy="385"/>
          </a:xfrm>
          <a:solidFill>
            <a:schemeClr val="tx1">
              <a:lumMod val="95000"/>
              <a:lumOff val="5000"/>
            </a:schemeClr>
          </a:solidFill>
        </p:grpSpPr>
        <p:sp>
          <p:nvSpPr>
            <p:cNvPr id="286" name="Freeform 27">
              <a:extLst>
                <a:ext uri="{FF2B5EF4-FFF2-40B4-BE49-F238E27FC236}">
                  <a16:creationId xmlns:a16="http://schemas.microsoft.com/office/drawing/2014/main" id="{1E597458-4B0B-2C3E-ADE4-343C0D2C06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" y="1720"/>
              <a:ext cx="142" cy="189"/>
            </a:xfrm>
            <a:custGeom>
              <a:avLst/>
              <a:gdLst>
                <a:gd name="T0" fmla="*/ 10 w 60"/>
                <a:gd name="T1" fmla="*/ 51 h 80"/>
                <a:gd name="T2" fmla="*/ 14 w 60"/>
                <a:gd name="T3" fmla="*/ 64 h 80"/>
                <a:gd name="T4" fmla="*/ 14 w 60"/>
                <a:gd name="T5" fmla="*/ 72 h 80"/>
                <a:gd name="T6" fmla="*/ 30 w 60"/>
                <a:gd name="T7" fmla="*/ 80 h 80"/>
                <a:gd name="T8" fmla="*/ 46 w 60"/>
                <a:gd name="T9" fmla="*/ 72 h 80"/>
                <a:gd name="T10" fmla="*/ 46 w 60"/>
                <a:gd name="T11" fmla="*/ 64 h 80"/>
                <a:gd name="T12" fmla="*/ 50 w 60"/>
                <a:gd name="T13" fmla="*/ 51 h 80"/>
                <a:gd name="T14" fmla="*/ 55 w 60"/>
                <a:gd name="T15" fmla="*/ 50 h 80"/>
                <a:gd name="T16" fmla="*/ 58 w 60"/>
                <a:gd name="T17" fmla="*/ 36 h 80"/>
                <a:gd name="T18" fmla="*/ 54 w 60"/>
                <a:gd name="T19" fmla="*/ 34 h 80"/>
                <a:gd name="T20" fmla="*/ 54 w 60"/>
                <a:gd name="T21" fmla="*/ 21 h 80"/>
                <a:gd name="T22" fmla="*/ 45 w 60"/>
                <a:gd name="T23" fmla="*/ 8 h 80"/>
                <a:gd name="T24" fmla="*/ 30 w 60"/>
                <a:gd name="T25" fmla="*/ 0 h 80"/>
                <a:gd name="T26" fmla="*/ 6 w 60"/>
                <a:gd name="T27" fmla="*/ 20 h 80"/>
                <a:gd name="T28" fmla="*/ 6 w 60"/>
                <a:gd name="T29" fmla="*/ 34 h 80"/>
                <a:gd name="T30" fmla="*/ 2 w 60"/>
                <a:gd name="T31" fmla="*/ 36 h 80"/>
                <a:gd name="T32" fmla="*/ 5 w 60"/>
                <a:gd name="T33" fmla="*/ 50 h 80"/>
                <a:gd name="T34" fmla="*/ 10 w 60"/>
                <a:gd name="T35" fmla="*/ 5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" h="80">
                  <a:moveTo>
                    <a:pt x="10" y="51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30" y="80"/>
                    <a:pt x="30" y="80"/>
                    <a:pt x="30" y="80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1"/>
                    <a:pt x="53" y="51"/>
                    <a:pt x="55" y="50"/>
                  </a:cubicBezTo>
                  <a:cubicBezTo>
                    <a:pt x="58" y="47"/>
                    <a:pt x="60" y="40"/>
                    <a:pt x="58" y="36"/>
                  </a:cubicBezTo>
                  <a:cubicBezTo>
                    <a:pt x="57" y="33"/>
                    <a:pt x="54" y="34"/>
                    <a:pt x="54" y="34"/>
                  </a:cubicBezTo>
                  <a:cubicBezTo>
                    <a:pt x="54" y="34"/>
                    <a:pt x="54" y="28"/>
                    <a:pt x="54" y="21"/>
                  </a:cubicBezTo>
                  <a:cubicBezTo>
                    <a:pt x="54" y="13"/>
                    <a:pt x="52" y="8"/>
                    <a:pt x="45" y="8"/>
                  </a:cubicBezTo>
                  <a:cubicBezTo>
                    <a:pt x="43" y="3"/>
                    <a:pt x="37" y="0"/>
                    <a:pt x="30" y="0"/>
                  </a:cubicBezTo>
                  <a:cubicBezTo>
                    <a:pt x="15" y="0"/>
                    <a:pt x="6" y="9"/>
                    <a:pt x="6" y="20"/>
                  </a:cubicBezTo>
                  <a:cubicBezTo>
                    <a:pt x="6" y="27"/>
                    <a:pt x="6" y="34"/>
                    <a:pt x="6" y="34"/>
                  </a:cubicBezTo>
                  <a:cubicBezTo>
                    <a:pt x="6" y="34"/>
                    <a:pt x="3" y="33"/>
                    <a:pt x="2" y="36"/>
                  </a:cubicBezTo>
                  <a:cubicBezTo>
                    <a:pt x="0" y="40"/>
                    <a:pt x="2" y="47"/>
                    <a:pt x="5" y="50"/>
                  </a:cubicBezTo>
                  <a:cubicBezTo>
                    <a:pt x="7" y="51"/>
                    <a:pt x="10" y="51"/>
                    <a:pt x="10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12240E1C-BF45-3896-0413-CF8DDB48CA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4" y="1767"/>
              <a:ext cx="454" cy="322"/>
            </a:xfrm>
            <a:custGeom>
              <a:avLst/>
              <a:gdLst>
                <a:gd name="T0" fmla="*/ 72 w 192"/>
                <a:gd name="T1" fmla="*/ 61 h 136"/>
                <a:gd name="T2" fmla="*/ 62 w 192"/>
                <a:gd name="T3" fmla="*/ 54 h 136"/>
                <a:gd name="T4" fmla="*/ 120 w 192"/>
                <a:gd name="T5" fmla="*/ 61 h 136"/>
                <a:gd name="T6" fmla="*/ 128 w 192"/>
                <a:gd name="T7" fmla="*/ 56 h 136"/>
                <a:gd name="T8" fmla="*/ 120 w 192"/>
                <a:gd name="T9" fmla="*/ 61 h 136"/>
                <a:gd name="T10" fmla="*/ 44 w 192"/>
                <a:gd name="T11" fmla="*/ 63 h 136"/>
                <a:gd name="T12" fmla="*/ 44 w 192"/>
                <a:gd name="T13" fmla="*/ 70 h 136"/>
                <a:gd name="T14" fmla="*/ 51 w 192"/>
                <a:gd name="T15" fmla="*/ 69 h 136"/>
                <a:gd name="T16" fmla="*/ 52 w 192"/>
                <a:gd name="T17" fmla="*/ 63 h 136"/>
                <a:gd name="T18" fmla="*/ 166 w 192"/>
                <a:gd name="T19" fmla="*/ 46 h 136"/>
                <a:gd name="T20" fmla="*/ 144 w 192"/>
                <a:gd name="T21" fmla="*/ 0 h 136"/>
                <a:gd name="T22" fmla="*/ 128 w 192"/>
                <a:gd name="T23" fmla="*/ 21 h 136"/>
                <a:gd name="T24" fmla="*/ 126 w 192"/>
                <a:gd name="T25" fmla="*/ 48 h 136"/>
                <a:gd name="T26" fmla="*/ 133 w 192"/>
                <a:gd name="T27" fmla="*/ 52 h 136"/>
                <a:gd name="T28" fmla="*/ 146 w 192"/>
                <a:gd name="T29" fmla="*/ 70 h 136"/>
                <a:gd name="T30" fmla="*/ 166 w 192"/>
                <a:gd name="T31" fmla="*/ 46 h 136"/>
                <a:gd name="T32" fmla="*/ 36 w 192"/>
                <a:gd name="T33" fmla="*/ 44 h 136"/>
                <a:gd name="T34" fmla="*/ 48 w 192"/>
                <a:gd name="T35" fmla="*/ 56 h 136"/>
                <a:gd name="T36" fmla="*/ 60 w 192"/>
                <a:gd name="T37" fmla="*/ 44 h 136"/>
                <a:gd name="T38" fmla="*/ 61 w 192"/>
                <a:gd name="T39" fmla="*/ 24 h 136"/>
                <a:gd name="T40" fmla="*/ 64 w 192"/>
                <a:gd name="T41" fmla="*/ 7 h 136"/>
                <a:gd name="T42" fmla="*/ 48 w 192"/>
                <a:gd name="T43" fmla="*/ 0 h 136"/>
                <a:gd name="T44" fmla="*/ 32 w 192"/>
                <a:gd name="T45" fmla="*/ 24 h 136"/>
                <a:gd name="T46" fmla="*/ 32 w 192"/>
                <a:gd name="T47" fmla="*/ 35 h 136"/>
                <a:gd name="T48" fmla="*/ 8 w 192"/>
                <a:gd name="T49" fmla="*/ 63 h 136"/>
                <a:gd name="T50" fmla="*/ 20 w 192"/>
                <a:gd name="T51" fmla="*/ 136 h 136"/>
                <a:gd name="T52" fmla="*/ 34 w 192"/>
                <a:gd name="T53" fmla="*/ 76 h 136"/>
                <a:gd name="T54" fmla="*/ 34 w 192"/>
                <a:gd name="T55" fmla="*/ 54 h 136"/>
                <a:gd name="T56" fmla="*/ 192 w 192"/>
                <a:gd name="T57" fmla="*/ 136 h 136"/>
                <a:gd name="T58" fmla="*/ 160 w 192"/>
                <a:gd name="T59" fmla="*/ 56 h 136"/>
                <a:gd name="T60" fmla="*/ 154 w 192"/>
                <a:gd name="T61" fmla="*/ 72 h 136"/>
                <a:gd name="T62" fmla="*/ 157 w 192"/>
                <a:gd name="T63" fmla="*/ 76 h 136"/>
                <a:gd name="T64" fmla="*/ 158 w 192"/>
                <a:gd name="T65" fmla="*/ 76 h 136"/>
                <a:gd name="T66" fmla="*/ 172 w 192"/>
                <a:gd name="T67" fmla="*/ 129 h 136"/>
                <a:gd name="T68" fmla="*/ 192 w 192"/>
                <a:gd name="T69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136">
                  <a:moveTo>
                    <a:pt x="58" y="66"/>
                  </a:moveTo>
                  <a:cubicBezTo>
                    <a:pt x="62" y="65"/>
                    <a:pt x="67" y="63"/>
                    <a:pt x="72" y="61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67" y="55"/>
                    <a:pt x="62" y="54"/>
                    <a:pt x="62" y="54"/>
                  </a:cubicBezTo>
                  <a:lnTo>
                    <a:pt x="58" y="66"/>
                  </a:lnTo>
                  <a:close/>
                  <a:moveTo>
                    <a:pt x="120" y="61"/>
                  </a:moveTo>
                  <a:cubicBezTo>
                    <a:pt x="121" y="62"/>
                    <a:pt x="123" y="62"/>
                    <a:pt x="124" y="63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56"/>
                    <a:pt x="124" y="57"/>
                    <a:pt x="120" y="59"/>
                  </a:cubicBezTo>
                  <a:lnTo>
                    <a:pt x="120" y="61"/>
                  </a:lnTo>
                  <a:close/>
                  <a:moveTo>
                    <a:pt x="48" y="59"/>
                  </a:moveTo>
                  <a:cubicBezTo>
                    <a:pt x="44" y="63"/>
                    <a:pt x="44" y="63"/>
                    <a:pt x="44" y="63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6" y="70"/>
                    <a:pt x="48" y="70"/>
                    <a:pt x="51" y="69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2" y="63"/>
                    <a:pt x="52" y="63"/>
                    <a:pt x="52" y="63"/>
                  </a:cubicBezTo>
                  <a:lnTo>
                    <a:pt x="48" y="59"/>
                  </a:lnTo>
                  <a:close/>
                  <a:moveTo>
                    <a:pt x="166" y="46"/>
                  </a:moveTo>
                  <a:cubicBezTo>
                    <a:pt x="161" y="39"/>
                    <a:pt x="162" y="26"/>
                    <a:pt x="162" y="26"/>
                  </a:cubicBezTo>
                  <a:cubicBezTo>
                    <a:pt x="162" y="15"/>
                    <a:pt x="162" y="0"/>
                    <a:pt x="144" y="0"/>
                  </a:cubicBezTo>
                  <a:cubicBezTo>
                    <a:pt x="135" y="0"/>
                    <a:pt x="130" y="4"/>
                    <a:pt x="128" y="9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129" y="22"/>
                    <a:pt x="130" y="23"/>
                    <a:pt x="131" y="24"/>
                  </a:cubicBezTo>
                  <a:cubicBezTo>
                    <a:pt x="135" y="32"/>
                    <a:pt x="132" y="43"/>
                    <a:pt x="126" y="48"/>
                  </a:cubicBezTo>
                  <a:cubicBezTo>
                    <a:pt x="126" y="48"/>
                    <a:pt x="126" y="48"/>
                    <a:pt x="126" y="48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41" y="69"/>
                    <a:pt x="141" y="69"/>
                    <a:pt x="141" y="69"/>
                  </a:cubicBezTo>
                  <a:cubicBezTo>
                    <a:pt x="143" y="69"/>
                    <a:pt x="145" y="70"/>
                    <a:pt x="146" y="70"/>
                  </a:cubicBezTo>
                  <a:cubicBezTo>
                    <a:pt x="155" y="52"/>
                    <a:pt x="155" y="52"/>
                    <a:pt x="155" y="52"/>
                  </a:cubicBezTo>
                  <a:lnTo>
                    <a:pt x="166" y="46"/>
                  </a:lnTo>
                  <a:close/>
                  <a:moveTo>
                    <a:pt x="34" y="36"/>
                  </a:moveTo>
                  <a:cubicBezTo>
                    <a:pt x="36" y="44"/>
                    <a:pt x="36" y="44"/>
                    <a:pt x="36" y="44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44"/>
                    <a:pt x="60" y="44"/>
                    <a:pt x="60" y="44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59" y="35"/>
                    <a:pt x="58" y="29"/>
                    <a:pt x="61" y="24"/>
                  </a:cubicBezTo>
                  <a:cubicBezTo>
                    <a:pt x="62" y="23"/>
                    <a:pt x="63" y="22"/>
                    <a:pt x="64" y="21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3" y="6"/>
                    <a:pt x="61" y="5"/>
                    <a:pt x="59" y="5"/>
                  </a:cubicBezTo>
                  <a:cubicBezTo>
                    <a:pt x="57" y="1"/>
                    <a:pt x="53" y="0"/>
                    <a:pt x="48" y="0"/>
                  </a:cubicBezTo>
                  <a:cubicBezTo>
                    <a:pt x="37" y="0"/>
                    <a:pt x="32" y="6"/>
                    <a:pt x="32" y="14"/>
                  </a:cubicBezTo>
                  <a:cubicBezTo>
                    <a:pt x="32" y="19"/>
                    <a:pt x="32" y="24"/>
                    <a:pt x="32" y="24"/>
                  </a:cubicBezTo>
                  <a:cubicBezTo>
                    <a:pt x="32" y="24"/>
                    <a:pt x="31" y="24"/>
                    <a:pt x="30" y="26"/>
                  </a:cubicBezTo>
                  <a:cubicBezTo>
                    <a:pt x="28" y="28"/>
                    <a:pt x="29" y="33"/>
                    <a:pt x="32" y="35"/>
                  </a:cubicBezTo>
                  <a:cubicBezTo>
                    <a:pt x="33" y="36"/>
                    <a:pt x="34" y="36"/>
                    <a:pt x="34" y="36"/>
                  </a:cubicBezTo>
                  <a:close/>
                  <a:moveTo>
                    <a:pt x="8" y="63"/>
                  </a:moveTo>
                  <a:cubicBezTo>
                    <a:pt x="5" y="66"/>
                    <a:pt x="0" y="94"/>
                    <a:pt x="0" y="136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0" y="128"/>
                    <a:pt x="20" y="128"/>
                    <a:pt x="20" y="128"/>
                  </a:cubicBezTo>
                  <a:cubicBezTo>
                    <a:pt x="22" y="103"/>
                    <a:pt x="25" y="83"/>
                    <a:pt x="34" y="76"/>
                  </a:cubicBezTo>
                  <a:cubicBezTo>
                    <a:pt x="35" y="75"/>
                    <a:pt x="36" y="75"/>
                    <a:pt x="40" y="73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10" y="61"/>
                    <a:pt x="8" y="63"/>
                  </a:cubicBezTo>
                  <a:close/>
                  <a:moveTo>
                    <a:pt x="192" y="136"/>
                  </a:moveTo>
                  <a:cubicBezTo>
                    <a:pt x="192" y="94"/>
                    <a:pt x="187" y="69"/>
                    <a:pt x="184" y="66"/>
                  </a:cubicBezTo>
                  <a:cubicBezTo>
                    <a:pt x="182" y="65"/>
                    <a:pt x="160" y="56"/>
                    <a:pt x="160" y="56"/>
                  </a:cubicBezTo>
                  <a:cubicBezTo>
                    <a:pt x="170" y="72"/>
                    <a:pt x="170" y="72"/>
                    <a:pt x="170" y="72"/>
                  </a:cubicBezTo>
                  <a:cubicBezTo>
                    <a:pt x="154" y="72"/>
                    <a:pt x="154" y="72"/>
                    <a:pt x="154" y="72"/>
                  </a:cubicBezTo>
                  <a:cubicBezTo>
                    <a:pt x="153" y="73"/>
                    <a:pt x="153" y="73"/>
                    <a:pt x="153" y="73"/>
                  </a:cubicBezTo>
                  <a:cubicBezTo>
                    <a:pt x="156" y="75"/>
                    <a:pt x="157" y="75"/>
                    <a:pt x="157" y="76"/>
                  </a:cubicBezTo>
                  <a:cubicBezTo>
                    <a:pt x="157" y="76"/>
                    <a:pt x="158" y="76"/>
                    <a:pt x="158" y="76"/>
                  </a:cubicBezTo>
                  <a:cubicBezTo>
                    <a:pt x="158" y="76"/>
                    <a:pt x="158" y="76"/>
                    <a:pt x="158" y="76"/>
                  </a:cubicBezTo>
                  <a:cubicBezTo>
                    <a:pt x="158" y="76"/>
                    <a:pt x="158" y="76"/>
                    <a:pt x="158" y="76"/>
                  </a:cubicBezTo>
                  <a:cubicBezTo>
                    <a:pt x="167" y="83"/>
                    <a:pt x="170" y="105"/>
                    <a:pt x="172" y="129"/>
                  </a:cubicBezTo>
                  <a:cubicBezTo>
                    <a:pt x="172" y="136"/>
                    <a:pt x="172" y="136"/>
                    <a:pt x="172" y="136"/>
                  </a:cubicBezTo>
                  <a:lnTo>
                    <a:pt x="192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  <p:sp>
          <p:nvSpPr>
            <p:cNvPr id="288" name="Freeform 28">
              <a:extLst>
                <a:ext uri="{FF2B5EF4-FFF2-40B4-BE49-F238E27FC236}">
                  <a16:creationId xmlns:a16="http://schemas.microsoft.com/office/drawing/2014/main" id="{94001647-9682-1B67-73A5-EAC89D040F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1" y="1890"/>
              <a:ext cx="321" cy="215"/>
            </a:xfrm>
            <a:custGeom>
              <a:avLst/>
              <a:gdLst>
                <a:gd name="T0" fmla="*/ 125 w 136"/>
                <a:gd name="T1" fmla="*/ 13 h 91"/>
                <a:gd name="T2" fmla="*/ 88 w 136"/>
                <a:gd name="T3" fmla="*/ 0 h 91"/>
                <a:gd name="T4" fmla="*/ 76 w 136"/>
                <a:gd name="T5" fmla="*/ 49 h 91"/>
                <a:gd name="T6" fmla="*/ 76 w 136"/>
                <a:gd name="T7" fmla="*/ 29 h 91"/>
                <a:gd name="T8" fmla="*/ 70 w 136"/>
                <a:gd name="T9" fmla="*/ 19 h 91"/>
                <a:gd name="T10" fmla="*/ 76 w 136"/>
                <a:gd name="T11" fmla="*/ 13 h 91"/>
                <a:gd name="T12" fmla="*/ 68 w 136"/>
                <a:gd name="T13" fmla="*/ 5 h 91"/>
                <a:gd name="T14" fmla="*/ 60 w 136"/>
                <a:gd name="T15" fmla="*/ 13 h 91"/>
                <a:gd name="T16" fmla="*/ 66 w 136"/>
                <a:gd name="T17" fmla="*/ 19 h 91"/>
                <a:gd name="T18" fmla="*/ 60 w 136"/>
                <a:gd name="T19" fmla="*/ 29 h 91"/>
                <a:gd name="T20" fmla="*/ 60 w 136"/>
                <a:gd name="T21" fmla="*/ 49 h 91"/>
                <a:gd name="T22" fmla="*/ 48 w 136"/>
                <a:gd name="T23" fmla="*/ 0 h 91"/>
                <a:gd name="T24" fmla="*/ 11 w 136"/>
                <a:gd name="T25" fmla="*/ 13 h 91"/>
                <a:gd name="T26" fmla="*/ 0 w 136"/>
                <a:gd name="T27" fmla="*/ 91 h 91"/>
                <a:gd name="T28" fmla="*/ 136 w 136"/>
                <a:gd name="T29" fmla="*/ 91 h 91"/>
                <a:gd name="T30" fmla="*/ 125 w 136"/>
                <a:gd name="T31" fmla="*/ 1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6" h="91">
                  <a:moveTo>
                    <a:pt x="125" y="13"/>
                  </a:moveTo>
                  <a:cubicBezTo>
                    <a:pt x="121" y="10"/>
                    <a:pt x="88" y="0"/>
                    <a:pt x="88" y="0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49"/>
                    <a:pt x="60" y="49"/>
                    <a:pt x="60" y="49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15" y="10"/>
                    <a:pt x="11" y="13"/>
                  </a:cubicBezTo>
                  <a:cubicBezTo>
                    <a:pt x="7" y="17"/>
                    <a:pt x="0" y="35"/>
                    <a:pt x="0" y="91"/>
                  </a:cubicBezTo>
                  <a:cubicBezTo>
                    <a:pt x="136" y="91"/>
                    <a:pt x="136" y="91"/>
                    <a:pt x="136" y="91"/>
                  </a:cubicBezTo>
                  <a:cubicBezTo>
                    <a:pt x="136" y="35"/>
                    <a:pt x="129" y="17"/>
                    <a:pt x="12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</p:grpSp>
      <p:pic>
        <p:nvPicPr>
          <p:cNvPr id="290" name="Graphic 289" descr="Scientific Thought outline">
            <a:extLst>
              <a:ext uri="{FF2B5EF4-FFF2-40B4-BE49-F238E27FC236}">
                <a16:creationId xmlns:a16="http://schemas.microsoft.com/office/drawing/2014/main" id="{A92FE2FC-13DD-475A-F953-02B5245EEF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989" y="9259746"/>
            <a:ext cx="473170" cy="473170"/>
          </a:xfrm>
          <a:prstGeom prst="rect">
            <a:avLst/>
          </a:prstGeom>
        </p:spPr>
      </p:pic>
      <p:pic>
        <p:nvPicPr>
          <p:cNvPr id="292" name="Graphic 291" descr="Coins outline">
            <a:extLst>
              <a:ext uri="{FF2B5EF4-FFF2-40B4-BE49-F238E27FC236}">
                <a16:creationId xmlns:a16="http://schemas.microsoft.com/office/drawing/2014/main" id="{071ED58D-8075-DC35-A51C-0A966E4EEB3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09954" y="8429616"/>
            <a:ext cx="473170" cy="473170"/>
          </a:xfrm>
          <a:prstGeom prst="rect">
            <a:avLst/>
          </a:prstGeom>
        </p:spPr>
      </p:pic>
      <p:grpSp>
        <p:nvGrpSpPr>
          <p:cNvPr id="322" name="Complexit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4B734C9-8C10-BD6D-1466-D4E1DCCD4817}"/>
              </a:ext>
            </a:extLst>
          </p:cNvPr>
          <p:cNvGrpSpPr>
            <a:grpSpLocks noChangeAspect="1"/>
          </p:cNvGrpSpPr>
          <p:nvPr/>
        </p:nvGrpSpPr>
        <p:grpSpPr>
          <a:xfrm>
            <a:off x="1588728" y="9287116"/>
            <a:ext cx="401358" cy="402156"/>
            <a:chOff x="6367463" y="1652588"/>
            <a:chExt cx="796925" cy="798513"/>
          </a:xfrm>
          <a:noFill/>
        </p:grpSpPr>
        <p:sp>
          <p:nvSpPr>
            <p:cNvPr id="323" name="Oval 270">
              <a:extLst>
                <a:ext uri="{FF2B5EF4-FFF2-40B4-BE49-F238E27FC236}">
                  <a16:creationId xmlns:a16="http://schemas.microsoft.com/office/drawing/2014/main" id="{8750AA29-2872-B963-05A6-D70F0D6A37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16573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4" name="Oval 271">
              <a:extLst>
                <a:ext uri="{FF2B5EF4-FFF2-40B4-BE49-F238E27FC236}">
                  <a16:creationId xmlns:a16="http://schemas.microsoft.com/office/drawing/2014/main" id="{5641A773-1700-1DEC-E12E-DD4A5E1ECE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18859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5" name="Oval 272">
              <a:extLst>
                <a:ext uri="{FF2B5EF4-FFF2-40B4-BE49-F238E27FC236}">
                  <a16:creationId xmlns:a16="http://schemas.microsoft.com/office/drawing/2014/main" id="{6A47D83E-017B-A64E-921E-ACF46B8905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21145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6" name="Oval 273">
              <a:extLst>
                <a:ext uri="{FF2B5EF4-FFF2-40B4-BE49-F238E27FC236}">
                  <a16:creationId xmlns:a16="http://schemas.microsoft.com/office/drawing/2014/main" id="{DEFBD32A-9BC6-512F-FD17-5D2B57ECFA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2116138"/>
              <a:ext cx="100013" cy="100013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7" name="Oval 274">
              <a:extLst>
                <a:ext uri="{FF2B5EF4-FFF2-40B4-BE49-F238E27FC236}">
                  <a16:creationId xmlns:a16="http://schemas.microsoft.com/office/drawing/2014/main" id="{66602972-9E17-55D9-4167-11BFE7D0BE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2344738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8" name="Oval 275">
              <a:extLst>
                <a:ext uri="{FF2B5EF4-FFF2-40B4-BE49-F238E27FC236}">
                  <a16:creationId xmlns:a16="http://schemas.microsoft.com/office/drawing/2014/main" id="{EABD3B47-385A-E4AC-4011-553F7897BA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1885951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9" name="Oval 276">
              <a:extLst>
                <a:ext uri="{FF2B5EF4-FFF2-40B4-BE49-F238E27FC236}">
                  <a16:creationId xmlns:a16="http://schemas.microsoft.com/office/drawing/2014/main" id="{8982B920-6253-3859-6E4B-30202BBCA3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18859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0" name="Oval 277">
              <a:extLst>
                <a:ext uri="{FF2B5EF4-FFF2-40B4-BE49-F238E27FC236}">
                  <a16:creationId xmlns:a16="http://schemas.microsoft.com/office/drawing/2014/main" id="{B80FE0E5-451D-E0FD-D09C-72879BA12B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2344738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1" name="Oval 278">
              <a:extLst>
                <a:ext uri="{FF2B5EF4-FFF2-40B4-BE49-F238E27FC236}">
                  <a16:creationId xmlns:a16="http://schemas.microsoft.com/office/drawing/2014/main" id="{1F4155F9-76D6-2D08-C4B2-EA95F3E7CE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1657351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Oval 279">
              <a:extLst>
                <a:ext uri="{FF2B5EF4-FFF2-40B4-BE49-F238E27FC236}">
                  <a16:creationId xmlns:a16="http://schemas.microsoft.com/office/drawing/2014/main" id="{6E4F0129-F63B-E196-B212-AF1CFAA91C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16573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Oval 280">
              <a:extLst>
                <a:ext uri="{FF2B5EF4-FFF2-40B4-BE49-F238E27FC236}">
                  <a16:creationId xmlns:a16="http://schemas.microsoft.com/office/drawing/2014/main" id="{099C5B32-2BA6-7920-0373-B4A137F276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2116138"/>
              <a:ext cx="100013" cy="100013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4" name="Oval 281">
              <a:extLst>
                <a:ext uri="{FF2B5EF4-FFF2-40B4-BE49-F238E27FC236}">
                  <a16:creationId xmlns:a16="http://schemas.microsoft.com/office/drawing/2014/main" id="{0D3C2AFE-C62A-E710-882F-6159EBA0A9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2344738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5" name="Freeform 282">
              <a:extLst>
                <a:ext uri="{FF2B5EF4-FFF2-40B4-BE49-F238E27FC236}">
                  <a16:creationId xmlns:a16="http://schemas.microsoft.com/office/drawing/2014/main" id="{238333B1-AE3E-C787-6296-EC600B925A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1652588"/>
              <a:ext cx="112713" cy="111125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6"/>
                    <a:pt x="17" y="83"/>
                  </a:cubicBezTo>
                  <a:cubicBezTo>
                    <a:pt x="17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8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6" name="Freeform 283">
              <a:extLst>
                <a:ext uri="{FF2B5EF4-FFF2-40B4-BE49-F238E27FC236}">
                  <a16:creationId xmlns:a16="http://schemas.microsoft.com/office/drawing/2014/main" id="{CFC185DC-AF0C-BEB4-5BE0-7D4948CF57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1652588"/>
              <a:ext cx="112713" cy="111125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8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7" name="Freeform 284">
              <a:extLst>
                <a:ext uri="{FF2B5EF4-FFF2-40B4-BE49-F238E27FC236}">
                  <a16:creationId xmlns:a16="http://schemas.microsoft.com/office/drawing/2014/main" id="{F25F9C7C-DDD9-3448-C85D-7A51CA003B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1652588"/>
              <a:ext cx="111125" cy="111125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2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8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" name="Freeform 285">
              <a:extLst>
                <a:ext uri="{FF2B5EF4-FFF2-40B4-BE49-F238E27FC236}">
                  <a16:creationId xmlns:a16="http://schemas.microsoft.com/office/drawing/2014/main" id="{97FA3557-F089-7B05-6F0A-D6FA34477F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18811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6"/>
                    <a:pt x="17" y="83"/>
                  </a:cubicBezTo>
                  <a:cubicBezTo>
                    <a:pt x="17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9" name="Freeform 286">
              <a:extLst>
                <a:ext uri="{FF2B5EF4-FFF2-40B4-BE49-F238E27FC236}">
                  <a16:creationId xmlns:a16="http://schemas.microsoft.com/office/drawing/2014/main" id="{D5CA1230-DFE3-9ED2-DBD0-D8AF595CE9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18811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0" name="Freeform 287">
              <a:extLst>
                <a:ext uri="{FF2B5EF4-FFF2-40B4-BE49-F238E27FC236}">
                  <a16:creationId xmlns:a16="http://schemas.microsoft.com/office/drawing/2014/main" id="{41912A39-5FF7-4BBA-7A07-D2A2A694F4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18811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2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1" name="Freeform 288">
              <a:extLst>
                <a:ext uri="{FF2B5EF4-FFF2-40B4-BE49-F238E27FC236}">
                  <a16:creationId xmlns:a16="http://schemas.microsoft.com/office/drawing/2014/main" id="{DBC9F78C-5169-5CAC-8925-53AE657034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21097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7"/>
                    <a:pt x="17" y="83"/>
                  </a:cubicBezTo>
                  <a:cubicBezTo>
                    <a:pt x="17" y="120"/>
                    <a:pt x="46" y="149"/>
                    <a:pt x="83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2" name="Freeform 289">
              <a:extLst>
                <a:ext uri="{FF2B5EF4-FFF2-40B4-BE49-F238E27FC236}">
                  <a16:creationId xmlns:a16="http://schemas.microsoft.com/office/drawing/2014/main" id="{C0CEF2FC-EFBB-0FB0-F63F-BAA62766A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21097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49"/>
                    <a:pt x="83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3" name="Freeform 290">
              <a:extLst>
                <a:ext uri="{FF2B5EF4-FFF2-40B4-BE49-F238E27FC236}">
                  <a16:creationId xmlns:a16="http://schemas.microsoft.com/office/drawing/2014/main" id="{246F591D-74E8-D293-506D-98B26A4853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21097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49"/>
                    <a:pt x="82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4" name="Freeform 291">
              <a:extLst>
                <a:ext uri="{FF2B5EF4-FFF2-40B4-BE49-F238E27FC236}">
                  <a16:creationId xmlns:a16="http://schemas.microsoft.com/office/drawing/2014/main" id="{8E1A3E17-B212-6627-3429-A0E7707EE4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23383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50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7"/>
                    <a:pt x="17" y="83"/>
                  </a:cubicBezTo>
                  <a:cubicBezTo>
                    <a:pt x="17" y="120"/>
                    <a:pt x="46" y="150"/>
                    <a:pt x="83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29" y="0"/>
                    <a:pt x="166" y="38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5" name="Freeform 292">
              <a:extLst>
                <a:ext uri="{FF2B5EF4-FFF2-40B4-BE49-F238E27FC236}">
                  <a16:creationId xmlns:a16="http://schemas.microsoft.com/office/drawing/2014/main" id="{476FD096-7B07-A81A-D4F2-FDB411ECBC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23383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50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50"/>
                    <a:pt x="83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28" y="0"/>
                    <a:pt x="166" y="38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6" name="Freeform 293">
              <a:extLst>
                <a:ext uri="{FF2B5EF4-FFF2-40B4-BE49-F238E27FC236}">
                  <a16:creationId xmlns:a16="http://schemas.microsoft.com/office/drawing/2014/main" id="{C5138855-CC2E-FAD6-E1C7-DB5A06A093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23383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50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50"/>
                    <a:pt x="82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2" y="0"/>
                  </a:cubicBezTo>
                  <a:cubicBezTo>
                    <a:pt x="128" y="0"/>
                    <a:pt x="165" y="38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7" name="Rectangle 294">
              <a:extLst>
                <a:ext uri="{FF2B5EF4-FFF2-40B4-BE49-F238E27FC236}">
                  <a16:creationId xmlns:a16="http://schemas.microsoft.com/office/drawing/2014/main" id="{228C2AB2-8A51-1D85-1CB3-F60A5153B5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6725" y="2160588"/>
              <a:ext cx="242888" cy="11113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8" name="Rectangle 295">
              <a:extLst>
                <a:ext uri="{FF2B5EF4-FFF2-40B4-BE49-F238E27FC236}">
                  <a16:creationId xmlns:a16="http://schemas.microsoft.com/office/drawing/2014/main" id="{3D4404BC-B98D-F67F-9E56-50E96BC67A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6725" y="1931988"/>
              <a:ext cx="242888" cy="11113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9" name="Freeform 296">
              <a:extLst>
                <a:ext uri="{FF2B5EF4-FFF2-40B4-BE49-F238E27FC236}">
                  <a16:creationId xmlns:a16="http://schemas.microsoft.com/office/drawing/2014/main" id="{739C4033-8B2B-7244-F177-7D5E8E375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125" y="1957388"/>
              <a:ext cx="269875" cy="185738"/>
            </a:xfrm>
            <a:custGeom>
              <a:avLst/>
              <a:gdLst>
                <a:gd name="T0" fmla="*/ 4 w 170"/>
                <a:gd name="T1" fmla="*/ 117 h 117"/>
                <a:gd name="T2" fmla="*/ 0 w 170"/>
                <a:gd name="T3" fmla="*/ 111 h 117"/>
                <a:gd name="T4" fmla="*/ 166 w 170"/>
                <a:gd name="T5" fmla="*/ 0 h 117"/>
                <a:gd name="T6" fmla="*/ 170 w 170"/>
                <a:gd name="T7" fmla="*/ 6 h 117"/>
                <a:gd name="T8" fmla="*/ 4 w 170"/>
                <a:gd name="T9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117">
                  <a:moveTo>
                    <a:pt x="4" y="117"/>
                  </a:moveTo>
                  <a:lnTo>
                    <a:pt x="0" y="111"/>
                  </a:lnTo>
                  <a:lnTo>
                    <a:pt x="166" y="0"/>
                  </a:lnTo>
                  <a:lnTo>
                    <a:pt x="170" y="6"/>
                  </a:lnTo>
                  <a:lnTo>
                    <a:pt x="4" y="117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0" name="Freeform 297">
              <a:extLst>
                <a:ext uri="{FF2B5EF4-FFF2-40B4-BE49-F238E27FC236}">
                  <a16:creationId xmlns:a16="http://schemas.microsoft.com/office/drawing/2014/main" id="{B93FBDB0-3853-0FD6-EF68-64718CC5E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2713" y="1728788"/>
              <a:ext cx="268288" cy="184150"/>
            </a:xfrm>
            <a:custGeom>
              <a:avLst/>
              <a:gdLst>
                <a:gd name="T0" fmla="*/ 4 w 169"/>
                <a:gd name="T1" fmla="*/ 116 h 116"/>
                <a:gd name="T2" fmla="*/ 0 w 169"/>
                <a:gd name="T3" fmla="*/ 110 h 116"/>
                <a:gd name="T4" fmla="*/ 165 w 169"/>
                <a:gd name="T5" fmla="*/ 0 h 116"/>
                <a:gd name="T6" fmla="*/ 169 w 169"/>
                <a:gd name="T7" fmla="*/ 6 h 116"/>
                <a:gd name="T8" fmla="*/ 4 w 169"/>
                <a:gd name="T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116">
                  <a:moveTo>
                    <a:pt x="4" y="116"/>
                  </a:moveTo>
                  <a:lnTo>
                    <a:pt x="0" y="110"/>
                  </a:lnTo>
                  <a:lnTo>
                    <a:pt x="165" y="0"/>
                  </a:lnTo>
                  <a:lnTo>
                    <a:pt x="169" y="6"/>
                  </a:lnTo>
                  <a:lnTo>
                    <a:pt x="4" y="116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1" name="Rectangle 298">
              <a:extLst>
                <a:ext uri="{FF2B5EF4-FFF2-40B4-BE49-F238E27FC236}">
                  <a16:creationId xmlns:a16="http://schemas.microsoft.com/office/drawing/2014/main" id="{0B92437C-17D3-A394-A185-CC25F9103F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3825" y="1701801"/>
              <a:ext cx="242888" cy="12700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2" name="Freeform 299">
              <a:extLst>
                <a:ext uri="{FF2B5EF4-FFF2-40B4-BE49-F238E27FC236}">
                  <a16:creationId xmlns:a16="http://schemas.microsoft.com/office/drawing/2014/main" id="{BAE73AC4-167A-CBBB-5235-55916C1E4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125" y="2189163"/>
              <a:ext cx="266700" cy="182563"/>
            </a:xfrm>
            <a:custGeom>
              <a:avLst/>
              <a:gdLst>
                <a:gd name="T0" fmla="*/ 164 w 168"/>
                <a:gd name="T1" fmla="*/ 115 h 115"/>
                <a:gd name="T2" fmla="*/ 0 w 168"/>
                <a:gd name="T3" fmla="*/ 6 h 115"/>
                <a:gd name="T4" fmla="*/ 4 w 168"/>
                <a:gd name="T5" fmla="*/ 0 h 115"/>
                <a:gd name="T6" fmla="*/ 168 w 168"/>
                <a:gd name="T7" fmla="*/ 109 h 115"/>
                <a:gd name="T8" fmla="*/ 164 w 168"/>
                <a:gd name="T9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115">
                  <a:moveTo>
                    <a:pt x="164" y="115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168" y="109"/>
                  </a:lnTo>
                  <a:lnTo>
                    <a:pt x="164" y="115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3" name="Rectangle 300">
              <a:extLst>
                <a:ext uri="{FF2B5EF4-FFF2-40B4-BE49-F238E27FC236}">
                  <a16:creationId xmlns:a16="http://schemas.microsoft.com/office/drawing/2014/main" id="{0FCB488A-D2D1-1AC4-CB34-053B485385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4063" y="2216151"/>
              <a:ext cx="11113" cy="128588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4" name="Rectangle 301">
              <a:extLst>
                <a:ext uri="{FF2B5EF4-FFF2-40B4-BE49-F238E27FC236}">
                  <a16:creationId xmlns:a16="http://schemas.microsoft.com/office/drawing/2014/main" id="{B92F33E3-309E-BBE9-4D18-7380D66378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4063" y="1758951"/>
              <a:ext cx="11113" cy="127000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55" name="Text Placeholder 9">
            <a:extLst>
              <a:ext uri="{FF2B5EF4-FFF2-40B4-BE49-F238E27FC236}">
                <a16:creationId xmlns:a16="http://schemas.microsoft.com/office/drawing/2014/main" id="{520DE371-5AF1-F8FF-8707-45EE4454FB90}"/>
              </a:ext>
            </a:extLst>
          </p:cNvPr>
          <p:cNvSpPr txBox="1">
            <a:spLocks/>
          </p:cNvSpPr>
          <p:nvPr/>
        </p:nvSpPr>
        <p:spPr>
          <a:xfrm>
            <a:off x="2221804" y="8595030"/>
            <a:ext cx="1595631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en AI scaling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6" name="Text Placeholder 9">
            <a:extLst>
              <a:ext uri="{FF2B5EF4-FFF2-40B4-BE49-F238E27FC236}">
                <a16:creationId xmlns:a16="http://schemas.microsoft.com/office/drawing/2014/main" id="{45893D60-F6F4-C53C-3A02-E32909DD2E69}"/>
              </a:ext>
            </a:extLst>
          </p:cNvPr>
          <p:cNvSpPr txBox="1">
            <a:spLocks/>
          </p:cNvSpPr>
          <p:nvPr/>
        </p:nvSpPr>
        <p:spPr>
          <a:xfrm>
            <a:off x="4422458" y="8579240"/>
            <a:ext cx="2074602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monetizatio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7" name="Text Placeholder 9">
            <a:extLst>
              <a:ext uri="{FF2B5EF4-FFF2-40B4-BE49-F238E27FC236}">
                <a16:creationId xmlns:a16="http://schemas.microsoft.com/office/drawing/2014/main" id="{E15DB0F8-FBE2-D8CC-A4FB-F6A6E1AAAE0A}"/>
              </a:ext>
            </a:extLst>
          </p:cNvPr>
          <p:cNvSpPr txBox="1">
            <a:spLocks/>
          </p:cNvSpPr>
          <p:nvPr/>
        </p:nvSpPr>
        <p:spPr>
          <a:xfrm>
            <a:off x="2236406" y="9343656"/>
            <a:ext cx="1404274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led modelling</a:t>
            </a:r>
            <a:b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&amp; transformatio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8" name="Text Placeholder 9">
            <a:extLst>
              <a:ext uri="{FF2B5EF4-FFF2-40B4-BE49-F238E27FC236}">
                <a16:creationId xmlns:a16="http://schemas.microsoft.com/office/drawing/2014/main" id="{DDA5DDE7-3083-CDF4-FE22-D3B32B014AAD}"/>
              </a:ext>
            </a:extLst>
          </p:cNvPr>
          <p:cNvSpPr txBox="1">
            <a:spLocks/>
          </p:cNvSpPr>
          <p:nvPr/>
        </p:nvSpPr>
        <p:spPr>
          <a:xfrm>
            <a:off x="4399723" y="9257088"/>
            <a:ext cx="2182529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science</a:t>
            </a:r>
            <a:b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&amp; MLOp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0B02FCB-7E30-92CF-CD77-808E9C6C0E12}"/>
              </a:ext>
            </a:extLst>
          </p:cNvPr>
          <p:cNvGrpSpPr>
            <a:grpSpLocks noChangeAspect="1"/>
          </p:cNvGrpSpPr>
          <p:nvPr/>
        </p:nvGrpSpPr>
        <p:grpSpPr>
          <a:xfrm>
            <a:off x="1581445" y="8466448"/>
            <a:ext cx="537346" cy="548260"/>
            <a:chOff x="10258820" y="2140818"/>
            <a:chExt cx="366798" cy="374248"/>
          </a:xfrm>
        </p:grpSpPr>
        <p:pic>
          <p:nvPicPr>
            <p:cNvPr id="5" name="Picture 15">
              <a:extLst>
                <a:ext uri="{FF2B5EF4-FFF2-40B4-BE49-F238E27FC236}">
                  <a16:creationId xmlns:a16="http://schemas.microsoft.com/office/drawing/2014/main" id="{BEC42C73-505A-B9B3-F678-B09427999B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58820" y="2140818"/>
              <a:ext cx="307574" cy="3075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99E2FCC-DFCD-B7CA-664F-15A9FC9E47F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475107" y="2362873"/>
              <a:ext cx="150511" cy="152193"/>
              <a:chOff x="3482" y="1979"/>
              <a:chExt cx="358" cy="362"/>
            </a:xfrm>
          </p:grpSpPr>
          <p:sp>
            <p:nvSpPr>
              <p:cNvPr id="30" name="AutoShape 3">
                <a:extLst>
                  <a:ext uri="{FF2B5EF4-FFF2-40B4-BE49-F238E27FC236}">
                    <a16:creationId xmlns:a16="http://schemas.microsoft.com/office/drawing/2014/main" id="{56D7674C-01B8-FA42-FD21-27A27CC19321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3482" y="1979"/>
                <a:ext cx="358" cy="3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2" name="Freeform 5">
                <a:extLst>
                  <a:ext uri="{FF2B5EF4-FFF2-40B4-BE49-F238E27FC236}">
                    <a16:creationId xmlns:a16="http://schemas.microsoft.com/office/drawing/2014/main" id="{02BDD43F-1A64-F293-2644-D1EA3A98C6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46" y="2045"/>
                <a:ext cx="230" cy="229"/>
              </a:xfrm>
              <a:custGeom>
                <a:avLst/>
                <a:gdLst>
                  <a:gd name="T0" fmla="*/ 174 w 192"/>
                  <a:gd name="T1" fmla="*/ 192 h 192"/>
                  <a:gd name="T2" fmla="*/ 18 w 192"/>
                  <a:gd name="T3" fmla="*/ 192 h 192"/>
                  <a:gd name="T4" fmla="*/ 0 w 192"/>
                  <a:gd name="T5" fmla="*/ 174 h 192"/>
                  <a:gd name="T6" fmla="*/ 0 w 192"/>
                  <a:gd name="T7" fmla="*/ 18 h 192"/>
                  <a:gd name="T8" fmla="*/ 18 w 192"/>
                  <a:gd name="T9" fmla="*/ 0 h 192"/>
                  <a:gd name="T10" fmla="*/ 174 w 192"/>
                  <a:gd name="T11" fmla="*/ 0 h 192"/>
                  <a:gd name="T12" fmla="*/ 192 w 192"/>
                  <a:gd name="T13" fmla="*/ 18 h 192"/>
                  <a:gd name="T14" fmla="*/ 192 w 192"/>
                  <a:gd name="T15" fmla="*/ 174 h 192"/>
                  <a:gd name="T16" fmla="*/ 174 w 192"/>
                  <a:gd name="T17" fmla="*/ 192 h 192"/>
                  <a:gd name="T18" fmla="*/ 18 w 192"/>
                  <a:gd name="T19" fmla="*/ 12 h 192"/>
                  <a:gd name="T20" fmla="*/ 12 w 192"/>
                  <a:gd name="T21" fmla="*/ 18 h 192"/>
                  <a:gd name="T22" fmla="*/ 12 w 192"/>
                  <a:gd name="T23" fmla="*/ 174 h 192"/>
                  <a:gd name="T24" fmla="*/ 18 w 192"/>
                  <a:gd name="T25" fmla="*/ 180 h 192"/>
                  <a:gd name="T26" fmla="*/ 174 w 192"/>
                  <a:gd name="T27" fmla="*/ 180 h 192"/>
                  <a:gd name="T28" fmla="*/ 180 w 192"/>
                  <a:gd name="T29" fmla="*/ 174 h 192"/>
                  <a:gd name="T30" fmla="*/ 180 w 192"/>
                  <a:gd name="T31" fmla="*/ 18 h 192"/>
                  <a:gd name="T32" fmla="*/ 174 w 192"/>
                  <a:gd name="T33" fmla="*/ 12 h 192"/>
                  <a:gd name="T34" fmla="*/ 18 w 192"/>
                  <a:gd name="T35" fmla="*/ 1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2" h="192">
                    <a:moveTo>
                      <a:pt x="174" y="192"/>
                    </a:moveTo>
                    <a:cubicBezTo>
                      <a:pt x="18" y="192"/>
                      <a:pt x="18" y="192"/>
                      <a:pt x="18" y="192"/>
                    </a:cubicBezTo>
                    <a:cubicBezTo>
                      <a:pt x="8" y="192"/>
                      <a:pt x="0" y="184"/>
                      <a:pt x="0" y="17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9"/>
                      <a:pt x="8" y="0"/>
                      <a:pt x="18" y="0"/>
                    </a:cubicBezTo>
                    <a:cubicBezTo>
                      <a:pt x="174" y="0"/>
                      <a:pt x="174" y="0"/>
                      <a:pt x="174" y="0"/>
                    </a:cubicBezTo>
                    <a:cubicBezTo>
                      <a:pt x="184" y="0"/>
                      <a:pt x="192" y="9"/>
                      <a:pt x="192" y="18"/>
                    </a:cubicBezTo>
                    <a:cubicBezTo>
                      <a:pt x="192" y="174"/>
                      <a:pt x="192" y="174"/>
                      <a:pt x="192" y="174"/>
                    </a:cubicBezTo>
                    <a:cubicBezTo>
                      <a:pt x="192" y="184"/>
                      <a:pt x="184" y="192"/>
                      <a:pt x="174" y="192"/>
                    </a:cubicBezTo>
                    <a:close/>
                    <a:moveTo>
                      <a:pt x="18" y="12"/>
                    </a:moveTo>
                    <a:cubicBezTo>
                      <a:pt x="14" y="12"/>
                      <a:pt x="12" y="15"/>
                      <a:pt x="12" y="18"/>
                    </a:cubicBezTo>
                    <a:cubicBezTo>
                      <a:pt x="12" y="174"/>
                      <a:pt x="12" y="174"/>
                      <a:pt x="12" y="174"/>
                    </a:cubicBezTo>
                    <a:cubicBezTo>
                      <a:pt x="12" y="178"/>
                      <a:pt x="14" y="180"/>
                      <a:pt x="18" y="180"/>
                    </a:cubicBezTo>
                    <a:cubicBezTo>
                      <a:pt x="174" y="180"/>
                      <a:pt x="174" y="180"/>
                      <a:pt x="174" y="180"/>
                    </a:cubicBezTo>
                    <a:cubicBezTo>
                      <a:pt x="177" y="180"/>
                      <a:pt x="180" y="178"/>
                      <a:pt x="180" y="174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80" y="15"/>
                      <a:pt x="177" y="12"/>
                      <a:pt x="174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3" name="Freeform 6">
                <a:extLst>
                  <a:ext uri="{FF2B5EF4-FFF2-40B4-BE49-F238E27FC236}">
                    <a16:creationId xmlns:a16="http://schemas.microsoft.com/office/drawing/2014/main" id="{5ACA7CCF-D8E5-F461-D897-8F8B1ACCDE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7" y="1987"/>
                <a:ext cx="14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4" name="Freeform 7">
                <a:extLst>
                  <a:ext uri="{FF2B5EF4-FFF2-40B4-BE49-F238E27FC236}">
                    <a16:creationId xmlns:a16="http://schemas.microsoft.com/office/drawing/2014/main" id="{DA7FCD83-1A31-2783-B006-E94B12E175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9" y="1987"/>
                <a:ext cx="15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C564A4A5-7BA5-3E2B-9C9B-B196458058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8" y="1987"/>
                <a:ext cx="15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232F9287-6B2F-2BBA-A60E-C6DB0F1D6F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159"/>
                <a:ext cx="72" cy="15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5C3C1E82-6E1A-7E80-11DE-E803700622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217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93A8DE0F-276E-0F23-BEE5-DA1BB47F55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088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BF9FC08A-B4B5-8F36-AC96-F028036F72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1" y="2260"/>
                <a:ext cx="14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CC31D09A-932E-9099-C77A-DED0AF0B49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8" y="2260"/>
                <a:ext cx="15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EC5637C0-6F96-F43C-8F96-879339D29B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9" y="2260"/>
                <a:ext cx="15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385621BC-3E7A-7EF0-37C2-CC410CF25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145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EE7A0448-B2D9-EEC4-33CA-08B824B7F4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088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4" name="Freeform 17">
                <a:extLst>
                  <a:ext uri="{FF2B5EF4-FFF2-40B4-BE49-F238E27FC236}">
                    <a16:creationId xmlns:a16="http://schemas.microsoft.com/office/drawing/2014/main" id="{4B0AF812-181D-6EA3-35F4-C78C79B6F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217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5" name="Freeform 18">
                <a:extLst>
                  <a:ext uri="{FF2B5EF4-FFF2-40B4-BE49-F238E27FC236}">
                    <a16:creationId xmlns:a16="http://schemas.microsoft.com/office/drawing/2014/main" id="{45E430B0-9863-78C2-5C35-BB65D0C9FE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5" y="2073"/>
                <a:ext cx="172" cy="172"/>
              </a:xfrm>
              <a:custGeom>
                <a:avLst/>
                <a:gdLst>
                  <a:gd name="T0" fmla="*/ 114 w 144"/>
                  <a:gd name="T1" fmla="*/ 144 h 144"/>
                  <a:gd name="T2" fmla="*/ 30 w 144"/>
                  <a:gd name="T3" fmla="*/ 144 h 144"/>
                  <a:gd name="T4" fmla="*/ 0 w 144"/>
                  <a:gd name="T5" fmla="*/ 114 h 144"/>
                  <a:gd name="T6" fmla="*/ 0 w 144"/>
                  <a:gd name="T7" fmla="*/ 30 h 144"/>
                  <a:gd name="T8" fmla="*/ 30 w 144"/>
                  <a:gd name="T9" fmla="*/ 0 h 144"/>
                  <a:gd name="T10" fmla="*/ 114 w 144"/>
                  <a:gd name="T11" fmla="*/ 0 h 144"/>
                  <a:gd name="T12" fmla="*/ 144 w 144"/>
                  <a:gd name="T13" fmla="*/ 30 h 144"/>
                  <a:gd name="T14" fmla="*/ 144 w 144"/>
                  <a:gd name="T15" fmla="*/ 114 h 144"/>
                  <a:gd name="T16" fmla="*/ 114 w 144"/>
                  <a:gd name="T17" fmla="*/ 144 h 144"/>
                  <a:gd name="T18" fmla="*/ 30 w 144"/>
                  <a:gd name="T19" fmla="*/ 12 h 144"/>
                  <a:gd name="T20" fmla="*/ 12 w 144"/>
                  <a:gd name="T21" fmla="*/ 30 h 144"/>
                  <a:gd name="T22" fmla="*/ 12 w 144"/>
                  <a:gd name="T23" fmla="*/ 114 h 144"/>
                  <a:gd name="T24" fmla="*/ 30 w 144"/>
                  <a:gd name="T25" fmla="*/ 132 h 144"/>
                  <a:gd name="T26" fmla="*/ 114 w 144"/>
                  <a:gd name="T27" fmla="*/ 132 h 144"/>
                  <a:gd name="T28" fmla="*/ 132 w 144"/>
                  <a:gd name="T29" fmla="*/ 114 h 144"/>
                  <a:gd name="T30" fmla="*/ 132 w 144"/>
                  <a:gd name="T31" fmla="*/ 30 h 144"/>
                  <a:gd name="T32" fmla="*/ 114 w 144"/>
                  <a:gd name="T33" fmla="*/ 12 h 144"/>
                  <a:gd name="T34" fmla="*/ 30 w 144"/>
                  <a:gd name="T35" fmla="*/ 1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144">
                    <a:moveTo>
                      <a:pt x="114" y="144"/>
                    </a:moveTo>
                    <a:cubicBezTo>
                      <a:pt x="30" y="144"/>
                      <a:pt x="30" y="144"/>
                      <a:pt x="30" y="144"/>
                    </a:cubicBezTo>
                    <a:cubicBezTo>
                      <a:pt x="13" y="144"/>
                      <a:pt x="0" y="131"/>
                      <a:pt x="0" y="114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14"/>
                      <a:pt x="13" y="0"/>
                      <a:pt x="30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130" y="0"/>
                      <a:pt x="144" y="14"/>
                      <a:pt x="144" y="30"/>
                    </a:cubicBezTo>
                    <a:cubicBezTo>
                      <a:pt x="144" y="114"/>
                      <a:pt x="144" y="114"/>
                      <a:pt x="144" y="114"/>
                    </a:cubicBezTo>
                    <a:cubicBezTo>
                      <a:pt x="144" y="131"/>
                      <a:pt x="130" y="144"/>
                      <a:pt x="114" y="144"/>
                    </a:cubicBezTo>
                    <a:close/>
                    <a:moveTo>
                      <a:pt x="30" y="12"/>
                    </a:moveTo>
                    <a:cubicBezTo>
                      <a:pt x="20" y="12"/>
                      <a:pt x="12" y="21"/>
                      <a:pt x="12" y="30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2" y="124"/>
                      <a:pt x="20" y="132"/>
                      <a:pt x="30" y="132"/>
                    </a:cubicBezTo>
                    <a:cubicBezTo>
                      <a:pt x="114" y="132"/>
                      <a:pt x="114" y="132"/>
                      <a:pt x="114" y="132"/>
                    </a:cubicBezTo>
                    <a:cubicBezTo>
                      <a:pt x="124" y="132"/>
                      <a:pt x="132" y="124"/>
                      <a:pt x="132" y="114"/>
                    </a:cubicBezTo>
                    <a:cubicBezTo>
                      <a:pt x="132" y="30"/>
                      <a:pt x="132" y="30"/>
                      <a:pt x="132" y="30"/>
                    </a:cubicBezTo>
                    <a:cubicBezTo>
                      <a:pt x="132" y="21"/>
                      <a:pt x="124" y="12"/>
                      <a:pt x="114" y="12"/>
                    </a:cubicBez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</p:grpSp>
      </p:grpSp>
      <p:sp>
        <p:nvSpPr>
          <p:cNvPr id="62" name="Rectangle 3">
            <a:extLst>
              <a:ext uri="{FF2B5EF4-FFF2-40B4-BE49-F238E27FC236}">
                <a16:creationId xmlns:a16="http://schemas.microsoft.com/office/drawing/2014/main" id="{49AF690D-26F3-1CDB-6F4D-838976866FF7}"/>
              </a:ext>
            </a:extLst>
          </p:cNvPr>
          <p:cNvSpPr/>
          <p:nvPr/>
        </p:nvSpPr>
        <p:spPr>
          <a:xfrm>
            <a:off x="5505140" y="1057833"/>
            <a:ext cx="3638707" cy="184666"/>
          </a:xfrm>
          <a:prstGeom prst="rect">
            <a:avLst/>
          </a:prstGeom>
          <a:solidFill>
            <a:schemeClr val="bg1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914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pl-PL" sz="1200" b="1" i="0" u="none" strike="noStrike" kern="0" cap="all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 Black" panose="020B0A03030202060203" pitchFamily="34" charset="-18"/>
                <a:ea typeface="+mn-ea"/>
                <a:cs typeface="+mn-cs"/>
              </a:rPr>
              <a:t>Lorem ipsum</a:t>
            </a:r>
            <a:endParaRPr kumimoji="0" lang="en-US" sz="1200" b="1" i="0" u="none" strike="noStrike" kern="0" cap="all" spc="0" normalizeH="0" baseline="0" noProof="0">
              <a:ln>
                <a:noFill/>
              </a:ln>
              <a:solidFill>
                <a:srgbClr val="A100FF"/>
              </a:solidFill>
              <a:effectLst/>
              <a:uLnTx/>
              <a:uFillTx/>
              <a:latin typeface="Graphik Black" panose="020B0A03030202060203" pitchFamily="34" charset="-18"/>
              <a:ea typeface="+mn-ea"/>
              <a:cs typeface="+mn-cs"/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A63BB6E-9EAD-115F-0A81-2D2042F29EFF}"/>
              </a:ext>
            </a:extLst>
          </p:cNvPr>
          <p:cNvCxnSpPr>
            <a:cxnSpLocks/>
          </p:cNvCxnSpPr>
          <p:nvPr/>
        </p:nvCxnSpPr>
        <p:spPr>
          <a:xfrm>
            <a:off x="5495105" y="1248604"/>
            <a:ext cx="6302996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itle 1">
            <a:extLst>
              <a:ext uri="{FF2B5EF4-FFF2-40B4-BE49-F238E27FC236}">
                <a16:creationId xmlns:a16="http://schemas.microsoft.com/office/drawing/2014/main" id="{D59545F7-0203-C7F3-1C53-BE4FF3E604E7}"/>
              </a:ext>
            </a:extLst>
          </p:cNvPr>
          <p:cNvSpPr txBox="1">
            <a:spLocks/>
          </p:cNvSpPr>
          <p:nvPr/>
        </p:nvSpPr>
        <p:spPr>
          <a:xfrm>
            <a:off x="338546" y="207092"/>
            <a:ext cx="11641970" cy="77613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inden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79600" algn="l"/>
              </a:tabLst>
              <a:defRPr sz="3600" b="1" i="0">
                <a:solidFill>
                  <a:schemeClr val="accent2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pl-PL"/>
              <a:t>AI Industry Hub | </a:t>
            </a:r>
            <a:r>
              <a:rPr lang="pl-PL">
                <a:solidFill>
                  <a:schemeClr val="tx1"/>
                </a:solidFill>
              </a:rPr>
              <a:t>SAS CI</a:t>
            </a:r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910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E8A82B-C4D1-4A09-9EC8-5D93EACE1C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E8A82B-C4D1-4A09-9EC8-5D93EACE1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Text Placeholder 9">
            <a:extLst>
              <a:ext uri="{FF2B5EF4-FFF2-40B4-BE49-F238E27FC236}">
                <a16:creationId xmlns:a16="http://schemas.microsoft.com/office/drawing/2014/main" id="{07F84233-924F-17DC-8C7F-2B01BAB0267E}"/>
              </a:ext>
            </a:extLst>
          </p:cNvPr>
          <p:cNvSpPr txBox="1">
            <a:spLocks/>
          </p:cNvSpPr>
          <p:nvPr/>
        </p:nvSpPr>
        <p:spPr>
          <a:xfrm>
            <a:off x="1538277" y="8165979"/>
            <a:ext cx="3931064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lping with: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pic>
        <p:nvPicPr>
          <p:cNvPr id="290" name="Graphic 289" descr="Scientific Thought outline">
            <a:extLst>
              <a:ext uri="{FF2B5EF4-FFF2-40B4-BE49-F238E27FC236}">
                <a16:creationId xmlns:a16="http://schemas.microsoft.com/office/drawing/2014/main" id="{A92FE2FC-13DD-475A-F953-02B5245EEF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989" y="9259746"/>
            <a:ext cx="473170" cy="473170"/>
          </a:xfrm>
          <a:prstGeom prst="rect">
            <a:avLst/>
          </a:prstGeom>
        </p:spPr>
      </p:pic>
      <p:pic>
        <p:nvPicPr>
          <p:cNvPr id="292" name="Graphic 291" descr="Coins outline">
            <a:extLst>
              <a:ext uri="{FF2B5EF4-FFF2-40B4-BE49-F238E27FC236}">
                <a16:creationId xmlns:a16="http://schemas.microsoft.com/office/drawing/2014/main" id="{071ED58D-8075-DC35-A51C-0A966E4EEB3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09954" y="8429616"/>
            <a:ext cx="473170" cy="473170"/>
          </a:xfrm>
          <a:prstGeom prst="rect">
            <a:avLst/>
          </a:prstGeom>
        </p:spPr>
      </p:pic>
      <p:grpSp>
        <p:nvGrpSpPr>
          <p:cNvPr id="322" name="Complexit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4B734C9-8C10-BD6D-1466-D4E1DCCD4817}"/>
              </a:ext>
            </a:extLst>
          </p:cNvPr>
          <p:cNvGrpSpPr>
            <a:grpSpLocks noChangeAspect="1"/>
          </p:cNvGrpSpPr>
          <p:nvPr/>
        </p:nvGrpSpPr>
        <p:grpSpPr>
          <a:xfrm>
            <a:off x="1588728" y="9287116"/>
            <a:ext cx="401358" cy="402156"/>
            <a:chOff x="6367463" y="1652588"/>
            <a:chExt cx="796925" cy="798513"/>
          </a:xfrm>
          <a:noFill/>
        </p:grpSpPr>
        <p:sp>
          <p:nvSpPr>
            <p:cNvPr id="323" name="Oval 270">
              <a:extLst>
                <a:ext uri="{FF2B5EF4-FFF2-40B4-BE49-F238E27FC236}">
                  <a16:creationId xmlns:a16="http://schemas.microsoft.com/office/drawing/2014/main" id="{8750AA29-2872-B963-05A6-D70F0D6A37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16573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4" name="Oval 271">
              <a:extLst>
                <a:ext uri="{FF2B5EF4-FFF2-40B4-BE49-F238E27FC236}">
                  <a16:creationId xmlns:a16="http://schemas.microsoft.com/office/drawing/2014/main" id="{5641A773-1700-1DEC-E12E-DD4A5E1ECE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18859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5" name="Oval 272">
              <a:extLst>
                <a:ext uri="{FF2B5EF4-FFF2-40B4-BE49-F238E27FC236}">
                  <a16:creationId xmlns:a16="http://schemas.microsoft.com/office/drawing/2014/main" id="{6A47D83E-017B-A64E-921E-ACF46B8905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21145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6" name="Oval 273">
              <a:extLst>
                <a:ext uri="{FF2B5EF4-FFF2-40B4-BE49-F238E27FC236}">
                  <a16:creationId xmlns:a16="http://schemas.microsoft.com/office/drawing/2014/main" id="{DEFBD32A-9BC6-512F-FD17-5D2B57ECFA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2116138"/>
              <a:ext cx="100013" cy="100013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7" name="Oval 274">
              <a:extLst>
                <a:ext uri="{FF2B5EF4-FFF2-40B4-BE49-F238E27FC236}">
                  <a16:creationId xmlns:a16="http://schemas.microsoft.com/office/drawing/2014/main" id="{66602972-9E17-55D9-4167-11BFE7D0BE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2344738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8" name="Oval 275">
              <a:extLst>
                <a:ext uri="{FF2B5EF4-FFF2-40B4-BE49-F238E27FC236}">
                  <a16:creationId xmlns:a16="http://schemas.microsoft.com/office/drawing/2014/main" id="{EABD3B47-385A-E4AC-4011-553F7897BA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1885951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9" name="Oval 276">
              <a:extLst>
                <a:ext uri="{FF2B5EF4-FFF2-40B4-BE49-F238E27FC236}">
                  <a16:creationId xmlns:a16="http://schemas.microsoft.com/office/drawing/2014/main" id="{8982B920-6253-3859-6E4B-30202BBCA3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18859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0" name="Oval 277">
              <a:extLst>
                <a:ext uri="{FF2B5EF4-FFF2-40B4-BE49-F238E27FC236}">
                  <a16:creationId xmlns:a16="http://schemas.microsoft.com/office/drawing/2014/main" id="{B80FE0E5-451D-E0FD-D09C-72879BA12B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2344738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1" name="Oval 278">
              <a:extLst>
                <a:ext uri="{FF2B5EF4-FFF2-40B4-BE49-F238E27FC236}">
                  <a16:creationId xmlns:a16="http://schemas.microsoft.com/office/drawing/2014/main" id="{1F4155F9-76D6-2D08-C4B2-EA95F3E7CE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1657351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Oval 279">
              <a:extLst>
                <a:ext uri="{FF2B5EF4-FFF2-40B4-BE49-F238E27FC236}">
                  <a16:creationId xmlns:a16="http://schemas.microsoft.com/office/drawing/2014/main" id="{6E4F0129-F63B-E196-B212-AF1CFAA91C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16573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Oval 280">
              <a:extLst>
                <a:ext uri="{FF2B5EF4-FFF2-40B4-BE49-F238E27FC236}">
                  <a16:creationId xmlns:a16="http://schemas.microsoft.com/office/drawing/2014/main" id="{099C5B32-2BA6-7920-0373-B4A137F276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2116138"/>
              <a:ext cx="100013" cy="100013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4" name="Oval 281">
              <a:extLst>
                <a:ext uri="{FF2B5EF4-FFF2-40B4-BE49-F238E27FC236}">
                  <a16:creationId xmlns:a16="http://schemas.microsoft.com/office/drawing/2014/main" id="{0D3C2AFE-C62A-E710-882F-6159EBA0A9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2344738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5" name="Freeform 282">
              <a:extLst>
                <a:ext uri="{FF2B5EF4-FFF2-40B4-BE49-F238E27FC236}">
                  <a16:creationId xmlns:a16="http://schemas.microsoft.com/office/drawing/2014/main" id="{238333B1-AE3E-C787-6296-EC600B925A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1652588"/>
              <a:ext cx="112713" cy="111125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6"/>
                    <a:pt x="17" y="83"/>
                  </a:cubicBezTo>
                  <a:cubicBezTo>
                    <a:pt x="17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8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6" name="Freeform 283">
              <a:extLst>
                <a:ext uri="{FF2B5EF4-FFF2-40B4-BE49-F238E27FC236}">
                  <a16:creationId xmlns:a16="http://schemas.microsoft.com/office/drawing/2014/main" id="{CFC185DC-AF0C-BEB4-5BE0-7D4948CF57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1652588"/>
              <a:ext cx="112713" cy="111125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8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7" name="Freeform 284">
              <a:extLst>
                <a:ext uri="{FF2B5EF4-FFF2-40B4-BE49-F238E27FC236}">
                  <a16:creationId xmlns:a16="http://schemas.microsoft.com/office/drawing/2014/main" id="{F25F9C7C-DDD9-3448-C85D-7A51CA003B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1652588"/>
              <a:ext cx="111125" cy="111125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2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8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" name="Freeform 285">
              <a:extLst>
                <a:ext uri="{FF2B5EF4-FFF2-40B4-BE49-F238E27FC236}">
                  <a16:creationId xmlns:a16="http://schemas.microsoft.com/office/drawing/2014/main" id="{97FA3557-F089-7B05-6F0A-D6FA34477F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18811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6"/>
                    <a:pt x="17" y="83"/>
                  </a:cubicBezTo>
                  <a:cubicBezTo>
                    <a:pt x="17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9" name="Freeform 286">
              <a:extLst>
                <a:ext uri="{FF2B5EF4-FFF2-40B4-BE49-F238E27FC236}">
                  <a16:creationId xmlns:a16="http://schemas.microsoft.com/office/drawing/2014/main" id="{D5CA1230-DFE3-9ED2-DBD0-D8AF595CE9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18811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0" name="Freeform 287">
              <a:extLst>
                <a:ext uri="{FF2B5EF4-FFF2-40B4-BE49-F238E27FC236}">
                  <a16:creationId xmlns:a16="http://schemas.microsoft.com/office/drawing/2014/main" id="{41912A39-5FF7-4BBA-7A07-D2A2A694F4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18811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2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1" name="Freeform 288">
              <a:extLst>
                <a:ext uri="{FF2B5EF4-FFF2-40B4-BE49-F238E27FC236}">
                  <a16:creationId xmlns:a16="http://schemas.microsoft.com/office/drawing/2014/main" id="{DBC9F78C-5169-5CAC-8925-53AE657034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21097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7"/>
                    <a:pt x="17" y="83"/>
                  </a:cubicBezTo>
                  <a:cubicBezTo>
                    <a:pt x="17" y="120"/>
                    <a:pt x="46" y="149"/>
                    <a:pt x="83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2" name="Freeform 289">
              <a:extLst>
                <a:ext uri="{FF2B5EF4-FFF2-40B4-BE49-F238E27FC236}">
                  <a16:creationId xmlns:a16="http://schemas.microsoft.com/office/drawing/2014/main" id="{C0CEF2FC-EFBB-0FB0-F63F-BAA62766A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21097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49"/>
                    <a:pt x="83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3" name="Freeform 290">
              <a:extLst>
                <a:ext uri="{FF2B5EF4-FFF2-40B4-BE49-F238E27FC236}">
                  <a16:creationId xmlns:a16="http://schemas.microsoft.com/office/drawing/2014/main" id="{246F591D-74E8-D293-506D-98B26A4853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21097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49"/>
                    <a:pt x="82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4" name="Freeform 291">
              <a:extLst>
                <a:ext uri="{FF2B5EF4-FFF2-40B4-BE49-F238E27FC236}">
                  <a16:creationId xmlns:a16="http://schemas.microsoft.com/office/drawing/2014/main" id="{8E1A3E17-B212-6627-3429-A0E7707EE4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23383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50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7"/>
                    <a:pt x="17" y="83"/>
                  </a:cubicBezTo>
                  <a:cubicBezTo>
                    <a:pt x="17" y="120"/>
                    <a:pt x="46" y="150"/>
                    <a:pt x="83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29" y="0"/>
                    <a:pt x="166" y="38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5" name="Freeform 292">
              <a:extLst>
                <a:ext uri="{FF2B5EF4-FFF2-40B4-BE49-F238E27FC236}">
                  <a16:creationId xmlns:a16="http://schemas.microsoft.com/office/drawing/2014/main" id="{476FD096-7B07-A81A-D4F2-FDB411ECBC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23383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50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50"/>
                    <a:pt x="83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28" y="0"/>
                    <a:pt x="166" y="38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6" name="Freeform 293">
              <a:extLst>
                <a:ext uri="{FF2B5EF4-FFF2-40B4-BE49-F238E27FC236}">
                  <a16:creationId xmlns:a16="http://schemas.microsoft.com/office/drawing/2014/main" id="{C5138855-CC2E-FAD6-E1C7-DB5A06A093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23383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50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50"/>
                    <a:pt x="82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2" y="0"/>
                  </a:cubicBezTo>
                  <a:cubicBezTo>
                    <a:pt x="128" y="0"/>
                    <a:pt x="165" y="38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7" name="Rectangle 294">
              <a:extLst>
                <a:ext uri="{FF2B5EF4-FFF2-40B4-BE49-F238E27FC236}">
                  <a16:creationId xmlns:a16="http://schemas.microsoft.com/office/drawing/2014/main" id="{228C2AB2-8A51-1D85-1CB3-F60A5153B5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6725" y="2160588"/>
              <a:ext cx="242888" cy="11113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8" name="Rectangle 295">
              <a:extLst>
                <a:ext uri="{FF2B5EF4-FFF2-40B4-BE49-F238E27FC236}">
                  <a16:creationId xmlns:a16="http://schemas.microsoft.com/office/drawing/2014/main" id="{3D4404BC-B98D-F67F-9E56-50E96BC67A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6725" y="1931988"/>
              <a:ext cx="242888" cy="11113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9" name="Freeform 296">
              <a:extLst>
                <a:ext uri="{FF2B5EF4-FFF2-40B4-BE49-F238E27FC236}">
                  <a16:creationId xmlns:a16="http://schemas.microsoft.com/office/drawing/2014/main" id="{739C4033-8B2B-7244-F177-7D5E8E375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125" y="1957388"/>
              <a:ext cx="269875" cy="185738"/>
            </a:xfrm>
            <a:custGeom>
              <a:avLst/>
              <a:gdLst>
                <a:gd name="T0" fmla="*/ 4 w 170"/>
                <a:gd name="T1" fmla="*/ 117 h 117"/>
                <a:gd name="T2" fmla="*/ 0 w 170"/>
                <a:gd name="T3" fmla="*/ 111 h 117"/>
                <a:gd name="T4" fmla="*/ 166 w 170"/>
                <a:gd name="T5" fmla="*/ 0 h 117"/>
                <a:gd name="T6" fmla="*/ 170 w 170"/>
                <a:gd name="T7" fmla="*/ 6 h 117"/>
                <a:gd name="T8" fmla="*/ 4 w 170"/>
                <a:gd name="T9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117">
                  <a:moveTo>
                    <a:pt x="4" y="117"/>
                  </a:moveTo>
                  <a:lnTo>
                    <a:pt x="0" y="111"/>
                  </a:lnTo>
                  <a:lnTo>
                    <a:pt x="166" y="0"/>
                  </a:lnTo>
                  <a:lnTo>
                    <a:pt x="170" y="6"/>
                  </a:lnTo>
                  <a:lnTo>
                    <a:pt x="4" y="117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0" name="Freeform 297">
              <a:extLst>
                <a:ext uri="{FF2B5EF4-FFF2-40B4-BE49-F238E27FC236}">
                  <a16:creationId xmlns:a16="http://schemas.microsoft.com/office/drawing/2014/main" id="{B93FBDB0-3853-0FD6-EF68-64718CC5E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2713" y="1728788"/>
              <a:ext cx="268288" cy="184150"/>
            </a:xfrm>
            <a:custGeom>
              <a:avLst/>
              <a:gdLst>
                <a:gd name="T0" fmla="*/ 4 w 169"/>
                <a:gd name="T1" fmla="*/ 116 h 116"/>
                <a:gd name="T2" fmla="*/ 0 w 169"/>
                <a:gd name="T3" fmla="*/ 110 h 116"/>
                <a:gd name="T4" fmla="*/ 165 w 169"/>
                <a:gd name="T5" fmla="*/ 0 h 116"/>
                <a:gd name="T6" fmla="*/ 169 w 169"/>
                <a:gd name="T7" fmla="*/ 6 h 116"/>
                <a:gd name="T8" fmla="*/ 4 w 169"/>
                <a:gd name="T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116">
                  <a:moveTo>
                    <a:pt x="4" y="116"/>
                  </a:moveTo>
                  <a:lnTo>
                    <a:pt x="0" y="110"/>
                  </a:lnTo>
                  <a:lnTo>
                    <a:pt x="165" y="0"/>
                  </a:lnTo>
                  <a:lnTo>
                    <a:pt x="169" y="6"/>
                  </a:lnTo>
                  <a:lnTo>
                    <a:pt x="4" y="116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1" name="Rectangle 298">
              <a:extLst>
                <a:ext uri="{FF2B5EF4-FFF2-40B4-BE49-F238E27FC236}">
                  <a16:creationId xmlns:a16="http://schemas.microsoft.com/office/drawing/2014/main" id="{0B92437C-17D3-A394-A185-CC25F9103F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3825" y="1701801"/>
              <a:ext cx="242888" cy="12700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2" name="Freeform 299">
              <a:extLst>
                <a:ext uri="{FF2B5EF4-FFF2-40B4-BE49-F238E27FC236}">
                  <a16:creationId xmlns:a16="http://schemas.microsoft.com/office/drawing/2014/main" id="{BAE73AC4-167A-CBBB-5235-55916C1E4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125" y="2189163"/>
              <a:ext cx="266700" cy="182563"/>
            </a:xfrm>
            <a:custGeom>
              <a:avLst/>
              <a:gdLst>
                <a:gd name="T0" fmla="*/ 164 w 168"/>
                <a:gd name="T1" fmla="*/ 115 h 115"/>
                <a:gd name="T2" fmla="*/ 0 w 168"/>
                <a:gd name="T3" fmla="*/ 6 h 115"/>
                <a:gd name="T4" fmla="*/ 4 w 168"/>
                <a:gd name="T5" fmla="*/ 0 h 115"/>
                <a:gd name="T6" fmla="*/ 168 w 168"/>
                <a:gd name="T7" fmla="*/ 109 h 115"/>
                <a:gd name="T8" fmla="*/ 164 w 168"/>
                <a:gd name="T9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115">
                  <a:moveTo>
                    <a:pt x="164" y="115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168" y="109"/>
                  </a:lnTo>
                  <a:lnTo>
                    <a:pt x="164" y="115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3" name="Rectangle 300">
              <a:extLst>
                <a:ext uri="{FF2B5EF4-FFF2-40B4-BE49-F238E27FC236}">
                  <a16:creationId xmlns:a16="http://schemas.microsoft.com/office/drawing/2014/main" id="{0FCB488A-D2D1-1AC4-CB34-053B485385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4063" y="2216151"/>
              <a:ext cx="11113" cy="128588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4" name="Rectangle 301">
              <a:extLst>
                <a:ext uri="{FF2B5EF4-FFF2-40B4-BE49-F238E27FC236}">
                  <a16:creationId xmlns:a16="http://schemas.microsoft.com/office/drawing/2014/main" id="{B92F33E3-309E-BBE9-4D18-7380D66378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4063" y="1758951"/>
              <a:ext cx="11113" cy="127000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55" name="Text Placeholder 9">
            <a:extLst>
              <a:ext uri="{FF2B5EF4-FFF2-40B4-BE49-F238E27FC236}">
                <a16:creationId xmlns:a16="http://schemas.microsoft.com/office/drawing/2014/main" id="{520DE371-5AF1-F8FF-8707-45EE4454FB90}"/>
              </a:ext>
            </a:extLst>
          </p:cNvPr>
          <p:cNvSpPr txBox="1">
            <a:spLocks/>
          </p:cNvSpPr>
          <p:nvPr/>
        </p:nvSpPr>
        <p:spPr>
          <a:xfrm>
            <a:off x="2221804" y="8595030"/>
            <a:ext cx="1595631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en AI scaling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6" name="Text Placeholder 9">
            <a:extLst>
              <a:ext uri="{FF2B5EF4-FFF2-40B4-BE49-F238E27FC236}">
                <a16:creationId xmlns:a16="http://schemas.microsoft.com/office/drawing/2014/main" id="{45893D60-F6F4-C53C-3A02-E32909DD2E69}"/>
              </a:ext>
            </a:extLst>
          </p:cNvPr>
          <p:cNvSpPr txBox="1">
            <a:spLocks/>
          </p:cNvSpPr>
          <p:nvPr/>
        </p:nvSpPr>
        <p:spPr>
          <a:xfrm>
            <a:off x="4422458" y="8579240"/>
            <a:ext cx="2074602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monetizatio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7" name="Text Placeholder 9">
            <a:extLst>
              <a:ext uri="{FF2B5EF4-FFF2-40B4-BE49-F238E27FC236}">
                <a16:creationId xmlns:a16="http://schemas.microsoft.com/office/drawing/2014/main" id="{E15DB0F8-FBE2-D8CC-A4FB-F6A6E1AAAE0A}"/>
              </a:ext>
            </a:extLst>
          </p:cNvPr>
          <p:cNvSpPr txBox="1">
            <a:spLocks/>
          </p:cNvSpPr>
          <p:nvPr/>
        </p:nvSpPr>
        <p:spPr>
          <a:xfrm>
            <a:off x="2236406" y="9343656"/>
            <a:ext cx="1404274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led modelling</a:t>
            </a:r>
            <a:b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&amp; transformatio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8" name="Text Placeholder 9">
            <a:extLst>
              <a:ext uri="{FF2B5EF4-FFF2-40B4-BE49-F238E27FC236}">
                <a16:creationId xmlns:a16="http://schemas.microsoft.com/office/drawing/2014/main" id="{DDA5DDE7-3083-CDF4-FE22-D3B32B014AAD}"/>
              </a:ext>
            </a:extLst>
          </p:cNvPr>
          <p:cNvSpPr txBox="1">
            <a:spLocks/>
          </p:cNvSpPr>
          <p:nvPr/>
        </p:nvSpPr>
        <p:spPr>
          <a:xfrm>
            <a:off x="4399723" y="9257088"/>
            <a:ext cx="2182529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science</a:t>
            </a:r>
            <a:b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&amp; MLOp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0B02FCB-7E30-92CF-CD77-808E9C6C0E12}"/>
              </a:ext>
            </a:extLst>
          </p:cNvPr>
          <p:cNvGrpSpPr>
            <a:grpSpLocks noChangeAspect="1"/>
          </p:cNvGrpSpPr>
          <p:nvPr/>
        </p:nvGrpSpPr>
        <p:grpSpPr>
          <a:xfrm>
            <a:off x="1581445" y="8466448"/>
            <a:ext cx="537346" cy="548260"/>
            <a:chOff x="10258820" y="2140818"/>
            <a:chExt cx="366798" cy="374248"/>
          </a:xfrm>
        </p:grpSpPr>
        <p:pic>
          <p:nvPicPr>
            <p:cNvPr id="5" name="Picture 15">
              <a:extLst>
                <a:ext uri="{FF2B5EF4-FFF2-40B4-BE49-F238E27FC236}">
                  <a16:creationId xmlns:a16="http://schemas.microsoft.com/office/drawing/2014/main" id="{BEC42C73-505A-B9B3-F678-B09427999B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58820" y="2140818"/>
              <a:ext cx="307574" cy="3075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99E2FCC-DFCD-B7CA-664F-15A9FC9E47F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475107" y="2362873"/>
              <a:ext cx="150511" cy="152193"/>
              <a:chOff x="3482" y="1979"/>
              <a:chExt cx="358" cy="362"/>
            </a:xfrm>
          </p:grpSpPr>
          <p:sp>
            <p:nvSpPr>
              <p:cNvPr id="30" name="AutoShape 3">
                <a:extLst>
                  <a:ext uri="{FF2B5EF4-FFF2-40B4-BE49-F238E27FC236}">
                    <a16:creationId xmlns:a16="http://schemas.microsoft.com/office/drawing/2014/main" id="{56D7674C-01B8-FA42-FD21-27A27CC19321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3482" y="1979"/>
                <a:ext cx="358" cy="3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2" name="Freeform 5">
                <a:extLst>
                  <a:ext uri="{FF2B5EF4-FFF2-40B4-BE49-F238E27FC236}">
                    <a16:creationId xmlns:a16="http://schemas.microsoft.com/office/drawing/2014/main" id="{02BDD43F-1A64-F293-2644-D1EA3A98C6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46" y="2045"/>
                <a:ext cx="230" cy="229"/>
              </a:xfrm>
              <a:custGeom>
                <a:avLst/>
                <a:gdLst>
                  <a:gd name="T0" fmla="*/ 174 w 192"/>
                  <a:gd name="T1" fmla="*/ 192 h 192"/>
                  <a:gd name="T2" fmla="*/ 18 w 192"/>
                  <a:gd name="T3" fmla="*/ 192 h 192"/>
                  <a:gd name="T4" fmla="*/ 0 w 192"/>
                  <a:gd name="T5" fmla="*/ 174 h 192"/>
                  <a:gd name="T6" fmla="*/ 0 w 192"/>
                  <a:gd name="T7" fmla="*/ 18 h 192"/>
                  <a:gd name="T8" fmla="*/ 18 w 192"/>
                  <a:gd name="T9" fmla="*/ 0 h 192"/>
                  <a:gd name="T10" fmla="*/ 174 w 192"/>
                  <a:gd name="T11" fmla="*/ 0 h 192"/>
                  <a:gd name="T12" fmla="*/ 192 w 192"/>
                  <a:gd name="T13" fmla="*/ 18 h 192"/>
                  <a:gd name="T14" fmla="*/ 192 w 192"/>
                  <a:gd name="T15" fmla="*/ 174 h 192"/>
                  <a:gd name="T16" fmla="*/ 174 w 192"/>
                  <a:gd name="T17" fmla="*/ 192 h 192"/>
                  <a:gd name="T18" fmla="*/ 18 w 192"/>
                  <a:gd name="T19" fmla="*/ 12 h 192"/>
                  <a:gd name="T20" fmla="*/ 12 w 192"/>
                  <a:gd name="T21" fmla="*/ 18 h 192"/>
                  <a:gd name="T22" fmla="*/ 12 w 192"/>
                  <a:gd name="T23" fmla="*/ 174 h 192"/>
                  <a:gd name="T24" fmla="*/ 18 w 192"/>
                  <a:gd name="T25" fmla="*/ 180 h 192"/>
                  <a:gd name="T26" fmla="*/ 174 w 192"/>
                  <a:gd name="T27" fmla="*/ 180 h 192"/>
                  <a:gd name="T28" fmla="*/ 180 w 192"/>
                  <a:gd name="T29" fmla="*/ 174 h 192"/>
                  <a:gd name="T30" fmla="*/ 180 w 192"/>
                  <a:gd name="T31" fmla="*/ 18 h 192"/>
                  <a:gd name="T32" fmla="*/ 174 w 192"/>
                  <a:gd name="T33" fmla="*/ 12 h 192"/>
                  <a:gd name="T34" fmla="*/ 18 w 192"/>
                  <a:gd name="T35" fmla="*/ 1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2" h="192">
                    <a:moveTo>
                      <a:pt x="174" y="192"/>
                    </a:moveTo>
                    <a:cubicBezTo>
                      <a:pt x="18" y="192"/>
                      <a:pt x="18" y="192"/>
                      <a:pt x="18" y="192"/>
                    </a:cubicBezTo>
                    <a:cubicBezTo>
                      <a:pt x="8" y="192"/>
                      <a:pt x="0" y="184"/>
                      <a:pt x="0" y="17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9"/>
                      <a:pt x="8" y="0"/>
                      <a:pt x="18" y="0"/>
                    </a:cubicBezTo>
                    <a:cubicBezTo>
                      <a:pt x="174" y="0"/>
                      <a:pt x="174" y="0"/>
                      <a:pt x="174" y="0"/>
                    </a:cubicBezTo>
                    <a:cubicBezTo>
                      <a:pt x="184" y="0"/>
                      <a:pt x="192" y="9"/>
                      <a:pt x="192" y="18"/>
                    </a:cubicBezTo>
                    <a:cubicBezTo>
                      <a:pt x="192" y="174"/>
                      <a:pt x="192" y="174"/>
                      <a:pt x="192" y="174"/>
                    </a:cubicBezTo>
                    <a:cubicBezTo>
                      <a:pt x="192" y="184"/>
                      <a:pt x="184" y="192"/>
                      <a:pt x="174" y="192"/>
                    </a:cubicBezTo>
                    <a:close/>
                    <a:moveTo>
                      <a:pt x="18" y="12"/>
                    </a:moveTo>
                    <a:cubicBezTo>
                      <a:pt x="14" y="12"/>
                      <a:pt x="12" y="15"/>
                      <a:pt x="12" y="18"/>
                    </a:cubicBezTo>
                    <a:cubicBezTo>
                      <a:pt x="12" y="174"/>
                      <a:pt x="12" y="174"/>
                      <a:pt x="12" y="174"/>
                    </a:cubicBezTo>
                    <a:cubicBezTo>
                      <a:pt x="12" y="178"/>
                      <a:pt x="14" y="180"/>
                      <a:pt x="18" y="180"/>
                    </a:cubicBezTo>
                    <a:cubicBezTo>
                      <a:pt x="174" y="180"/>
                      <a:pt x="174" y="180"/>
                      <a:pt x="174" y="180"/>
                    </a:cubicBezTo>
                    <a:cubicBezTo>
                      <a:pt x="177" y="180"/>
                      <a:pt x="180" y="178"/>
                      <a:pt x="180" y="174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80" y="15"/>
                      <a:pt x="177" y="12"/>
                      <a:pt x="174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3" name="Freeform 6">
                <a:extLst>
                  <a:ext uri="{FF2B5EF4-FFF2-40B4-BE49-F238E27FC236}">
                    <a16:creationId xmlns:a16="http://schemas.microsoft.com/office/drawing/2014/main" id="{5ACA7CCF-D8E5-F461-D897-8F8B1ACCDE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7" y="1987"/>
                <a:ext cx="14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4" name="Freeform 7">
                <a:extLst>
                  <a:ext uri="{FF2B5EF4-FFF2-40B4-BE49-F238E27FC236}">
                    <a16:creationId xmlns:a16="http://schemas.microsoft.com/office/drawing/2014/main" id="{DA7FCD83-1A31-2783-B006-E94B12E175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9" y="1987"/>
                <a:ext cx="15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C564A4A5-7BA5-3E2B-9C9B-B196458058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8" y="1987"/>
                <a:ext cx="15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232F9287-6B2F-2BBA-A60E-C6DB0F1D6F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159"/>
                <a:ext cx="72" cy="15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5C3C1E82-6E1A-7E80-11DE-E803700622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217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93A8DE0F-276E-0F23-BEE5-DA1BB47F55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088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BF9FC08A-B4B5-8F36-AC96-F028036F72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1" y="2260"/>
                <a:ext cx="14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CC31D09A-932E-9099-C77A-DED0AF0B49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8" y="2260"/>
                <a:ext cx="15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EC5637C0-6F96-F43C-8F96-879339D29B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9" y="2260"/>
                <a:ext cx="15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385621BC-3E7A-7EF0-37C2-CC410CF25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145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EE7A0448-B2D9-EEC4-33CA-08B824B7F4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088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4" name="Freeform 17">
                <a:extLst>
                  <a:ext uri="{FF2B5EF4-FFF2-40B4-BE49-F238E27FC236}">
                    <a16:creationId xmlns:a16="http://schemas.microsoft.com/office/drawing/2014/main" id="{4B0AF812-181D-6EA3-35F4-C78C79B6F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217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5" name="Freeform 18">
                <a:extLst>
                  <a:ext uri="{FF2B5EF4-FFF2-40B4-BE49-F238E27FC236}">
                    <a16:creationId xmlns:a16="http://schemas.microsoft.com/office/drawing/2014/main" id="{45E430B0-9863-78C2-5C35-BB65D0C9FE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5" y="2073"/>
                <a:ext cx="172" cy="172"/>
              </a:xfrm>
              <a:custGeom>
                <a:avLst/>
                <a:gdLst>
                  <a:gd name="T0" fmla="*/ 114 w 144"/>
                  <a:gd name="T1" fmla="*/ 144 h 144"/>
                  <a:gd name="T2" fmla="*/ 30 w 144"/>
                  <a:gd name="T3" fmla="*/ 144 h 144"/>
                  <a:gd name="T4" fmla="*/ 0 w 144"/>
                  <a:gd name="T5" fmla="*/ 114 h 144"/>
                  <a:gd name="T6" fmla="*/ 0 w 144"/>
                  <a:gd name="T7" fmla="*/ 30 h 144"/>
                  <a:gd name="T8" fmla="*/ 30 w 144"/>
                  <a:gd name="T9" fmla="*/ 0 h 144"/>
                  <a:gd name="T10" fmla="*/ 114 w 144"/>
                  <a:gd name="T11" fmla="*/ 0 h 144"/>
                  <a:gd name="T12" fmla="*/ 144 w 144"/>
                  <a:gd name="T13" fmla="*/ 30 h 144"/>
                  <a:gd name="T14" fmla="*/ 144 w 144"/>
                  <a:gd name="T15" fmla="*/ 114 h 144"/>
                  <a:gd name="T16" fmla="*/ 114 w 144"/>
                  <a:gd name="T17" fmla="*/ 144 h 144"/>
                  <a:gd name="T18" fmla="*/ 30 w 144"/>
                  <a:gd name="T19" fmla="*/ 12 h 144"/>
                  <a:gd name="T20" fmla="*/ 12 w 144"/>
                  <a:gd name="T21" fmla="*/ 30 h 144"/>
                  <a:gd name="T22" fmla="*/ 12 w 144"/>
                  <a:gd name="T23" fmla="*/ 114 h 144"/>
                  <a:gd name="T24" fmla="*/ 30 w 144"/>
                  <a:gd name="T25" fmla="*/ 132 h 144"/>
                  <a:gd name="T26" fmla="*/ 114 w 144"/>
                  <a:gd name="T27" fmla="*/ 132 h 144"/>
                  <a:gd name="T28" fmla="*/ 132 w 144"/>
                  <a:gd name="T29" fmla="*/ 114 h 144"/>
                  <a:gd name="T30" fmla="*/ 132 w 144"/>
                  <a:gd name="T31" fmla="*/ 30 h 144"/>
                  <a:gd name="T32" fmla="*/ 114 w 144"/>
                  <a:gd name="T33" fmla="*/ 12 h 144"/>
                  <a:gd name="T34" fmla="*/ 30 w 144"/>
                  <a:gd name="T35" fmla="*/ 1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144">
                    <a:moveTo>
                      <a:pt x="114" y="144"/>
                    </a:moveTo>
                    <a:cubicBezTo>
                      <a:pt x="30" y="144"/>
                      <a:pt x="30" y="144"/>
                      <a:pt x="30" y="144"/>
                    </a:cubicBezTo>
                    <a:cubicBezTo>
                      <a:pt x="13" y="144"/>
                      <a:pt x="0" y="131"/>
                      <a:pt x="0" y="114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14"/>
                      <a:pt x="13" y="0"/>
                      <a:pt x="30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130" y="0"/>
                      <a:pt x="144" y="14"/>
                      <a:pt x="144" y="30"/>
                    </a:cubicBezTo>
                    <a:cubicBezTo>
                      <a:pt x="144" y="114"/>
                      <a:pt x="144" y="114"/>
                      <a:pt x="144" y="114"/>
                    </a:cubicBezTo>
                    <a:cubicBezTo>
                      <a:pt x="144" y="131"/>
                      <a:pt x="130" y="144"/>
                      <a:pt x="114" y="144"/>
                    </a:cubicBezTo>
                    <a:close/>
                    <a:moveTo>
                      <a:pt x="30" y="12"/>
                    </a:moveTo>
                    <a:cubicBezTo>
                      <a:pt x="20" y="12"/>
                      <a:pt x="12" y="21"/>
                      <a:pt x="12" y="30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2" y="124"/>
                      <a:pt x="20" y="132"/>
                      <a:pt x="30" y="132"/>
                    </a:cubicBezTo>
                    <a:cubicBezTo>
                      <a:pt x="114" y="132"/>
                      <a:pt x="114" y="132"/>
                      <a:pt x="114" y="132"/>
                    </a:cubicBezTo>
                    <a:cubicBezTo>
                      <a:pt x="124" y="132"/>
                      <a:pt x="132" y="124"/>
                      <a:pt x="132" y="114"/>
                    </a:cubicBezTo>
                    <a:cubicBezTo>
                      <a:pt x="132" y="30"/>
                      <a:pt x="132" y="30"/>
                      <a:pt x="132" y="30"/>
                    </a:cubicBezTo>
                    <a:cubicBezTo>
                      <a:pt x="132" y="21"/>
                      <a:pt x="124" y="12"/>
                      <a:pt x="114" y="12"/>
                    </a:cubicBez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</p:grpSp>
      </p:grpSp>
      <p:sp>
        <p:nvSpPr>
          <p:cNvPr id="223" name="Title 1">
            <a:extLst>
              <a:ext uri="{FF2B5EF4-FFF2-40B4-BE49-F238E27FC236}">
                <a16:creationId xmlns:a16="http://schemas.microsoft.com/office/drawing/2014/main" id="{D59545F7-0203-C7F3-1C53-BE4FF3E604E7}"/>
              </a:ext>
            </a:extLst>
          </p:cNvPr>
          <p:cNvSpPr txBox="1">
            <a:spLocks/>
          </p:cNvSpPr>
          <p:nvPr/>
        </p:nvSpPr>
        <p:spPr>
          <a:xfrm>
            <a:off x="338546" y="207092"/>
            <a:ext cx="11641970" cy="77613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inden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79600" algn="l"/>
              </a:tabLst>
              <a:defRPr sz="3600" b="1" i="0">
                <a:solidFill>
                  <a:schemeClr val="accent2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pl-PL"/>
              <a:t>AI Industry Hub | </a:t>
            </a:r>
            <a:r>
              <a:rPr lang="pl-PL">
                <a:solidFill>
                  <a:schemeClr val="tx1"/>
                </a:solidFill>
              </a:rPr>
              <a:t>Hyper-personalization</a:t>
            </a:r>
            <a:endParaRPr lang="en-GB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477C2BD-7B4E-FC44-439B-073177D7AB7E}"/>
              </a:ext>
            </a:extLst>
          </p:cNvPr>
          <p:cNvSpPr/>
          <p:nvPr/>
        </p:nvSpPr>
        <p:spPr>
          <a:xfrm>
            <a:off x="381000" y="4133214"/>
            <a:ext cx="1479331" cy="9354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ctr"/>
            <a:r>
              <a:rPr lang="pl-PL"/>
              <a:t>Foundation</a:t>
            </a:r>
            <a:endParaRPr lang="en-US" err="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F8B50DE-4F9B-293A-6613-0734D91D45E1}"/>
              </a:ext>
            </a:extLst>
          </p:cNvPr>
          <p:cNvSpPr/>
          <p:nvPr/>
        </p:nvSpPr>
        <p:spPr>
          <a:xfrm>
            <a:off x="381000" y="2613792"/>
            <a:ext cx="1479331" cy="129532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ctr"/>
            <a:r>
              <a:rPr lang="pl-PL"/>
              <a:t>Tools</a:t>
            </a:r>
            <a:endParaRPr lang="en-US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47CC879-919F-14AD-E012-1B690BCC2068}"/>
              </a:ext>
            </a:extLst>
          </p:cNvPr>
          <p:cNvSpPr/>
          <p:nvPr/>
        </p:nvSpPr>
        <p:spPr>
          <a:xfrm>
            <a:off x="381000" y="1224374"/>
            <a:ext cx="1479331" cy="12388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ctr"/>
            <a:r>
              <a:rPr lang="pl-PL"/>
              <a:t>Operations</a:t>
            </a:r>
            <a:endParaRPr lang="en-US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D7BCE9-C507-6CF2-65FA-957198BE0530}"/>
              </a:ext>
            </a:extLst>
          </p:cNvPr>
          <p:cNvSpPr/>
          <p:nvPr/>
        </p:nvSpPr>
        <p:spPr>
          <a:xfrm>
            <a:off x="1996966" y="2613792"/>
            <a:ext cx="3276000" cy="468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pl-PL" sz="1400"/>
              <a:t>Marketing Automation </a:t>
            </a:r>
            <a:r>
              <a:rPr lang="pl-PL" sz="1400" err="1"/>
              <a:t>systems</a:t>
            </a:r>
            <a:r>
              <a:rPr lang="pl-PL" sz="1400"/>
              <a:t> </a:t>
            </a:r>
            <a:r>
              <a:rPr lang="pl-PL" sz="1400" err="1"/>
              <a:t>implementation</a:t>
            </a:r>
            <a:r>
              <a:rPr lang="pl-PL" sz="1400"/>
              <a:t> </a:t>
            </a:r>
            <a:endParaRPr lang="en-US" sz="1400" err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79D26D6-3EA2-1F69-3297-328156904CC5}"/>
              </a:ext>
            </a:extLst>
          </p:cNvPr>
          <p:cNvSpPr/>
          <p:nvPr/>
        </p:nvSpPr>
        <p:spPr>
          <a:xfrm>
            <a:off x="5330359" y="2613792"/>
            <a:ext cx="3276000" cy="468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pl-PL" sz="1400" err="1"/>
              <a:t>Analytical</a:t>
            </a:r>
            <a:r>
              <a:rPr lang="pl-PL" sz="1400"/>
              <a:t> environment setup</a:t>
            </a:r>
            <a:endParaRPr lang="en-US" sz="140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457F280-F0F0-8466-5B16-26F9426AA9DE}"/>
              </a:ext>
            </a:extLst>
          </p:cNvPr>
          <p:cNvSpPr/>
          <p:nvPr/>
        </p:nvSpPr>
        <p:spPr>
          <a:xfrm>
            <a:off x="7043684" y="1224373"/>
            <a:ext cx="2232000" cy="46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pl-PL" sz="1400"/>
              <a:t>CJ management</a:t>
            </a:r>
            <a:endParaRPr lang="en-US" sz="1400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CCD09C1-BF04-DA0E-316D-2CFEECD976C5}"/>
              </a:ext>
            </a:extLst>
          </p:cNvPr>
          <p:cNvSpPr/>
          <p:nvPr/>
        </p:nvSpPr>
        <p:spPr>
          <a:xfrm>
            <a:off x="4520325" y="1224373"/>
            <a:ext cx="2232000" cy="46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pl-PL" sz="1400" err="1"/>
              <a:t>Campaigns</a:t>
            </a:r>
            <a:r>
              <a:rPr lang="pl-PL" sz="1400"/>
              <a:t> </a:t>
            </a:r>
            <a:r>
              <a:rPr lang="pl-PL" sz="1400" err="1"/>
              <a:t>operationalization</a:t>
            </a:r>
            <a:endParaRPr lang="en-US" sz="140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AEDC3F3-D298-E34D-5E7B-1D1EC46CC99E}"/>
              </a:ext>
            </a:extLst>
          </p:cNvPr>
          <p:cNvSpPr/>
          <p:nvPr/>
        </p:nvSpPr>
        <p:spPr>
          <a:xfrm>
            <a:off x="1996966" y="1224373"/>
            <a:ext cx="2232000" cy="46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pl-PL" sz="1400" err="1"/>
              <a:t>Propensity</a:t>
            </a:r>
            <a:r>
              <a:rPr lang="pl-PL" sz="1400"/>
              <a:t> modeling </a:t>
            </a:r>
            <a:endParaRPr lang="en-US" sz="140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5839A3-248F-CE54-D215-2A50F84A582A}"/>
              </a:ext>
            </a:extLst>
          </p:cNvPr>
          <p:cNvSpPr/>
          <p:nvPr/>
        </p:nvSpPr>
        <p:spPr>
          <a:xfrm>
            <a:off x="1996966" y="4133213"/>
            <a:ext cx="9942786" cy="2973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pl-PL" sz="1600"/>
              <a:t>Marketing Data Architectur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5A36451-D96B-0375-3B97-471BA11DAE58}"/>
              </a:ext>
            </a:extLst>
          </p:cNvPr>
          <p:cNvSpPr/>
          <p:nvPr/>
        </p:nvSpPr>
        <p:spPr>
          <a:xfrm>
            <a:off x="9567043" y="1224373"/>
            <a:ext cx="2232000" cy="46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pl-PL" sz="1400"/>
              <a:t>Campaign </a:t>
            </a:r>
            <a:r>
              <a:rPr lang="pl-PL" sz="1400" err="1"/>
              <a:t>analytics</a:t>
            </a:r>
            <a:r>
              <a:rPr lang="pl-PL" sz="1400"/>
              <a:t> and </a:t>
            </a:r>
            <a:r>
              <a:rPr lang="pl-PL" sz="1400" err="1"/>
              <a:t>measurement</a:t>
            </a:r>
            <a:endParaRPr lang="en-US" sz="1400" err="1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839EEE4-6200-E874-E58B-D96E5FB49404}"/>
              </a:ext>
            </a:extLst>
          </p:cNvPr>
          <p:cNvCxnSpPr/>
          <p:nvPr/>
        </p:nvCxnSpPr>
        <p:spPr>
          <a:xfrm>
            <a:off x="0" y="5341377"/>
            <a:ext cx="12192000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B77F55FE-17D0-E762-F1E3-A8631CB35DD1}"/>
              </a:ext>
            </a:extLst>
          </p:cNvPr>
          <p:cNvSpPr txBox="1"/>
          <p:nvPr/>
        </p:nvSpPr>
        <p:spPr>
          <a:xfrm>
            <a:off x="73573" y="5370881"/>
            <a:ext cx="1374229" cy="2852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228600">
              <a:spcAft>
                <a:spcPts val="1200"/>
              </a:spcAft>
            </a:pPr>
            <a:r>
              <a:rPr lang="pl-PL" noProof="0">
                <a:solidFill>
                  <a:schemeClr val="tx2"/>
                </a:solidFill>
              </a:rPr>
              <a:t>Tech </a:t>
            </a:r>
            <a:r>
              <a:rPr lang="pl-PL" noProof="0" err="1">
                <a:solidFill>
                  <a:schemeClr val="tx2"/>
                </a:solidFill>
              </a:rPr>
              <a:t>stack</a:t>
            </a:r>
            <a:r>
              <a:rPr lang="pl-PL" noProof="0">
                <a:solidFill>
                  <a:schemeClr val="tx2"/>
                </a:solidFill>
              </a:rPr>
              <a:t>:</a:t>
            </a:r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588F45A-F417-11BA-AAFD-5A11069727BC}"/>
              </a:ext>
            </a:extLst>
          </p:cNvPr>
          <p:cNvSpPr/>
          <p:nvPr/>
        </p:nvSpPr>
        <p:spPr>
          <a:xfrm>
            <a:off x="8663752" y="2613792"/>
            <a:ext cx="3276000" cy="468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pl-PL" sz="1400" err="1"/>
              <a:t>Decisioning</a:t>
            </a:r>
            <a:r>
              <a:rPr lang="pl-PL" sz="1400"/>
              <a:t> </a:t>
            </a:r>
            <a:r>
              <a:rPr lang="pl-PL" sz="1400" err="1"/>
              <a:t>engines</a:t>
            </a:r>
            <a:r>
              <a:rPr lang="pl-PL" sz="1400"/>
              <a:t> design and </a:t>
            </a:r>
            <a:r>
              <a:rPr lang="pl-PL" sz="1400" err="1"/>
              <a:t>implementation</a:t>
            </a:r>
            <a:endParaRPr lang="en-US" sz="1400" err="1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B7E249A-7FDA-6623-0963-B5ADFC04B387}"/>
              </a:ext>
            </a:extLst>
          </p:cNvPr>
          <p:cNvSpPr txBox="1"/>
          <p:nvPr/>
        </p:nvSpPr>
        <p:spPr>
          <a:xfrm>
            <a:off x="1996893" y="4421830"/>
            <a:ext cx="9942785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l-PL" sz="1200"/>
              <a:t>Reference data </a:t>
            </a:r>
            <a:r>
              <a:rPr lang="pl-PL" sz="1200" err="1"/>
              <a:t>models</a:t>
            </a:r>
            <a:r>
              <a:rPr lang="pl-PL" sz="1200"/>
              <a:t>: </a:t>
            </a:r>
            <a:r>
              <a:rPr lang="pl-PL" sz="1200" err="1"/>
              <a:t>customer</a:t>
            </a:r>
            <a:r>
              <a:rPr lang="pl-PL" sz="1200"/>
              <a:t> 360 </a:t>
            </a:r>
            <a:r>
              <a:rPr lang="pl-PL" sz="1200" err="1"/>
              <a:t>view</a:t>
            </a:r>
            <a:r>
              <a:rPr lang="pl-PL" sz="1200"/>
              <a:t>, </a:t>
            </a:r>
            <a:r>
              <a:rPr lang="pl-PL" sz="1200" err="1"/>
              <a:t>Journey</a:t>
            </a:r>
            <a:r>
              <a:rPr lang="pl-PL" sz="1200"/>
              <a:t> </a:t>
            </a:r>
            <a:r>
              <a:rPr lang="pl-PL" sz="1200" err="1"/>
              <a:t>Analytical</a:t>
            </a:r>
            <a:r>
              <a:rPr lang="pl-PL" sz="1200"/>
              <a:t> </a:t>
            </a:r>
            <a:r>
              <a:rPr lang="pl-PL" sz="1200" err="1"/>
              <a:t>Record</a:t>
            </a:r>
            <a:r>
              <a:rPr lang="pl-PL" sz="1200"/>
              <a:t>, </a:t>
            </a:r>
            <a:r>
              <a:rPr lang="pl-PL" sz="1200" err="1"/>
              <a:t>Interaction</a:t>
            </a:r>
            <a:r>
              <a:rPr lang="pl-PL" sz="1200"/>
              <a:t> </a:t>
            </a:r>
            <a:r>
              <a:rPr lang="pl-PL" sz="1200" err="1"/>
              <a:t>history</a:t>
            </a:r>
            <a:r>
              <a:rPr lang="pl-PL" sz="1200"/>
              <a:t> </a:t>
            </a:r>
            <a:r>
              <a:rPr lang="pl-PL" sz="1200" err="1"/>
              <a:t>repository</a:t>
            </a:r>
            <a:endParaRPr lang="pl-PL" sz="1200"/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l-PL" sz="1200"/>
              <a:t>Real Time and </a:t>
            </a:r>
            <a:r>
              <a:rPr lang="pl-PL" sz="1200" err="1"/>
              <a:t>batch</a:t>
            </a:r>
            <a:r>
              <a:rPr lang="pl-PL" sz="1200"/>
              <a:t> </a:t>
            </a:r>
            <a:r>
              <a:rPr lang="pl-PL" sz="1200" err="1"/>
              <a:t>integrations</a:t>
            </a:r>
            <a:r>
              <a:rPr lang="pl-PL" sz="1200"/>
              <a:t>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l-PL" sz="1200"/>
              <a:t>Data streaming </a:t>
            </a:r>
            <a:endParaRPr lang="en-US" sz="1200" err="1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705A5DD-F5C7-2325-1E20-A8DE74FED3D4}"/>
              </a:ext>
            </a:extLst>
          </p:cNvPr>
          <p:cNvSpPr txBox="1"/>
          <p:nvPr/>
        </p:nvSpPr>
        <p:spPr>
          <a:xfrm>
            <a:off x="1996966" y="3084924"/>
            <a:ext cx="3276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200"/>
              <a:t>Solution </a:t>
            </a:r>
            <a:r>
              <a:rPr lang="pl-PL" sz="1200" err="1"/>
              <a:t>architecture</a:t>
            </a:r>
            <a:r>
              <a:rPr lang="pl-PL" sz="120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200"/>
              <a:t>RT and </a:t>
            </a:r>
            <a:r>
              <a:rPr lang="pl-PL" sz="1200" err="1"/>
              <a:t>batch</a:t>
            </a:r>
            <a:r>
              <a:rPr lang="pl-PL" sz="1200"/>
              <a:t> </a:t>
            </a:r>
            <a:r>
              <a:rPr lang="pl-PL" sz="1200" err="1"/>
              <a:t>integrations</a:t>
            </a:r>
            <a:r>
              <a:rPr lang="pl-PL" sz="1200"/>
              <a:t> with </a:t>
            </a:r>
            <a:r>
              <a:rPr lang="pl-PL" sz="1200" err="1"/>
              <a:t>contact</a:t>
            </a:r>
            <a:r>
              <a:rPr lang="pl-PL" sz="1200"/>
              <a:t> </a:t>
            </a:r>
            <a:r>
              <a:rPr lang="pl-PL" sz="1200" err="1"/>
              <a:t>channels</a:t>
            </a:r>
            <a:r>
              <a:rPr lang="pl-PL" sz="120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200"/>
              <a:t>MA </a:t>
            </a:r>
            <a:r>
              <a:rPr lang="pl-PL" sz="1200" err="1"/>
              <a:t>tools</a:t>
            </a:r>
            <a:r>
              <a:rPr lang="pl-PL" sz="1200"/>
              <a:t> </a:t>
            </a:r>
            <a:r>
              <a:rPr lang="pl-PL" sz="1200" err="1"/>
              <a:t>configuration</a:t>
            </a:r>
            <a:r>
              <a:rPr lang="pl-PL" sz="1200"/>
              <a:t>)</a:t>
            </a:r>
            <a:endParaRPr lang="en-US" sz="1200"/>
          </a:p>
        </p:txBody>
      </p:sp>
      <p:grpSp>
        <p:nvGrpSpPr>
          <p:cNvPr id="19" name="Group 55">
            <a:extLst>
              <a:ext uri="{FF2B5EF4-FFF2-40B4-BE49-F238E27FC236}">
                <a16:creationId xmlns:a16="http://schemas.microsoft.com/office/drawing/2014/main" id="{FCBE998F-D1EA-C510-51E6-42CA96364AA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91016" y="4620664"/>
            <a:ext cx="459297" cy="325605"/>
            <a:chOff x="6539" y="507"/>
            <a:chExt cx="426" cy="302"/>
          </a:xfrm>
          <a:solidFill>
            <a:srgbClr val="FFFFFF"/>
          </a:solidFill>
        </p:grpSpPr>
        <p:sp>
          <p:nvSpPr>
            <p:cNvPr id="20" name="Freeform 56">
              <a:extLst>
                <a:ext uri="{FF2B5EF4-FFF2-40B4-BE49-F238E27FC236}">
                  <a16:creationId xmlns:a16="http://schemas.microsoft.com/office/drawing/2014/main" id="{695B6D80-6F6D-A68C-DB87-976058FE07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9" y="720"/>
              <a:ext cx="124" cy="89"/>
            </a:xfrm>
            <a:custGeom>
              <a:avLst/>
              <a:gdLst>
                <a:gd name="T0" fmla="*/ 78 w 84"/>
                <a:gd name="T1" fmla="*/ 60 h 60"/>
                <a:gd name="T2" fmla="*/ 6 w 84"/>
                <a:gd name="T3" fmla="*/ 60 h 60"/>
                <a:gd name="T4" fmla="*/ 0 w 84"/>
                <a:gd name="T5" fmla="*/ 54 h 60"/>
                <a:gd name="T6" fmla="*/ 0 w 84"/>
                <a:gd name="T7" fmla="*/ 6 h 60"/>
                <a:gd name="T8" fmla="*/ 6 w 84"/>
                <a:gd name="T9" fmla="*/ 0 h 60"/>
                <a:gd name="T10" fmla="*/ 78 w 84"/>
                <a:gd name="T11" fmla="*/ 0 h 60"/>
                <a:gd name="T12" fmla="*/ 84 w 84"/>
                <a:gd name="T13" fmla="*/ 6 h 60"/>
                <a:gd name="T14" fmla="*/ 84 w 84"/>
                <a:gd name="T15" fmla="*/ 54 h 60"/>
                <a:gd name="T16" fmla="*/ 78 w 84"/>
                <a:gd name="T17" fmla="*/ 60 h 60"/>
                <a:gd name="T18" fmla="*/ 12 w 84"/>
                <a:gd name="T19" fmla="*/ 48 h 60"/>
                <a:gd name="T20" fmla="*/ 72 w 84"/>
                <a:gd name="T21" fmla="*/ 48 h 60"/>
                <a:gd name="T22" fmla="*/ 72 w 84"/>
                <a:gd name="T23" fmla="*/ 12 h 60"/>
                <a:gd name="T24" fmla="*/ 12 w 84"/>
                <a:gd name="T25" fmla="*/ 12 h 60"/>
                <a:gd name="T26" fmla="*/ 12 w 84"/>
                <a:gd name="T27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60">
                  <a:moveTo>
                    <a:pt x="78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2" y="0"/>
                    <a:pt x="84" y="3"/>
                    <a:pt x="84" y="6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7"/>
                    <a:pt x="82" y="60"/>
                    <a:pt x="78" y="60"/>
                  </a:cubicBezTo>
                  <a:close/>
                  <a:moveTo>
                    <a:pt x="12" y="48"/>
                  </a:moveTo>
                  <a:cubicBezTo>
                    <a:pt x="72" y="48"/>
                    <a:pt x="72" y="48"/>
                    <a:pt x="72" y="48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1" name="Freeform 57">
              <a:extLst>
                <a:ext uri="{FF2B5EF4-FFF2-40B4-BE49-F238E27FC236}">
                  <a16:creationId xmlns:a16="http://schemas.microsoft.com/office/drawing/2014/main" id="{3608F8DF-2DCD-DEC9-13B9-EF851EB331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1" y="720"/>
              <a:ext cx="142" cy="89"/>
            </a:xfrm>
            <a:custGeom>
              <a:avLst/>
              <a:gdLst>
                <a:gd name="T0" fmla="*/ 90 w 96"/>
                <a:gd name="T1" fmla="*/ 60 h 60"/>
                <a:gd name="T2" fmla="*/ 6 w 96"/>
                <a:gd name="T3" fmla="*/ 60 h 60"/>
                <a:gd name="T4" fmla="*/ 0 w 96"/>
                <a:gd name="T5" fmla="*/ 54 h 60"/>
                <a:gd name="T6" fmla="*/ 0 w 96"/>
                <a:gd name="T7" fmla="*/ 6 h 60"/>
                <a:gd name="T8" fmla="*/ 6 w 96"/>
                <a:gd name="T9" fmla="*/ 0 h 60"/>
                <a:gd name="T10" fmla="*/ 90 w 96"/>
                <a:gd name="T11" fmla="*/ 0 h 60"/>
                <a:gd name="T12" fmla="*/ 96 w 96"/>
                <a:gd name="T13" fmla="*/ 6 h 60"/>
                <a:gd name="T14" fmla="*/ 96 w 96"/>
                <a:gd name="T15" fmla="*/ 54 h 60"/>
                <a:gd name="T16" fmla="*/ 90 w 96"/>
                <a:gd name="T17" fmla="*/ 60 h 60"/>
                <a:gd name="T18" fmla="*/ 12 w 96"/>
                <a:gd name="T19" fmla="*/ 48 h 60"/>
                <a:gd name="T20" fmla="*/ 84 w 96"/>
                <a:gd name="T21" fmla="*/ 48 h 60"/>
                <a:gd name="T22" fmla="*/ 84 w 96"/>
                <a:gd name="T23" fmla="*/ 12 h 60"/>
                <a:gd name="T24" fmla="*/ 12 w 96"/>
                <a:gd name="T25" fmla="*/ 12 h 60"/>
                <a:gd name="T26" fmla="*/ 12 w 96"/>
                <a:gd name="T27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60">
                  <a:moveTo>
                    <a:pt x="90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4" y="0"/>
                    <a:pt x="96" y="3"/>
                    <a:pt x="96" y="6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7"/>
                    <a:pt x="94" y="60"/>
                    <a:pt x="90" y="60"/>
                  </a:cubicBezTo>
                  <a:close/>
                  <a:moveTo>
                    <a:pt x="12" y="48"/>
                  </a:moveTo>
                  <a:cubicBezTo>
                    <a:pt x="84" y="48"/>
                    <a:pt x="84" y="48"/>
                    <a:pt x="84" y="48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2" name="Freeform 58">
              <a:extLst>
                <a:ext uri="{FF2B5EF4-FFF2-40B4-BE49-F238E27FC236}">
                  <a16:creationId xmlns:a16="http://schemas.microsoft.com/office/drawing/2014/main" id="{F0722AFC-B5BB-955F-C5B3-2E63C22635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3" y="507"/>
              <a:ext cx="178" cy="89"/>
            </a:xfrm>
            <a:custGeom>
              <a:avLst/>
              <a:gdLst>
                <a:gd name="T0" fmla="*/ 114 w 120"/>
                <a:gd name="T1" fmla="*/ 60 h 60"/>
                <a:gd name="T2" fmla="*/ 6 w 120"/>
                <a:gd name="T3" fmla="*/ 60 h 60"/>
                <a:gd name="T4" fmla="*/ 0 w 120"/>
                <a:gd name="T5" fmla="*/ 54 h 60"/>
                <a:gd name="T6" fmla="*/ 0 w 120"/>
                <a:gd name="T7" fmla="*/ 6 h 60"/>
                <a:gd name="T8" fmla="*/ 6 w 120"/>
                <a:gd name="T9" fmla="*/ 0 h 60"/>
                <a:gd name="T10" fmla="*/ 114 w 120"/>
                <a:gd name="T11" fmla="*/ 0 h 60"/>
                <a:gd name="T12" fmla="*/ 120 w 120"/>
                <a:gd name="T13" fmla="*/ 6 h 60"/>
                <a:gd name="T14" fmla="*/ 120 w 120"/>
                <a:gd name="T15" fmla="*/ 54 h 60"/>
                <a:gd name="T16" fmla="*/ 114 w 120"/>
                <a:gd name="T17" fmla="*/ 60 h 60"/>
                <a:gd name="T18" fmla="*/ 12 w 120"/>
                <a:gd name="T19" fmla="*/ 48 h 60"/>
                <a:gd name="T20" fmla="*/ 108 w 120"/>
                <a:gd name="T21" fmla="*/ 48 h 60"/>
                <a:gd name="T22" fmla="*/ 108 w 120"/>
                <a:gd name="T23" fmla="*/ 12 h 60"/>
                <a:gd name="T24" fmla="*/ 12 w 120"/>
                <a:gd name="T25" fmla="*/ 12 h 60"/>
                <a:gd name="T26" fmla="*/ 12 w 120"/>
                <a:gd name="T27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0" h="60">
                  <a:moveTo>
                    <a:pt x="114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8" y="0"/>
                    <a:pt x="120" y="3"/>
                    <a:pt x="120" y="6"/>
                  </a:cubicBezTo>
                  <a:cubicBezTo>
                    <a:pt x="120" y="54"/>
                    <a:pt x="120" y="54"/>
                    <a:pt x="120" y="54"/>
                  </a:cubicBezTo>
                  <a:cubicBezTo>
                    <a:pt x="120" y="57"/>
                    <a:pt x="118" y="60"/>
                    <a:pt x="114" y="60"/>
                  </a:cubicBezTo>
                  <a:close/>
                  <a:moveTo>
                    <a:pt x="12" y="48"/>
                  </a:moveTo>
                  <a:cubicBezTo>
                    <a:pt x="108" y="48"/>
                    <a:pt x="108" y="48"/>
                    <a:pt x="108" y="48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3" name="Freeform 59">
              <a:extLst>
                <a:ext uri="{FF2B5EF4-FFF2-40B4-BE49-F238E27FC236}">
                  <a16:creationId xmlns:a16="http://schemas.microsoft.com/office/drawing/2014/main" id="{C88D2155-2B4E-F5D8-4AF1-8335065CD7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75" y="614"/>
              <a:ext cx="159" cy="88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0 w 108"/>
                <a:gd name="T7" fmla="*/ 6 h 60"/>
                <a:gd name="T8" fmla="*/ 6 w 108"/>
                <a:gd name="T9" fmla="*/ 0 h 60"/>
                <a:gd name="T10" fmla="*/ 102 w 108"/>
                <a:gd name="T11" fmla="*/ 0 h 60"/>
                <a:gd name="T12" fmla="*/ 108 w 108"/>
                <a:gd name="T13" fmla="*/ 6 h 60"/>
                <a:gd name="T14" fmla="*/ 108 w 108"/>
                <a:gd name="T15" fmla="*/ 54 h 60"/>
                <a:gd name="T16" fmla="*/ 102 w 108"/>
                <a:gd name="T17" fmla="*/ 60 h 60"/>
                <a:gd name="T18" fmla="*/ 12 w 108"/>
                <a:gd name="T19" fmla="*/ 48 h 60"/>
                <a:gd name="T20" fmla="*/ 96 w 108"/>
                <a:gd name="T21" fmla="*/ 48 h 60"/>
                <a:gd name="T22" fmla="*/ 96 w 108"/>
                <a:gd name="T23" fmla="*/ 12 h 60"/>
                <a:gd name="T24" fmla="*/ 12 w 108"/>
                <a:gd name="T25" fmla="*/ 12 h 60"/>
                <a:gd name="T26" fmla="*/ 12 w 108"/>
                <a:gd name="T27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6" y="0"/>
                    <a:pt x="108" y="3"/>
                    <a:pt x="108" y="6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8" y="57"/>
                    <a:pt x="106" y="60"/>
                    <a:pt x="102" y="60"/>
                  </a:cubicBezTo>
                  <a:close/>
                  <a:moveTo>
                    <a:pt x="12" y="48"/>
                  </a:moveTo>
                  <a:cubicBezTo>
                    <a:pt x="96" y="48"/>
                    <a:pt x="96" y="48"/>
                    <a:pt x="96" y="48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4" name="Freeform 60">
              <a:extLst>
                <a:ext uri="{FF2B5EF4-FFF2-40B4-BE49-F238E27FC236}">
                  <a16:creationId xmlns:a16="http://schemas.microsoft.com/office/drawing/2014/main" id="{DE854B88-C172-3339-528C-5E84307D13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41" y="720"/>
              <a:ext cx="124" cy="89"/>
            </a:xfrm>
            <a:custGeom>
              <a:avLst/>
              <a:gdLst>
                <a:gd name="T0" fmla="*/ 78 w 84"/>
                <a:gd name="T1" fmla="*/ 60 h 60"/>
                <a:gd name="T2" fmla="*/ 6 w 84"/>
                <a:gd name="T3" fmla="*/ 60 h 60"/>
                <a:gd name="T4" fmla="*/ 0 w 84"/>
                <a:gd name="T5" fmla="*/ 54 h 60"/>
                <a:gd name="T6" fmla="*/ 0 w 84"/>
                <a:gd name="T7" fmla="*/ 6 h 60"/>
                <a:gd name="T8" fmla="*/ 6 w 84"/>
                <a:gd name="T9" fmla="*/ 0 h 60"/>
                <a:gd name="T10" fmla="*/ 78 w 84"/>
                <a:gd name="T11" fmla="*/ 0 h 60"/>
                <a:gd name="T12" fmla="*/ 84 w 84"/>
                <a:gd name="T13" fmla="*/ 6 h 60"/>
                <a:gd name="T14" fmla="*/ 84 w 84"/>
                <a:gd name="T15" fmla="*/ 54 h 60"/>
                <a:gd name="T16" fmla="*/ 78 w 84"/>
                <a:gd name="T17" fmla="*/ 60 h 60"/>
                <a:gd name="T18" fmla="*/ 12 w 84"/>
                <a:gd name="T19" fmla="*/ 48 h 60"/>
                <a:gd name="T20" fmla="*/ 72 w 84"/>
                <a:gd name="T21" fmla="*/ 48 h 60"/>
                <a:gd name="T22" fmla="*/ 72 w 84"/>
                <a:gd name="T23" fmla="*/ 12 h 60"/>
                <a:gd name="T24" fmla="*/ 12 w 84"/>
                <a:gd name="T25" fmla="*/ 12 h 60"/>
                <a:gd name="T26" fmla="*/ 12 w 84"/>
                <a:gd name="T27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60">
                  <a:moveTo>
                    <a:pt x="78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2" y="0"/>
                    <a:pt x="84" y="3"/>
                    <a:pt x="84" y="6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7"/>
                    <a:pt x="82" y="60"/>
                    <a:pt x="78" y="60"/>
                  </a:cubicBezTo>
                  <a:close/>
                  <a:moveTo>
                    <a:pt x="12" y="48"/>
                  </a:moveTo>
                  <a:cubicBezTo>
                    <a:pt x="72" y="48"/>
                    <a:pt x="72" y="48"/>
                    <a:pt x="72" y="48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5" name="Freeform 61">
              <a:extLst>
                <a:ext uri="{FF2B5EF4-FFF2-40B4-BE49-F238E27FC236}">
                  <a16:creationId xmlns:a16="http://schemas.microsoft.com/office/drawing/2014/main" id="{C937C0F9-D622-FE81-02D5-AF46901EA8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0" y="614"/>
              <a:ext cx="160" cy="88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0 w 108"/>
                <a:gd name="T7" fmla="*/ 6 h 60"/>
                <a:gd name="T8" fmla="*/ 6 w 108"/>
                <a:gd name="T9" fmla="*/ 0 h 60"/>
                <a:gd name="T10" fmla="*/ 102 w 108"/>
                <a:gd name="T11" fmla="*/ 0 h 60"/>
                <a:gd name="T12" fmla="*/ 108 w 108"/>
                <a:gd name="T13" fmla="*/ 6 h 60"/>
                <a:gd name="T14" fmla="*/ 108 w 108"/>
                <a:gd name="T15" fmla="*/ 54 h 60"/>
                <a:gd name="T16" fmla="*/ 102 w 108"/>
                <a:gd name="T17" fmla="*/ 60 h 60"/>
                <a:gd name="T18" fmla="*/ 12 w 108"/>
                <a:gd name="T19" fmla="*/ 48 h 60"/>
                <a:gd name="T20" fmla="*/ 96 w 108"/>
                <a:gd name="T21" fmla="*/ 48 h 60"/>
                <a:gd name="T22" fmla="*/ 96 w 108"/>
                <a:gd name="T23" fmla="*/ 12 h 60"/>
                <a:gd name="T24" fmla="*/ 12 w 108"/>
                <a:gd name="T25" fmla="*/ 12 h 60"/>
                <a:gd name="T26" fmla="*/ 12 w 108"/>
                <a:gd name="T27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6" y="0"/>
                    <a:pt x="108" y="3"/>
                    <a:pt x="108" y="6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8" y="57"/>
                    <a:pt x="106" y="60"/>
                    <a:pt x="102" y="60"/>
                  </a:cubicBezTo>
                  <a:close/>
                  <a:moveTo>
                    <a:pt x="12" y="48"/>
                  </a:moveTo>
                  <a:cubicBezTo>
                    <a:pt x="96" y="48"/>
                    <a:pt x="96" y="48"/>
                    <a:pt x="96" y="48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</p:grpSp>
      <p:grpSp>
        <p:nvGrpSpPr>
          <p:cNvPr id="26" name="Group 20">
            <a:extLst>
              <a:ext uri="{FF2B5EF4-FFF2-40B4-BE49-F238E27FC236}">
                <a16:creationId xmlns:a16="http://schemas.microsoft.com/office/drawing/2014/main" id="{877D3981-F032-30FF-717D-1F768813C3C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75381" y="3165056"/>
            <a:ext cx="451754" cy="444501"/>
            <a:chOff x="3431" y="433"/>
            <a:chExt cx="436" cy="429"/>
          </a:xfrm>
          <a:solidFill>
            <a:srgbClr val="FFFFFF"/>
          </a:solidFill>
        </p:grpSpPr>
        <p:sp>
          <p:nvSpPr>
            <p:cNvPr id="27" name="Freeform 21">
              <a:extLst>
                <a:ext uri="{FF2B5EF4-FFF2-40B4-BE49-F238E27FC236}">
                  <a16:creationId xmlns:a16="http://schemas.microsoft.com/office/drawing/2014/main" id="{124E073B-78CE-A02F-1CEA-2EA73FE180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1" y="433"/>
              <a:ext cx="435" cy="429"/>
            </a:xfrm>
            <a:custGeom>
              <a:avLst/>
              <a:gdLst>
                <a:gd name="T0" fmla="*/ 59 w 294"/>
                <a:gd name="T1" fmla="*/ 290 h 290"/>
                <a:gd name="T2" fmla="*/ 38 w 294"/>
                <a:gd name="T3" fmla="*/ 286 h 290"/>
                <a:gd name="T4" fmla="*/ 34 w 294"/>
                <a:gd name="T5" fmla="*/ 281 h 290"/>
                <a:gd name="T6" fmla="*/ 36 w 294"/>
                <a:gd name="T7" fmla="*/ 276 h 290"/>
                <a:gd name="T8" fmla="*/ 58 w 294"/>
                <a:gd name="T9" fmla="*/ 255 h 290"/>
                <a:gd name="T10" fmla="*/ 58 w 294"/>
                <a:gd name="T11" fmla="*/ 238 h 290"/>
                <a:gd name="T12" fmla="*/ 39 w 294"/>
                <a:gd name="T13" fmla="*/ 238 h 290"/>
                <a:gd name="T14" fmla="*/ 18 w 294"/>
                <a:gd name="T15" fmla="*/ 259 h 290"/>
                <a:gd name="T16" fmla="*/ 13 w 294"/>
                <a:gd name="T17" fmla="*/ 261 h 290"/>
                <a:gd name="T18" fmla="*/ 8 w 294"/>
                <a:gd name="T19" fmla="*/ 257 h 290"/>
                <a:gd name="T20" fmla="*/ 20 w 294"/>
                <a:gd name="T21" fmla="*/ 198 h 290"/>
                <a:gd name="T22" fmla="*/ 75 w 294"/>
                <a:gd name="T23" fmla="*/ 185 h 290"/>
                <a:gd name="T24" fmla="*/ 185 w 294"/>
                <a:gd name="T25" fmla="*/ 75 h 290"/>
                <a:gd name="T26" fmla="*/ 198 w 294"/>
                <a:gd name="T27" fmla="*/ 20 h 290"/>
                <a:gd name="T28" fmla="*/ 257 w 294"/>
                <a:gd name="T29" fmla="*/ 8 h 290"/>
                <a:gd name="T30" fmla="*/ 261 w 294"/>
                <a:gd name="T31" fmla="*/ 13 h 290"/>
                <a:gd name="T32" fmla="*/ 259 w 294"/>
                <a:gd name="T33" fmla="*/ 18 h 290"/>
                <a:gd name="T34" fmla="*/ 238 w 294"/>
                <a:gd name="T35" fmla="*/ 39 h 290"/>
                <a:gd name="T36" fmla="*/ 238 w 294"/>
                <a:gd name="T37" fmla="*/ 58 h 290"/>
                <a:gd name="T38" fmla="*/ 255 w 294"/>
                <a:gd name="T39" fmla="*/ 58 h 290"/>
                <a:gd name="T40" fmla="*/ 276 w 294"/>
                <a:gd name="T41" fmla="*/ 36 h 290"/>
                <a:gd name="T42" fmla="*/ 281 w 294"/>
                <a:gd name="T43" fmla="*/ 34 h 290"/>
                <a:gd name="T44" fmla="*/ 286 w 294"/>
                <a:gd name="T45" fmla="*/ 38 h 290"/>
                <a:gd name="T46" fmla="*/ 274 w 294"/>
                <a:gd name="T47" fmla="*/ 96 h 290"/>
                <a:gd name="T48" fmla="*/ 219 w 294"/>
                <a:gd name="T49" fmla="*/ 109 h 290"/>
                <a:gd name="T50" fmla="*/ 109 w 294"/>
                <a:gd name="T51" fmla="*/ 219 h 290"/>
                <a:gd name="T52" fmla="*/ 97 w 294"/>
                <a:gd name="T53" fmla="*/ 274 h 290"/>
                <a:gd name="T54" fmla="*/ 59 w 294"/>
                <a:gd name="T55" fmla="*/ 290 h 290"/>
                <a:gd name="T56" fmla="*/ 52 w 294"/>
                <a:gd name="T57" fmla="*/ 278 h 290"/>
                <a:gd name="T58" fmla="*/ 88 w 294"/>
                <a:gd name="T59" fmla="*/ 266 h 290"/>
                <a:gd name="T60" fmla="*/ 97 w 294"/>
                <a:gd name="T61" fmla="*/ 220 h 290"/>
                <a:gd name="T62" fmla="*/ 98 w 294"/>
                <a:gd name="T63" fmla="*/ 213 h 290"/>
                <a:gd name="T64" fmla="*/ 213 w 294"/>
                <a:gd name="T65" fmla="*/ 98 h 290"/>
                <a:gd name="T66" fmla="*/ 220 w 294"/>
                <a:gd name="T67" fmla="*/ 97 h 290"/>
                <a:gd name="T68" fmla="*/ 266 w 294"/>
                <a:gd name="T69" fmla="*/ 88 h 290"/>
                <a:gd name="T70" fmla="*/ 278 w 294"/>
                <a:gd name="T71" fmla="*/ 52 h 290"/>
                <a:gd name="T72" fmla="*/ 262 w 294"/>
                <a:gd name="T73" fmla="*/ 68 h 290"/>
                <a:gd name="T74" fmla="*/ 257 w 294"/>
                <a:gd name="T75" fmla="*/ 70 h 290"/>
                <a:gd name="T76" fmla="*/ 232 w 294"/>
                <a:gd name="T77" fmla="*/ 70 h 290"/>
                <a:gd name="T78" fmla="*/ 226 w 294"/>
                <a:gd name="T79" fmla="*/ 64 h 290"/>
                <a:gd name="T80" fmla="*/ 226 w 294"/>
                <a:gd name="T81" fmla="*/ 37 h 290"/>
                <a:gd name="T82" fmla="*/ 228 w 294"/>
                <a:gd name="T83" fmla="*/ 32 h 290"/>
                <a:gd name="T84" fmla="*/ 244 w 294"/>
                <a:gd name="T85" fmla="*/ 17 h 290"/>
                <a:gd name="T86" fmla="*/ 206 w 294"/>
                <a:gd name="T87" fmla="*/ 28 h 290"/>
                <a:gd name="T88" fmla="*/ 198 w 294"/>
                <a:gd name="T89" fmla="*/ 74 h 290"/>
                <a:gd name="T90" fmla="*/ 196 w 294"/>
                <a:gd name="T91" fmla="*/ 81 h 290"/>
                <a:gd name="T92" fmla="*/ 81 w 294"/>
                <a:gd name="T93" fmla="*/ 196 h 290"/>
                <a:gd name="T94" fmla="*/ 74 w 294"/>
                <a:gd name="T95" fmla="*/ 198 h 290"/>
                <a:gd name="T96" fmla="*/ 28 w 294"/>
                <a:gd name="T97" fmla="*/ 206 h 290"/>
                <a:gd name="T98" fmla="*/ 17 w 294"/>
                <a:gd name="T99" fmla="*/ 244 h 290"/>
                <a:gd name="T100" fmla="*/ 32 w 294"/>
                <a:gd name="T101" fmla="*/ 228 h 290"/>
                <a:gd name="T102" fmla="*/ 37 w 294"/>
                <a:gd name="T103" fmla="*/ 226 h 290"/>
                <a:gd name="T104" fmla="*/ 64 w 294"/>
                <a:gd name="T105" fmla="*/ 226 h 290"/>
                <a:gd name="T106" fmla="*/ 70 w 294"/>
                <a:gd name="T107" fmla="*/ 232 h 290"/>
                <a:gd name="T108" fmla="*/ 70 w 294"/>
                <a:gd name="T109" fmla="*/ 257 h 290"/>
                <a:gd name="T110" fmla="*/ 68 w 294"/>
                <a:gd name="T111" fmla="*/ 262 h 290"/>
                <a:gd name="T112" fmla="*/ 52 w 294"/>
                <a:gd name="T113" fmla="*/ 278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94" h="290">
                  <a:moveTo>
                    <a:pt x="59" y="290"/>
                  </a:moveTo>
                  <a:cubicBezTo>
                    <a:pt x="52" y="290"/>
                    <a:pt x="45" y="289"/>
                    <a:pt x="38" y="286"/>
                  </a:cubicBezTo>
                  <a:cubicBezTo>
                    <a:pt x="36" y="285"/>
                    <a:pt x="35" y="283"/>
                    <a:pt x="34" y="281"/>
                  </a:cubicBezTo>
                  <a:cubicBezTo>
                    <a:pt x="34" y="279"/>
                    <a:pt x="34" y="277"/>
                    <a:pt x="36" y="276"/>
                  </a:cubicBezTo>
                  <a:cubicBezTo>
                    <a:pt x="58" y="255"/>
                    <a:pt x="58" y="255"/>
                    <a:pt x="58" y="255"/>
                  </a:cubicBezTo>
                  <a:cubicBezTo>
                    <a:pt x="58" y="238"/>
                    <a:pt x="58" y="238"/>
                    <a:pt x="58" y="238"/>
                  </a:cubicBezTo>
                  <a:cubicBezTo>
                    <a:pt x="39" y="238"/>
                    <a:pt x="39" y="238"/>
                    <a:pt x="39" y="238"/>
                  </a:cubicBezTo>
                  <a:cubicBezTo>
                    <a:pt x="18" y="259"/>
                    <a:pt x="18" y="259"/>
                    <a:pt x="18" y="259"/>
                  </a:cubicBezTo>
                  <a:cubicBezTo>
                    <a:pt x="17" y="261"/>
                    <a:pt x="15" y="261"/>
                    <a:pt x="13" y="261"/>
                  </a:cubicBezTo>
                  <a:cubicBezTo>
                    <a:pt x="11" y="260"/>
                    <a:pt x="9" y="259"/>
                    <a:pt x="8" y="257"/>
                  </a:cubicBezTo>
                  <a:cubicBezTo>
                    <a:pt x="0" y="237"/>
                    <a:pt x="4" y="214"/>
                    <a:pt x="20" y="198"/>
                  </a:cubicBezTo>
                  <a:cubicBezTo>
                    <a:pt x="34" y="183"/>
                    <a:pt x="56" y="178"/>
                    <a:pt x="75" y="185"/>
                  </a:cubicBezTo>
                  <a:cubicBezTo>
                    <a:pt x="185" y="75"/>
                    <a:pt x="185" y="75"/>
                    <a:pt x="185" y="75"/>
                  </a:cubicBezTo>
                  <a:cubicBezTo>
                    <a:pt x="178" y="56"/>
                    <a:pt x="183" y="34"/>
                    <a:pt x="198" y="20"/>
                  </a:cubicBezTo>
                  <a:cubicBezTo>
                    <a:pt x="214" y="4"/>
                    <a:pt x="237" y="0"/>
                    <a:pt x="257" y="8"/>
                  </a:cubicBezTo>
                  <a:cubicBezTo>
                    <a:pt x="259" y="9"/>
                    <a:pt x="260" y="11"/>
                    <a:pt x="261" y="13"/>
                  </a:cubicBezTo>
                  <a:cubicBezTo>
                    <a:pt x="261" y="15"/>
                    <a:pt x="261" y="17"/>
                    <a:pt x="259" y="18"/>
                  </a:cubicBezTo>
                  <a:cubicBezTo>
                    <a:pt x="238" y="39"/>
                    <a:pt x="238" y="39"/>
                    <a:pt x="238" y="39"/>
                  </a:cubicBezTo>
                  <a:cubicBezTo>
                    <a:pt x="238" y="58"/>
                    <a:pt x="238" y="58"/>
                    <a:pt x="238" y="58"/>
                  </a:cubicBezTo>
                  <a:cubicBezTo>
                    <a:pt x="255" y="58"/>
                    <a:pt x="255" y="58"/>
                    <a:pt x="255" y="58"/>
                  </a:cubicBezTo>
                  <a:cubicBezTo>
                    <a:pt x="276" y="36"/>
                    <a:pt x="276" y="36"/>
                    <a:pt x="276" y="36"/>
                  </a:cubicBezTo>
                  <a:cubicBezTo>
                    <a:pt x="277" y="34"/>
                    <a:pt x="279" y="34"/>
                    <a:pt x="281" y="34"/>
                  </a:cubicBezTo>
                  <a:cubicBezTo>
                    <a:pt x="283" y="35"/>
                    <a:pt x="285" y="36"/>
                    <a:pt x="286" y="38"/>
                  </a:cubicBezTo>
                  <a:cubicBezTo>
                    <a:pt x="294" y="58"/>
                    <a:pt x="290" y="80"/>
                    <a:pt x="274" y="96"/>
                  </a:cubicBezTo>
                  <a:cubicBezTo>
                    <a:pt x="260" y="111"/>
                    <a:pt x="238" y="116"/>
                    <a:pt x="219" y="109"/>
                  </a:cubicBezTo>
                  <a:cubicBezTo>
                    <a:pt x="109" y="219"/>
                    <a:pt x="109" y="219"/>
                    <a:pt x="109" y="219"/>
                  </a:cubicBezTo>
                  <a:cubicBezTo>
                    <a:pt x="116" y="239"/>
                    <a:pt x="111" y="260"/>
                    <a:pt x="97" y="274"/>
                  </a:cubicBezTo>
                  <a:cubicBezTo>
                    <a:pt x="86" y="285"/>
                    <a:pt x="73" y="290"/>
                    <a:pt x="59" y="290"/>
                  </a:cubicBezTo>
                  <a:close/>
                  <a:moveTo>
                    <a:pt x="52" y="278"/>
                  </a:moveTo>
                  <a:cubicBezTo>
                    <a:pt x="65" y="280"/>
                    <a:pt x="78" y="276"/>
                    <a:pt x="88" y="266"/>
                  </a:cubicBezTo>
                  <a:cubicBezTo>
                    <a:pt x="100" y="254"/>
                    <a:pt x="103" y="236"/>
                    <a:pt x="97" y="220"/>
                  </a:cubicBezTo>
                  <a:cubicBezTo>
                    <a:pt x="96" y="218"/>
                    <a:pt x="96" y="215"/>
                    <a:pt x="98" y="213"/>
                  </a:cubicBezTo>
                  <a:cubicBezTo>
                    <a:pt x="213" y="98"/>
                    <a:pt x="213" y="98"/>
                    <a:pt x="213" y="98"/>
                  </a:cubicBezTo>
                  <a:cubicBezTo>
                    <a:pt x="215" y="96"/>
                    <a:pt x="218" y="96"/>
                    <a:pt x="220" y="97"/>
                  </a:cubicBezTo>
                  <a:cubicBezTo>
                    <a:pt x="236" y="103"/>
                    <a:pt x="254" y="100"/>
                    <a:pt x="266" y="88"/>
                  </a:cubicBezTo>
                  <a:cubicBezTo>
                    <a:pt x="276" y="78"/>
                    <a:pt x="280" y="65"/>
                    <a:pt x="278" y="52"/>
                  </a:cubicBezTo>
                  <a:cubicBezTo>
                    <a:pt x="262" y="68"/>
                    <a:pt x="262" y="68"/>
                    <a:pt x="262" y="68"/>
                  </a:cubicBezTo>
                  <a:cubicBezTo>
                    <a:pt x="261" y="69"/>
                    <a:pt x="259" y="70"/>
                    <a:pt x="257" y="70"/>
                  </a:cubicBezTo>
                  <a:cubicBezTo>
                    <a:pt x="232" y="70"/>
                    <a:pt x="232" y="70"/>
                    <a:pt x="232" y="70"/>
                  </a:cubicBezTo>
                  <a:cubicBezTo>
                    <a:pt x="229" y="70"/>
                    <a:pt x="226" y="67"/>
                    <a:pt x="226" y="64"/>
                  </a:cubicBezTo>
                  <a:cubicBezTo>
                    <a:pt x="226" y="37"/>
                    <a:pt x="226" y="37"/>
                    <a:pt x="226" y="37"/>
                  </a:cubicBezTo>
                  <a:cubicBezTo>
                    <a:pt x="226" y="35"/>
                    <a:pt x="227" y="34"/>
                    <a:pt x="228" y="32"/>
                  </a:cubicBezTo>
                  <a:cubicBezTo>
                    <a:pt x="244" y="17"/>
                    <a:pt x="244" y="17"/>
                    <a:pt x="244" y="17"/>
                  </a:cubicBezTo>
                  <a:cubicBezTo>
                    <a:pt x="230" y="14"/>
                    <a:pt x="216" y="18"/>
                    <a:pt x="206" y="28"/>
                  </a:cubicBezTo>
                  <a:cubicBezTo>
                    <a:pt x="194" y="40"/>
                    <a:pt x="191" y="58"/>
                    <a:pt x="198" y="74"/>
                  </a:cubicBezTo>
                  <a:cubicBezTo>
                    <a:pt x="198" y="77"/>
                    <a:pt x="198" y="79"/>
                    <a:pt x="196" y="81"/>
                  </a:cubicBezTo>
                  <a:cubicBezTo>
                    <a:pt x="81" y="196"/>
                    <a:pt x="81" y="196"/>
                    <a:pt x="81" y="196"/>
                  </a:cubicBezTo>
                  <a:cubicBezTo>
                    <a:pt x="79" y="198"/>
                    <a:pt x="77" y="198"/>
                    <a:pt x="74" y="198"/>
                  </a:cubicBezTo>
                  <a:cubicBezTo>
                    <a:pt x="58" y="191"/>
                    <a:pt x="40" y="194"/>
                    <a:pt x="28" y="206"/>
                  </a:cubicBezTo>
                  <a:cubicBezTo>
                    <a:pt x="18" y="216"/>
                    <a:pt x="14" y="230"/>
                    <a:pt x="17" y="244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4" y="227"/>
                    <a:pt x="35" y="226"/>
                    <a:pt x="37" y="226"/>
                  </a:cubicBezTo>
                  <a:cubicBezTo>
                    <a:pt x="64" y="226"/>
                    <a:pt x="64" y="226"/>
                    <a:pt x="64" y="226"/>
                  </a:cubicBezTo>
                  <a:cubicBezTo>
                    <a:pt x="67" y="226"/>
                    <a:pt x="70" y="229"/>
                    <a:pt x="70" y="232"/>
                  </a:cubicBezTo>
                  <a:cubicBezTo>
                    <a:pt x="70" y="257"/>
                    <a:pt x="70" y="257"/>
                    <a:pt x="70" y="257"/>
                  </a:cubicBezTo>
                  <a:cubicBezTo>
                    <a:pt x="70" y="259"/>
                    <a:pt x="69" y="261"/>
                    <a:pt x="68" y="262"/>
                  </a:cubicBezTo>
                  <a:lnTo>
                    <a:pt x="52" y="2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8" name="Freeform 22">
              <a:extLst>
                <a:ext uri="{FF2B5EF4-FFF2-40B4-BE49-F238E27FC236}">
                  <a16:creationId xmlns:a16="http://schemas.microsoft.com/office/drawing/2014/main" id="{4CF453CE-3EE8-103B-73CF-7C2B47FEF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1" y="433"/>
              <a:ext cx="223" cy="223"/>
            </a:xfrm>
            <a:custGeom>
              <a:avLst/>
              <a:gdLst>
                <a:gd name="T0" fmla="*/ 117 w 151"/>
                <a:gd name="T1" fmla="*/ 151 h 151"/>
                <a:gd name="T2" fmla="*/ 75 w 151"/>
                <a:gd name="T3" fmla="*/ 109 h 151"/>
                <a:gd name="T4" fmla="*/ 20 w 151"/>
                <a:gd name="T5" fmla="*/ 97 h 151"/>
                <a:gd name="T6" fmla="*/ 8 w 151"/>
                <a:gd name="T7" fmla="*/ 38 h 151"/>
                <a:gd name="T8" fmla="*/ 13 w 151"/>
                <a:gd name="T9" fmla="*/ 34 h 151"/>
                <a:gd name="T10" fmla="*/ 18 w 151"/>
                <a:gd name="T11" fmla="*/ 36 h 151"/>
                <a:gd name="T12" fmla="*/ 39 w 151"/>
                <a:gd name="T13" fmla="*/ 58 h 151"/>
                <a:gd name="T14" fmla="*/ 58 w 151"/>
                <a:gd name="T15" fmla="*/ 58 h 151"/>
                <a:gd name="T16" fmla="*/ 58 w 151"/>
                <a:gd name="T17" fmla="*/ 39 h 151"/>
                <a:gd name="T18" fmla="*/ 36 w 151"/>
                <a:gd name="T19" fmla="*/ 18 h 151"/>
                <a:gd name="T20" fmla="*/ 34 w 151"/>
                <a:gd name="T21" fmla="*/ 13 h 151"/>
                <a:gd name="T22" fmla="*/ 38 w 151"/>
                <a:gd name="T23" fmla="*/ 8 h 151"/>
                <a:gd name="T24" fmla="*/ 96 w 151"/>
                <a:gd name="T25" fmla="*/ 20 h 151"/>
                <a:gd name="T26" fmla="*/ 109 w 151"/>
                <a:gd name="T27" fmla="*/ 75 h 151"/>
                <a:gd name="T28" fmla="*/ 151 w 151"/>
                <a:gd name="T29" fmla="*/ 117 h 151"/>
                <a:gd name="T30" fmla="*/ 143 w 151"/>
                <a:gd name="T31" fmla="*/ 126 h 151"/>
                <a:gd name="T32" fmla="*/ 98 w 151"/>
                <a:gd name="T33" fmla="*/ 81 h 151"/>
                <a:gd name="T34" fmla="*/ 97 w 151"/>
                <a:gd name="T35" fmla="*/ 74 h 151"/>
                <a:gd name="T36" fmla="*/ 88 w 151"/>
                <a:gd name="T37" fmla="*/ 28 h 151"/>
                <a:gd name="T38" fmla="*/ 52 w 151"/>
                <a:gd name="T39" fmla="*/ 17 h 151"/>
                <a:gd name="T40" fmla="*/ 68 w 151"/>
                <a:gd name="T41" fmla="*/ 32 h 151"/>
                <a:gd name="T42" fmla="*/ 70 w 151"/>
                <a:gd name="T43" fmla="*/ 37 h 151"/>
                <a:gd name="T44" fmla="*/ 70 w 151"/>
                <a:gd name="T45" fmla="*/ 64 h 151"/>
                <a:gd name="T46" fmla="*/ 64 w 151"/>
                <a:gd name="T47" fmla="*/ 70 h 151"/>
                <a:gd name="T48" fmla="*/ 37 w 151"/>
                <a:gd name="T49" fmla="*/ 70 h 151"/>
                <a:gd name="T50" fmla="*/ 32 w 151"/>
                <a:gd name="T51" fmla="*/ 68 h 151"/>
                <a:gd name="T52" fmla="*/ 17 w 151"/>
                <a:gd name="T53" fmla="*/ 52 h 151"/>
                <a:gd name="T54" fmla="*/ 28 w 151"/>
                <a:gd name="T55" fmla="*/ 88 h 151"/>
                <a:gd name="T56" fmla="*/ 74 w 151"/>
                <a:gd name="T57" fmla="*/ 97 h 151"/>
                <a:gd name="T58" fmla="*/ 81 w 151"/>
                <a:gd name="T59" fmla="*/ 98 h 151"/>
                <a:gd name="T60" fmla="*/ 126 w 151"/>
                <a:gd name="T61" fmla="*/ 143 h 151"/>
                <a:gd name="T62" fmla="*/ 117 w 151"/>
                <a:gd name="T63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1" h="151">
                  <a:moveTo>
                    <a:pt x="117" y="151"/>
                  </a:moveTo>
                  <a:cubicBezTo>
                    <a:pt x="75" y="109"/>
                    <a:pt x="75" y="109"/>
                    <a:pt x="75" y="109"/>
                  </a:cubicBezTo>
                  <a:cubicBezTo>
                    <a:pt x="56" y="116"/>
                    <a:pt x="34" y="111"/>
                    <a:pt x="20" y="97"/>
                  </a:cubicBezTo>
                  <a:cubicBezTo>
                    <a:pt x="4" y="81"/>
                    <a:pt x="0" y="58"/>
                    <a:pt x="8" y="38"/>
                  </a:cubicBezTo>
                  <a:cubicBezTo>
                    <a:pt x="9" y="36"/>
                    <a:pt x="11" y="35"/>
                    <a:pt x="13" y="34"/>
                  </a:cubicBezTo>
                  <a:cubicBezTo>
                    <a:pt x="15" y="34"/>
                    <a:pt x="17" y="34"/>
                    <a:pt x="18" y="36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58" y="58"/>
                    <a:pt x="58" y="58"/>
                    <a:pt x="58" y="58"/>
                  </a:cubicBezTo>
                  <a:cubicBezTo>
                    <a:pt x="58" y="39"/>
                    <a:pt x="58" y="39"/>
                    <a:pt x="58" y="39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4" y="17"/>
                    <a:pt x="34" y="15"/>
                    <a:pt x="34" y="13"/>
                  </a:cubicBezTo>
                  <a:cubicBezTo>
                    <a:pt x="35" y="11"/>
                    <a:pt x="36" y="9"/>
                    <a:pt x="38" y="8"/>
                  </a:cubicBezTo>
                  <a:cubicBezTo>
                    <a:pt x="58" y="0"/>
                    <a:pt x="80" y="4"/>
                    <a:pt x="96" y="20"/>
                  </a:cubicBezTo>
                  <a:cubicBezTo>
                    <a:pt x="111" y="34"/>
                    <a:pt x="116" y="56"/>
                    <a:pt x="109" y="75"/>
                  </a:cubicBezTo>
                  <a:cubicBezTo>
                    <a:pt x="151" y="117"/>
                    <a:pt x="151" y="117"/>
                    <a:pt x="151" y="117"/>
                  </a:cubicBezTo>
                  <a:cubicBezTo>
                    <a:pt x="143" y="126"/>
                    <a:pt x="143" y="126"/>
                    <a:pt x="143" y="126"/>
                  </a:cubicBezTo>
                  <a:cubicBezTo>
                    <a:pt x="98" y="81"/>
                    <a:pt x="98" y="81"/>
                    <a:pt x="98" y="81"/>
                  </a:cubicBezTo>
                  <a:cubicBezTo>
                    <a:pt x="96" y="79"/>
                    <a:pt x="96" y="77"/>
                    <a:pt x="97" y="74"/>
                  </a:cubicBezTo>
                  <a:cubicBezTo>
                    <a:pt x="103" y="58"/>
                    <a:pt x="100" y="40"/>
                    <a:pt x="88" y="28"/>
                  </a:cubicBezTo>
                  <a:cubicBezTo>
                    <a:pt x="78" y="18"/>
                    <a:pt x="65" y="14"/>
                    <a:pt x="52" y="17"/>
                  </a:cubicBezTo>
                  <a:cubicBezTo>
                    <a:pt x="68" y="32"/>
                    <a:pt x="68" y="32"/>
                    <a:pt x="68" y="32"/>
                  </a:cubicBezTo>
                  <a:cubicBezTo>
                    <a:pt x="69" y="34"/>
                    <a:pt x="70" y="35"/>
                    <a:pt x="70" y="37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0" y="67"/>
                    <a:pt x="67" y="70"/>
                    <a:pt x="64" y="70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5" y="70"/>
                    <a:pt x="33" y="69"/>
                    <a:pt x="32" y="68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4" y="65"/>
                    <a:pt x="18" y="78"/>
                    <a:pt x="28" y="88"/>
                  </a:cubicBezTo>
                  <a:cubicBezTo>
                    <a:pt x="40" y="100"/>
                    <a:pt x="58" y="104"/>
                    <a:pt x="74" y="97"/>
                  </a:cubicBezTo>
                  <a:cubicBezTo>
                    <a:pt x="77" y="96"/>
                    <a:pt x="79" y="96"/>
                    <a:pt x="81" y="98"/>
                  </a:cubicBezTo>
                  <a:cubicBezTo>
                    <a:pt x="126" y="143"/>
                    <a:pt x="126" y="143"/>
                    <a:pt x="126" y="143"/>
                  </a:cubicBezTo>
                  <a:lnTo>
                    <a:pt x="117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31" name="Freeform 23">
              <a:extLst>
                <a:ext uri="{FF2B5EF4-FFF2-40B4-BE49-F238E27FC236}">
                  <a16:creationId xmlns:a16="http://schemas.microsoft.com/office/drawing/2014/main" id="{0A3AC9EA-DC10-29A8-632A-FE67F77365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3" y="645"/>
              <a:ext cx="224" cy="217"/>
            </a:xfrm>
            <a:custGeom>
              <a:avLst/>
              <a:gdLst>
                <a:gd name="T0" fmla="*/ 93 w 152"/>
                <a:gd name="T1" fmla="*/ 147 h 147"/>
                <a:gd name="T2" fmla="*/ 55 w 152"/>
                <a:gd name="T3" fmla="*/ 131 h 147"/>
                <a:gd name="T4" fmla="*/ 42 w 152"/>
                <a:gd name="T5" fmla="*/ 76 h 147"/>
                <a:gd name="T6" fmla="*/ 0 w 152"/>
                <a:gd name="T7" fmla="*/ 34 h 147"/>
                <a:gd name="T8" fmla="*/ 8 w 152"/>
                <a:gd name="T9" fmla="*/ 25 h 147"/>
                <a:gd name="T10" fmla="*/ 53 w 152"/>
                <a:gd name="T11" fmla="*/ 70 h 147"/>
                <a:gd name="T12" fmla="*/ 55 w 152"/>
                <a:gd name="T13" fmla="*/ 77 h 147"/>
                <a:gd name="T14" fmla="*/ 63 w 152"/>
                <a:gd name="T15" fmla="*/ 123 h 147"/>
                <a:gd name="T16" fmla="*/ 101 w 152"/>
                <a:gd name="T17" fmla="*/ 135 h 147"/>
                <a:gd name="T18" fmla="*/ 85 w 152"/>
                <a:gd name="T19" fmla="*/ 119 h 147"/>
                <a:gd name="T20" fmla="*/ 83 w 152"/>
                <a:gd name="T21" fmla="*/ 114 h 147"/>
                <a:gd name="T22" fmla="*/ 83 w 152"/>
                <a:gd name="T23" fmla="*/ 89 h 147"/>
                <a:gd name="T24" fmla="*/ 89 w 152"/>
                <a:gd name="T25" fmla="*/ 83 h 147"/>
                <a:gd name="T26" fmla="*/ 114 w 152"/>
                <a:gd name="T27" fmla="*/ 83 h 147"/>
                <a:gd name="T28" fmla="*/ 119 w 152"/>
                <a:gd name="T29" fmla="*/ 85 h 147"/>
                <a:gd name="T30" fmla="*/ 135 w 152"/>
                <a:gd name="T31" fmla="*/ 101 h 147"/>
                <a:gd name="T32" fmla="*/ 123 w 152"/>
                <a:gd name="T33" fmla="*/ 63 h 147"/>
                <a:gd name="T34" fmla="*/ 77 w 152"/>
                <a:gd name="T35" fmla="*/ 55 h 147"/>
                <a:gd name="T36" fmla="*/ 70 w 152"/>
                <a:gd name="T37" fmla="*/ 53 h 147"/>
                <a:gd name="T38" fmla="*/ 25 w 152"/>
                <a:gd name="T39" fmla="*/ 8 h 147"/>
                <a:gd name="T40" fmla="*/ 34 w 152"/>
                <a:gd name="T41" fmla="*/ 0 h 147"/>
                <a:gd name="T42" fmla="*/ 76 w 152"/>
                <a:gd name="T43" fmla="*/ 42 h 147"/>
                <a:gd name="T44" fmla="*/ 131 w 152"/>
                <a:gd name="T45" fmla="*/ 55 h 147"/>
                <a:gd name="T46" fmla="*/ 143 w 152"/>
                <a:gd name="T47" fmla="*/ 114 h 147"/>
                <a:gd name="T48" fmla="*/ 138 w 152"/>
                <a:gd name="T49" fmla="*/ 118 h 147"/>
                <a:gd name="T50" fmla="*/ 133 w 152"/>
                <a:gd name="T51" fmla="*/ 116 h 147"/>
                <a:gd name="T52" fmla="*/ 112 w 152"/>
                <a:gd name="T53" fmla="*/ 95 h 147"/>
                <a:gd name="T54" fmla="*/ 95 w 152"/>
                <a:gd name="T55" fmla="*/ 95 h 147"/>
                <a:gd name="T56" fmla="*/ 95 w 152"/>
                <a:gd name="T57" fmla="*/ 112 h 147"/>
                <a:gd name="T58" fmla="*/ 116 w 152"/>
                <a:gd name="T59" fmla="*/ 133 h 147"/>
                <a:gd name="T60" fmla="*/ 118 w 152"/>
                <a:gd name="T61" fmla="*/ 139 h 147"/>
                <a:gd name="T62" fmla="*/ 114 w 152"/>
                <a:gd name="T63" fmla="*/ 143 h 147"/>
                <a:gd name="T64" fmla="*/ 93 w 152"/>
                <a:gd name="T65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2" h="147">
                  <a:moveTo>
                    <a:pt x="93" y="147"/>
                  </a:moveTo>
                  <a:cubicBezTo>
                    <a:pt x="79" y="147"/>
                    <a:pt x="65" y="142"/>
                    <a:pt x="55" y="131"/>
                  </a:cubicBezTo>
                  <a:cubicBezTo>
                    <a:pt x="40" y="117"/>
                    <a:pt x="35" y="95"/>
                    <a:pt x="42" y="76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5" y="72"/>
                    <a:pt x="55" y="75"/>
                    <a:pt x="55" y="77"/>
                  </a:cubicBezTo>
                  <a:cubicBezTo>
                    <a:pt x="48" y="93"/>
                    <a:pt x="51" y="111"/>
                    <a:pt x="63" y="123"/>
                  </a:cubicBezTo>
                  <a:cubicBezTo>
                    <a:pt x="73" y="133"/>
                    <a:pt x="87" y="137"/>
                    <a:pt x="101" y="135"/>
                  </a:cubicBezTo>
                  <a:cubicBezTo>
                    <a:pt x="85" y="119"/>
                    <a:pt x="85" y="119"/>
                    <a:pt x="85" y="119"/>
                  </a:cubicBezTo>
                  <a:cubicBezTo>
                    <a:pt x="84" y="118"/>
                    <a:pt x="83" y="116"/>
                    <a:pt x="83" y="114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3" y="86"/>
                    <a:pt x="86" y="83"/>
                    <a:pt x="89" y="83"/>
                  </a:cubicBezTo>
                  <a:cubicBezTo>
                    <a:pt x="114" y="83"/>
                    <a:pt x="114" y="83"/>
                    <a:pt x="114" y="83"/>
                  </a:cubicBezTo>
                  <a:cubicBezTo>
                    <a:pt x="116" y="83"/>
                    <a:pt x="117" y="84"/>
                    <a:pt x="119" y="85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37" y="87"/>
                    <a:pt x="133" y="73"/>
                    <a:pt x="123" y="63"/>
                  </a:cubicBezTo>
                  <a:cubicBezTo>
                    <a:pt x="111" y="51"/>
                    <a:pt x="93" y="48"/>
                    <a:pt x="77" y="55"/>
                  </a:cubicBezTo>
                  <a:cubicBezTo>
                    <a:pt x="75" y="55"/>
                    <a:pt x="72" y="55"/>
                    <a:pt x="70" y="53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95" y="35"/>
                    <a:pt x="117" y="40"/>
                    <a:pt x="131" y="55"/>
                  </a:cubicBezTo>
                  <a:cubicBezTo>
                    <a:pt x="147" y="71"/>
                    <a:pt x="152" y="94"/>
                    <a:pt x="143" y="114"/>
                  </a:cubicBezTo>
                  <a:cubicBezTo>
                    <a:pt x="142" y="116"/>
                    <a:pt x="140" y="117"/>
                    <a:pt x="138" y="118"/>
                  </a:cubicBezTo>
                  <a:cubicBezTo>
                    <a:pt x="137" y="118"/>
                    <a:pt x="135" y="118"/>
                    <a:pt x="133" y="116"/>
                  </a:cubicBezTo>
                  <a:cubicBezTo>
                    <a:pt x="112" y="95"/>
                    <a:pt x="112" y="95"/>
                    <a:pt x="112" y="95"/>
                  </a:cubicBezTo>
                  <a:cubicBezTo>
                    <a:pt x="95" y="95"/>
                    <a:pt x="95" y="95"/>
                    <a:pt x="95" y="95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8" y="135"/>
                    <a:pt x="118" y="137"/>
                    <a:pt x="118" y="139"/>
                  </a:cubicBezTo>
                  <a:cubicBezTo>
                    <a:pt x="117" y="140"/>
                    <a:pt x="116" y="142"/>
                    <a:pt x="114" y="143"/>
                  </a:cubicBezTo>
                  <a:cubicBezTo>
                    <a:pt x="107" y="146"/>
                    <a:pt x="100" y="147"/>
                    <a:pt x="93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grpSp>
        <p:nvGrpSpPr>
          <p:cNvPr id="46" name="Group 124">
            <a:extLst>
              <a:ext uri="{FF2B5EF4-FFF2-40B4-BE49-F238E27FC236}">
                <a16:creationId xmlns:a16="http://schemas.microsoft.com/office/drawing/2014/main" id="{C980BD72-F799-A5F2-44D5-4C00A89D8A7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69382" y="1756320"/>
            <a:ext cx="457753" cy="456681"/>
            <a:chOff x="346" y="2997"/>
            <a:chExt cx="428" cy="427"/>
          </a:xfrm>
          <a:solidFill>
            <a:srgbClr val="FFFFFF"/>
          </a:solidFill>
        </p:grpSpPr>
        <p:sp>
          <p:nvSpPr>
            <p:cNvPr id="48" name="Freeform 125">
              <a:extLst>
                <a:ext uri="{FF2B5EF4-FFF2-40B4-BE49-F238E27FC236}">
                  <a16:creationId xmlns:a16="http://schemas.microsoft.com/office/drawing/2014/main" id="{E9A423F5-6AD4-852E-9929-E13F7DDF8A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" y="3282"/>
              <a:ext cx="89" cy="142"/>
            </a:xfrm>
            <a:custGeom>
              <a:avLst/>
              <a:gdLst>
                <a:gd name="T0" fmla="*/ 54 w 60"/>
                <a:gd name="T1" fmla="*/ 96 h 96"/>
                <a:gd name="T2" fmla="*/ 6 w 60"/>
                <a:gd name="T3" fmla="*/ 96 h 96"/>
                <a:gd name="T4" fmla="*/ 0 w 60"/>
                <a:gd name="T5" fmla="*/ 90 h 96"/>
                <a:gd name="T6" fmla="*/ 0 w 60"/>
                <a:gd name="T7" fmla="*/ 6 h 96"/>
                <a:gd name="T8" fmla="*/ 6 w 60"/>
                <a:gd name="T9" fmla="*/ 0 h 96"/>
                <a:gd name="T10" fmla="*/ 54 w 60"/>
                <a:gd name="T11" fmla="*/ 0 h 96"/>
                <a:gd name="T12" fmla="*/ 60 w 60"/>
                <a:gd name="T13" fmla="*/ 6 h 96"/>
                <a:gd name="T14" fmla="*/ 60 w 60"/>
                <a:gd name="T15" fmla="*/ 90 h 96"/>
                <a:gd name="T16" fmla="*/ 54 w 60"/>
                <a:gd name="T17" fmla="*/ 96 h 96"/>
                <a:gd name="T18" fmla="*/ 12 w 60"/>
                <a:gd name="T19" fmla="*/ 84 h 96"/>
                <a:gd name="T20" fmla="*/ 48 w 60"/>
                <a:gd name="T21" fmla="*/ 84 h 96"/>
                <a:gd name="T22" fmla="*/ 48 w 60"/>
                <a:gd name="T23" fmla="*/ 12 h 96"/>
                <a:gd name="T24" fmla="*/ 12 w 60"/>
                <a:gd name="T25" fmla="*/ 12 h 96"/>
                <a:gd name="T26" fmla="*/ 12 w 60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96">
                  <a:moveTo>
                    <a:pt x="54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3" y="96"/>
                    <a:pt x="0" y="94"/>
                    <a:pt x="0" y="9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4"/>
                    <a:pt x="58" y="96"/>
                    <a:pt x="54" y="96"/>
                  </a:cubicBezTo>
                  <a:close/>
                  <a:moveTo>
                    <a:pt x="12" y="84"/>
                  </a:moveTo>
                  <a:cubicBezTo>
                    <a:pt x="48" y="84"/>
                    <a:pt x="48" y="84"/>
                    <a:pt x="48" y="8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49" name="Freeform 126">
              <a:extLst>
                <a:ext uri="{FF2B5EF4-FFF2-40B4-BE49-F238E27FC236}">
                  <a16:creationId xmlns:a16="http://schemas.microsoft.com/office/drawing/2014/main" id="{4AA80433-A854-FDDB-DE0A-AC11C6D87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" y="3335"/>
              <a:ext cx="320" cy="71"/>
            </a:xfrm>
            <a:custGeom>
              <a:avLst/>
              <a:gdLst>
                <a:gd name="T0" fmla="*/ 210 w 216"/>
                <a:gd name="T1" fmla="*/ 48 h 48"/>
                <a:gd name="T2" fmla="*/ 6 w 216"/>
                <a:gd name="T3" fmla="*/ 48 h 48"/>
                <a:gd name="T4" fmla="*/ 0 w 216"/>
                <a:gd name="T5" fmla="*/ 42 h 48"/>
                <a:gd name="T6" fmla="*/ 6 w 216"/>
                <a:gd name="T7" fmla="*/ 36 h 48"/>
                <a:gd name="T8" fmla="*/ 202 w 216"/>
                <a:gd name="T9" fmla="*/ 36 h 48"/>
                <a:gd name="T10" fmla="*/ 120 w 216"/>
                <a:gd name="T11" fmla="*/ 12 h 48"/>
                <a:gd name="T12" fmla="*/ 36 w 216"/>
                <a:gd name="T13" fmla="*/ 12 h 48"/>
                <a:gd name="T14" fmla="*/ 30 w 216"/>
                <a:gd name="T15" fmla="*/ 6 h 48"/>
                <a:gd name="T16" fmla="*/ 36 w 216"/>
                <a:gd name="T17" fmla="*/ 0 h 48"/>
                <a:gd name="T18" fmla="*/ 120 w 216"/>
                <a:gd name="T19" fmla="*/ 0 h 48"/>
                <a:gd name="T20" fmla="*/ 216 w 216"/>
                <a:gd name="T21" fmla="*/ 42 h 48"/>
                <a:gd name="T22" fmla="*/ 210 w 216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6" h="48">
                  <a:moveTo>
                    <a:pt x="210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6"/>
                    <a:pt x="0" y="42"/>
                  </a:cubicBezTo>
                  <a:cubicBezTo>
                    <a:pt x="0" y="39"/>
                    <a:pt x="3" y="36"/>
                    <a:pt x="6" y="36"/>
                  </a:cubicBezTo>
                  <a:cubicBezTo>
                    <a:pt x="202" y="36"/>
                    <a:pt x="202" y="36"/>
                    <a:pt x="202" y="36"/>
                  </a:cubicBezTo>
                  <a:cubicBezTo>
                    <a:pt x="193" y="25"/>
                    <a:pt x="161" y="12"/>
                    <a:pt x="120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3" y="12"/>
                    <a:pt x="30" y="10"/>
                    <a:pt x="30" y="6"/>
                  </a:cubicBezTo>
                  <a:cubicBezTo>
                    <a:pt x="30" y="3"/>
                    <a:pt x="33" y="0"/>
                    <a:pt x="3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66" y="0"/>
                    <a:pt x="216" y="18"/>
                    <a:pt x="216" y="42"/>
                  </a:cubicBezTo>
                  <a:cubicBezTo>
                    <a:pt x="216" y="46"/>
                    <a:pt x="214" y="48"/>
                    <a:pt x="21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50" name="Freeform 127">
              <a:extLst>
                <a:ext uri="{FF2B5EF4-FFF2-40B4-BE49-F238E27FC236}">
                  <a16:creationId xmlns:a16="http://schemas.microsoft.com/office/drawing/2014/main" id="{B9095408-6C3C-7D50-33A9-48B37D6BE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" y="3300"/>
              <a:ext cx="141" cy="51"/>
            </a:xfrm>
            <a:custGeom>
              <a:avLst/>
              <a:gdLst>
                <a:gd name="T0" fmla="*/ 86 w 95"/>
                <a:gd name="T1" fmla="*/ 35 h 35"/>
                <a:gd name="T2" fmla="*/ 84 w 95"/>
                <a:gd name="T3" fmla="*/ 32 h 35"/>
                <a:gd name="T4" fmla="*/ 42 w 95"/>
                <a:gd name="T5" fmla="*/ 12 h 35"/>
                <a:gd name="T6" fmla="*/ 0 w 95"/>
                <a:gd name="T7" fmla="*/ 12 h 35"/>
                <a:gd name="T8" fmla="*/ 0 w 95"/>
                <a:gd name="T9" fmla="*/ 0 h 35"/>
                <a:gd name="T10" fmla="*/ 42 w 95"/>
                <a:gd name="T11" fmla="*/ 0 h 35"/>
                <a:gd name="T12" fmla="*/ 93 w 95"/>
                <a:gd name="T13" fmla="*/ 24 h 35"/>
                <a:gd name="T14" fmla="*/ 95 w 95"/>
                <a:gd name="T15" fmla="*/ 26 h 35"/>
                <a:gd name="T16" fmla="*/ 86 w 95"/>
                <a:gd name="T1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" h="35">
                  <a:moveTo>
                    <a:pt x="86" y="35"/>
                  </a:moveTo>
                  <a:cubicBezTo>
                    <a:pt x="85" y="34"/>
                    <a:pt x="85" y="33"/>
                    <a:pt x="84" y="32"/>
                  </a:cubicBezTo>
                  <a:cubicBezTo>
                    <a:pt x="77" y="25"/>
                    <a:pt x="65" y="12"/>
                    <a:pt x="42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70" y="0"/>
                    <a:pt x="85" y="16"/>
                    <a:pt x="93" y="24"/>
                  </a:cubicBezTo>
                  <a:cubicBezTo>
                    <a:pt x="93" y="25"/>
                    <a:pt x="94" y="26"/>
                    <a:pt x="95" y="26"/>
                  </a:cubicBezTo>
                  <a:lnTo>
                    <a:pt x="86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51" name="Freeform 128">
              <a:extLst>
                <a:ext uri="{FF2B5EF4-FFF2-40B4-BE49-F238E27FC236}">
                  <a16:creationId xmlns:a16="http://schemas.microsoft.com/office/drawing/2014/main" id="{39E45AAE-1C81-33DE-9AE5-AA152A0350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" y="3086"/>
              <a:ext cx="125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6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6" y="0"/>
                    <a:pt x="84" y="19"/>
                    <a:pt x="84" y="42"/>
                  </a:cubicBezTo>
                  <a:cubicBezTo>
                    <a:pt x="84" y="66"/>
                    <a:pt x="66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6" y="12"/>
                    <a:pt x="12" y="26"/>
                    <a:pt x="12" y="42"/>
                  </a:cubicBezTo>
                  <a:cubicBezTo>
                    <a:pt x="12" y="59"/>
                    <a:pt x="26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52" name="Freeform 129">
              <a:extLst>
                <a:ext uri="{FF2B5EF4-FFF2-40B4-BE49-F238E27FC236}">
                  <a16:creationId xmlns:a16="http://schemas.microsoft.com/office/drawing/2014/main" id="{2B1BF147-ED0E-2D2C-AA24-50D71EC904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" y="2997"/>
              <a:ext cx="302" cy="303"/>
            </a:xfrm>
            <a:custGeom>
              <a:avLst/>
              <a:gdLst>
                <a:gd name="T0" fmla="*/ 78 w 204"/>
                <a:gd name="T1" fmla="*/ 204 h 204"/>
                <a:gd name="T2" fmla="*/ 72 w 204"/>
                <a:gd name="T3" fmla="*/ 181 h 204"/>
                <a:gd name="T4" fmla="*/ 33 w 204"/>
                <a:gd name="T5" fmla="*/ 176 h 204"/>
                <a:gd name="T6" fmla="*/ 1 w 204"/>
                <a:gd name="T7" fmla="*/ 133 h 204"/>
                <a:gd name="T8" fmla="*/ 19 w 204"/>
                <a:gd name="T9" fmla="*/ 116 h 204"/>
                <a:gd name="T10" fmla="*/ 19 w 204"/>
                <a:gd name="T11" fmla="*/ 89 h 204"/>
                <a:gd name="T12" fmla="*/ 1 w 204"/>
                <a:gd name="T13" fmla="*/ 77 h 204"/>
                <a:gd name="T14" fmla="*/ 25 w 204"/>
                <a:gd name="T15" fmla="*/ 31 h 204"/>
                <a:gd name="T16" fmla="*/ 49 w 204"/>
                <a:gd name="T17" fmla="*/ 37 h 204"/>
                <a:gd name="T18" fmla="*/ 72 w 204"/>
                <a:gd name="T19" fmla="*/ 6 h 204"/>
                <a:gd name="T20" fmla="*/ 126 w 204"/>
                <a:gd name="T21" fmla="*/ 0 h 204"/>
                <a:gd name="T22" fmla="*/ 132 w 204"/>
                <a:gd name="T23" fmla="*/ 24 h 204"/>
                <a:gd name="T24" fmla="*/ 170 w 204"/>
                <a:gd name="T25" fmla="*/ 29 h 204"/>
                <a:gd name="T26" fmla="*/ 178 w 204"/>
                <a:gd name="T27" fmla="*/ 31 h 204"/>
                <a:gd name="T28" fmla="*/ 200 w 204"/>
                <a:gd name="T29" fmla="*/ 80 h 204"/>
                <a:gd name="T30" fmla="*/ 185 w 204"/>
                <a:gd name="T31" fmla="*/ 102 h 204"/>
                <a:gd name="T32" fmla="*/ 200 w 204"/>
                <a:gd name="T33" fmla="*/ 124 h 204"/>
                <a:gd name="T34" fmla="*/ 178 w 204"/>
                <a:gd name="T35" fmla="*/ 174 h 204"/>
                <a:gd name="T36" fmla="*/ 170 w 204"/>
                <a:gd name="T37" fmla="*/ 176 h 204"/>
                <a:gd name="T38" fmla="*/ 132 w 204"/>
                <a:gd name="T39" fmla="*/ 181 h 204"/>
                <a:gd name="T40" fmla="*/ 126 w 204"/>
                <a:gd name="T41" fmla="*/ 204 h 204"/>
                <a:gd name="T42" fmla="*/ 120 w 204"/>
                <a:gd name="T43" fmla="*/ 192 h 204"/>
                <a:gd name="T44" fmla="*/ 125 w 204"/>
                <a:gd name="T45" fmla="*/ 171 h 204"/>
                <a:gd name="T46" fmla="*/ 157 w 204"/>
                <a:gd name="T47" fmla="*/ 155 h 204"/>
                <a:gd name="T48" fmla="*/ 189 w 204"/>
                <a:gd name="T49" fmla="*/ 132 h 204"/>
                <a:gd name="T50" fmla="*/ 172 w 204"/>
                <a:gd name="T51" fmla="*/ 118 h 204"/>
                <a:gd name="T52" fmla="*/ 172 w 204"/>
                <a:gd name="T53" fmla="*/ 87 h 204"/>
                <a:gd name="T54" fmla="*/ 188 w 204"/>
                <a:gd name="T55" fmla="*/ 73 h 204"/>
                <a:gd name="T56" fmla="*/ 157 w 204"/>
                <a:gd name="T57" fmla="*/ 50 h 204"/>
                <a:gd name="T58" fmla="*/ 125 w 204"/>
                <a:gd name="T59" fmla="*/ 34 h 204"/>
                <a:gd name="T60" fmla="*/ 120 w 204"/>
                <a:gd name="T61" fmla="*/ 12 h 204"/>
                <a:gd name="T62" fmla="*/ 84 w 204"/>
                <a:gd name="T63" fmla="*/ 28 h 204"/>
                <a:gd name="T64" fmla="*/ 54 w 204"/>
                <a:gd name="T65" fmla="*/ 49 h 204"/>
                <a:gd name="T66" fmla="*/ 33 w 204"/>
                <a:gd name="T67" fmla="*/ 42 h 204"/>
                <a:gd name="T68" fmla="*/ 28 w 204"/>
                <a:gd name="T69" fmla="*/ 81 h 204"/>
                <a:gd name="T70" fmla="*/ 30 w 204"/>
                <a:gd name="T71" fmla="*/ 102 h 204"/>
                <a:gd name="T72" fmla="*/ 28 w 204"/>
                <a:gd name="T73" fmla="*/ 124 h 204"/>
                <a:gd name="T74" fmla="*/ 33 w 204"/>
                <a:gd name="T75" fmla="*/ 163 h 204"/>
                <a:gd name="T76" fmla="*/ 54 w 204"/>
                <a:gd name="T77" fmla="*/ 156 h 204"/>
                <a:gd name="T78" fmla="*/ 84 w 204"/>
                <a:gd name="T79" fmla="*/ 17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4" h="204">
                  <a:moveTo>
                    <a:pt x="126" y="204"/>
                  </a:moveTo>
                  <a:cubicBezTo>
                    <a:pt x="78" y="204"/>
                    <a:pt x="78" y="204"/>
                    <a:pt x="78" y="204"/>
                  </a:cubicBezTo>
                  <a:cubicBezTo>
                    <a:pt x="75" y="204"/>
                    <a:pt x="72" y="202"/>
                    <a:pt x="72" y="198"/>
                  </a:cubicBezTo>
                  <a:cubicBezTo>
                    <a:pt x="72" y="181"/>
                    <a:pt x="72" y="181"/>
                    <a:pt x="72" y="181"/>
                  </a:cubicBezTo>
                  <a:cubicBezTo>
                    <a:pt x="64" y="178"/>
                    <a:pt x="56" y="174"/>
                    <a:pt x="49" y="168"/>
                  </a:cubicBezTo>
                  <a:cubicBezTo>
                    <a:pt x="33" y="176"/>
                    <a:pt x="33" y="176"/>
                    <a:pt x="33" y="176"/>
                  </a:cubicBezTo>
                  <a:cubicBezTo>
                    <a:pt x="30" y="178"/>
                    <a:pt x="27" y="177"/>
                    <a:pt x="25" y="174"/>
                  </a:cubicBezTo>
                  <a:cubicBezTo>
                    <a:pt x="1" y="133"/>
                    <a:pt x="1" y="133"/>
                    <a:pt x="1" y="133"/>
                  </a:cubicBezTo>
                  <a:cubicBezTo>
                    <a:pt x="0" y="130"/>
                    <a:pt x="0" y="126"/>
                    <a:pt x="3" y="124"/>
                  </a:cubicBezTo>
                  <a:cubicBezTo>
                    <a:pt x="19" y="116"/>
                    <a:pt x="19" y="116"/>
                    <a:pt x="19" y="116"/>
                  </a:cubicBezTo>
                  <a:cubicBezTo>
                    <a:pt x="18" y="111"/>
                    <a:pt x="18" y="107"/>
                    <a:pt x="18" y="102"/>
                  </a:cubicBezTo>
                  <a:cubicBezTo>
                    <a:pt x="18" y="98"/>
                    <a:pt x="18" y="94"/>
                    <a:pt x="19" y="89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2" y="80"/>
                    <a:pt x="1" y="78"/>
                    <a:pt x="1" y="77"/>
                  </a:cubicBezTo>
                  <a:cubicBezTo>
                    <a:pt x="0" y="75"/>
                    <a:pt x="0" y="74"/>
                    <a:pt x="1" y="72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7" y="28"/>
                    <a:pt x="31" y="27"/>
                    <a:pt x="34" y="28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56" y="31"/>
                    <a:pt x="64" y="27"/>
                    <a:pt x="72" y="24"/>
                  </a:cubicBezTo>
                  <a:cubicBezTo>
                    <a:pt x="72" y="6"/>
                    <a:pt x="72" y="6"/>
                    <a:pt x="72" y="6"/>
                  </a:cubicBezTo>
                  <a:cubicBezTo>
                    <a:pt x="72" y="3"/>
                    <a:pt x="75" y="0"/>
                    <a:pt x="78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30" y="0"/>
                    <a:pt x="132" y="3"/>
                    <a:pt x="132" y="6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1" y="27"/>
                    <a:pt x="148" y="32"/>
                    <a:pt x="155" y="37"/>
                  </a:cubicBezTo>
                  <a:cubicBezTo>
                    <a:pt x="170" y="29"/>
                    <a:pt x="170" y="29"/>
                    <a:pt x="170" y="29"/>
                  </a:cubicBezTo>
                  <a:cubicBezTo>
                    <a:pt x="171" y="28"/>
                    <a:pt x="173" y="27"/>
                    <a:pt x="174" y="28"/>
                  </a:cubicBezTo>
                  <a:cubicBezTo>
                    <a:pt x="176" y="28"/>
                    <a:pt x="177" y="29"/>
                    <a:pt x="178" y="31"/>
                  </a:cubicBezTo>
                  <a:cubicBezTo>
                    <a:pt x="202" y="72"/>
                    <a:pt x="202" y="72"/>
                    <a:pt x="202" y="72"/>
                  </a:cubicBezTo>
                  <a:cubicBezTo>
                    <a:pt x="203" y="75"/>
                    <a:pt x="202" y="79"/>
                    <a:pt x="200" y="80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5" y="94"/>
                    <a:pt x="185" y="98"/>
                    <a:pt x="185" y="102"/>
                  </a:cubicBezTo>
                  <a:cubicBezTo>
                    <a:pt x="185" y="107"/>
                    <a:pt x="185" y="111"/>
                    <a:pt x="184" y="116"/>
                  </a:cubicBezTo>
                  <a:cubicBezTo>
                    <a:pt x="200" y="124"/>
                    <a:pt x="200" y="124"/>
                    <a:pt x="200" y="124"/>
                  </a:cubicBezTo>
                  <a:cubicBezTo>
                    <a:pt x="203" y="126"/>
                    <a:pt x="204" y="130"/>
                    <a:pt x="202" y="133"/>
                  </a:cubicBezTo>
                  <a:cubicBezTo>
                    <a:pt x="178" y="174"/>
                    <a:pt x="178" y="174"/>
                    <a:pt x="178" y="174"/>
                  </a:cubicBezTo>
                  <a:cubicBezTo>
                    <a:pt x="177" y="176"/>
                    <a:pt x="176" y="177"/>
                    <a:pt x="174" y="177"/>
                  </a:cubicBezTo>
                  <a:cubicBezTo>
                    <a:pt x="173" y="177"/>
                    <a:pt x="171" y="177"/>
                    <a:pt x="170" y="176"/>
                  </a:cubicBezTo>
                  <a:cubicBezTo>
                    <a:pt x="155" y="168"/>
                    <a:pt x="155" y="168"/>
                    <a:pt x="155" y="168"/>
                  </a:cubicBezTo>
                  <a:cubicBezTo>
                    <a:pt x="148" y="173"/>
                    <a:pt x="141" y="178"/>
                    <a:pt x="132" y="181"/>
                  </a:cubicBezTo>
                  <a:cubicBezTo>
                    <a:pt x="132" y="198"/>
                    <a:pt x="132" y="198"/>
                    <a:pt x="132" y="198"/>
                  </a:cubicBezTo>
                  <a:cubicBezTo>
                    <a:pt x="132" y="202"/>
                    <a:pt x="130" y="204"/>
                    <a:pt x="126" y="204"/>
                  </a:cubicBezTo>
                  <a:close/>
                  <a:moveTo>
                    <a:pt x="84" y="192"/>
                  </a:moveTo>
                  <a:cubicBezTo>
                    <a:pt x="120" y="192"/>
                    <a:pt x="120" y="192"/>
                    <a:pt x="120" y="192"/>
                  </a:cubicBezTo>
                  <a:cubicBezTo>
                    <a:pt x="120" y="177"/>
                    <a:pt x="120" y="177"/>
                    <a:pt x="120" y="177"/>
                  </a:cubicBezTo>
                  <a:cubicBezTo>
                    <a:pt x="120" y="174"/>
                    <a:pt x="122" y="172"/>
                    <a:pt x="125" y="171"/>
                  </a:cubicBezTo>
                  <a:cubicBezTo>
                    <a:pt x="135" y="168"/>
                    <a:pt x="142" y="163"/>
                    <a:pt x="150" y="156"/>
                  </a:cubicBezTo>
                  <a:cubicBezTo>
                    <a:pt x="152" y="154"/>
                    <a:pt x="155" y="154"/>
                    <a:pt x="157" y="155"/>
                  </a:cubicBezTo>
                  <a:cubicBezTo>
                    <a:pt x="171" y="163"/>
                    <a:pt x="171" y="163"/>
                    <a:pt x="171" y="163"/>
                  </a:cubicBezTo>
                  <a:cubicBezTo>
                    <a:pt x="189" y="132"/>
                    <a:pt x="189" y="132"/>
                    <a:pt x="189" y="132"/>
                  </a:cubicBezTo>
                  <a:cubicBezTo>
                    <a:pt x="175" y="124"/>
                    <a:pt x="175" y="124"/>
                    <a:pt x="175" y="124"/>
                  </a:cubicBezTo>
                  <a:cubicBezTo>
                    <a:pt x="173" y="123"/>
                    <a:pt x="171" y="120"/>
                    <a:pt x="172" y="118"/>
                  </a:cubicBezTo>
                  <a:cubicBezTo>
                    <a:pt x="173" y="113"/>
                    <a:pt x="173" y="108"/>
                    <a:pt x="173" y="102"/>
                  </a:cubicBezTo>
                  <a:cubicBezTo>
                    <a:pt x="173" y="98"/>
                    <a:pt x="173" y="92"/>
                    <a:pt x="172" y="87"/>
                  </a:cubicBezTo>
                  <a:cubicBezTo>
                    <a:pt x="171" y="85"/>
                    <a:pt x="173" y="82"/>
                    <a:pt x="175" y="81"/>
                  </a:cubicBezTo>
                  <a:cubicBezTo>
                    <a:pt x="188" y="73"/>
                    <a:pt x="188" y="73"/>
                    <a:pt x="188" y="73"/>
                  </a:cubicBezTo>
                  <a:cubicBezTo>
                    <a:pt x="170" y="42"/>
                    <a:pt x="170" y="42"/>
                    <a:pt x="170" y="42"/>
                  </a:cubicBezTo>
                  <a:cubicBezTo>
                    <a:pt x="157" y="50"/>
                    <a:pt x="157" y="50"/>
                    <a:pt x="157" y="50"/>
                  </a:cubicBezTo>
                  <a:cubicBezTo>
                    <a:pt x="155" y="51"/>
                    <a:pt x="152" y="51"/>
                    <a:pt x="150" y="49"/>
                  </a:cubicBezTo>
                  <a:cubicBezTo>
                    <a:pt x="142" y="42"/>
                    <a:pt x="135" y="37"/>
                    <a:pt x="125" y="34"/>
                  </a:cubicBezTo>
                  <a:cubicBezTo>
                    <a:pt x="122" y="33"/>
                    <a:pt x="120" y="31"/>
                    <a:pt x="120" y="28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31"/>
                    <a:pt x="83" y="33"/>
                    <a:pt x="80" y="34"/>
                  </a:cubicBezTo>
                  <a:cubicBezTo>
                    <a:pt x="70" y="37"/>
                    <a:pt x="62" y="41"/>
                    <a:pt x="54" y="49"/>
                  </a:cubicBezTo>
                  <a:cubicBezTo>
                    <a:pt x="52" y="51"/>
                    <a:pt x="49" y="51"/>
                    <a:pt x="47" y="50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15" y="73"/>
                    <a:pt x="15" y="73"/>
                    <a:pt x="15" y="73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31" y="82"/>
                    <a:pt x="32" y="85"/>
                    <a:pt x="31" y="87"/>
                  </a:cubicBezTo>
                  <a:cubicBezTo>
                    <a:pt x="30" y="92"/>
                    <a:pt x="30" y="97"/>
                    <a:pt x="30" y="102"/>
                  </a:cubicBezTo>
                  <a:cubicBezTo>
                    <a:pt x="30" y="108"/>
                    <a:pt x="30" y="113"/>
                    <a:pt x="31" y="117"/>
                  </a:cubicBezTo>
                  <a:cubicBezTo>
                    <a:pt x="32" y="120"/>
                    <a:pt x="30" y="123"/>
                    <a:pt x="28" y="124"/>
                  </a:cubicBezTo>
                  <a:cubicBezTo>
                    <a:pt x="15" y="132"/>
                    <a:pt x="15" y="132"/>
                    <a:pt x="15" y="132"/>
                  </a:cubicBezTo>
                  <a:cubicBezTo>
                    <a:pt x="33" y="163"/>
                    <a:pt x="33" y="163"/>
                    <a:pt x="33" y="163"/>
                  </a:cubicBezTo>
                  <a:cubicBezTo>
                    <a:pt x="47" y="155"/>
                    <a:pt x="47" y="155"/>
                    <a:pt x="47" y="155"/>
                  </a:cubicBezTo>
                  <a:cubicBezTo>
                    <a:pt x="49" y="154"/>
                    <a:pt x="52" y="154"/>
                    <a:pt x="54" y="156"/>
                  </a:cubicBezTo>
                  <a:cubicBezTo>
                    <a:pt x="62" y="164"/>
                    <a:pt x="70" y="168"/>
                    <a:pt x="80" y="171"/>
                  </a:cubicBezTo>
                  <a:cubicBezTo>
                    <a:pt x="83" y="172"/>
                    <a:pt x="84" y="174"/>
                    <a:pt x="84" y="177"/>
                  </a:cubicBezTo>
                  <a:lnTo>
                    <a:pt x="84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EBEB6245-E8BA-CD30-E200-4292F8E0AC42}"/>
              </a:ext>
            </a:extLst>
          </p:cNvPr>
          <p:cNvSpPr txBox="1"/>
          <p:nvPr/>
        </p:nvSpPr>
        <p:spPr>
          <a:xfrm>
            <a:off x="1996893" y="1734757"/>
            <a:ext cx="223207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200"/>
              <a:t>X-</a:t>
            </a:r>
            <a:r>
              <a:rPr lang="pl-PL" sz="1200" err="1"/>
              <a:t>sell</a:t>
            </a:r>
            <a:r>
              <a:rPr lang="pl-PL" sz="1200"/>
              <a:t> and </a:t>
            </a:r>
            <a:r>
              <a:rPr lang="pl-PL" sz="1200" err="1"/>
              <a:t>up-sell</a:t>
            </a:r>
            <a:r>
              <a:rPr lang="pl-PL" sz="120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200" err="1"/>
              <a:t>Retention</a:t>
            </a:r>
            <a:r>
              <a:rPr lang="pl-PL" sz="1200"/>
              <a:t> and </a:t>
            </a:r>
            <a:r>
              <a:rPr lang="pl-PL" sz="1200" err="1"/>
              <a:t>winback</a:t>
            </a:r>
            <a:endParaRPr lang="pl-PL" sz="12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200"/>
              <a:t>XXX</a:t>
            </a:r>
            <a:endParaRPr lang="en-US" sz="120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91D529E-98E7-A7A9-B677-A47EB153F2D3}"/>
              </a:ext>
            </a:extLst>
          </p:cNvPr>
          <p:cNvSpPr txBox="1"/>
          <p:nvPr/>
        </p:nvSpPr>
        <p:spPr>
          <a:xfrm>
            <a:off x="4520325" y="1734757"/>
            <a:ext cx="223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200"/>
              <a:t>RT and </a:t>
            </a:r>
            <a:r>
              <a:rPr lang="pl-PL" sz="1200" err="1"/>
              <a:t>batch</a:t>
            </a:r>
            <a:r>
              <a:rPr lang="pl-PL" sz="120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200"/>
              <a:t>NB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200"/>
              <a:t>Content </a:t>
            </a:r>
            <a:r>
              <a:rPr lang="pl-PL" sz="1200" err="1"/>
              <a:t>decisioning</a:t>
            </a:r>
            <a:endParaRPr lang="en-US" sz="120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CCE45B8-6FAC-E619-0E42-BA748902A352}"/>
              </a:ext>
            </a:extLst>
          </p:cNvPr>
          <p:cNvSpPr txBox="1"/>
          <p:nvPr/>
        </p:nvSpPr>
        <p:spPr>
          <a:xfrm>
            <a:off x="7039558" y="1734757"/>
            <a:ext cx="222298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200" err="1"/>
              <a:t>Omni</a:t>
            </a:r>
            <a:r>
              <a:rPr lang="pl-PL" sz="1200"/>
              <a:t>-chann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200"/>
              <a:t>Digital </a:t>
            </a:r>
            <a:r>
              <a:rPr lang="pl-PL" sz="1200" err="1"/>
              <a:t>channels</a:t>
            </a:r>
            <a:r>
              <a:rPr lang="pl-PL" sz="1200"/>
              <a:t> </a:t>
            </a:r>
            <a:r>
              <a:rPr lang="pl-PL" sz="1200" err="1"/>
              <a:t>focus</a:t>
            </a:r>
            <a:r>
              <a:rPr lang="pl-PL" sz="1200"/>
              <a:t> </a:t>
            </a:r>
            <a:endParaRPr lang="en-US" sz="120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E663531-9ED4-18FA-D4DD-6C26BB3BE7D6}"/>
              </a:ext>
            </a:extLst>
          </p:cNvPr>
          <p:cNvSpPr txBox="1"/>
          <p:nvPr/>
        </p:nvSpPr>
        <p:spPr>
          <a:xfrm>
            <a:off x="9567043" y="1734757"/>
            <a:ext cx="222298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200"/>
              <a:t>XXX</a:t>
            </a:r>
            <a:endParaRPr lang="en-US" sz="120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5F1FDBB-BF42-325C-D16A-8644A762D5B6}"/>
              </a:ext>
            </a:extLst>
          </p:cNvPr>
          <p:cNvSpPr txBox="1"/>
          <p:nvPr/>
        </p:nvSpPr>
        <p:spPr>
          <a:xfrm>
            <a:off x="5330359" y="3084924"/>
            <a:ext cx="327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200"/>
              <a:t>XXX</a:t>
            </a:r>
            <a:endParaRPr lang="en-US" sz="1200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4AC522F-4490-FB64-C359-132AB493FB84}"/>
              </a:ext>
            </a:extLst>
          </p:cNvPr>
          <p:cNvSpPr txBox="1"/>
          <p:nvPr/>
        </p:nvSpPr>
        <p:spPr>
          <a:xfrm>
            <a:off x="8663752" y="3084924"/>
            <a:ext cx="327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200"/>
              <a:t>XXX</a:t>
            </a:r>
            <a:endParaRPr lang="en-US" sz="1200"/>
          </a:p>
        </p:txBody>
      </p:sp>
      <p:pic>
        <p:nvPicPr>
          <p:cNvPr id="59" name="Picture 2" descr="The Python Logo | Python Software Foundation">
            <a:extLst>
              <a:ext uri="{FF2B5EF4-FFF2-40B4-BE49-F238E27FC236}">
                <a16:creationId xmlns:a16="http://schemas.microsoft.com/office/drawing/2014/main" id="{6D51EC00-FEA5-B7F7-6933-ABBE1CF334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68" t="9486" r="6088" b="12959"/>
          <a:stretch/>
        </p:blipFill>
        <p:spPr bwMode="auto">
          <a:xfrm>
            <a:off x="1453864" y="5507566"/>
            <a:ext cx="1110638" cy="349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4">
            <a:extLst>
              <a:ext uri="{FF2B5EF4-FFF2-40B4-BE49-F238E27FC236}">
                <a16:creationId xmlns:a16="http://schemas.microsoft.com/office/drawing/2014/main" id="{8B58E9FF-14C8-E58E-0947-6E9B1E2BAA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6782" y="5522170"/>
            <a:ext cx="366794" cy="284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6">
            <a:extLst>
              <a:ext uri="{FF2B5EF4-FFF2-40B4-BE49-F238E27FC236}">
                <a16:creationId xmlns:a16="http://schemas.microsoft.com/office/drawing/2014/main" id="{6CB08B27-7163-F276-FF0A-BDFD040E95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4125" y="6067076"/>
            <a:ext cx="668318" cy="274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16">
            <a:extLst>
              <a:ext uri="{FF2B5EF4-FFF2-40B4-BE49-F238E27FC236}">
                <a16:creationId xmlns:a16="http://schemas.microsoft.com/office/drawing/2014/main" id="{3C54E145-F2A0-73EE-7711-E553DBE50B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5856" y="5464049"/>
            <a:ext cx="673226" cy="349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18" descr="Databricks logo transparent PNG - StickPNG">
            <a:extLst>
              <a:ext uri="{FF2B5EF4-FFF2-40B4-BE49-F238E27FC236}">
                <a16:creationId xmlns:a16="http://schemas.microsoft.com/office/drawing/2014/main" id="{217AD313-C207-C408-4421-166522D19A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87" t="31731" r="10158" b="35167"/>
          <a:stretch/>
        </p:blipFill>
        <p:spPr bwMode="auto">
          <a:xfrm>
            <a:off x="1427927" y="6076212"/>
            <a:ext cx="972994" cy="21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0" descr="Apache Airflow - Wikipedia">
            <a:extLst>
              <a:ext uri="{FF2B5EF4-FFF2-40B4-BE49-F238E27FC236}">
                <a16:creationId xmlns:a16="http://schemas.microsoft.com/office/drawing/2014/main" id="{B148756D-3A4C-869C-EDBA-791097FE8A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5101" y="6137798"/>
            <a:ext cx="708905" cy="274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22">
            <a:extLst>
              <a:ext uri="{FF2B5EF4-FFF2-40B4-BE49-F238E27FC236}">
                <a16:creationId xmlns:a16="http://schemas.microsoft.com/office/drawing/2014/main" id="{4D295B68-EE3B-3A0B-8C48-78A324FD9A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1361" y="5495631"/>
            <a:ext cx="401677" cy="361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24" descr="Sql server - Free logo icons">
            <a:extLst>
              <a:ext uri="{FF2B5EF4-FFF2-40B4-BE49-F238E27FC236}">
                <a16:creationId xmlns:a16="http://schemas.microsoft.com/office/drawing/2014/main" id="{599E8E1B-BA13-0430-0527-9E8E6CFACA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2491" y="6031562"/>
            <a:ext cx="416949" cy="416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32">
            <a:extLst>
              <a:ext uri="{FF2B5EF4-FFF2-40B4-BE49-F238E27FC236}">
                <a16:creationId xmlns:a16="http://schemas.microsoft.com/office/drawing/2014/main" id="{F1944B3C-FA7B-8DC0-7894-0B13884179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219897" y="6055870"/>
            <a:ext cx="1157672" cy="287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36" descr="Has the time finally come for PostgreSQL? | ZDNET">
            <a:extLst>
              <a:ext uri="{FF2B5EF4-FFF2-40B4-BE49-F238E27FC236}">
                <a16:creationId xmlns:a16="http://schemas.microsoft.com/office/drawing/2014/main" id="{FE29083B-61FB-CBB9-936A-60F72E0C88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5348" y="5464672"/>
            <a:ext cx="624549" cy="468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38" descr="Power BI Vector Logo">
            <a:extLst>
              <a:ext uri="{FF2B5EF4-FFF2-40B4-BE49-F238E27FC236}">
                <a16:creationId xmlns:a16="http://schemas.microsoft.com/office/drawing/2014/main" id="{7D21D5E5-5F66-2AC4-6A42-BE0572B2077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327" b="34549"/>
          <a:stretch/>
        </p:blipFill>
        <p:spPr bwMode="auto">
          <a:xfrm>
            <a:off x="3376987" y="6039043"/>
            <a:ext cx="964910" cy="300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4" descr="Firebase cloud notifications on the web with react and redux. ( FCM/  FIREBASE/NOTIFICATIONS )">
            <a:extLst>
              <a:ext uri="{FF2B5EF4-FFF2-40B4-BE49-F238E27FC236}">
                <a16:creationId xmlns:a16="http://schemas.microsoft.com/office/drawing/2014/main" id="{457E934A-03A3-6A66-DCF4-37E6661E36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0359" y="5499406"/>
            <a:ext cx="1149444" cy="429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8">
            <a:extLst>
              <a:ext uri="{FF2B5EF4-FFF2-40B4-BE49-F238E27FC236}">
                <a16:creationId xmlns:a16="http://schemas.microsoft.com/office/drawing/2014/main" id="{A64A97B5-E7C9-3E23-282E-7F9499BCC8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4980" y="5514890"/>
            <a:ext cx="702192" cy="420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10">
            <a:extLst>
              <a:ext uri="{FF2B5EF4-FFF2-40B4-BE49-F238E27FC236}">
                <a16:creationId xmlns:a16="http://schemas.microsoft.com/office/drawing/2014/main" id="{929F05DC-CFD0-CFA2-7DBC-9B055E9E1E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5580" y="6065345"/>
            <a:ext cx="936985" cy="270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14" descr="See Introduction to Google Cloud at Google Developer Student Clubs Nitte  Meenakshi Institute of Technology - Bengaluru">
            <a:extLst>
              <a:ext uri="{FF2B5EF4-FFF2-40B4-BE49-F238E27FC236}">
                <a16:creationId xmlns:a16="http://schemas.microsoft.com/office/drawing/2014/main" id="{775AA2EF-CFC3-2147-B5ED-3E947F281E0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023" b="14218"/>
          <a:stretch/>
        </p:blipFill>
        <p:spPr bwMode="auto">
          <a:xfrm>
            <a:off x="10840487" y="5357717"/>
            <a:ext cx="936984" cy="672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22" descr="Logo&#10;&#10;Description automatically generated">
            <a:extLst>
              <a:ext uri="{FF2B5EF4-FFF2-40B4-BE49-F238E27FC236}">
                <a16:creationId xmlns:a16="http://schemas.microsoft.com/office/drawing/2014/main" id="{DF222CC9-8EBB-94EB-4156-FAFCD5638D10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7553212" y="5541346"/>
            <a:ext cx="1563714" cy="312226"/>
          </a:xfrm>
          <a:prstGeom prst="rect">
            <a:avLst/>
          </a:prstGeom>
        </p:spPr>
      </p:pic>
      <p:pic>
        <p:nvPicPr>
          <p:cNvPr id="80" name="Picture 54" descr="Logo&#10;&#10;Description automatically generated">
            <a:extLst>
              <a:ext uri="{FF2B5EF4-FFF2-40B4-BE49-F238E27FC236}">
                <a16:creationId xmlns:a16="http://schemas.microsoft.com/office/drawing/2014/main" id="{833F3650-0E7A-8EF9-ABE6-8387555AE76E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8391541" y="5959906"/>
            <a:ext cx="1193232" cy="303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0350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Rectangle 364">
            <a:extLst>
              <a:ext uri="{FF2B5EF4-FFF2-40B4-BE49-F238E27FC236}">
                <a16:creationId xmlns:a16="http://schemas.microsoft.com/office/drawing/2014/main" id="{EE782C3F-C94F-3415-05E2-30C77D58C065}"/>
              </a:ext>
            </a:extLst>
          </p:cNvPr>
          <p:cNvSpPr/>
          <p:nvPr/>
        </p:nvSpPr>
        <p:spPr>
          <a:xfrm>
            <a:off x="1299653" y="6858000"/>
            <a:ext cx="4599870" cy="32133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E8A82B-C4D1-4A09-9EC8-5D93EACE1C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E8A82B-C4D1-4A09-9EC8-5D93EACE1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2558906F-C64F-EF33-2CE7-EE97543099D3}"/>
              </a:ext>
            </a:extLst>
          </p:cNvPr>
          <p:cNvSpPr txBox="1">
            <a:spLocks/>
          </p:cNvSpPr>
          <p:nvPr/>
        </p:nvSpPr>
        <p:spPr>
          <a:xfrm>
            <a:off x="3422452" y="7257542"/>
            <a:ext cx="2409783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I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nsultants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/>
                <a:ea typeface="+mn-ea"/>
                <a:cs typeface="+mn-cs"/>
              </a:rPr>
              <a:t>in nearshore/offshore locations</a:t>
            </a:r>
            <a:endParaRPr kumimoji="0" lang="pl-PL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CCCFAC07-3EB2-FA6A-3A82-2958ED1F5B27}"/>
              </a:ext>
            </a:extLst>
          </p:cNvPr>
          <p:cNvSpPr txBox="1">
            <a:spLocks/>
          </p:cNvSpPr>
          <p:nvPr/>
        </p:nvSpPr>
        <p:spPr>
          <a:xfrm>
            <a:off x="2258564" y="7251350"/>
            <a:ext cx="1393371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60</a:t>
            </a:r>
            <a:r>
              <a:rPr kumimoji="0" lang="pl-PL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0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+</a:t>
            </a:r>
          </a:p>
        </p:txBody>
      </p:sp>
      <p:sp>
        <p:nvSpPr>
          <p:cNvPr id="73" name="Text Placeholder 9">
            <a:extLst>
              <a:ext uri="{FF2B5EF4-FFF2-40B4-BE49-F238E27FC236}">
                <a16:creationId xmlns:a16="http://schemas.microsoft.com/office/drawing/2014/main" id="{07F84233-924F-17DC-8C7F-2B01BAB0267E}"/>
              </a:ext>
            </a:extLst>
          </p:cNvPr>
          <p:cNvSpPr txBox="1">
            <a:spLocks/>
          </p:cNvSpPr>
          <p:nvPr/>
        </p:nvSpPr>
        <p:spPr>
          <a:xfrm>
            <a:off x="1538277" y="8165979"/>
            <a:ext cx="3931064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lping with: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285" name="Group 26">
            <a:extLst>
              <a:ext uri="{FF2B5EF4-FFF2-40B4-BE49-F238E27FC236}">
                <a16:creationId xmlns:a16="http://schemas.microsoft.com/office/drawing/2014/main" id="{C592E709-2024-BDF5-944E-3A75936A21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575451" y="7054934"/>
            <a:ext cx="761527" cy="689879"/>
            <a:chOff x="3614" y="1720"/>
            <a:chExt cx="454" cy="385"/>
          </a:xfrm>
          <a:solidFill>
            <a:schemeClr val="tx1">
              <a:lumMod val="95000"/>
              <a:lumOff val="5000"/>
            </a:schemeClr>
          </a:solidFill>
        </p:grpSpPr>
        <p:sp>
          <p:nvSpPr>
            <p:cNvPr id="286" name="Freeform 27">
              <a:extLst>
                <a:ext uri="{FF2B5EF4-FFF2-40B4-BE49-F238E27FC236}">
                  <a16:creationId xmlns:a16="http://schemas.microsoft.com/office/drawing/2014/main" id="{1E597458-4B0B-2C3E-ADE4-343C0D2C06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" y="1720"/>
              <a:ext cx="142" cy="189"/>
            </a:xfrm>
            <a:custGeom>
              <a:avLst/>
              <a:gdLst>
                <a:gd name="T0" fmla="*/ 10 w 60"/>
                <a:gd name="T1" fmla="*/ 51 h 80"/>
                <a:gd name="T2" fmla="*/ 14 w 60"/>
                <a:gd name="T3" fmla="*/ 64 h 80"/>
                <a:gd name="T4" fmla="*/ 14 w 60"/>
                <a:gd name="T5" fmla="*/ 72 h 80"/>
                <a:gd name="T6" fmla="*/ 30 w 60"/>
                <a:gd name="T7" fmla="*/ 80 h 80"/>
                <a:gd name="T8" fmla="*/ 46 w 60"/>
                <a:gd name="T9" fmla="*/ 72 h 80"/>
                <a:gd name="T10" fmla="*/ 46 w 60"/>
                <a:gd name="T11" fmla="*/ 64 h 80"/>
                <a:gd name="T12" fmla="*/ 50 w 60"/>
                <a:gd name="T13" fmla="*/ 51 h 80"/>
                <a:gd name="T14" fmla="*/ 55 w 60"/>
                <a:gd name="T15" fmla="*/ 50 h 80"/>
                <a:gd name="T16" fmla="*/ 58 w 60"/>
                <a:gd name="T17" fmla="*/ 36 h 80"/>
                <a:gd name="T18" fmla="*/ 54 w 60"/>
                <a:gd name="T19" fmla="*/ 34 h 80"/>
                <a:gd name="T20" fmla="*/ 54 w 60"/>
                <a:gd name="T21" fmla="*/ 21 h 80"/>
                <a:gd name="T22" fmla="*/ 45 w 60"/>
                <a:gd name="T23" fmla="*/ 8 h 80"/>
                <a:gd name="T24" fmla="*/ 30 w 60"/>
                <a:gd name="T25" fmla="*/ 0 h 80"/>
                <a:gd name="T26" fmla="*/ 6 w 60"/>
                <a:gd name="T27" fmla="*/ 20 h 80"/>
                <a:gd name="T28" fmla="*/ 6 w 60"/>
                <a:gd name="T29" fmla="*/ 34 h 80"/>
                <a:gd name="T30" fmla="*/ 2 w 60"/>
                <a:gd name="T31" fmla="*/ 36 h 80"/>
                <a:gd name="T32" fmla="*/ 5 w 60"/>
                <a:gd name="T33" fmla="*/ 50 h 80"/>
                <a:gd name="T34" fmla="*/ 10 w 60"/>
                <a:gd name="T35" fmla="*/ 5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" h="80">
                  <a:moveTo>
                    <a:pt x="10" y="51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30" y="80"/>
                    <a:pt x="30" y="80"/>
                    <a:pt x="30" y="80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1"/>
                    <a:pt x="53" y="51"/>
                    <a:pt x="55" y="50"/>
                  </a:cubicBezTo>
                  <a:cubicBezTo>
                    <a:pt x="58" y="47"/>
                    <a:pt x="60" y="40"/>
                    <a:pt x="58" y="36"/>
                  </a:cubicBezTo>
                  <a:cubicBezTo>
                    <a:pt x="57" y="33"/>
                    <a:pt x="54" y="34"/>
                    <a:pt x="54" y="34"/>
                  </a:cubicBezTo>
                  <a:cubicBezTo>
                    <a:pt x="54" y="34"/>
                    <a:pt x="54" y="28"/>
                    <a:pt x="54" y="21"/>
                  </a:cubicBezTo>
                  <a:cubicBezTo>
                    <a:pt x="54" y="13"/>
                    <a:pt x="52" y="8"/>
                    <a:pt x="45" y="8"/>
                  </a:cubicBezTo>
                  <a:cubicBezTo>
                    <a:pt x="43" y="3"/>
                    <a:pt x="37" y="0"/>
                    <a:pt x="30" y="0"/>
                  </a:cubicBezTo>
                  <a:cubicBezTo>
                    <a:pt x="15" y="0"/>
                    <a:pt x="6" y="9"/>
                    <a:pt x="6" y="20"/>
                  </a:cubicBezTo>
                  <a:cubicBezTo>
                    <a:pt x="6" y="27"/>
                    <a:pt x="6" y="34"/>
                    <a:pt x="6" y="34"/>
                  </a:cubicBezTo>
                  <a:cubicBezTo>
                    <a:pt x="6" y="34"/>
                    <a:pt x="3" y="33"/>
                    <a:pt x="2" y="36"/>
                  </a:cubicBezTo>
                  <a:cubicBezTo>
                    <a:pt x="0" y="40"/>
                    <a:pt x="2" y="47"/>
                    <a:pt x="5" y="50"/>
                  </a:cubicBezTo>
                  <a:cubicBezTo>
                    <a:pt x="7" y="51"/>
                    <a:pt x="10" y="51"/>
                    <a:pt x="10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12240E1C-BF45-3896-0413-CF8DDB48CA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4" y="1767"/>
              <a:ext cx="454" cy="322"/>
            </a:xfrm>
            <a:custGeom>
              <a:avLst/>
              <a:gdLst>
                <a:gd name="T0" fmla="*/ 72 w 192"/>
                <a:gd name="T1" fmla="*/ 61 h 136"/>
                <a:gd name="T2" fmla="*/ 62 w 192"/>
                <a:gd name="T3" fmla="*/ 54 h 136"/>
                <a:gd name="T4" fmla="*/ 120 w 192"/>
                <a:gd name="T5" fmla="*/ 61 h 136"/>
                <a:gd name="T6" fmla="*/ 128 w 192"/>
                <a:gd name="T7" fmla="*/ 56 h 136"/>
                <a:gd name="T8" fmla="*/ 120 w 192"/>
                <a:gd name="T9" fmla="*/ 61 h 136"/>
                <a:gd name="T10" fmla="*/ 44 w 192"/>
                <a:gd name="T11" fmla="*/ 63 h 136"/>
                <a:gd name="T12" fmla="*/ 44 w 192"/>
                <a:gd name="T13" fmla="*/ 70 h 136"/>
                <a:gd name="T14" fmla="*/ 51 w 192"/>
                <a:gd name="T15" fmla="*/ 69 h 136"/>
                <a:gd name="T16" fmla="*/ 52 w 192"/>
                <a:gd name="T17" fmla="*/ 63 h 136"/>
                <a:gd name="T18" fmla="*/ 166 w 192"/>
                <a:gd name="T19" fmla="*/ 46 h 136"/>
                <a:gd name="T20" fmla="*/ 144 w 192"/>
                <a:gd name="T21" fmla="*/ 0 h 136"/>
                <a:gd name="T22" fmla="*/ 128 w 192"/>
                <a:gd name="T23" fmla="*/ 21 h 136"/>
                <a:gd name="T24" fmla="*/ 126 w 192"/>
                <a:gd name="T25" fmla="*/ 48 h 136"/>
                <a:gd name="T26" fmla="*/ 133 w 192"/>
                <a:gd name="T27" fmla="*/ 52 h 136"/>
                <a:gd name="T28" fmla="*/ 146 w 192"/>
                <a:gd name="T29" fmla="*/ 70 h 136"/>
                <a:gd name="T30" fmla="*/ 166 w 192"/>
                <a:gd name="T31" fmla="*/ 46 h 136"/>
                <a:gd name="T32" fmla="*/ 36 w 192"/>
                <a:gd name="T33" fmla="*/ 44 h 136"/>
                <a:gd name="T34" fmla="*/ 48 w 192"/>
                <a:gd name="T35" fmla="*/ 56 h 136"/>
                <a:gd name="T36" fmla="*/ 60 w 192"/>
                <a:gd name="T37" fmla="*/ 44 h 136"/>
                <a:gd name="T38" fmla="*/ 61 w 192"/>
                <a:gd name="T39" fmla="*/ 24 h 136"/>
                <a:gd name="T40" fmla="*/ 64 w 192"/>
                <a:gd name="T41" fmla="*/ 7 h 136"/>
                <a:gd name="T42" fmla="*/ 48 w 192"/>
                <a:gd name="T43" fmla="*/ 0 h 136"/>
                <a:gd name="T44" fmla="*/ 32 w 192"/>
                <a:gd name="T45" fmla="*/ 24 h 136"/>
                <a:gd name="T46" fmla="*/ 32 w 192"/>
                <a:gd name="T47" fmla="*/ 35 h 136"/>
                <a:gd name="T48" fmla="*/ 8 w 192"/>
                <a:gd name="T49" fmla="*/ 63 h 136"/>
                <a:gd name="T50" fmla="*/ 20 w 192"/>
                <a:gd name="T51" fmla="*/ 136 h 136"/>
                <a:gd name="T52" fmla="*/ 34 w 192"/>
                <a:gd name="T53" fmla="*/ 76 h 136"/>
                <a:gd name="T54" fmla="*/ 34 w 192"/>
                <a:gd name="T55" fmla="*/ 54 h 136"/>
                <a:gd name="T56" fmla="*/ 192 w 192"/>
                <a:gd name="T57" fmla="*/ 136 h 136"/>
                <a:gd name="T58" fmla="*/ 160 w 192"/>
                <a:gd name="T59" fmla="*/ 56 h 136"/>
                <a:gd name="T60" fmla="*/ 154 w 192"/>
                <a:gd name="T61" fmla="*/ 72 h 136"/>
                <a:gd name="T62" fmla="*/ 157 w 192"/>
                <a:gd name="T63" fmla="*/ 76 h 136"/>
                <a:gd name="T64" fmla="*/ 158 w 192"/>
                <a:gd name="T65" fmla="*/ 76 h 136"/>
                <a:gd name="T66" fmla="*/ 172 w 192"/>
                <a:gd name="T67" fmla="*/ 129 h 136"/>
                <a:gd name="T68" fmla="*/ 192 w 192"/>
                <a:gd name="T69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136">
                  <a:moveTo>
                    <a:pt x="58" y="66"/>
                  </a:moveTo>
                  <a:cubicBezTo>
                    <a:pt x="62" y="65"/>
                    <a:pt x="67" y="63"/>
                    <a:pt x="72" y="61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67" y="55"/>
                    <a:pt x="62" y="54"/>
                    <a:pt x="62" y="54"/>
                  </a:cubicBezTo>
                  <a:lnTo>
                    <a:pt x="58" y="66"/>
                  </a:lnTo>
                  <a:close/>
                  <a:moveTo>
                    <a:pt x="120" y="61"/>
                  </a:moveTo>
                  <a:cubicBezTo>
                    <a:pt x="121" y="62"/>
                    <a:pt x="123" y="62"/>
                    <a:pt x="124" y="63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56"/>
                    <a:pt x="124" y="57"/>
                    <a:pt x="120" y="59"/>
                  </a:cubicBezTo>
                  <a:lnTo>
                    <a:pt x="120" y="61"/>
                  </a:lnTo>
                  <a:close/>
                  <a:moveTo>
                    <a:pt x="48" y="59"/>
                  </a:moveTo>
                  <a:cubicBezTo>
                    <a:pt x="44" y="63"/>
                    <a:pt x="44" y="63"/>
                    <a:pt x="44" y="63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6" y="70"/>
                    <a:pt x="48" y="70"/>
                    <a:pt x="51" y="69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2" y="63"/>
                    <a:pt x="52" y="63"/>
                    <a:pt x="52" y="63"/>
                  </a:cubicBezTo>
                  <a:lnTo>
                    <a:pt x="48" y="59"/>
                  </a:lnTo>
                  <a:close/>
                  <a:moveTo>
                    <a:pt x="166" y="46"/>
                  </a:moveTo>
                  <a:cubicBezTo>
                    <a:pt x="161" y="39"/>
                    <a:pt x="162" y="26"/>
                    <a:pt x="162" y="26"/>
                  </a:cubicBezTo>
                  <a:cubicBezTo>
                    <a:pt x="162" y="15"/>
                    <a:pt x="162" y="0"/>
                    <a:pt x="144" y="0"/>
                  </a:cubicBezTo>
                  <a:cubicBezTo>
                    <a:pt x="135" y="0"/>
                    <a:pt x="130" y="4"/>
                    <a:pt x="128" y="9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129" y="22"/>
                    <a:pt x="130" y="23"/>
                    <a:pt x="131" y="24"/>
                  </a:cubicBezTo>
                  <a:cubicBezTo>
                    <a:pt x="135" y="32"/>
                    <a:pt x="132" y="43"/>
                    <a:pt x="126" y="48"/>
                  </a:cubicBezTo>
                  <a:cubicBezTo>
                    <a:pt x="126" y="48"/>
                    <a:pt x="126" y="48"/>
                    <a:pt x="126" y="48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41" y="69"/>
                    <a:pt x="141" y="69"/>
                    <a:pt x="141" y="69"/>
                  </a:cubicBezTo>
                  <a:cubicBezTo>
                    <a:pt x="143" y="69"/>
                    <a:pt x="145" y="70"/>
                    <a:pt x="146" y="70"/>
                  </a:cubicBezTo>
                  <a:cubicBezTo>
                    <a:pt x="155" y="52"/>
                    <a:pt x="155" y="52"/>
                    <a:pt x="155" y="52"/>
                  </a:cubicBezTo>
                  <a:lnTo>
                    <a:pt x="166" y="46"/>
                  </a:lnTo>
                  <a:close/>
                  <a:moveTo>
                    <a:pt x="34" y="36"/>
                  </a:moveTo>
                  <a:cubicBezTo>
                    <a:pt x="36" y="44"/>
                    <a:pt x="36" y="44"/>
                    <a:pt x="36" y="44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44"/>
                    <a:pt x="60" y="44"/>
                    <a:pt x="60" y="44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59" y="35"/>
                    <a:pt x="58" y="29"/>
                    <a:pt x="61" y="24"/>
                  </a:cubicBezTo>
                  <a:cubicBezTo>
                    <a:pt x="62" y="23"/>
                    <a:pt x="63" y="22"/>
                    <a:pt x="64" y="21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3" y="6"/>
                    <a:pt x="61" y="5"/>
                    <a:pt x="59" y="5"/>
                  </a:cubicBezTo>
                  <a:cubicBezTo>
                    <a:pt x="57" y="1"/>
                    <a:pt x="53" y="0"/>
                    <a:pt x="48" y="0"/>
                  </a:cubicBezTo>
                  <a:cubicBezTo>
                    <a:pt x="37" y="0"/>
                    <a:pt x="32" y="6"/>
                    <a:pt x="32" y="14"/>
                  </a:cubicBezTo>
                  <a:cubicBezTo>
                    <a:pt x="32" y="19"/>
                    <a:pt x="32" y="24"/>
                    <a:pt x="32" y="24"/>
                  </a:cubicBezTo>
                  <a:cubicBezTo>
                    <a:pt x="32" y="24"/>
                    <a:pt x="31" y="24"/>
                    <a:pt x="30" y="26"/>
                  </a:cubicBezTo>
                  <a:cubicBezTo>
                    <a:pt x="28" y="28"/>
                    <a:pt x="29" y="33"/>
                    <a:pt x="32" y="35"/>
                  </a:cubicBezTo>
                  <a:cubicBezTo>
                    <a:pt x="33" y="36"/>
                    <a:pt x="34" y="36"/>
                    <a:pt x="34" y="36"/>
                  </a:cubicBezTo>
                  <a:close/>
                  <a:moveTo>
                    <a:pt x="8" y="63"/>
                  </a:moveTo>
                  <a:cubicBezTo>
                    <a:pt x="5" y="66"/>
                    <a:pt x="0" y="94"/>
                    <a:pt x="0" y="136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0" y="128"/>
                    <a:pt x="20" y="128"/>
                    <a:pt x="20" y="128"/>
                  </a:cubicBezTo>
                  <a:cubicBezTo>
                    <a:pt x="22" y="103"/>
                    <a:pt x="25" y="83"/>
                    <a:pt x="34" y="76"/>
                  </a:cubicBezTo>
                  <a:cubicBezTo>
                    <a:pt x="35" y="75"/>
                    <a:pt x="36" y="75"/>
                    <a:pt x="40" y="73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10" y="61"/>
                    <a:pt x="8" y="63"/>
                  </a:cubicBezTo>
                  <a:close/>
                  <a:moveTo>
                    <a:pt x="192" y="136"/>
                  </a:moveTo>
                  <a:cubicBezTo>
                    <a:pt x="192" y="94"/>
                    <a:pt x="187" y="69"/>
                    <a:pt x="184" y="66"/>
                  </a:cubicBezTo>
                  <a:cubicBezTo>
                    <a:pt x="182" y="65"/>
                    <a:pt x="160" y="56"/>
                    <a:pt x="160" y="56"/>
                  </a:cubicBezTo>
                  <a:cubicBezTo>
                    <a:pt x="170" y="72"/>
                    <a:pt x="170" y="72"/>
                    <a:pt x="170" y="72"/>
                  </a:cubicBezTo>
                  <a:cubicBezTo>
                    <a:pt x="154" y="72"/>
                    <a:pt x="154" y="72"/>
                    <a:pt x="154" y="72"/>
                  </a:cubicBezTo>
                  <a:cubicBezTo>
                    <a:pt x="153" y="73"/>
                    <a:pt x="153" y="73"/>
                    <a:pt x="153" y="73"/>
                  </a:cubicBezTo>
                  <a:cubicBezTo>
                    <a:pt x="156" y="75"/>
                    <a:pt x="157" y="75"/>
                    <a:pt x="157" y="76"/>
                  </a:cubicBezTo>
                  <a:cubicBezTo>
                    <a:pt x="157" y="76"/>
                    <a:pt x="158" y="76"/>
                    <a:pt x="158" y="76"/>
                  </a:cubicBezTo>
                  <a:cubicBezTo>
                    <a:pt x="158" y="76"/>
                    <a:pt x="158" y="76"/>
                    <a:pt x="158" y="76"/>
                  </a:cubicBezTo>
                  <a:cubicBezTo>
                    <a:pt x="158" y="76"/>
                    <a:pt x="158" y="76"/>
                    <a:pt x="158" y="76"/>
                  </a:cubicBezTo>
                  <a:cubicBezTo>
                    <a:pt x="167" y="83"/>
                    <a:pt x="170" y="105"/>
                    <a:pt x="172" y="129"/>
                  </a:cubicBezTo>
                  <a:cubicBezTo>
                    <a:pt x="172" y="136"/>
                    <a:pt x="172" y="136"/>
                    <a:pt x="172" y="136"/>
                  </a:cubicBezTo>
                  <a:lnTo>
                    <a:pt x="192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  <p:sp>
          <p:nvSpPr>
            <p:cNvPr id="288" name="Freeform 28">
              <a:extLst>
                <a:ext uri="{FF2B5EF4-FFF2-40B4-BE49-F238E27FC236}">
                  <a16:creationId xmlns:a16="http://schemas.microsoft.com/office/drawing/2014/main" id="{94001647-9682-1B67-73A5-EAC89D040F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1" y="1890"/>
              <a:ext cx="321" cy="215"/>
            </a:xfrm>
            <a:custGeom>
              <a:avLst/>
              <a:gdLst>
                <a:gd name="T0" fmla="*/ 125 w 136"/>
                <a:gd name="T1" fmla="*/ 13 h 91"/>
                <a:gd name="T2" fmla="*/ 88 w 136"/>
                <a:gd name="T3" fmla="*/ 0 h 91"/>
                <a:gd name="T4" fmla="*/ 76 w 136"/>
                <a:gd name="T5" fmla="*/ 49 h 91"/>
                <a:gd name="T6" fmla="*/ 76 w 136"/>
                <a:gd name="T7" fmla="*/ 29 h 91"/>
                <a:gd name="T8" fmla="*/ 70 w 136"/>
                <a:gd name="T9" fmla="*/ 19 h 91"/>
                <a:gd name="T10" fmla="*/ 76 w 136"/>
                <a:gd name="T11" fmla="*/ 13 h 91"/>
                <a:gd name="T12" fmla="*/ 68 w 136"/>
                <a:gd name="T13" fmla="*/ 5 h 91"/>
                <a:gd name="T14" fmla="*/ 60 w 136"/>
                <a:gd name="T15" fmla="*/ 13 h 91"/>
                <a:gd name="T16" fmla="*/ 66 w 136"/>
                <a:gd name="T17" fmla="*/ 19 h 91"/>
                <a:gd name="T18" fmla="*/ 60 w 136"/>
                <a:gd name="T19" fmla="*/ 29 h 91"/>
                <a:gd name="T20" fmla="*/ 60 w 136"/>
                <a:gd name="T21" fmla="*/ 49 h 91"/>
                <a:gd name="T22" fmla="*/ 48 w 136"/>
                <a:gd name="T23" fmla="*/ 0 h 91"/>
                <a:gd name="T24" fmla="*/ 11 w 136"/>
                <a:gd name="T25" fmla="*/ 13 h 91"/>
                <a:gd name="T26" fmla="*/ 0 w 136"/>
                <a:gd name="T27" fmla="*/ 91 h 91"/>
                <a:gd name="T28" fmla="*/ 136 w 136"/>
                <a:gd name="T29" fmla="*/ 91 h 91"/>
                <a:gd name="T30" fmla="*/ 125 w 136"/>
                <a:gd name="T31" fmla="*/ 1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6" h="91">
                  <a:moveTo>
                    <a:pt x="125" y="13"/>
                  </a:moveTo>
                  <a:cubicBezTo>
                    <a:pt x="121" y="10"/>
                    <a:pt x="88" y="0"/>
                    <a:pt x="88" y="0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49"/>
                    <a:pt x="60" y="49"/>
                    <a:pt x="60" y="49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15" y="10"/>
                    <a:pt x="11" y="13"/>
                  </a:cubicBezTo>
                  <a:cubicBezTo>
                    <a:pt x="7" y="17"/>
                    <a:pt x="0" y="35"/>
                    <a:pt x="0" y="91"/>
                  </a:cubicBezTo>
                  <a:cubicBezTo>
                    <a:pt x="136" y="91"/>
                    <a:pt x="136" y="91"/>
                    <a:pt x="136" y="91"/>
                  </a:cubicBezTo>
                  <a:cubicBezTo>
                    <a:pt x="136" y="35"/>
                    <a:pt x="129" y="17"/>
                    <a:pt x="12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</p:grpSp>
      <p:pic>
        <p:nvPicPr>
          <p:cNvPr id="290" name="Graphic 289" descr="Scientific Thought outline">
            <a:extLst>
              <a:ext uri="{FF2B5EF4-FFF2-40B4-BE49-F238E27FC236}">
                <a16:creationId xmlns:a16="http://schemas.microsoft.com/office/drawing/2014/main" id="{A92FE2FC-13DD-475A-F953-02B5245EEF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989" y="9259746"/>
            <a:ext cx="473170" cy="473170"/>
          </a:xfrm>
          <a:prstGeom prst="rect">
            <a:avLst/>
          </a:prstGeom>
        </p:spPr>
      </p:pic>
      <p:pic>
        <p:nvPicPr>
          <p:cNvPr id="292" name="Graphic 291" descr="Coins outline">
            <a:extLst>
              <a:ext uri="{FF2B5EF4-FFF2-40B4-BE49-F238E27FC236}">
                <a16:creationId xmlns:a16="http://schemas.microsoft.com/office/drawing/2014/main" id="{071ED58D-8075-DC35-A51C-0A966E4EEB3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09954" y="8429616"/>
            <a:ext cx="473170" cy="473170"/>
          </a:xfrm>
          <a:prstGeom prst="rect">
            <a:avLst/>
          </a:prstGeom>
        </p:spPr>
      </p:pic>
      <p:grpSp>
        <p:nvGrpSpPr>
          <p:cNvPr id="322" name="Complexit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4B734C9-8C10-BD6D-1466-D4E1DCCD4817}"/>
              </a:ext>
            </a:extLst>
          </p:cNvPr>
          <p:cNvGrpSpPr>
            <a:grpSpLocks noChangeAspect="1"/>
          </p:cNvGrpSpPr>
          <p:nvPr/>
        </p:nvGrpSpPr>
        <p:grpSpPr>
          <a:xfrm>
            <a:off x="1588728" y="9287116"/>
            <a:ext cx="401358" cy="402156"/>
            <a:chOff x="6367463" y="1652588"/>
            <a:chExt cx="796925" cy="798513"/>
          </a:xfrm>
          <a:noFill/>
        </p:grpSpPr>
        <p:sp>
          <p:nvSpPr>
            <p:cNvPr id="323" name="Oval 270">
              <a:extLst>
                <a:ext uri="{FF2B5EF4-FFF2-40B4-BE49-F238E27FC236}">
                  <a16:creationId xmlns:a16="http://schemas.microsoft.com/office/drawing/2014/main" id="{8750AA29-2872-B963-05A6-D70F0D6A37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16573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4" name="Oval 271">
              <a:extLst>
                <a:ext uri="{FF2B5EF4-FFF2-40B4-BE49-F238E27FC236}">
                  <a16:creationId xmlns:a16="http://schemas.microsoft.com/office/drawing/2014/main" id="{5641A773-1700-1DEC-E12E-DD4A5E1ECE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18859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5" name="Oval 272">
              <a:extLst>
                <a:ext uri="{FF2B5EF4-FFF2-40B4-BE49-F238E27FC236}">
                  <a16:creationId xmlns:a16="http://schemas.microsoft.com/office/drawing/2014/main" id="{6A47D83E-017B-A64E-921E-ACF46B8905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21145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6" name="Oval 273">
              <a:extLst>
                <a:ext uri="{FF2B5EF4-FFF2-40B4-BE49-F238E27FC236}">
                  <a16:creationId xmlns:a16="http://schemas.microsoft.com/office/drawing/2014/main" id="{DEFBD32A-9BC6-512F-FD17-5D2B57ECFA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2116138"/>
              <a:ext cx="100013" cy="100013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7" name="Oval 274">
              <a:extLst>
                <a:ext uri="{FF2B5EF4-FFF2-40B4-BE49-F238E27FC236}">
                  <a16:creationId xmlns:a16="http://schemas.microsoft.com/office/drawing/2014/main" id="{66602972-9E17-55D9-4167-11BFE7D0BE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2344738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8" name="Oval 275">
              <a:extLst>
                <a:ext uri="{FF2B5EF4-FFF2-40B4-BE49-F238E27FC236}">
                  <a16:creationId xmlns:a16="http://schemas.microsoft.com/office/drawing/2014/main" id="{EABD3B47-385A-E4AC-4011-553F7897BA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1885951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9" name="Oval 276">
              <a:extLst>
                <a:ext uri="{FF2B5EF4-FFF2-40B4-BE49-F238E27FC236}">
                  <a16:creationId xmlns:a16="http://schemas.microsoft.com/office/drawing/2014/main" id="{8982B920-6253-3859-6E4B-30202BBCA3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18859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0" name="Oval 277">
              <a:extLst>
                <a:ext uri="{FF2B5EF4-FFF2-40B4-BE49-F238E27FC236}">
                  <a16:creationId xmlns:a16="http://schemas.microsoft.com/office/drawing/2014/main" id="{B80FE0E5-451D-E0FD-D09C-72879BA12B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2344738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1" name="Oval 278">
              <a:extLst>
                <a:ext uri="{FF2B5EF4-FFF2-40B4-BE49-F238E27FC236}">
                  <a16:creationId xmlns:a16="http://schemas.microsoft.com/office/drawing/2014/main" id="{1F4155F9-76D6-2D08-C4B2-EA95F3E7CE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1657351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Oval 279">
              <a:extLst>
                <a:ext uri="{FF2B5EF4-FFF2-40B4-BE49-F238E27FC236}">
                  <a16:creationId xmlns:a16="http://schemas.microsoft.com/office/drawing/2014/main" id="{6E4F0129-F63B-E196-B212-AF1CFAA91C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16573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Oval 280">
              <a:extLst>
                <a:ext uri="{FF2B5EF4-FFF2-40B4-BE49-F238E27FC236}">
                  <a16:creationId xmlns:a16="http://schemas.microsoft.com/office/drawing/2014/main" id="{099C5B32-2BA6-7920-0373-B4A137F276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2116138"/>
              <a:ext cx="100013" cy="100013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4" name="Oval 281">
              <a:extLst>
                <a:ext uri="{FF2B5EF4-FFF2-40B4-BE49-F238E27FC236}">
                  <a16:creationId xmlns:a16="http://schemas.microsoft.com/office/drawing/2014/main" id="{0D3C2AFE-C62A-E710-882F-6159EBA0A9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2344738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5" name="Freeform 282">
              <a:extLst>
                <a:ext uri="{FF2B5EF4-FFF2-40B4-BE49-F238E27FC236}">
                  <a16:creationId xmlns:a16="http://schemas.microsoft.com/office/drawing/2014/main" id="{238333B1-AE3E-C787-6296-EC600B925A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1652588"/>
              <a:ext cx="112713" cy="111125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6"/>
                    <a:pt x="17" y="83"/>
                  </a:cubicBezTo>
                  <a:cubicBezTo>
                    <a:pt x="17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8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6" name="Freeform 283">
              <a:extLst>
                <a:ext uri="{FF2B5EF4-FFF2-40B4-BE49-F238E27FC236}">
                  <a16:creationId xmlns:a16="http://schemas.microsoft.com/office/drawing/2014/main" id="{CFC185DC-AF0C-BEB4-5BE0-7D4948CF57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1652588"/>
              <a:ext cx="112713" cy="111125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8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7" name="Freeform 284">
              <a:extLst>
                <a:ext uri="{FF2B5EF4-FFF2-40B4-BE49-F238E27FC236}">
                  <a16:creationId xmlns:a16="http://schemas.microsoft.com/office/drawing/2014/main" id="{F25F9C7C-DDD9-3448-C85D-7A51CA003B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1652588"/>
              <a:ext cx="111125" cy="111125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2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8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" name="Freeform 285">
              <a:extLst>
                <a:ext uri="{FF2B5EF4-FFF2-40B4-BE49-F238E27FC236}">
                  <a16:creationId xmlns:a16="http://schemas.microsoft.com/office/drawing/2014/main" id="{97FA3557-F089-7B05-6F0A-D6FA34477F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18811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6"/>
                    <a:pt x="17" y="83"/>
                  </a:cubicBezTo>
                  <a:cubicBezTo>
                    <a:pt x="17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9" name="Freeform 286">
              <a:extLst>
                <a:ext uri="{FF2B5EF4-FFF2-40B4-BE49-F238E27FC236}">
                  <a16:creationId xmlns:a16="http://schemas.microsoft.com/office/drawing/2014/main" id="{D5CA1230-DFE3-9ED2-DBD0-D8AF595CE9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18811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0" name="Freeform 287">
              <a:extLst>
                <a:ext uri="{FF2B5EF4-FFF2-40B4-BE49-F238E27FC236}">
                  <a16:creationId xmlns:a16="http://schemas.microsoft.com/office/drawing/2014/main" id="{41912A39-5FF7-4BBA-7A07-D2A2A694F4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18811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2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1" name="Freeform 288">
              <a:extLst>
                <a:ext uri="{FF2B5EF4-FFF2-40B4-BE49-F238E27FC236}">
                  <a16:creationId xmlns:a16="http://schemas.microsoft.com/office/drawing/2014/main" id="{DBC9F78C-5169-5CAC-8925-53AE657034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21097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7"/>
                    <a:pt x="17" y="83"/>
                  </a:cubicBezTo>
                  <a:cubicBezTo>
                    <a:pt x="17" y="120"/>
                    <a:pt x="46" y="149"/>
                    <a:pt x="83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2" name="Freeform 289">
              <a:extLst>
                <a:ext uri="{FF2B5EF4-FFF2-40B4-BE49-F238E27FC236}">
                  <a16:creationId xmlns:a16="http://schemas.microsoft.com/office/drawing/2014/main" id="{C0CEF2FC-EFBB-0FB0-F63F-BAA62766A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21097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49"/>
                    <a:pt x="83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3" name="Freeform 290">
              <a:extLst>
                <a:ext uri="{FF2B5EF4-FFF2-40B4-BE49-F238E27FC236}">
                  <a16:creationId xmlns:a16="http://schemas.microsoft.com/office/drawing/2014/main" id="{246F591D-74E8-D293-506D-98B26A4853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21097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49"/>
                    <a:pt x="82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4" name="Freeform 291">
              <a:extLst>
                <a:ext uri="{FF2B5EF4-FFF2-40B4-BE49-F238E27FC236}">
                  <a16:creationId xmlns:a16="http://schemas.microsoft.com/office/drawing/2014/main" id="{8E1A3E17-B212-6627-3429-A0E7707EE4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23383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50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7"/>
                    <a:pt x="17" y="83"/>
                  </a:cubicBezTo>
                  <a:cubicBezTo>
                    <a:pt x="17" y="120"/>
                    <a:pt x="46" y="150"/>
                    <a:pt x="83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29" y="0"/>
                    <a:pt x="166" y="38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5" name="Freeform 292">
              <a:extLst>
                <a:ext uri="{FF2B5EF4-FFF2-40B4-BE49-F238E27FC236}">
                  <a16:creationId xmlns:a16="http://schemas.microsoft.com/office/drawing/2014/main" id="{476FD096-7B07-A81A-D4F2-FDB411ECBC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23383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50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50"/>
                    <a:pt x="83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28" y="0"/>
                    <a:pt x="166" y="38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6" name="Freeform 293">
              <a:extLst>
                <a:ext uri="{FF2B5EF4-FFF2-40B4-BE49-F238E27FC236}">
                  <a16:creationId xmlns:a16="http://schemas.microsoft.com/office/drawing/2014/main" id="{C5138855-CC2E-FAD6-E1C7-DB5A06A093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23383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50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50"/>
                    <a:pt x="82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2" y="0"/>
                  </a:cubicBezTo>
                  <a:cubicBezTo>
                    <a:pt x="128" y="0"/>
                    <a:pt x="165" y="38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7" name="Rectangle 294">
              <a:extLst>
                <a:ext uri="{FF2B5EF4-FFF2-40B4-BE49-F238E27FC236}">
                  <a16:creationId xmlns:a16="http://schemas.microsoft.com/office/drawing/2014/main" id="{228C2AB2-8A51-1D85-1CB3-F60A5153B5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6725" y="2160588"/>
              <a:ext cx="242888" cy="11113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8" name="Rectangle 295">
              <a:extLst>
                <a:ext uri="{FF2B5EF4-FFF2-40B4-BE49-F238E27FC236}">
                  <a16:creationId xmlns:a16="http://schemas.microsoft.com/office/drawing/2014/main" id="{3D4404BC-B98D-F67F-9E56-50E96BC67A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6725" y="1931988"/>
              <a:ext cx="242888" cy="11113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9" name="Freeform 296">
              <a:extLst>
                <a:ext uri="{FF2B5EF4-FFF2-40B4-BE49-F238E27FC236}">
                  <a16:creationId xmlns:a16="http://schemas.microsoft.com/office/drawing/2014/main" id="{739C4033-8B2B-7244-F177-7D5E8E375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125" y="1957388"/>
              <a:ext cx="269875" cy="185738"/>
            </a:xfrm>
            <a:custGeom>
              <a:avLst/>
              <a:gdLst>
                <a:gd name="T0" fmla="*/ 4 w 170"/>
                <a:gd name="T1" fmla="*/ 117 h 117"/>
                <a:gd name="T2" fmla="*/ 0 w 170"/>
                <a:gd name="T3" fmla="*/ 111 h 117"/>
                <a:gd name="T4" fmla="*/ 166 w 170"/>
                <a:gd name="T5" fmla="*/ 0 h 117"/>
                <a:gd name="T6" fmla="*/ 170 w 170"/>
                <a:gd name="T7" fmla="*/ 6 h 117"/>
                <a:gd name="T8" fmla="*/ 4 w 170"/>
                <a:gd name="T9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117">
                  <a:moveTo>
                    <a:pt x="4" y="117"/>
                  </a:moveTo>
                  <a:lnTo>
                    <a:pt x="0" y="111"/>
                  </a:lnTo>
                  <a:lnTo>
                    <a:pt x="166" y="0"/>
                  </a:lnTo>
                  <a:lnTo>
                    <a:pt x="170" y="6"/>
                  </a:lnTo>
                  <a:lnTo>
                    <a:pt x="4" y="117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0" name="Freeform 297">
              <a:extLst>
                <a:ext uri="{FF2B5EF4-FFF2-40B4-BE49-F238E27FC236}">
                  <a16:creationId xmlns:a16="http://schemas.microsoft.com/office/drawing/2014/main" id="{B93FBDB0-3853-0FD6-EF68-64718CC5E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2713" y="1728788"/>
              <a:ext cx="268288" cy="184150"/>
            </a:xfrm>
            <a:custGeom>
              <a:avLst/>
              <a:gdLst>
                <a:gd name="T0" fmla="*/ 4 w 169"/>
                <a:gd name="T1" fmla="*/ 116 h 116"/>
                <a:gd name="T2" fmla="*/ 0 w 169"/>
                <a:gd name="T3" fmla="*/ 110 h 116"/>
                <a:gd name="T4" fmla="*/ 165 w 169"/>
                <a:gd name="T5" fmla="*/ 0 h 116"/>
                <a:gd name="T6" fmla="*/ 169 w 169"/>
                <a:gd name="T7" fmla="*/ 6 h 116"/>
                <a:gd name="T8" fmla="*/ 4 w 169"/>
                <a:gd name="T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116">
                  <a:moveTo>
                    <a:pt x="4" y="116"/>
                  </a:moveTo>
                  <a:lnTo>
                    <a:pt x="0" y="110"/>
                  </a:lnTo>
                  <a:lnTo>
                    <a:pt x="165" y="0"/>
                  </a:lnTo>
                  <a:lnTo>
                    <a:pt x="169" y="6"/>
                  </a:lnTo>
                  <a:lnTo>
                    <a:pt x="4" y="116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1" name="Rectangle 298">
              <a:extLst>
                <a:ext uri="{FF2B5EF4-FFF2-40B4-BE49-F238E27FC236}">
                  <a16:creationId xmlns:a16="http://schemas.microsoft.com/office/drawing/2014/main" id="{0B92437C-17D3-A394-A185-CC25F9103F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3825" y="1701801"/>
              <a:ext cx="242888" cy="12700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2" name="Freeform 299">
              <a:extLst>
                <a:ext uri="{FF2B5EF4-FFF2-40B4-BE49-F238E27FC236}">
                  <a16:creationId xmlns:a16="http://schemas.microsoft.com/office/drawing/2014/main" id="{BAE73AC4-167A-CBBB-5235-55916C1E4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125" y="2189163"/>
              <a:ext cx="266700" cy="182563"/>
            </a:xfrm>
            <a:custGeom>
              <a:avLst/>
              <a:gdLst>
                <a:gd name="T0" fmla="*/ 164 w 168"/>
                <a:gd name="T1" fmla="*/ 115 h 115"/>
                <a:gd name="T2" fmla="*/ 0 w 168"/>
                <a:gd name="T3" fmla="*/ 6 h 115"/>
                <a:gd name="T4" fmla="*/ 4 w 168"/>
                <a:gd name="T5" fmla="*/ 0 h 115"/>
                <a:gd name="T6" fmla="*/ 168 w 168"/>
                <a:gd name="T7" fmla="*/ 109 h 115"/>
                <a:gd name="T8" fmla="*/ 164 w 168"/>
                <a:gd name="T9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115">
                  <a:moveTo>
                    <a:pt x="164" y="115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168" y="109"/>
                  </a:lnTo>
                  <a:lnTo>
                    <a:pt x="164" y="115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3" name="Rectangle 300">
              <a:extLst>
                <a:ext uri="{FF2B5EF4-FFF2-40B4-BE49-F238E27FC236}">
                  <a16:creationId xmlns:a16="http://schemas.microsoft.com/office/drawing/2014/main" id="{0FCB488A-D2D1-1AC4-CB34-053B485385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4063" y="2216151"/>
              <a:ext cx="11113" cy="128588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4" name="Rectangle 301">
              <a:extLst>
                <a:ext uri="{FF2B5EF4-FFF2-40B4-BE49-F238E27FC236}">
                  <a16:creationId xmlns:a16="http://schemas.microsoft.com/office/drawing/2014/main" id="{B92F33E3-309E-BBE9-4D18-7380D66378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4063" y="1758951"/>
              <a:ext cx="11113" cy="127000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55" name="Text Placeholder 9">
            <a:extLst>
              <a:ext uri="{FF2B5EF4-FFF2-40B4-BE49-F238E27FC236}">
                <a16:creationId xmlns:a16="http://schemas.microsoft.com/office/drawing/2014/main" id="{520DE371-5AF1-F8FF-8707-45EE4454FB90}"/>
              </a:ext>
            </a:extLst>
          </p:cNvPr>
          <p:cNvSpPr txBox="1">
            <a:spLocks/>
          </p:cNvSpPr>
          <p:nvPr/>
        </p:nvSpPr>
        <p:spPr>
          <a:xfrm>
            <a:off x="2221804" y="8595030"/>
            <a:ext cx="1595631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en AI scaling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6" name="Text Placeholder 9">
            <a:extLst>
              <a:ext uri="{FF2B5EF4-FFF2-40B4-BE49-F238E27FC236}">
                <a16:creationId xmlns:a16="http://schemas.microsoft.com/office/drawing/2014/main" id="{45893D60-F6F4-C53C-3A02-E32909DD2E69}"/>
              </a:ext>
            </a:extLst>
          </p:cNvPr>
          <p:cNvSpPr txBox="1">
            <a:spLocks/>
          </p:cNvSpPr>
          <p:nvPr/>
        </p:nvSpPr>
        <p:spPr>
          <a:xfrm>
            <a:off x="4422458" y="8579240"/>
            <a:ext cx="2074602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monetizatio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7" name="Text Placeholder 9">
            <a:extLst>
              <a:ext uri="{FF2B5EF4-FFF2-40B4-BE49-F238E27FC236}">
                <a16:creationId xmlns:a16="http://schemas.microsoft.com/office/drawing/2014/main" id="{E15DB0F8-FBE2-D8CC-A4FB-F6A6E1AAAE0A}"/>
              </a:ext>
            </a:extLst>
          </p:cNvPr>
          <p:cNvSpPr txBox="1">
            <a:spLocks/>
          </p:cNvSpPr>
          <p:nvPr/>
        </p:nvSpPr>
        <p:spPr>
          <a:xfrm>
            <a:off x="2236406" y="9343656"/>
            <a:ext cx="1404274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led modelling</a:t>
            </a:r>
            <a:b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&amp; transformatio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8" name="Text Placeholder 9">
            <a:extLst>
              <a:ext uri="{FF2B5EF4-FFF2-40B4-BE49-F238E27FC236}">
                <a16:creationId xmlns:a16="http://schemas.microsoft.com/office/drawing/2014/main" id="{DDA5DDE7-3083-CDF4-FE22-D3B32B014AAD}"/>
              </a:ext>
            </a:extLst>
          </p:cNvPr>
          <p:cNvSpPr txBox="1">
            <a:spLocks/>
          </p:cNvSpPr>
          <p:nvPr/>
        </p:nvSpPr>
        <p:spPr>
          <a:xfrm>
            <a:off x="4399723" y="9257088"/>
            <a:ext cx="2182529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science</a:t>
            </a:r>
            <a:b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&amp; MLOp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0B02FCB-7E30-92CF-CD77-808E9C6C0E12}"/>
              </a:ext>
            </a:extLst>
          </p:cNvPr>
          <p:cNvGrpSpPr>
            <a:grpSpLocks noChangeAspect="1"/>
          </p:cNvGrpSpPr>
          <p:nvPr/>
        </p:nvGrpSpPr>
        <p:grpSpPr>
          <a:xfrm>
            <a:off x="1581445" y="8466448"/>
            <a:ext cx="537346" cy="548260"/>
            <a:chOff x="10258820" y="2140818"/>
            <a:chExt cx="366798" cy="374248"/>
          </a:xfrm>
        </p:grpSpPr>
        <p:pic>
          <p:nvPicPr>
            <p:cNvPr id="5" name="Picture 15">
              <a:extLst>
                <a:ext uri="{FF2B5EF4-FFF2-40B4-BE49-F238E27FC236}">
                  <a16:creationId xmlns:a16="http://schemas.microsoft.com/office/drawing/2014/main" id="{BEC42C73-505A-B9B3-F678-B09427999B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58820" y="2140818"/>
              <a:ext cx="307574" cy="3075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99E2FCC-DFCD-B7CA-664F-15A9FC9E47F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475107" y="2362873"/>
              <a:ext cx="150511" cy="152193"/>
              <a:chOff x="3482" y="1979"/>
              <a:chExt cx="358" cy="362"/>
            </a:xfrm>
          </p:grpSpPr>
          <p:sp>
            <p:nvSpPr>
              <p:cNvPr id="30" name="AutoShape 3">
                <a:extLst>
                  <a:ext uri="{FF2B5EF4-FFF2-40B4-BE49-F238E27FC236}">
                    <a16:creationId xmlns:a16="http://schemas.microsoft.com/office/drawing/2014/main" id="{56D7674C-01B8-FA42-FD21-27A27CC19321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3482" y="1979"/>
                <a:ext cx="358" cy="3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2" name="Freeform 5">
                <a:extLst>
                  <a:ext uri="{FF2B5EF4-FFF2-40B4-BE49-F238E27FC236}">
                    <a16:creationId xmlns:a16="http://schemas.microsoft.com/office/drawing/2014/main" id="{02BDD43F-1A64-F293-2644-D1EA3A98C6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46" y="2045"/>
                <a:ext cx="230" cy="229"/>
              </a:xfrm>
              <a:custGeom>
                <a:avLst/>
                <a:gdLst>
                  <a:gd name="T0" fmla="*/ 174 w 192"/>
                  <a:gd name="T1" fmla="*/ 192 h 192"/>
                  <a:gd name="T2" fmla="*/ 18 w 192"/>
                  <a:gd name="T3" fmla="*/ 192 h 192"/>
                  <a:gd name="T4" fmla="*/ 0 w 192"/>
                  <a:gd name="T5" fmla="*/ 174 h 192"/>
                  <a:gd name="T6" fmla="*/ 0 w 192"/>
                  <a:gd name="T7" fmla="*/ 18 h 192"/>
                  <a:gd name="T8" fmla="*/ 18 w 192"/>
                  <a:gd name="T9" fmla="*/ 0 h 192"/>
                  <a:gd name="T10" fmla="*/ 174 w 192"/>
                  <a:gd name="T11" fmla="*/ 0 h 192"/>
                  <a:gd name="T12" fmla="*/ 192 w 192"/>
                  <a:gd name="T13" fmla="*/ 18 h 192"/>
                  <a:gd name="T14" fmla="*/ 192 w 192"/>
                  <a:gd name="T15" fmla="*/ 174 h 192"/>
                  <a:gd name="T16" fmla="*/ 174 w 192"/>
                  <a:gd name="T17" fmla="*/ 192 h 192"/>
                  <a:gd name="T18" fmla="*/ 18 w 192"/>
                  <a:gd name="T19" fmla="*/ 12 h 192"/>
                  <a:gd name="T20" fmla="*/ 12 w 192"/>
                  <a:gd name="T21" fmla="*/ 18 h 192"/>
                  <a:gd name="T22" fmla="*/ 12 w 192"/>
                  <a:gd name="T23" fmla="*/ 174 h 192"/>
                  <a:gd name="T24" fmla="*/ 18 w 192"/>
                  <a:gd name="T25" fmla="*/ 180 h 192"/>
                  <a:gd name="T26" fmla="*/ 174 w 192"/>
                  <a:gd name="T27" fmla="*/ 180 h 192"/>
                  <a:gd name="T28" fmla="*/ 180 w 192"/>
                  <a:gd name="T29" fmla="*/ 174 h 192"/>
                  <a:gd name="T30" fmla="*/ 180 w 192"/>
                  <a:gd name="T31" fmla="*/ 18 h 192"/>
                  <a:gd name="T32" fmla="*/ 174 w 192"/>
                  <a:gd name="T33" fmla="*/ 12 h 192"/>
                  <a:gd name="T34" fmla="*/ 18 w 192"/>
                  <a:gd name="T35" fmla="*/ 1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2" h="192">
                    <a:moveTo>
                      <a:pt x="174" y="192"/>
                    </a:moveTo>
                    <a:cubicBezTo>
                      <a:pt x="18" y="192"/>
                      <a:pt x="18" y="192"/>
                      <a:pt x="18" y="192"/>
                    </a:cubicBezTo>
                    <a:cubicBezTo>
                      <a:pt x="8" y="192"/>
                      <a:pt x="0" y="184"/>
                      <a:pt x="0" y="17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9"/>
                      <a:pt x="8" y="0"/>
                      <a:pt x="18" y="0"/>
                    </a:cubicBezTo>
                    <a:cubicBezTo>
                      <a:pt x="174" y="0"/>
                      <a:pt x="174" y="0"/>
                      <a:pt x="174" y="0"/>
                    </a:cubicBezTo>
                    <a:cubicBezTo>
                      <a:pt x="184" y="0"/>
                      <a:pt x="192" y="9"/>
                      <a:pt x="192" y="18"/>
                    </a:cubicBezTo>
                    <a:cubicBezTo>
                      <a:pt x="192" y="174"/>
                      <a:pt x="192" y="174"/>
                      <a:pt x="192" y="174"/>
                    </a:cubicBezTo>
                    <a:cubicBezTo>
                      <a:pt x="192" y="184"/>
                      <a:pt x="184" y="192"/>
                      <a:pt x="174" y="192"/>
                    </a:cubicBezTo>
                    <a:close/>
                    <a:moveTo>
                      <a:pt x="18" y="12"/>
                    </a:moveTo>
                    <a:cubicBezTo>
                      <a:pt x="14" y="12"/>
                      <a:pt x="12" y="15"/>
                      <a:pt x="12" y="18"/>
                    </a:cubicBezTo>
                    <a:cubicBezTo>
                      <a:pt x="12" y="174"/>
                      <a:pt x="12" y="174"/>
                      <a:pt x="12" y="174"/>
                    </a:cubicBezTo>
                    <a:cubicBezTo>
                      <a:pt x="12" y="178"/>
                      <a:pt x="14" y="180"/>
                      <a:pt x="18" y="180"/>
                    </a:cubicBezTo>
                    <a:cubicBezTo>
                      <a:pt x="174" y="180"/>
                      <a:pt x="174" y="180"/>
                      <a:pt x="174" y="180"/>
                    </a:cubicBezTo>
                    <a:cubicBezTo>
                      <a:pt x="177" y="180"/>
                      <a:pt x="180" y="178"/>
                      <a:pt x="180" y="174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80" y="15"/>
                      <a:pt x="177" y="12"/>
                      <a:pt x="174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3" name="Freeform 6">
                <a:extLst>
                  <a:ext uri="{FF2B5EF4-FFF2-40B4-BE49-F238E27FC236}">
                    <a16:creationId xmlns:a16="http://schemas.microsoft.com/office/drawing/2014/main" id="{5ACA7CCF-D8E5-F461-D897-8F8B1ACCDE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7" y="1987"/>
                <a:ext cx="14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4" name="Freeform 7">
                <a:extLst>
                  <a:ext uri="{FF2B5EF4-FFF2-40B4-BE49-F238E27FC236}">
                    <a16:creationId xmlns:a16="http://schemas.microsoft.com/office/drawing/2014/main" id="{DA7FCD83-1A31-2783-B006-E94B12E175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9" y="1987"/>
                <a:ext cx="15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C564A4A5-7BA5-3E2B-9C9B-B196458058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8" y="1987"/>
                <a:ext cx="15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232F9287-6B2F-2BBA-A60E-C6DB0F1D6F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159"/>
                <a:ext cx="72" cy="15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5C3C1E82-6E1A-7E80-11DE-E803700622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217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93A8DE0F-276E-0F23-BEE5-DA1BB47F55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088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BF9FC08A-B4B5-8F36-AC96-F028036F72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1" y="2260"/>
                <a:ext cx="14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CC31D09A-932E-9099-C77A-DED0AF0B49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8" y="2260"/>
                <a:ext cx="15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EC5637C0-6F96-F43C-8F96-879339D29B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9" y="2260"/>
                <a:ext cx="15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385621BC-3E7A-7EF0-37C2-CC410CF25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145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EE7A0448-B2D9-EEC4-33CA-08B824B7F4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088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4" name="Freeform 17">
                <a:extLst>
                  <a:ext uri="{FF2B5EF4-FFF2-40B4-BE49-F238E27FC236}">
                    <a16:creationId xmlns:a16="http://schemas.microsoft.com/office/drawing/2014/main" id="{4B0AF812-181D-6EA3-35F4-C78C79B6F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217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5" name="Freeform 18">
                <a:extLst>
                  <a:ext uri="{FF2B5EF4-FFF2-40B4-BE49-F238E27FC236}">
                    <a16:creationId xmlns:a16="http://schemas.microsoft.com/office/drawing/2014/main" id="{45E430B0-9863-78C2-5C35-BB65D0C9FE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5" y="2073"/>
                <a:ext cx="172" cy="172"/>
              </a:xfrm>
              <a:custGeom>
                <a:avLst/>
                <a:gdLst>
                  <a:gd name="T0" fmla="*/ 114 w 144"/>
                  <a:gd name="T1" fmla="*/ 144 h 144"/>
                  <a:gd name="T2" fmla="*/ 30 w 144"/>
                  <a:gd name="T3" fmla="*/ 144 h 144"/>
                  <a:gd name="T4" fmla="*/ 0 w 144"/>
                  <a:gd name="T5" fmla="*/ 114 h 144"/>
                  <a:gd name="T6" fmla="*/ 0 w 144"/>
                  <a:gd name="T7" fmla="*/ 30 h 144"/>
                  <a:gd name="T8" fmla="*/ 30 w 144"/>
                  <a:gd name="T9" fmla="*/ 0 h 144"/>
                  <a:gd name="T10" fmla="*/ 114 w 144"/>
                  <a:gd name="T11" fmla="*/ 0 h 144"/>
                  <a:gd name="T12" fmla="*/ 144 w 144"/>
                  <a:gd name="T13" fmla="*/ 30 h 144"/>
                  <a:gd name="T14" fmla="*/ 144 w 144"/>
                  <a:gd name="T15" fmla="*/ 114 h 144"/>
                  <a:gd name="T16" fmla="*/ 114 w 144"/>
                  <a:gd name="T17" fmla="*/ 144 h 144"/>
                  <a:gd name="T18" fmla="*/ 30 w 144"/>
                  <a:gd name="T19" fmla="*/ 12 h 144"/>
                  <a:gd name="T20" fmla="*/ 12 w 144"/>
                  <a:gd name="T21" fmla="*/ 30 h 144"/>
                  <a:gd name="T22" fmla="*/ 12 w 144"/>
                  <a:gd name="T23" fmla="*/ 114 h 144"/>
                  <a:gd name="T24" fmla="*/ 30 w 144"/>
                  <a:gd name="T25" fmla="*/ 132 h 144"/>
                  <a:gd name="T26" fmla="*/ 114 w 144"/>
                  <a:gd name="T27" fmla="*/ 132 h 144"/>
                  <a:gd name="T28" fmla="*/ 132 w 144"/>
                  <a:gd name="T29" fmla="*/ 114 h 144"/>
                  <a:gd name="T30" fmla="*/ 132 w 144"/>
                  <a:gd name="T31" fmla="*/ 30 h 144"/>
                  <a:gd name="T32" fmla="*/ 114 w 144"/>
                  <a:gd name="T33" fmla="*/ 12 h 144"/>
                  <a:gd name="T34" fmla="*/ 30 w 144"/>
                  <a:gd name="T35" fmla="*/ 1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144">
                    <a:moveTo>
                      <a:pt x="114" y="144"/>
                    </a:moveTo>
                    <a:cubicBezTo>
                      <a:pt x="30" y="144"/>
                      <a:pt x="30" y="144"/>
                      <a:pt x="30" y="144"/>
                    </a:cubicBezTo>
                    <a:cubicBezTo>
                      <a:pt x="13" y="144"/>
                      <a:pt x="0" y="131"/>
                      <a:pt x="0" y="114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14"/>
                      <a:pt x="13" y="0"/>
                      <a:pt x="30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130" y="0"/>
                      <a:pt x="144" y="14"/>
                      <a:pt x="144" y="30"/>
                    </a:cubicBezTo>
                    <a:cubicBezTo>
                      <a:pt x="144" y="114"/>
                      <a:pt x="144" y="114"/>
                      <a:pt x="144" y="114"/>
                    </a:cubicBezTo>
                    <a:cubicBezTo>
                      <a:pt x="144" y="131"/>
                      <a:pt x="130" y="144"/>
                      <a:pt x="114" y="144"/>
                    </a:cubicBezTo>
                    <a:close/>
                    <a:moveTo>
                      <a:pt x="30" y="12"/>
                    </a:moveTo>
                    <a:cubicBezTo>
                      <a:pt x="20" y="12"/>
                      <a:pt x="12" y="21"/>
                      <a:pt x="12" y="30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2" y="124"/>
                      <a:pt x="20" y="132"/>
                      <a:pt x="30" y="132"/>
                    </a:cubicBezTo>
                    <a:cubicBezTo>
                      <a:pt x="114" y="132"/>
                      <a:pt x="114" y="132"/>
                      <a:pt x="114" y="132"/>
                    </a:cubicBezTo>
                    <a:cubicBezTo>
                      <a:pt x="124" y="132"/>
                      <a:pt x="132" y="124"/>
                      <a:pt x="132" y="114"/>
                    </a:cubicBezTo>
                    <a:cubicBezTo>
                      <a:pt x="132" y="30"/>
                      <a:pt x="132" y="30"/>
                      <a:pt x="132" y="30"/>
                    </a:cubicBezTo>
                    <a:cubicBezTo>
                      <a:pt x="132" y="21"/>
                      <a:pt x="124" y="12"/>
                      <a:pt x="114" y="12"/>
                    </a:cubicBez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</p:grpSp>
      </p:grpSp>
      <p:sp>
        <p:nvSpPr>
          <p:cNvPr id="62" name="Rectangle 3">
            <a:extLst>
              <a:ext uri="{FF2B5EF4-FFF2-40B4-BE49-F238E27FC236}">
                <a16:creationId xmlns:a16="http://schemas.microsoft.com/office/drawing/2014/main" id="{49AF690D-26F3-1CDB-6F4D-838976866FF7}"/>
              </a:ext>
            </a:extLst>
          </p:cNvPr>
          <p:cNvSpPr/>
          <p:nvPr/>
        </p:nvSpPr>
        <p:spPr>
          <a:xfrm>
            <a:off x="5505140" y="1057833"/>
            <a:ext cx="3638707" cy="184666"/>
          </a:xfrm>
          <a:prstGeom prst="rect">
            <a:avLst/>
          </a:prstGeom>
          <a:solidFill>
            <a:schemeClr val="bg1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914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pl-PL" sz="1200" b="1" i="0" u="none" strike="noStrike" kern="0" cap="all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 Black" panose="020B0A03030202060203" pitchFamily="34" charset="-18"/>
                <a:ea typeface="+mn-ea"/>
                <a:cs typeface="+mn-cs"/>
              </a:rPr>
              <a:t>Lorem ipsum</a:t>
            </a:r>
            <a:endParaRPr kumimoji="0" lang="en-US" sz="1200" b="1" i="0" u="none" strike="noStrike" kern="0" cap="all" spc="0" normalizeH="0" baseline="0" noProof="0">
              <a:ln>
                <a:noFill/>
              </a:ln>
              <a:solidFill>
                <a:srgbClr val="A100FF"/>
              </a:solidFill>
              <a:effectLst/>
              <a:uLnTx/>
              <a:uFillTx/>
              <a:latin typeface="Graphik Black" panose="020B0A03030202060203" pitchFamily="34" charset="-18"/>
              <a:ea typeface="+mn-ea"/>
              <a:cs typeface="+mn-cs"/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A63BB6E-9EAD-115F-0A81-2D2042F29EFF}"/>
              </a:ext>
            </a:extLst>
          </p:cNvPr>
          <p:cNvCxnSpPr>
            <a:cxnSpLocks/>
          </p:cNvCxnSpPr>
          <p:nvPr/>
        </p:nvCxnSpPr>
        <p:spPr>
          <a:xfrm>
            <a:off x="5495105" y="1248604"/>
            <a:ext cx="6302996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itle 1">
            <a:extLst>
              <a:ext uri="{FF2B5EF4-FFF2-40B4-BE49-F238E27FC236}">
                <a16:creationId xmlns:a16="http://schemas.microsoft.com/office/drawing/2014/main" id="{D59545F7-0203-C7F3-1C53-BE4FF3E604E7}"/>
              </a:ext>
            </a:extLst>
          </p:cNvPr>
          <p:cNvSpPr txBox="1">
            <a:spLocks/>
          </p:cNvSpPr>
          <p:nvPr/>
        </p:nvSpPr>
        <p:spPr>
          <a:xfrm>
            <a:off x="338546" y="207092"/>
            <a:ext cx="11641970" cy="77613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inden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79600" algn="l"/>
              </a:tabLst>
              <a:defRPr sz="3600" b="1" i="0">
                <a:solidFill>
                  <a:schemeClr val="accent2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pl-PL"/>
              <a:t>AI Industry Hub | </a:t>
            </a:r>
            <a:r>
              <a:rPr lang="pl-PL">
                <a:solidFill>
                  <a:schemeClr val="tx1"/>
                </a:solidFill>
              </a:rPr>
              <a:t>Anti-Money Laundering</a:t>
            </a:r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9846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E8A82B-C4D1-4A09-9EC8-5D93EACE1C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E8A82B-C4D1-4A09-9EC8-5D93EACE1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2" name="Rectangle 3">
            <a:extLst>
              <a:ext uri="{FF2B5EF4-FFF2-40B4-BE49-F238E27FC236}">
                <a16:creationId xmlns:a16="http://schemas.microsoft.com/office/drawing/2014/main" id="{AE653DFE-3E40-6AF5-C7E3-E0BEA650521C}"/>
              </a:ext>
            </a:extLst>
          </p:cNvPr>
          <p:cNvSpPr/>
          <p:nvPr/>
        </p:nvSpPr>
        <p:spPr>
          <a:xfrm>
            <a:off x="5458672" y="4181310"/>
            <a:ext cx="3090350" cy="184666"/>
          </a:xfrm>
          <a:prstGeom prst="rect">
            <a:avLst/>
          </a:prstGeom>
          <a:solidFill>
            <a:schemeClr val="bg1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914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200" b="1" i="0" u="none" strike="noStrike" kern="0" cap="all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 Black" panose="020B0A03030202060203" pitchFamily="34" charset="-18"/>
                <a:ea typeface="+mn-ea"/>
                <a:cs typeface="+mn-cs"/>
              </a:rPr>
              <a:t>Key </a:t>
            </a:r>
            <a:r>
              <a:rPr kumimoji="0" lang="pl-PL" sz="1200" b="1" i="0" u="none" strike="noStrike" kern="0" cap="all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 Black" panose="020B0A03030202060203" pitchFamily="34" charset="-18"/>
                <a:ea typeface="+mn-ea"/>
                <a:cs typeface="+mn-cs"/>
              </a:rPr>
              <a:t>tools &amp; </a:t>
            </a:r>
            <a:r>
              <a:rPr kumimoji="0" lang="en-US" sz="1200" b="1" i="0" u="none" strike="noStrike" kern="0" cap="all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 Black" panose="020B0A03030202060203" pitchFamily="34" charset="-18"/>
                <a:ea typeface="+mn-ea"/>
                <a:cs typeface="+mn-cs"/>
              </a:rPr>
              <a:t>skills</a:t>
            </a:r>
          </a:p>
        </p:txBody>
      </p:sp>
      <p:cxnSp>
        <p:nvCxnSpPr>
          <p:cNvPr id="263" name="Straight Connector 262">
            <a:extLst>
              <a:ext uri="{FF2B5EF4-FFF2-40B4-BE49-F238E27FC236}">
                <a16:creationId xmlns:a16="http://schemas.microsoft.com/office/drawing/2014/main" id="{5E349324-B90B-3ACE-C058-A0F21F1DE7C2}"/>
              </a:ext>
            </a:extLst>
          </p:cNvPr>
          <p:cNvCxnSpPr>
            <a:cxnSpLocks/>
          </p:cNvCxnSpPr>
          <p:nvPr/>
        </p:nvCxnSpPr>
        <p:spPr>
          <a:xfrm>
            <a:off x="5471664" y="4439709"/>
            <a:ext cx="632694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4" name="Picture 2" descr="The Python Logo | Python Software Foundation">
            <a:extLst>
              <a:ext uri="{FF2B5EF4-FFF2-40B4-BE49-F238E27FC236}">
                <a16:creationId xmlns:a16="http://schemas.microsoft.com/office/drawing/2014/main" id="{1A31B7FE-4FD1-2DEA-24DF-2012C00990E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68" t="9486" r="6088" b="12959"/>
          <a:stretch/>
        </p:blipFill>
        <p:spPr bwMode="auto">
          <a:xfrm>
            <a:off x="5572794" y="5215986"/>
            <a:ext cx="1110638" cy="349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5" name="Picture 4">
            <a:extLst>
              <a:ext uri="{FF2B5EF4-FFF2-40B4-BE49-F238E27FC236}">
                <a16:creationId xmlns:a16="http://schemas.microsoft.com/office/drawing/2014/main" id="{7888675D-BFC1-01C8-9282-5F88F71362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0923" y="5236670"/>
            <a:ext cx="366794" cy="284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" name="Picture 6">
            <a:extLst>
              <a:ext uri="{FF2B5EF4-FFF2-40B4-BE49-F238E27FC236}">
                <a16:creationId xmlns:a16="http://schemas.microsoft.com/office/drawing/2014/main" id="{442C4528-A188-5CFE-497E-CAA6B2F6BE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0021" y="5254983"/>
            <a:ext cx="668318" cy="274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7" name="Picture 16">
            <a:extLst>
              <a:ext uri="{FF2B5EF4-FFF2-40B4-BE49-F238E27FC236}">
                <a16:creationId xmlns:a16="http://schemas.microsoft.com/office/drawing/2014/main" id="{730D7B01-5A84-F44D-F4EE-0A3004D492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8818" y="6223688"/>
            <a:ext cx="673226" cy="349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8" name="Picture 18" descr="Databricks logo transparent PNG - StickPNG">
            <a:extLst>
              <a:ext uri="{FF2B5EF4-FFF2-40B4-BE49-F238E27FC236}">
                <a16:creationId xmlns:a16="http://schemas.microsoft.com/office/drawing/2014/main" id="{10A621F9-622E-3869-40CD-F457729E8E5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87" t="31731" r="10158" b="35167"/>
          <a:stretch/>
        </p:blipFill>
        <p:spPr bwMode="auto">
          <a:xfrm>
            <a:off x="8116026" y="5268501"/>
            <a:ext cx="972994" cy="21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9" name="Picture 20" descr="Apache Airflow - Wikipedia">
            <a:extLst>
              <a:ext uri="{FF2B5EF4-FFF2-40B4-BE49-F238E27FC236}">
                <a16:creationId xmlns:a16="http://schemas.microsoft.com/office/drawing/2014/main" id="{1A33FAD3-3DDB-9DC4-7454-39702BDB82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4507" y="6249041"/>
            <a:ext cx="708905" cy="274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0" name="Picture 22">
            <a:extLst>
              <a:ext uri="{FF2B5EF4-FFF2-40B4-BE49-F238E27FC236}">
                <a16:creationId xmlns:a16="http://schemas.microsoft.com/office/drawing/2014/main" id="{64C4E0D3-CD11-9FB6-FCF4-F8E448FCAE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7888" y="5685158"/>
            <a:ext cx="401677" cy="361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1" name="Picture 24" descr="Sql server - Free logo icons">
            <a:extLst>
              <a:ext uri="{FF2B5EF4-FFF2-40B4-BE49-F238E27FC236}">
                <a16:creationId xmlns:a16="http://schemas.microsoft.com/office/drawing/2014/main" id="{A97E357A-1006-7542-560E-871468411F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886" y="6145366"/>
            <a:ext cx="520249" cy="520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2" name="Picture 30" descr="Oracle Database Logo Download - AI - All Vector Logo">
            <a:extLst>
              <a:ext uri="{FF2B5EF4-FFF2-40B4-BE49-F238E27FC236}">
                <a16:creationId xmlns:a16="http://schemas.microsoft.com/office/drawing/2014/main" id="{DE13AC35-A3BC-B626-C357-DD9F088F59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1728" y="5582096"/>
            <a:ext cx="925635" cy="503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3" name="Picture 32">
            <a:extLst>
              <a:ext uri="{FF2B5EF4-FFF2-40B4-BE49-F238E27FC236}">
                <a16:creationId xmlns:a16="http://schemas.microsoft.com/office/drawing/2014/main" id="{EAEBD7B5-569E-2146-D9FC-0D7A603766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598345" y="6251411"/>
            <a:ext cx="1157672" cy="287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4" name="Picture 36" descr="Has the time finally come for PostgreSQL? | ZDNET">
            <a:extLst>
              <a:ext uri="{FF2B5EF4-FFF2-40B4-BE49-F238E27FC236}">
                <a16:creationId xmlns:a16="http://schemas.microsoft.com/office/drawing/2014/main" id="{75BE3D98-F50D-8DD1-6BE9-29369D7439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9435" y="5679587"/>
            <a:ext cx="572394" cy="429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5" name="Picture 38" descr="Power BI Vector Logo">
            <a:extLst>
              <a:ext uri="{FF2B5EF4-FFF2-40B4-BE49-F238E27FC236}">
                <a16:creationId xmlns:a16="http://schemas.microsoft.com/office/drawing/2014/main" id="{D0072512-74E0-4CB5-8F2B-13B0F1286D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327" b="34549"/>
          <a:stretch/>
        </p:blipFill>
        <p:spPr bwMode="auto">
          <a:xfrm>
            <a:off x="5574565" y="5709277"/>
            <a:ext cx="1162046" cy="361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0" name="Picture 8">
            <a:extLst>
              <a:ext uri="{FF2B5EF4-FFF2-40B4-BE49-F238E27FC236}">
                <a16:creationId xmlns:a16="http://schemas.microsoft.com/office/drawing/2014/main" id="{5D4EDCAE-485E-3AF0-B056-D44DCD191E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8954" y="4575588"/>
            <a:ext cx="762815" cy="456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1" name="Picture 10">
            <a:extLst>
              <a:ext uri="{FF2B5EF4-FFF2-40B4-BE49-F238E27FC236}">
                <a16:creationId xmlns:a16="http://schemas.microsoft.com/office/drawing/2014/main" id="{D9302651-24CC-CCBA-0340-2C642C8C90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7180" y="4575588"/>
            <a:ext cx="1577230" cy="455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2" name="Picture 14" descr="See Introduction to Google Cloud at Google Developer Student Clubs Nitte  Meenakshi Institute of Technology - Bengaluru">
            <a:extLst>
              <a:ext uri="{FF2B5EF4-FFF2-40B4-BE49-F238E27FC236}">
                <a16:creationId xmlns:a16="http://schemas.microsoft.com/office/drawing/2014/main" id="{F8157E4B-E888-9E63-DFCE-42FB5A224D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023" b="14218"/>
          <a:stretch/>
        </p:blipFill>
        <p:spPr bwMode="auto">
          <a:xfrm>
            <a:off x="6575632" y="4522430"/>
            <a:ext cx="757684" cy="5437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4" name="Chart Placeholder 7">
            <a:extLst>
              <a:ext uri="{FF2B5EF4-FFF2-40B4-BE49-F238E27FC236}">
                <a16:creationId xmlns:a16="http://schemas.microsoft.com/office/drawing/2014/main" id="{3D5B36A8-36EB-F2B3-D120-B55664B2C4C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93019066"/>
              </p:ext>
            </p:extLst>
          </p:nvPr>
        </p:nvGraphicFramePr>
        <p:xfrm>
          <a:off x="255801" y="2782639"/>
          <a:ext cx="2469330" cy="38945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graphicFrame>
        <p:nvGraphicFramePr>
          <p:cNvPr id="65" name="Chart Placeholder 7">
            <a:extLst>
              <a:ext uri="{FF2B5EF4-FFF2-40B4-BE49-F238E27FC236}">
                <a16:creationId xmlns:a16="http://schemas.microsoft.com/office/drawing/2014/main" id="{9187494E-35AA-B377-7573-B7A7AEE0EB8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4464762"/>
              </p:ext>
            </p:extLst>
          </p:nvPr>
        </p:nvGraphicFramePr>
        <p:xfrm>
          <a:off x="2703583" y="3365163"/>
          <a:ext cx="2771734" cy="3236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66" name="TextBox 65">
            <a:extLst>
              <a:ext uri="{FF2B5EF4-FFF2-40B4-BE49-F238E27FC236}">
                <a16:creationId xmlns:a16="http://schemas.microsoft.com/office/drawing/2014/main" id="{8151AFB7-9001-51CB-C388-578A4CE3E4ED}"/>
              </a:ext>
            </a:extLst>
          </p:cNvPr>
          <p:cNvSpPr txBox="1"/>
          <p:nvPr/>
        </p:nvSpPr>
        <p:spPr>
          <a:xfrm>
            <a:off x="1191473" y="4821729"/>
            <a:ext cx="64686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unction</a:t>
            </a:r>
          </a:p>
        </p:txBody>
      </p:sp>
      <p:sp>
        <p:nvSpPr>
          <p:cNvPr id="223" name="Title 1">
            <a:extLst>
              <a:ext uri="{FF2B5EF4-FFF2-40B4-BE49-F238E27FC236}">
                <a16:creationId xmlns:a16="http://schemas.microsoft.com/office/drawing/2014/main" id="{D59545F7-0203-C7F3-1C53-BE4FF3E604E7}"/>
              </a:ext>
            </a:extLst>
          </p:cNvPr>
          <p:cNvSpPr txBox="1">
            <a:spLocks/>
          </p:cNvSpPr>
          <p:nvPr/>
        </p:nvSpPr>
        <p:spPr>
          <a:xfrm>
            <a:off x="338546" y="207092"/>
            <a:ext cx="11641970" cy="77613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inden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79600" algn="l"/>
              </a:tabLst>
              <a:defRPr sz="3600" b="1" i="0">
                <a:solidFill>
                  <a:schemeClr val="accent2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pl-PL"/>
              <a:t>AI Industry Hub | Part of ICH</a:t>
            </a:r>
            <a:endParaRPr lang="en-GB"/>
          </a:p>
        </p:txBody>
      </p:sp>
      <p:sp>
        <p:nvSpPr>
          <p:cNvPr id="224" name="Text Placeholder 7">
            <a:extLst>
              <a:ext uri="{FF2B5EF4-FFF2-40B4-BE49-F238E27FC236}">
                <a16:creationId xmlns:a16="http://schemas.microsoft.com/office/drawing/2014/main" id="{178B02DE-AAFF-373B-3A84-64333240D866}"/>
              </a:ext>
            </a:extLst>
          </p:cNvPr>
          <p:cNvSpPr>
            <a:spLocks noGrp="1"/>
          </p:cNvSpPr>
          <p:nvPr/>
        </p:nvSpPr>
        <p:spPr>
          <a:xfrm>
            <a:off x="7202259" y="-81640"/>
            <a:ext cx="4668630" cy="102454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28600" indent="-228600" algn="l" defTabSz="2286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lang="en-US" sz="1800" b="0" i="0" kern="1200" cap="all" spc="0" baseline="0" dirty="0">
                <a:solidFill>
                  <a:schemeClr val="tx2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Graphik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i="1">
                <a:solidFill>
                  <a:schemeClr val="accent1"/>
                </a:solidFill>
              </a:rPr>
              <a:t>Drive Gen AI </a:t>
            </a:r>
            <a:r>
              <a:rPr lang="en-US" sz="1600" b="1" i="1">
                <a:solidFill>
                  <a:schemeClr val="tx1"/>
                </a:solidFill>
              </a:rPr>
              <a:t>and</a:t>
            </a:r>
            <a:r>
              <a:rPr lang="en-US" sz="1600" b="1" i="1">
                <a:solidFill>
                  <a:schemeClr val="accent1"/>
                </a:solidFill>
              </a:rPr>
              <a:t> OWN </a:t>
            </a:r>
            <a:r>
              <a:rPr lang="en-US" sz="1600" b="1" i="1">
                <a:solidFill>
                  <a:schemeClr val="tx1"/>
                </a:solidFill>
              </a:rPr>
              <a:t>the client's agenda around </a:t>
            </a:r>
            <a:r>
              <a:rPr lang="en-US" sz="1600" b="1" i="1" err="1">
                <a:solidFill>
                  <a:schemeClr val="tx1"/>
                </a:solidFill>
              </a:rPr>
              <a:t>dat</a:t>
            </a:r>
            <a:r>
              <a:rPr lang="pl-PL" sz="1600" b="1" i="1">
                <a:solidFill>
                  <a:schemeClr val="tx1"/>
                </a:solidFill>
              </a:rPr>
              <a:t>A</a:t>
            </a:r>
            <a:endParaRPr lang="en-US" sz="1600" b="1" i="1">
              <a:solidFill>
                <a:schemeClr val="tx1"/>
              </a:solidFill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48B3B053-B74E-92AF-4F1A-F3CEDCAF6DFD}"/>
              </a:ext>
            </a:extLst>
          </p:cNvPr>
          <p:cNvSpPr/>
          <p:nvPr/>
        </p:nvSpPr>
        <p:spPr>
          <a:xfrm>
            <a:off x="9993475" y="454859"/>
            <a:ext cx="2098871" cy="212366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+mn-cs"/>
              </a:rPr>
              <a:t>Jean-Marc </a:t>
            </a:r>
            <a:r>
              <a:rPr kumimoji="0" lang="pl-PL" sz="1200" b="1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+mn-cs"/>
              </a:rPr>
              <a:t>Ollangier</a:t>
            </a:r>
            <a:endParaRPr kumimoji="0" lang="en-US" sz="12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-18"/>
              <a:ea typeface="+mn-ea"/>
              <a:cs typeface="+mn-cs"/>
            </a:endParaRP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1C031929-8DA5-448F-2697-3A104B87990A}"/>
              </a:ext>
            </a:extLst>
          </p:cNvPr>
          <p:cNvGrpSpPr/>
          <p:nvPr/>
        </p:nvGrpSpPr>
        <p:grpSpPr>
          <a:xfrm>
            <a:off x="413380" y="774975"/>
            <a:ext cx="4698806" cy="2951854"/>
            <a:chOff x="252960" y="774975"/>
            <a:chExt cx="4698806" cy="2951854"/>
          </a:xfrm>
        </p:grpSpPr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647945FA-3CD5-67E3-5769-3C9090077102}"/>
                </a:ext>
              </a:extLst>
            </p:cNvPr>
            <p:cNvSpPr txBox="1"/>
            <p:nvPr/>
          </p:nvSpPr>
          <p:spPr>
            <a:xfrm>
              <a:off x="2820290" y="1906481"/>
              <a:ext cx="2062249" cy="791737"/>
            </a:xfrm>
            <a:prstGeom prst="rect">
              <a:avLst/>
            </a:prstGeom>
            <a:noFill/>
          </p:spPr>
          <p:txBody>
            <a:bodyPr wrap="square" lIns="0" tIns="0" rIns="0" bIns="144000" rtlCol="0" anchor="b">
              <a:spAutoFit/>
            </a:bodyPr>
            <a:lstStyle/>
            <a:p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l-PL" sz="140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600+ AI </a:t>
              </a:r>
              <a:r>
                <a:rPr kumimoji="0" lang="en-US" sz="140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Consultants </a:t>
              </a:r>
              <a:br>
                <a:rPr kumimoji="0" lang="pl-PL" sz="140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</a:br>
              <a:r>
                <a:rPr kumimoji="0" lang="en-US" sz="14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Graphik"/>
                  <a:ea typeface="+mn-ea"/>
                  <a:cs typeface="+mn-cs"/>
                </a:rPr>
                <a:t>in nearshore</a:t>
              </a:r>
              <a:br>
                <a:rPr kumimoji="0" lang="pl-PL" sz="14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Graphik"/>
                  <a:ea typeface="+mn-ea"/>
                  <a:cs typeface="+mn-cs"/>
                </a:rPr>
              </a:br>
              <a:r>
                <a:rPr kumimoji="0" lang="en-US" sz="14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Graphik"/>
                  <a:ea typeface="+mn-ea"/>
                  <a:cs typeface="+mn-cs"/>
                </a:rPr>
                <a:t>/offshore locations</a:t>
              </a:r>
              <a:endParaRPr kumimoji="0" lang="pl-PL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grpSp>
          <p:nvGrpSpPr>
            <p:cNvPr id="200" name="Group 199">
              <a:extLst>
                <a:ext uri="{FF2B5EF4-FFF2-40B4-BE49-F238E27FC236}">
                  <a16:creationId xmlns:a16="http://schemas.microsoft.com/office/drawing/2014/main" id="{3218BA9D-5E4E-C08D-8C43-99BBB970F1B2}"/>
                </a:ext>
              </a:extLst>
            </p:cNvPr>
            <p:cNvGrpSpPr/>
            <p:nvPr/>
          </p:nvGrpSpPr>
          <p:grpSpPr>
            <a:xfrm>
              <a:off x="252960" y="774975"/>
              <a:ext cx="3390660" cy="2951854"/>
              <a:chOff x="6070466" y="2154115"/>
              <a:chExt cx="5400000" cy="3611518"/>
            </a:xfrm>
          </p:grpSpPr>
          <p:sp>
            <p:nvSpPr>
              <p:cNvPr id="220" name="Isosceles Triangle 219">
                <a:extLst>
                  <a:ext uri="{FF2B5EF4-FFF2-40B4-BE49-F238E27FC236}">
                    <a16:creationId xmlns:a16="http://schemas.microsoft.com/office/drawing/2014/main" id="{9BCEC7E3-1D1E-60C8-D7F0-3D3587823502}"/>
                  </a:ext>
                </a:extLst>
              </p:cNvPr>
              <p:cNvSpPr/>
              <p:nvPr/>
            </p:nvSpPr>
            <p:spPr>
              <a:xfrm>
                <a:off x="6070466" y="2154115"/>
                <a:ext cx="5400000" cy="3611518"/>
              </a:xfrm>
              <a:prstGeom prst="triangl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400"/>
              </a:p>
            </p:txBody>
          </p:sp>
          <p:sp>
            <p:nvSpPr>
              <p:cNvPr id="221" name="Isosceles Triangle 220">
                <a:extLst>
                  <a:ext uri="{FF2B5EF4-FFF2-40B4-BE49-F238E27FC236}">
                    <a16:creationId xmlns:a16="http://schemas.microsoft.com/office/drawing/2014/main" id="{0B5DB941-7A78-3BD0-30B0-6607383FC5C7}"/>
                  </a:ext>
                </a:extLst>
              </p:cNvPr>
              <p:cNvSpPr/>
              <p:nvPr/>
            </p:nvSpPr>
            <p:spPr>
              <a:xfrm>
                <a:off x="6070466" y="3429001"/>
                <a:ext cx="5400000" cy="2336632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400"/>
              </a:p>
            </p:txBody>
          </p:sp>
          <p:sp>
            <p:nvSpPr>
              <p:cNvPr id="222" name="Isosceles Triangle 221">
                <a:extLst>
                  <a:ext uri="{FF2B5EF4-FFF2-40B4-BE49-F238E27FC236}">
                    <a16:creationId xmlns:a16="http://schemas.microsoft.com/office/drawing/2014/main" id="{67A920CF-CCC8-A006-91BD-C505ED4346A5}"/>
                  </a:ext>
                </a:extLst>
              </p:cNvPr>
              <p:cNvSpPr/>
              <p:nvPr/>
            </p:nvSpPr>
            <p:spPr>
              <a:xfrm>
                <a:off x="6070466" y="4484078"/>
                <a:ext cx="5400000" cy="1281555"/>
              </a:xfrm>
              <a:prstGeom prst="triangl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400"/>
              </a:p>
            </p:txBody>
          </p:sp>
        </p:grpSp>
        <p:grpSp>
          <p:nvGrpSpPr>
            <p:cNvPr id="302" name="Group 301">
              <a:extLst>
                <a:ext uri="{FF2B5EF4-FFF2-40B4-BE49-F238E27FC236}">
                  <a16:creationId xmlns:a16="http://schemas.microsoft.com/office/drawing/2014/main" id="{E13C45A0-9974-F81D-31B7-12CCB45AA606}"/>
                </a:ext>
              </a:extLst>
            </p:cNvPr>
            <p:cNvGrpSpPr/>
            <p:nvPr/>
          </p:nvGrpSpPr>
          <p:grpSpPr>
            <a:xfrm>
              <a:off x="1918080" y="1643560"/>
              <a:ext cx="2884923" cy="1926043"/>
              <a:chOff x="1868205" y="2000606"/>
              <a:chExt cx="2884923" cy="1800564"/>
            </a:xfrm>
          </p:grpSpPr>
          <p:grpSp>
            <p:nvGrpSpPr>
              <p:cNvPr id="211" name="Group 210">
                <a:extLst>
                  <a:ext uri="{FF2B5EF4-FFF2-40B4-BE49-F238E27FC236}">
                    <a16:creationId xmlns:a16="http://schemas.microsoft.com/office/drawing/2014/main" id="{7F84C712-D8F1-5061-E3A5-C3A72CCB27F2}"/>
                  </a:ext>
                </a:extLst>
              </p:cNvPr>
              <p:cNvGrpSpPr/>
              <p:nvPr/>
            </p:nvGrpSpPr>
            <p:grpSpPr>
              <a:xfrm flipH="1">
                <a:off x="1868205" y="2000606"/>
                <a:ext cx="2884923" cy="123629"/>
                <a:chOff x="-2564432" y="3249000"/>
                <a:chExt cx="7960131" cy="180000"/>
              </a:xfrm>
            </p:grpSpPr>
            <p:sp>
              <p:nvSpPr>
                <p:cNvPr id="218" name="Rectangle 217">
                  <a:extLst>
                    <a:ext uri="{FF2B5EF4-FFF2-40B4-BE49-F238E27FC236}">
                      <a16:creationId xmlns:a16="http://schemas.microsoft.com/office/drawing/2014/main" id="{7F29C525-C6A5-B90D-E47E-D78A5EA9DF87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147369" y="3249000"/>
                  <a:ext cx="248330" cy="180000"/>
                </a:xfrm>
                <a:prstGeom prst="rect">
                  <a:avLst/>
                </a:prstGeom>
                <a:noFill/>
                <a:ln w="38100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en-US" sz="1400"/>
                </a:p>
              </p:txBody>
            </p:sp>
            <p:cxnSp>
              <p:nvCxnSpPr>
                <p:cNvPr id="219" name="Straight Connector 218">
                  <a:extLst>
                    <a:ext uri="{FF2B5EF4-FFF2-40B4-BE49-F238E27FC236}">
                      <a16:creationId xmlns:a16="http://schemas.microsoft.com/office/drawing/2014/main" id="{3F119B00-7245-2E14-68EC-6FCC43C9E744}"/>
                    </a:ext>
                  </a:extLst>
                </p:cNvPr>
                <p:cNvCxnSpPr>
                  <a:cxnSpLocks/>
                  <a:stCxn id="218" idx="1"/>
                </p:cNvCxnSpPr>
                <p:nvPr/>
              </p:nvCxnSpPr>
              <p:spPr>
                <a:xfrm flipH="1">
                  <a:off x="-2564432" y="3339001"/>
                  <a:ext cx="7711801" cy="0"/>
                </a:xfrm>
                <a:prstGeom prst="line">
                  <a:avLst/>
                </a:prstGeom>
                <a:ln w="12700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2" name="Group 211">
                <a:extLst>
                  <a:ext uri="{FF2B5EF4-FFF2-40B4-BE49-F238E27FC236}">
                    <a16:creationId xmlns:a16="http://schemas.microsoft.com/office/drawing/2014/main" id="{B1988F70-063E-3CB6-02C7-523811243EF5}"/>
                  </a:ext>
                </a:extLst>
              </p:cNvPr>
              <p:cNvGrpSpPr/>
              <p:nvPr/>
            </p:nvGrpSpPr>
            <p:grpSpPr>
              <a:xfrm flipH="1">
                <a:off x="1868205" y="2861197"/>
                <a:ext cx="2884923" cy="123629"/>
                <a:chOff x="-3125222" y="3249000"/>
                <a:chExt cx="7960131" cy="180000"/>
              </a:xfrm>
            </p:grpSpPr>
            <p:sp>
              <p:nvSpPr>
                <p:cNvPr id="216" name="Rectangle 215">
                  <a:extLst>
                    <a:ext uri="{FF2B5EF4-FFF2-40B4-BE49-F238E27FC236}">
                      <a16:creationId xmlns:a16="http://schemas.microsoft.com/office/drawing/2014/main" id="{C0CE8FBB-C0FF-89BF-1CB0-6A125BBBF2BB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586579" y="3249000"/>
                  <a:ext cx="248330" cy="180000"/>
                </a:xfrm>
                <a:prstGeom prst="rect">
                  <a:avLst/>
                </a:prstGeom>
                <a:noFill/>
                <a:ln w="38100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en-US" sz="1400"/>
                </a:p>
              </p:txBody>
            </p:sp>
            <p:cxnSp>
              <p:nvCxnSpPr>
                <p:cNvPr id="217" name="Straight Connector 216">
                  <a:extLst>
                    <a:ext uri="{FF2B5EF4-FFF2-40B4-BE49-F238E27FC236}">
                      <a16:creationId xmlns:a16="http://schemas.microsoft.com/office/drawing/2014/main" id="{F9CE4577-31E0-85D1-234F-CBD49755B6A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-3125222" y="3339000"/>
                  <a:ext cx="7780134" cy="0"/>
                </a:xfrm>
                <a:prstGeom prst="line">
                  <a:avLst/>
                </a:prstGeom>
                <a:ln w="12700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14" name="Rectangle 213">
                <a:extLst>
                  <a:ext uri="{FF2B5EF4-FFF2-40B4-BE49-F238E27FC236}">
                    <a16:creationId xmlns:a16="http://schemas.microsoft.com/office/drawing/2014/main" id="{6018467B-D004-7D76-220C-0DEF95B76DE6}"/>
                  </a:ext>
                </a:extLst>
              </p:cNvPr>
              <p:cNvSpPr>
                <a:spLocks/>
              </p:cNvSpPr>
              <p:nvPr/>
            </p:nvSpPr>
            <p:spPr>
              <a:xfrm flipH="1">
                <a:off x="1868205" y="3677541"/>
                <a:ext cx="90000" cy="123629"/>
              </a:xfrm>
              <a:prstGeom prst="rect">
                <a:avLst/>
              </a:prstGeom>
              <a:noFill/>
              <a:ln w="38100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400"/>
              </a:p>
            </p:txBody>
          </p:sp>
          <p:cxnSp>
            <p:nvCxnSpPr>
              <p:cNvPr id="215" name="Straight Connector 214">
                <a:extLst>
                  <a:ext uri="{FF2B5EF4-FFF2-40B4-BE49-F238E27FC236}">
                    <a16:creationId xmlns:a16="http://schemas.microsoft.com/office/drawing/2014/main" id="{2DCDC8F4-B9E5-9D27-7967-7DB68BE625F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33441" y="3739356"/>
                <a:ext cx="2819687" cy="0"/>
              </a:xfrm>
              <a:prstGeom prst="line">
                <a:avLst/>
              </a:prstGeom>
              <a:ln w="12700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7" name="TextBox 206">
              <a:extLst>
                <a:ext uri="{FF2B5EF4-FFF2-40B4-BE49-F238E27FC236}">
                  <a16:creationId xmlns:a16="http://schemas.microsoft.com/office/drawing/2014/main" id="{5C2DB8FE-6DA0-EEAE-C17B-C7D56C3F196A}"/>
                </a:ext>
              </a:extLst>
            </p:cNvPr>
            <p:cNvSpPr txBox="1"/>
            <p:nvPr/>
          </p:nvSpPr>
          <p:spPr>
            <a:xfrm>
              <a:off x="2764780" y="2782385"/>
              <a:ext cx="2094970" cy="791737"/>
            </a:xfrm>
            <a:prstGeom prst="rect">
              <a:avLst/>
            </a:prstGeom>
            <a:noFill/>
          </p:spPr>
          <p:txBody>
            <a:bodyPr wrap="square" lIns="0" tIns="0" rIns="0" bIns="144000" rtlCol="0" anchor="b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l-PL" sz="1400">
                  <a:solidFill>
                    <a:schemeClr val="accent1"/>
                  </a:solidFill>
                  <a:latin typeface="Graphik"/>
                </a:rPr>
                <a:t>100+ experts </a:t>
              </a:r>
              <a:r>
                <a:rPr lang="pl-PL" sz="1400"/>
                <a:t>in </a:t>
              </a:r>
              <a:br>
                <a:rPr lang="pl-PL" sz="1400"/>
              </a:br>
              <a:r>
                <a:rPr lang="en-GB" sz="1400"/>
                <a:t>elicit</a:t>
              </a:r>
              <a:r>
                <a:rPr lang="pl-PL" sz="1400"/>
                <a:t>ing</a:t>
              </a:r>
              <a:r>
                <a:rPr lang="en-GB" sz="1400"/>
                <a:t> insights </a:t>
              </a:r>
              <a:br>
                <a:rPr lang="pl-PL" sz="1400"/>
              </a:br>
              <a:r>
                <a:rPr lang="en-GB" sz="1400"/>
                <a:t>from data.</a:t>
              </a:r>
            </a:p>
          </p:txBody>
        </p:sp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F5A96206-62F6-07F0-A812-F8E187426C27}"/>
                </a:ext>
              </a:extLst>
            </p:cNvPr>
            <p:cNvSpPr txBox="1"/>
            <p:nvPr/>
          </p:nvSpPr>
          <p:spPr>
            <a:xfrm>
              <a:off x="1208748" y="2950908"/>
              <a:ext cx="1496283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0"/>
                </a:spcAft>
                <a:buClrTx/>
                <a:buSzTx/>
                <a:buFontTx/>
                <a:buNone/>
                <a:tabLst/>
                <a:defRPr/>
              </a:pPr>
              <a:r>
                <a:rPr lang="pl-PL" sz="1400" b="1">
                  <a:solidFill>
                    <a:schemeClr val="bg1"/>
                  </a:solidFill>
                </a:rPr>
                <a:t>AI Industry Hub</a:t>
              </a:r>
              <a:endParaRPr lang="en-GB" sz="1400" b="1">
                <a:solidFill>
                  <a:schemeClr val="bg1"/>
                </a:solidFill>
              </a:endParaRPr>
            </a:p>
          </p:txBody>
        </p:sp>
        <p:sp>
          <p:nvSpPr>
            <p:cNvPr id="209" name="TextBox 208">
              <a:extLst>
                <a:ext uri="{FF2B5EF4-FFF2-40B4-BE49-F238E27FC236}">
                  <a16:creationId xmlns:a16="http://schemas.microsoft.com/office/drawing/2014/main" id="{0D1968CD-D433-753B-6FDE-873F9BD7BAD3}"/>
                </a:ext>
              </a:extLst>
            </p:cNvPr>
            <p:cNvSpPr txBox="1"/>
            <p:nvPr/>
          </p:nvSpPr>
          <p:spPr>
            <a:xfrm>
              <a:off x="1349751" y="2292030"/>
              <a:ext cx="124938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0"/>
                </a:spcAft>
                <a:buClrTx/>
                <a:buSzTx/>
                <a:buFontTx/>
                <a:buNone/>
                <a:tabLst/>
                <a:defRPr/>
              </a:pPr>
              <a:r>
                <a:rPr lang="pl-PL" sz="1400" b="1">
                  <a:solidFill>
                    <a:schemeClr val="bg1"/>
                  </a:solidFill>
                </a:rPr>
                <a:t>DATA &amp; AI</a:t>
              </a:r>
              <a:endParaRPr lang="en-GB" sz="1400" b="1">
                <a:solidFill>
                  <a:schemeClr val="bg1"/>
                </a:solidFill>
              </a:endParaRPr>
            </a:p>
          </p:txBody>
        </p:sp>
        <p:sp>
          <p:nvSpPr>
            <p:cNvPr id="210" name="TextBox 209">
              <a:extLst>
                <a:ext uri="{FF2B5EF4-FFF2-40B4-BE49-F238E27FC236}">
                  <a16:creationId xmlns:a16="http://schemas.microsoft.com/office/drawing/2014/main" id="{1FC5B658-957B-62BF-7C09-C9E0FB3B1959}"/>
                </a:ext>
              </a:extLst>
            </p:cNvPr>
            <p:cNvSpPr txBox="1"/>
            <p:nvPr/>
          </p:nvSpPr>
          <p:spPr>
            <a:xfrm>
              <a:off x="1615940" y="1351788"/>
              <a:ext cx="66469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400" b="1">
                  <a:solidFill>
                    <a:schemeClr val="bg1"/>
                  </a:solidFill>
                </a:rPr>
                <a:t>ICH</a:t>
              </a:r>
            </a:p>
          </p:txBody>
        </p:sp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07F611A0-D840-8ACD-7451-78EFDB5CE6C8}"/>
                </a:ext>
              </a:extLst>
            </p:cNvPr>
            <p:cNvSpPr txBox="1"/>
            <p:nvPr/>
          </p:nvSpPr>
          <p:spPr>
            <a:xfrm>
              <a:off x="2117826" y="1073252"/>
              <a:ext cx="2833940" cy="791737"/>
            </a:xfrm>
            <a:prstGeom prst="rect">
              <a:avLst/>
            </a:prstGeom>
            <a:noFill/>
          </p:spPr>
          <p:txBody>
            <a:bodyPr wrap="square" lIns="0" tIns="0" rIns="0" bIns="144000" rtlCol="0" anchor="b">
              <a:spAutoFit/>
            </a:bodyPr>
            <a:lstStyle/>
            <a:p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l-PL" sz="140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Intelligent Consulting Hub</a:t>
              </a:r>
              <a:br>
                <a:rPr kumimoji="0" lang="pl-PL" sz="1400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</a:br>
              <a:r>
                <a:rPr lang="pl-PL" sz="1400">
                  <a:latin typeface="Graphik"/>
                </a:rPr>
                <a:t>2</a:t>
              </a:r>
              <a:r>
                <a:rPr kumimoji="0" lang="pl-PL" sz="14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Graphik"/>
                  <a:ea typeface="+mn-ea"/>
                  <a:cs typeface="+mn-cs"/>
                </a:rPr>
                <a:t>000+ functional and </a:t>
              </a:r>
              <a:br>
                <a:rPr kumimoji="0" lang="pl-PL" sz="14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Graphik"/>
                  <a:ea typeface="+mn-ea"/>
                  <a:cs typeface="+mn-cs"/>
                </a:rPr>
              </a:br>
              <a:r>
                <a:rPr kumimoji="0" lang="pl-PL" sz="14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Graphik"/>
                  <a:ea typeface="+mn-ea"/>
                  <a:cs typeface="+mn-cs"/>
                </a:rPr>
                <a:t>industy experts</a:t>
              </a:r>
            </a:p>
          </p:txBody>
        </p:sp>
      </p:grpSp>
      <p:sp>
        <p:nvSpPr>
          <p:cNvPr id="230" name="TextBox 229">
            <a:extLst>
              <a:ext uri="{FF2B5EF4-FFF2-40B4-BE49-F238E27FC236}">
                <a16:creationId xmlns:a16="http://schemas.microsoft.com/office/drawing/2014/main" id="{31578326-8DAA-D06A-FFD4-F949ABA1621E}"/>
              </a:ext>
            </a:extLst>
          </p:cNvPr>
          <p:cNvSpPr txBox="1"/>
          <p:nvPr/>
        </p:nvSpPr>
        <p:spPr>
          <a:xfrm>
            <a:off x="3768310" y="4830501"/>
            <a:ext cx="54341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Industry</a:t>
            </a:r>
          </a:p>
        </p:txBody>
      </p:sp>
      <p:pic>
        <p:nvPicPr>
          <p:cNvPr id="231" name="Picture 230">
            <a:extLst>
              <a:ext uri="{FF2B5EF4-FFF2-40B4-BE49-F238E27FC236}">
                <a16:creationId xmlns:a16="http://schemas.microsoft.com/office/drawing/2014/main" id="{E1ABF2AC-9368-4950-C386-1EF17F4562C5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9504558" y="4604647"/>
            <a:ext cx="2121960" cy="523113"/>
          </a:xfrm>
          <a:prstGeom prst="rect">
            <a:avLst/>
          </a:prstGeom>
        </p:spPr>
      </p:pic>
      <p:pic>
        <p:nvPicPr>
          <p:cNvPr id="232" name="Picture 231" descr="A purple and black logo&#10;&#10;Description automatically generated">
            <a:extLst>
              <a:ext uri="{FF2B5EF4-FFF2-40B4-BE49-F238E27FC236}">
                <a16:creationId xmlns:a16="http://schemas.microsoft.com/office/drawing/2014/main" id="{BB1914C6-5D88-2BFC-AC0E-8614BE9F591B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9459913" y="5792921"/>
            <a:ext cx="1003852" cy="824686"/>
          </a:xfrm>
          <a:prstGeom prst="rect">
            <a:avLst/>
          </a:prstGeom>
          <a:effectLst/>
        </p:spPr>
      </p:pic>
      <p:pic>
        <p:nvPicPr>
          <p:cNvPr id="233" name="Picture 36" descr="Brand assets - Hugging Face">
            <a:extLst>
              <a:ext uri="{FF2B5EF4-FFF2-40B4-BE49-F238E27FC236}">
                <a16:creationId xmlns:a16="http://schemas.microsoft.com/office/drawing/2014/main" id="{398A7F7F-D342-F220-9463-252724EEF1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31" t="27140" r="-1" b="8622"/>
          <a:stretch/>
        </p:blipFill>
        <p:spPr bwMode="auto">
          <a:xfrm>
            <a:off x="10414934" y="5270887"/>
            <a:ext cx="1239536" cy="296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4" name="Picture 2">
            <a:extLst>
              <a:ext uri="{FF2B5EF4-FFF2-40B4-BE49-F238E27FC236}">
                <a16:creationId xmlns:a16="http://schemas.microsoft.com/office/drawing/2014/main" id="{65DF4F22-9D19-2E70-ABF5-2A968B9566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/>
          <a:srcRect/>
          <a:stretch/>
        </p:blipFill>
        <p:spPr bwMode="auto">
          <a:xfrm>
            <a:off x="9531025" y="5261706"/>
            <a:ext cx="503062" cy="503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5" name="Rectangle: Rounded Corners 234">
            <a:extLst>
              <a:ext uri="{FF2B5EF4-FFF2-40B4-BE49-F238E27FC236}">
                <a16:creationId xmlns:a16="http://schemas.microsoft.com/office/drawing/2014/main" id="{9B532B5B-AFC4-7F8C-E5D3-97E870D93E24}"/>
              </a:ext>
            </a:extLst>
          </p:cNvPr>
          <p:cNvSpPr/>
          <p:nvPr/>
        </p:nvSpPr>
        <p:spPr>
          <a:xfrm>
            <a:off x="9689615" y="5342118"/>
            <a:ext cx="1204378" cy="58217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b="1" i="0" u="none" strike="noStrike" kern="1200" cap="none" spc="0" normalizeH="0" baseline="0" noProof="0">
                <a:ln>
                  <a:noFill/>
                </a:ln>
                <a:solidFill>
                  <a:srgbClr val="460073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aLM2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57EAB77-4ED1-B01F-4726-3D5C589CAC68}"/>
              </a:ext>
            </a:extLst>
          </p:cNvPr>
          <p:cNvSpPr/>
          <p:nvPr/>
        </p:nvSpPr>
        <p:spPr>
          <a:xfrm>
            <a:off x="9228552" y="4415884"/>
            <a:ext cx="122597" cy="1623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CCC45667-63F3-4691-8502-CA9F6B86F389}"/>
              </a:ext>
            </a:extLst>
          </p:cNvPr>
          <p:cNvSpPr/>
          <p:nvPr/>
        </p:nvSpPr>
        <p:spPr>
          <a:xfrm>
            <a:off x="9408214" y="4171995"/>
            <a:ext cx="2557731" cy="184666"/>
          </a:xfrm>
          <a:prstGeom prst="rect">
            <a:avLst/>
          </a:prstGeom>
          <a:solidFill>
            <a:schemeClr val="bg1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914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pl-PL" sz="1200" b="1" i="0" u="none" strike="noStrike" kern="0" cap="all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 Black" panose="020B0A03030202060203" pitchFamily="34" charset="-18"/>
                <a:ea typeface="+mn-ea"/>
                <a:cs typeface="+mn-cs"/>
              </a:rPr>
              <a:t>Gen AI technologies</a:t>
            </a:r>
            <a:endParaRPr kumimoji="0" lang="en-US" sz="1200" b="1" i="0" u="none" strike="noStrike" kern="0" cap="all" spc="0" normalizeH="0" baseline="0" noProof="0">
              <a:ln>
                <a:noFill/>
              </a:ln>
              <a:solidFill>
                <a:srgbClr val="A100FF"/>
              </a:solidFill>
              <a:effectLst/>
              <a:uLnTx/>
              <a:uFillTx/>
              <a:latin typeface="Graphik Black" panose="020B0A03030202060203" pitchFamily="34" charset="-18"/>
              <a:ea typeface="+mn-ea"/>
              <a:cs typeface="+mn-c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3B5112D-6969-60E4-881B-D6F50DB9F1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7571" y="5981440"/>
            <a:ext cx="1150568" cy="467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EDCE2EC2-7599-06A0-DDA2-2C7246716E26}"/>
              </a:ext>
            </a:extLst>
          </p:cNvPr>
          <p:cNvGrpSpPr/>
          <p:nvPr/>
        </p:nvGrpSpPr>
        <p:grpSpPr>
          <a:xfrm>
            <a:off x="5489404" y="2379842"/>
            <a:ext cx="6313029" cy="1790369"/>
            <a:chOff x="5495105" y="1038783"/>
            <a:chExt cx="6313029" cy="1790369"/>
          </a:xfrm>
        </p:grpSpPr>
        <p:pic>
          <p:nvPicPr>
            <p:cNvPr id="16" name="Picture 4" descr="Baloise | Guidewire">
              <a:extLst>
                <a:ext uri="{FF2B5EF4-FFF2-40B4-BE49-F238E27FC236}">
                  <a16:creationId xmlns:a16="http://schemas.microsoft.com/office/drawing/2014/main" id="{9E362CB8-5045-7B63-CB4E-A7FDFD3AB62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4338" b="28294"/>
            <a:stretch/>
          </p:blipFill>
          <p:spPr bwMode="auto">
            <a:xfrm>
              <a:off x="6317350" y="1287112"/>
              <a:ext cx="1560721" cy="5832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6" descr="Deutsche Bank Polska odda obecnym i byłym klientom opłaty za konta">
              <a:extLst>
                <a:ext uri="{FF2B5EF4-FFF2-40B4-BE49-F238E27FC236}">
                  <a16:creationId xmlns:a16="http://schemas.microsoft.com/office/drawing/2014/main" id="{055CE795-AC3F-6819-9C7E-D79CAC935A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85034" y="2125275"/>
              <a:ext cx="916342" cy="5131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14" descr="ALDI Polska">
              <a:extLst>
                <a:ext uri="{FF2B5EF4-FFF2-40B4-BE49-F238E27FC236}">
                  <a16:creationId xmlns:a16="http://schemas.microsoft.com/office/drawing/2014/main" id="{D2E24B8E-BB5C-0D30-88E7-57057491A3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64374" y="1205633"/>
              <a:ext cx="698999" cy="698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0" descr="Meta">
              <a:extLst>
                <a:ext uri="{FF2B5EF4-FFF2-40B4-BE49-F238E27FC236}">
                  <a16:creationId xmlns:a16="http://schemas.microsoft.com/office/drawing/2014/main" id="{D8235773-405E-C0C0-42B8-DA1B14FFDB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05139" y="1111845"/>
              <a:ext cx="858513" cy="8585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6" descr="MONDELEZ | Andema">
              <a:extLst>
                <a:ext uri="{FF2B5EF4-FFF2-40B4-BE49-F238E27FC236}">
                  <a16:creationId xmlns:a16="http://schemas.microsoft.com/office/drawing/2014/main" id="{CC55F3E7-FB3C-F2C1-4F71-32C8BF246A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95043" y="2444918"/>
              <a:ext cx="556032" cy="2588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Picture 14" descr="Hitachi Energy – Advancing a sustainable energy future for all">
              <a:extLst>
                <a:ext uri="{FF2B5EF4-FFF2-40B4-BE49-F238E27FC236}">
                  <a16:creationId xmlns:a16="http://schemas.microsoft.com/office/drawing/2014/main" id="{BE19E3D9-33C5-6C34-5047-DE3811D4AFD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15102" y="2405597"/>
              <a:ext cx="1086116" cy="4235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8" descr="Logo PKO Banku Polskiego - Press Kits - Centrum Prasowe PKO Bank Polski">
              <a:extLst>
                <a:ext uri="{FF2B5EF4-FFF2-40B4-BE49-F238E27FC236}">
                  <a16:creationId xmlns:a16="http://schemas.microsoft.com/office/drawing/2014/main" id="{15158EF8-10EB-A334-2EF7-322BBF5440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79711" y="1711161"/>
              <a:ext cx="711533" cy="788366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6" descr="VELO BANK - Galeria Młociny">
              <a:extLst>
                <a:ext uri="{FF2B5EF4-FFF2-40B4-BE49-F238E27FC236}">
                  <a16:creationId xmlns:a16="http://schemas.microsoft.com/office/drawing/2014/main" id="{BE1BB854-1ABA-2481-03AE-CAB38878A85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32892" y="2129369"/>
              <a:ext cx="828813" cy="4357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Obraz 95" descr="Obraz zawierający tekst, clipart&#10;&#10;Opis wygenerowany automatycznie">
              <a:extLst>
                <a:ext uri="{FF2B5EF4-FFF2-40B4-BE49-F238E27FC236}">
                  <a16:creationId xmlns:a16="http://schemas.microsoft.com/office/drawing/2014/main" id="{BC4F8634-1940-D67D-578C-0D00296C22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39381" y="1678450"/>
              <a:ext cx="488298" cy="193528"/>
            </a:xfrm>
            <a:prstGeom prst="rect">
              <a:avLst/>
            </a:prstGeom>
          </p:spPr>
        </p:pic>
        <p:pic>
          <p:nvPicPr>
            <p:cNvPr id="50" name="Picture 8" descr="BNP Paribas - #TeamRodzina">
              <a:extLst>
                <a:ext uri="{FF2B5EF4-FFF2-40B4-BE49-F238E27FC236}">
                  <a16:creationId xmlns:a16="http://schemas.microsoft.com/office/drawing/2014/main" id="{6137CDED-66DC-E998-52E5-EC6C8FEA5F7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668179" y="1933011"/>
              <a:ext cx="711532" cy="3378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" name="Obraz 112">
              <a:extLst>
                <a:ext uri="{FF2B5EF4-FFF2-40B4-BE49-F238E27FC236}">
                  <a16:creationId xmlns:a16="http://schemas.microsoft.com/office/drawing/2014/main" id="{FD4CB11B-EF36-DC65-EA58-EA8C46AEDD84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16706" y="1346202"/>
              <a:ext cx="272425" cy="287420"/>
            </a:xfrm>
            <a:prstGeom prst="rect">
              <a:avLst/>
            </a:prstGeom>
          </p:spPr>
        </p:pic>
        <p:pic>
          <p:nvPicPr>
            <p:cNvPr id="52" name="Picture 2" descr="Philip Morris International - Praca, Praktyki, Opinie, Relacje z Rozmów  Kwalifikacyjnych, Etapy rekrutacji | Absolvent.pl">
              <a:extLst>
                <a:ext uri="{FF2B5EF4-FFF2-40B4-BE49-F238E27FC236}">
                  <a16:creationId xmlns:a16="http://schemas.microsoft.com/office/drawing/2014/main" id="{60AA7A82-4508-26C9-342A-986EE46F20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67238" y="1692416"/>
              <a:ext cx="464981" cy="3852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AFCC9C99-05FB-2208-D156-ADE3747CF3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68722" b="-827"/>
            <a:stretch/>
          </p:blipFill>
          <p:spPr>
            <a:xfrm>
              <a:off x="10038371" y="1317177"/>
              <a:ext cx="499234" cy="316233"/>
            </a:xfrm>
            <a:prstGeom prst="rect">
              <a:avLst/>
            </a:prstGeom>
          </p:spPr>
        </p:pic>
        <p:pic>
          <p:nvPicPr>
            <p:cNvPr id="55" name="Picture 10">
              <a:extLst>
                <a:ext uri="{FF2B5EF4-FFF2-40B4-BE49-F238E27FC236}">
                  <a16:creationId xmlns:a16="http://schemas.microsoft.com/office/drawing/2014/main" id="{EF25498E-27F2-360D-DFC6-179BFAE70D6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31958" y="1320782"/>
              <a:ext cx="511044" cy="1738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4">
              <a:extLst>
                <a:ext uri="{FF2B5EF4-FFF2-40B4-BE49-F238E27FC236}">
                  <a16:creationId xmlns:a16="http://schemas.microsoft.com/office/drawing/2014/main" id="{BFE6639C-2AC5-6B50-FCCB-7D30D2B83F5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70085" y="2361167"/>
              <a:ext cx="602974" cy="1084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10">
              <a:extLst>
                <a:ext uri="{FF2B5EF4-FFF2-40B4-BE49-F238E27FC236}">
                  <a16:creationId xmlns:a16="http://schemas.microsoft.com/office/drawing/2014/main" id="{8D2BCC59-23DE-352C-E98C-56EB5C2B09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90249" y="2339448"/>
              <a:ext cx="556678" cy="1410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" name="Picture 12">
              <a:extLst>
                <a:ext uri="{FF2B5EF4-FFF2-40B4-BE49-F238E27FC236}">
                  <a16:creationId xmlns:a16="http://schemas.microsoft.com/office/drawing/2014/main" id="{0F4A87F7-30F7-400D-98A4-27F774DDD2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29555" y="1714176"/>
              <a:ext cx="626287" cy="145148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2" name="Rectangle 3">
              <a:extLst>
                <a:ext uri="{FF2B5EF4-FFF2-40B4-BE49-F238E27FC236}">
                  <a16:creationId xmlns:a16="http://schemas.microsoft.com/office/drawing/2014/main" id="{49AF690D-26F3-1CDB-6F4D-838976866FF7}"/>
                </a:ext>
              </a:extLst>
            </p:cNvPr>
            <p:cNvSpPr/>
            <p:nvPr/>
          </p:nvSpPr>
          <p:spPr>
            <a:xfrm>
              <a:off x="5505139" y="1038783"/>
              <a:ext cx="6302995" cy="184666"/>
            </a:xfrm>
            <a:prstGeom prst="rect">
              <a:avLst/>
            </a:prstGeom>
            <a:solidFill>
              <a:schemeClr val="bg1"/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/>
            <a:p>
              <a:pPr marL="0" marR="0" lvl="0" indent="0" algn="l" defTabSz="9143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pl-PL" sz="1200" b="1" i="0" u="none" strike="noStrike" kern="0" cap="all" spc="0" normalizeH="0" baseline="0" noProof="0">
                  <a:ln>
                    <a:noFill/>
                  </a:ln>
                  <a:solidFill>
                    <a:srgbClr val="A100FF"/>
                  </a:solidFill>
                  <a:effectLst/>
                  <a:uLnTx/>
                  <a:uFillTx/>
                  <a:latin typeface="Graphik Black" panose="020B0A03030202060203" pitchFamily="34" charset="-18"/>
                  <a:ea typeface="+mn-ea"/>
                  <a:cs typeface="+mn-cs"/>
                </a:rPr>
                <a:t>KEY CLIENTS			         GEN AI implementations</a:t>
              </a:r>
              <a:endParaRPr kumimoji="0" lang="en-US" sz="1200" b="1" i="0" u="none" strike="noStrike" kern="0" cap="all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 Black" panose="020B0A03030202060203" pitchFamily="34" charset="-18"/>
                <a:ea typeface="+mn-ea"/>
                <a:cs typeface="+mn-cs"/>
              </a:endParaRPr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6A63BB6E-9EAD-115F-0A81-2D2042F29EFF}"/>
                </a:ext>
              </a:extLst>
            </p:cNvPr>
            <p:cNvCxnSpPr>
              <a:cxnSpLocks/>
            </p:cNvCxnSpPr>
            <p:nvPr/>
          </p:nvCxnSpPr>
          <p:spPr>
            <a:xfrm>
              <a:off x="5495105" y="1248604"/>
              <a:ext cx="6302996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D6ECA7C-079D-1986-449B-0E86FB599ADA}"/>
                </a:ext>
              </a:extLst>
            </p:cNvPr>
            <p:cNvSpPr/>
            <p:nvPr/>
          </p:nvSpPr>
          <p:spPr>
            <a:xfrm>
              <a:off x="9294764" y="1145493"/>
              <a:ext cx="122597" cy="1623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US" err="1">
                <a:solidFill>
                  <a:schemeClr val="bg1"/>
                </a:solidFill>
              </a:endParaRPr>
            </a:p>
          </p:txBody>
        </p:sp>
        <p:pic>
          <p:nvPicPr>
            <p:cNvPr id="15" name="Picture 2" descr="R+V Versicherung - Wikidata">
              <a:extLst>
                <a:ext uri="{FF2B5EF4-FFF2-40B4-BE49-F238E27FC236}">
                  <a16:creationId xmlns:a16="http://schemas.microsoft.com/office/drawing/2014/main" id="{12890F7C-5BA6-FA99-B60C-A202558D887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88923" y="2226297"/>
              <a:ext cx="752579" cy="3087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8" descr="Kariera w NatWest Polska | LinkedIn">
              <a:extLst>
                <a:ext uri="{FF2B5EF4-FFF2-40B4-BE49-F238E27FC236}">
                  <a16:creationId xmlns:a16="http://schemas.microsoft.com/office/drawing/2014/main" id="{7218DBE6-7F20-8EAD-B5CE-2EF32FBBF5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32232" y="2105802"/>
              <a:ext cx="570668" cy="5706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0" descr="AXA Health - YouTube">
              <a:extLst>
                <a:ext uri="{FF2B5EF4-FFF2-40B4-BE49-F238E27FC236}">
                  <a16:creationId xmlns:a16="http://schemas.microsoft.com/office/drawing/2014/main" id="{93592089-786A-8A18-42B5-C51A56289C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52406" y="1317710"/>
              <a:ext cx="509966" cy="5099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12" descr="Orange Polska – Wikipedia, wolna encyklopedia">
              <a:extLst>
                <a:ext uri="{FF2B5EF4-FFF2-40B4-BE49-F238E27FC236}">
                  <a16:creationId xmlns:a16="http://schemas.microsoft.com/office/drawing/2014/main" id="{8B8E29DF-1301-66B8-6B59-25EA810941F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5634"/>
            <a:stretch/>
          </p:blipFill>
          <p:spPr bwMode="auto">
            <a:xfrm>
              <a:off x="5714689" y="1795157"/>
              <a:ext cx="804579" cy="3569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18" descr="British American Tobacco Polska">
              <a:extLst>
                <a:ext uri="{FF2B5EF4-FFF2-40B4-BE49-F238E27FC236}">
                  <a16:creationId xmlns:a16="http://schemas.microsoft.com/office/drawing/2014/main" id="{2E7EC694-B06B-0279-1C0C-58CD0BF1C3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78325" y="1800838"/>
              <a:ext cx="524403" cy="5244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2" descr="Santander Bank Polska - Partnerstwo dla Bezpieczeństwa Drogowego">
              <a:extLst>
                <a:ext uri="{FF2B5EF4-FFF2-40B4-BE49-F238E27FC236}">
                  <a16:creationId xmlns:a16="http://schemas.microsoft.com/office/drawing/2014/main" id="{03BC07E1-5A2E-CA29-3FE3-A0D48E67DCE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0739" b="28478"/>
            <a:stretch/>
          </p:blipFill>
          <p:spPr bwMode="auto">
            <a:xfrm>
              <a:off x="7068337" y="2113116"/>
              <a:ext cx="1094554" cy="3653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24" descr="New UScellular Brand and Logo Unveiled - Telecompetitor">
              <a:extLst>
                <a:ext uri="{FF2B5EF4-FFF2-40B4-BE49-F238E27FC236}">
                  <a16:creationId xmlns:a16="http://schemas.microsoft.com/office/drawing/2014/main" id="{06971385-7B1F-8D00-CAF5-0BC29CF86B4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4131" b="30958"/>
            <a:stretch/>
          </p:blipFill>
          <p:spPr bwMode="auto">
            <a:xfrm>
              <a:off x="6670780" y="1747414"/>
              <a:ext cx="1046601" cy="3653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2" descr="Philip Morris International - Praca, Praktyki, Opinie, Relacje z Rozmów  Kwalifikacyjnych, Etapy rekrutacji | Absolvent.pl">
              <a:extLst>
                <a:ext uri="{FF2B5EF4-FFF2-40B4-BE49-F238E27FC236}">
                  <a16:creationId xmlns:a16="http://schemas.microsoft.com/office/drawing/2014/main" id="{587FE8A7-44D1-1EC6-FEDA-6D18EAE502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9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06160" y="2164947"/>
              <a:ext cx="557374" cy="4617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800345B0-D691-F30C-4B90-E27883191702}"/>
              </a:ext>
            </a:extLst>
          </p:cNvPr>
          <p:cNvGrpSpPr/>
          <p:nvPr/>
        </p:nvGrpSpPr>
        <p:grpSpPr>
          <a:xfrm>
            <a:off x="5429462" y="858887"/>
            <a:ext cx="6418141" cy="1568634"/>
            <a:chOff x="5429462" y="762635"/>
            <a:chExt cx="6418141" cy="1568634"/>
          </a:xfrm>
        </p:grpSpPr>
        <p:grpSp>
          <p:nvGrpSpPr>
            <p:cNvPr id="247" name="Group 246">
              <a:extLst>
                <a:ext uri="{FF2B5EF4-FFF2-40B4-BE49-F238E27FC236}">
                  <a16:creationId xmlns:a16="http://schemas.microsoft.com/office/drawing/2014/main" id="{8945FC7C-5811-3EB6-5AE9-7A999B6B13FE}"/>
                </a:ext>
              </a:extLst>
            </p:cNvPr>
            <p:cNvGrpSpPr/>
            <p:nvPr/>
          </p:nvGrpSpPr>
          <p:grpSpPr>
            <a:xfrm>
              <a:off x="5429462" y="1431269"/>
              <a:ext cx="900000" cy="900000"/>
              <a:chOff x="3339678" y="1185857"/>
              <a:chExt cx="768338" cy="768338"/>
            </a:xfrm>
          </p:grpSpPr>
          <p:sp>
            <p:nvSpPr>
              <p:cNvPr id="248" name="Oval 247">
                <a:extLst>
                  <a:ext uri="{FF2B5EF4-FFF2-40B4-BE49-F238E27FC236}">
                    <a16:creationId xmlns:a16="http://schemas.microsoft.com/office/drawing/2014/main" id="{D7A10542-C12A-5DBD-B10D-28C8BC4FE528}"/>
                  </a:ext>
                </a:extLst>
              </p:cNvPr>
              <p:cNvSpPr/>
              <p:nvPr/>
            </p:nvSpPr>
            <p:spPr>
              <a:xfrm>
                <a:off x="3339678" y="1185857"/>
                <a:ext cx="768338" cy="768338"/>
              </a:xfrm>
              <a:prstGeom prst="ellipse">
                <a:avLst/>
              </a:prstGeom>
              <a:solidFill>
                <a:schemeClr val="bg1"/>
              </a:solidFill>
              <a:ln w="222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49" name="Group 140">
                <a:extLst>
                  <a:ext uri="{FF2B5EF4-FFF2-40B4-BE49-F238E27FC236}">
                    <a16:creationId xmlns:a16="http://schemas.microsoft.com/office/drawing/2014/main" id="{7B0D288B-D022-3304-9EDC-C9C5FD5AC1F4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532034" y="1434159"/>
                <a:ext cx="383626" cy="271735"/>
                <a:chOff x="4478" y="1778"/>
                <a:chExt cx="432" cy="306"/>
              </a:xfrm>
              <a:solidFill>
                <a:srgbClr val="7030A0"/>
              </a:solidFill>
            </p:grpSpPr>
            <p:sp>
              <p:nvSpPr>
                <p:cNvPr id="250" name="Freeform 141">
                  <a:extLst>
                    <a:ext uri="{FF2B5EF4-FFF2-40B4-BE49-F238E27FC236}">
                      <a16:creationId xmlns:a16="http://schemas.microsoft.com/office/drawing/2014/main" id="{2730A700-D7FE-CDAE-0D3D-C29CCB10961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78" y="1783"/>
                  <a:ext cx="432" cy="301"/>
                </a:xfrm>
                <a:custGeom>
                  <a:avLst/>
                  <a:gdLst>
                    <a:gd name="T0" fmla="*/ 115 w 292"/>
                    <a:gd name="T1" fmla="*/ 204 h 204"/>
                    <a:gd name="T2" fmla="*/ 111 w 292"/>
                    <a:gd name="T3" fmla="*/ 202 h 204"/>
                    <a:gd name="T4" fmla="*/ 109 w 292"/>
                    <a:gd name="T5" fmla="*/ 196 h 204"/>
                    <a:gd name="T6" fmla="*/ 140 w 292"/>
                    <a:gd name="T7" fmla="*/ 112 h 204"/>
                    <a:gd name="T8" fmla="*/ 63 w 292"/>
                    <a:gd name="T9" fmla="*/ 143 h 204"/>
                    <a:gd name="T10" fmla="*/ 56 w 292"/>
                    <a:gd name="T11" fmla="*/ 142 h 204"/>
                    <a:gd name="T12" fmla="*/ 2 w 292"/>
                    <a:gd name="T13" fmla="*/ 88 h 204"/>
                    <a:gd name="T14" fmla="*/ 1 w 292"/>
                    <a:gd name="T15" fmla="*/ 83 h 204"/>
                    <a:gd name="T16" fmla="*/ 4 w 292"/>
                    <a:gd name="T17" fmla="*/ 78 h 204"/>
                    <a:gd name="T18" fmla="*/ 46 w 292"/>
                    <a:gd name="T19" fmla="*/ 60 h 204"/>
                    <a:gd name="T20" fmla="*/ 51 w 292"/>
                    <a:gd name="T21" fmla="*/ 60 h 204"/>
                    <a:gd name="T22" fmla="*/ 85 w 292"/>
                    <a:gd name="T23" fmla="*/ 77 h 204"/>
                    <a:gd name="T24" fmla="*/ 246 w 292"/>
                    <a:gd name="T25" fmla="*/ 7 h 204"/>
                    <a:gd name="T26" fmla="*/ 246 w 292"/>
                    <a:gd name="T27" fmla="*/ 7 h 204"/>
                    <a:gd name="T28" fmla="*/ 286 w 292"/>
                    <a:gd name="T29" fmla="*/ 23 h 204"/>
                    <a:gd name="T30" fmla="*/ 269 w 292"/>
                    <a:gd name="T31" fmla="*/ 62 h 204"/>
                    <a:gd name="T32" fmla="*/ 215 w 292"/>
                    <a:gd name="T33" fmla="*/ 82 h 204"/>
                    <a:gd name="T34" fmla="*/ 168 w 292"/>
                    <a:gd name="T35" fmla="*/ 176 h 204"/>
                    <a:gd name="T36" fmla="*/ 165 w 292"/>
                    <a:gd name="T37" fmla="*/ 179 h 204"/>
                    <a:gd name="T38" fmla="*/ 117 w 292"/>
                    <a:gd name="T39" fmla="*/ 203 h 204"/>
                    <a:gd name="T40" fmla="*/ 115 w 292"/>
                    <a:gd name="T41" fmla="*/ 204 h 204"/>
                    <a:gd name="T42" fmla="*/ 151 w 292"/>
                    <a:gd name="T43" fmla="*/ 96 h 204"/>
                    <a:gd name="T44" fmla="*/ 155 w 292"/>
                    <a:gd name="T45" fmla="*/ 97 h 204"/>
                    <a:gd name="T46" fmla="*/ 156 w 292"/>
                    <a:gd name="T47" fmla="*/ 104 h 204"/>
                    <a:gd name="T48" fmla="*/ 126 w 292"/>
                    <a:gd name="T49" fmla="*/ 185 h 204"/>
                    <a:gd name="T50" fmla="*/ 158 w 292"/>
                    <a:gd name="T51" fmla="*/ 169 h 204"/>
                    <a:gd name="T52" fmla="*/ 205 w 292"/>
                    <a:gd name="T53" fmla="*/ 75 h 204"/>
                    <a:gd name="T54" fmla="*/ 209 w 292"/>
                    <a:gd name="T55" fmla="*/ 72 h 204"/>
                    <a:gd name="T56" fmla="*/ 265 w 292"/>
                    <a:gd name="T57" fmla="*/ 51 h 204"/>
                    <a:gd name="T58" fmla="*/ 274 w 292"/>
                    <a:gd name="T59" fmla="*/ 28 h 204"/>
                    <a:gd name="T60" fmla="*/ 251 w 292"/>
                    <a:gd name="T61" fmla="*/ 18 h 204"/>
                    <a:gd name="T62" fmla="*/ 87 w 292"/>
                    <a:gd name="T63" fmla="*/ 89 h 204"/>
                    <a:gd name="T64" fmla="*/ 82 w 292"/>
                    <a:gd name="T65" fmla="*/ 89 h 204"/>
                    <a:gd name="T66" fmla="*/ 48 w 292"/>
                    <a:gd name="T67" fmla="*/ 72 h 204"/>
                    <a:gd name="T68" fmla="*/ 17 w 292"/>
                    <a:gd name="T69" fmla="*/ 86 h 204"/>
                    <a:gd name="T70" fmla="*/ 62 w 292"/>
                    <a:gd name="T71" fmla="*/ 131 h 204"/>
                    <a:gd name="T72" fmla="*/ 148 w 292"/>
                    <a:gd name="T73" fmla="*/ 96 h 204"/>
                    <a:gd name="T74" fmla="*/ 151 w 292"/>
                    <a:gd name="T75" fmla="*/ 96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292" h="204">
                      <a:moveTo>
                        <a:pt x="115" y="204"/>
                      </a:moveTo>
                      <a:cubicBezTo>
                        <a:pt x="113" y="204"/>
                        <a:pt x="112" y="203"/>
                        <a:pt x="111" y="202"/>
                      </a:cubicBezTo>
                      <a:cubicBezTo>
                        <a:pt x="109" y="200"/>
                        <a:pt x="108" y="198"/>
                        <a:pt x="109" y="196"/>
                      </a:cubicBezTo>
                      <a:cubicBezTo>
                        <a:pt x="140" y="112"/>
                        <a:pt x="140" y="112"/>
                        <a:pt x="140" y="112"/>
                      </a:cubicBezTo>
                      <a:cubicBezTo>
                        <a:pt x="63" y="143"/>
                        <a:pt x="63" y="143"/>
                        <a:pt x="63" y="143"/>
                      </a:cubicBezTo>
                      <a:cubicBezTo>
                        <a:pt x="61" y="144"/>
                        <a:pt x="58" y="144"/>
                        <a:pt x="56" y="142"/>
                      </a:cubicBezTo>
                      <a:cubicBezTo>
                        <a:pt x="2" y="88"/>
                        <a:pt x="2" y="88"/>
                        <a:pt x="2" y="88"/>
                      </a:cubicBezTo>
                      <a:cubicBezTo>
                        <a:pt x="1" y="87"/>
                        <a:pt x="0" y="84"/>
                        <a:pt x="1" y="83"/>
                      </a:cubicBezTo>
                      <a:cubicBezTo>
                        <a:pt x="1" y="81"/>
                        <a:pt x="2" y="79"/>
                        <a:pt x="4" y="78"/>
                      </a:cubicBezTo>
                      <a:cubicBezTo>
                        <a:pt x="46" y="60"/>
                        <a:pt x="46" y="60"/>
                        <a:pt x="46" y="60"/>
                      </a:cubicBezTo>
                      <a:cubicBezTo>
                        <a:pt x="48" y="59"/>
                        <a:pt x="50" y="60"/>
                        <a:pt x="51" y="60"/>
                      </a:cubicBezTo>
                      <a:cubicBezTo>
                        <a:pt x="85" y="77"/>
                        <a:pt x="85" y="77"/>
                        <a:pt x="85" y="77"/>
                      </a:cubicBezTo>
                      <a:cubicBezTo>
                        <a:pt x="246" y="7"/>
                        <a:pt x="246" y="7"/>
                        <a:pt x="246" y="7"/>
                      </a:cubicBezTo>
                      <a:cubicBezTo>
                        <a:pt x="246" y="7"/>
                        <a:pt x="246" y="7"/>
                        <a:pt x="246" y="7"/>
                      </a:cubicBezTo>
                      <a:cubicBezTo>
                        <a:pt x="262" y="0"/>
                        <a:pt x="279" y="8"/>
                        <a:pt x="286" y="23"/>
                      </a:cubicBezTo>
                      <a:cubicBezTo>
                        <a:pt x="292" y="38"/>
                        <a:pt x="285" y="56"/>
                        <a:pt x="269" y="62"/>
                      </a:cubicBezTo>
                      <a:cubicBezTo>
                        <a:pt x="215" y="82"/>
                        <a:pt x="215" y="82"/>
                        <a:pt x="215" y="82"/>
                      </a:cubicBezTo>
                      <a:cubicBezTo>
                        <a:pt x="168" y="176"/>
                        <a:pt x="168" y="176"/>
                        <a:pt x="168" y="176"/>
                      </a:cubicBezTo>
                      <a:cubicBezTo>
                        <a:pt x="167" y="178"/>
                        <a:pt x="166" y="178"/>
                        <a:pt x="165" y="179"/>
                      </a:cubicBezTo>
                      <a:cubicBezTo>
                        <a:pt x="117" y="203"/>
                        <a:pt x="117" y="203"/>
                        <a:pt x="117" y="203"/>
                      </a:cubicBezTo>
                      <a:cubicBezTo>
                        <a:pt x="116" y="203"/>
                        <a:pt x="116" y="204"/>
                        <a:pt x="115" y="204"/>
                      </a:cubicBezTo>
                      <a:close/>
                      <a:moveTo>
                        <a:pt x="151" y="96"/>
                      </a:moveTo>
                      <a:cubicBezTo>
                        <a:pt x="152" y="96"/>
                        <a:pt x="154" y="96"/>
                        <a:pt x="155" y="97"/>
                      </a:cubicBezTo>
                      <a:cubicBezTo>
                        <a:pt x="157" y="99"/>
                        <a:pt x="157" y="102"/>
                        <a:pt x="156" y="104"/>
                      </a:cubicBezTo>
                      <a:cubicBezTo>
                        <a:pt x="126" y="185"/>
                        <a:pt x="126" y="185"/>
                        <a:pt x="126" y="185"/>
                      </a:cubicBezTo>
                      <a:cubicBezTo>
                        <a:pt x="158" y="169"/>
                        <a:pt x="158" y="169"/>
                        <a:pt x="158" y="169"/>
                      </a:cubicBezTo>
                      <a:cubicBezTo>
                        <a:pt x="205" y="75"/>
                        <a:pt x="205" y="75"/>
                        <a:pt x="205" y="75"/>
                      </a:cubicBezTo>
                      <a:cubicBezTo>
                        <a:pt x="206" y="74"/>
                        <a:pt x="207" y="73"/>
                        <a:pt x="209" y="72"/>
                      </a:cubicBezTo>
                      <a:cubicBezTo>
                        <a:pt x="265" y="51"/>
                        <a:pt x="265" y="51"/>
                        <a:pt x="265" y="51"/>
                      </a:cubicBezTo>
                      <a:cubicBezTo>
                        <a:pt x="274" y="47"/>
                        <a:pt x="278" y="37"/>
                        <a:pt x="274" y="28"/>
                      </a:cubicBezTo>
                      <a:cubicBezTo>
                        <a:pt x="271" y="18"/>
                        <a:pt x="260" y="14"/>
                        <a:pt x="251" y="18"/>
                      </a:cubicBezTo>
                      <a:cubicBezTo>
                        <a:pt x="87" y="89"/>
                        <a:pt x="87" y="89"/>
                        <a:pt x="87" y="89"/>
                      </a:cubicBezTo>
                      <a:cubicBezTo>
                        <a:pt x="85" y="90"/>
                        <a:pt x="84" y="90"/>
                        <a:pt x="82" y="89"/>
                      </a:cubicBezTo>
                      <a:cubicBezTo>
                        <a:pt x="48" y="72"/>
                        <a:pt x="48" y="72"/>
                        <a:pt x="48" y="72"/>
                      </a:cubicBezTo>
                      <a:cubicBezTo>
                        <a:pt x="17" y="86"/>
                        <a:pt x="17" y="86"/>
                        <a:pt x="17" y="86"/>
                      </a:cubicBezTo>
                      <a:cubicBezTo>
                        <a:pt x="62" y="131"/>
                        <a:pt x="62" y="131"/>
                        <a:pt x="62" y="131"/>
                      </a:cubicBezTo>
                      <a:cubicBezTo>
                        <a:pt x="148" y="96"/>
                        <a:pt x="148" y="96"/>
                        <a:pt x="148" y="96"/>
                      </a:cubicBezTo>
                      <a:cubicBezTo>
                        <a:pt x="149" y="96"/>
                        <a:pt x="150" y="96"/>
                        <a:pt x="151" y="9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62" tIns="45680" rIns="91362" bIns="4568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668">
                    <a:defRPr/>
                  </a:pPr>
                  <a:endParaRPr lang="en-US" sz="1799" kern="0">
                    <a:solidFill>
                      <a:srgbClr val="000000"/>
                    </a:solidFill>
                    <a:latin typeface="Arial"/>
                    <a:cs typeface="Arial" charset="0"/>
                  </a:endParaRPr>
                </a:p>
              </p:txBody>
            </p:sp>
            <p:sp>
              <p:nvSpPr>
                <p:cNvPr id="251" name="Freeform 142">
                  <a:extLst>
                    <a:ext uri="{FF2B5EF4-FFF2-40B4-BE49-F238E27FC236}">
                      <a16:creationId xmlns:a16="http://schemas.microsoft.com/office/drawing/2014/main" id="{B5B392CD-9776-5A16-09C5-3EB886D09A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73" y="1778"/>
                  <a:ext cx="204" cy="95"/>
                </a:xfrm>
                <a:custGeom>
                  <a:avLst/>
                  <a:gdLst>
                    <a:gd name="T0" fmla="*/ 87 w 138"/>
                    <a:gd name="T1" fmla="*/ 64 h 64"/>
                    <a:gd name="T2" fmla="*/ 85 w 138"/>
                    <a:gd name="T3" fmla="*/ 63 h 64"/>
                    <a:gd name="T4" fmla="*/ 4 w 138"/>
                    <a:gd name="T5" fmla="*/ 30 h 64"/>
                    <a:gd name="T6" fmla="*/ 0 w 138"/>
                    <a:gd name="T7" fmla="*/ 24 h 64"/>
                    <a:gd name="T8" fmla="*/ 4 w 138"/>
                    <a:gd name="T9" fmla="*/ 19 h 64"/>
                    <a:gd name="T10" fmla="*/ 49 w 138"/>
                    <a:gd name="T11" fmla="*/ 0 h 64"/>
                    <a:gd name="T12" fmla="*/ 53 w 138"/>
                    <a:gd name="T13" fmla="*/ 0 h 64"/>
                    <a:gd name="T14" fmla="*/ 133 w 138"/>
                    <a:gd name="T15" fmla="*/ 33 h 64"/>
                    <a:gd name="T16" fmla="*/ 136 w 138"/>
                    <a:gd name="T17" fmla="*/ 41 h 64"/>
                    <a:gd name="T18" fmla="*/ 128 w 138"/>
                    <a:gd name="T19" fmla="*/ 44 h 64"/>
                    <a:gd name="T20" fmla="*/ 51 w 138"/>
                    <a:gd name="T21" fmla="*/ 12 h 64"/>
                    <a:gd name="T22" fmla="*/ 22 w 138"/>
                    <a:gd name="T23" fmla="*/ 24 h 64"/>
                    <a:gd name="T24" fmla="*/ 90 w 138"/>
                    <a:gd name="T25" fmla="*/ 52 h 64"/>
                    <a:gd name="T26" fmla="*/ 93 w 138"/>
                    <a:gd name="T27" fmla="*/ 60 h 64"/>
                    <a:gd name="T28" fmla="*/ 87 w 13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38" h="64">
                      <a:moveTo>
                        <a:pt x="87" y="64"/>
                      </a:moveTo>
                      <a:cubicBezTo>
                        <a:pt x="87" y="64"/>
                        <a:pt x="86" y="64"/>
                        <a:pt x="85" y="63"/>
                      </a:cubicBezTo>
                      <a:cubicBezTo>
                        <a:pt x="4" y="30"/>
                        <a:pt x="4" y="30"/>
                        <a:pt x="4" y="30"/>
                      </a:cubicBezTo>
                      <a:cubicBezTo>
                        <a:pt x="2" y="29"/>
                        <a:pt x="0" y="27"/>
                        <a:pt x="0" y="24"/>
                      </a:cubicBezTo>
                      <a:cubicBezTo>
                        <a:pt x="0" y="22"/>
                        <a:pt x="2" y="20"/>
                        <a:pt x="4" y="19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50" y="0"/>
                        <a:pt x="52" y="0"/>
                        <a:pt x="53" y="0"/>
                      </a:cubicBezTo>
                      <a:cubicBezTo>
                        <a:pt x="133" y="33"/>
                        <a:pt x="133" y="33"/>
                        <a:pt x="133" y="33"/>
                      </a:cubicBezTo>
                      <a:cubicBezTo>
                        <a:pt x="136" y="35"/>
                        <a:pt x="138" y="38"/>
                        <a:pt x="136" y="41"/>
                      </a:cubicBezTo>
                      <a:cubicBezTo>
                        <a:pt x="135" y="44"/>
                        <a:pt x="131" y="46"/>
                        <a:pt x="128" y="44"/>
                      </a:cubicBezTo>
                      <a:cubicBezTo>
                        <a:pt x="51" y="12"/>
                        <a:pt x="51" y="12"/>
                        <a:pt x="51" y="12"/>
                      </a:cubicBezTo>
                      <a:cubicBezTo>
                        <a:pt x="22" y="24"/>
                        <a:pt x="22" y="24"/>
                        <a:pt x="22" y="24"/>
                      </a:cubicBezTo>
                      <a:cubicBezTo>
                        <a:pt x="90" y="52"/>
                        <a:pt x="90" y="52"/>
                        <a:pt x="90" y="52"/>
                      </a:cubicBezTo>
                      <a:cubicBezTo>
                        <a:pt x="93" y="53"/>
                        <a:pt x="94" y="57"/>
                        <a:pt x="93" y="60"/>
                      </a:cubicBezTo>
                      <a:cubicBezTo>
                        <a:pt x="92" y="62"/>
                        <a:pt x="90" y="64"/>
                        <a:pt x="87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62" tIns="45680" rIns="91362" bIns="4568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668">
                    <a:defRPr/>
                  </a:pPr>
                  <a:endParaRPr lang="en-US" sz="1799" kern="0">
                    <a:solidFill>
                      <a:srgbClr val="000000"/>
                    </a:solidFill>
                    <a:latin typeface="Arial"/>
                    <a:cs typeface="Arial" charset="0"/>
                  </a:endParaRPr>
                </a:p>
              </p:txBody>
            </p:sp>
          </p:grpSp>
        </p:grp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6845257A-1A21-EA8C-6267-12DFFEADC48A}"/>
                </a:ext>
              </a:extLst>
            </p:cNvPr>
            <p:cNvGrpSpPr/>
            <p:nvPr/>
          </p:nvGrpSpPr>
          <p:grpSpPr>
            <a:xfrm>
              <a:off x="5429462" y="851390"/>
              <a:ext cx="900000" cy="900000"/>
              <a:chOff x="6082877" y="1185857"/>
              <a:chExt cx="768338" cy="768338"/>
            </a:xfrm>
          </p:grpSpPr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18967870-502D-99EA-920B-B751067F7CDD}"/>
                  </a:ext>
                </a:extLst>
              </p:cNvPr>
              <p:cNvSpPr/>
              <p:nvPr/>
            </p:nvSpPr>
            <p:spPr>
              <a:xfrm>
                <a:off x="6082877" y="1185857"/>
                <a:ext cx="768338" cy="768338"/>
              </a:xfrm>
              <a:prstGeom prst="ellipse">
                <a:avLst/>
              </a:prstGeom>
              <a:noFill/>
              <a:ln w="222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/>
              </a:p>
            </p:txBody>
          </p:sp>
          <p:grpSp>
            <p:nvGrpSpPr>
              <p:cNvPr id="244" name="Group 243">
                <a:extLst>
                  <a:ext uri="{FF2B5EF4-FFF2-40B4-BE49-F238E27FC236}">
                    <a16:creationId xmlns:a16="http://schemas.microsoft.com/office/drawing/2014/main" id="{83E518E7-A107-AD22-FF78-49E17B99F45E}"/>
                  </a:ext>
                </a:extLst>
              </p:cNvPr>
              <p:cNvGrpSpPr/>
              <p:nvPr/>
            </p:nvGrpSpPr>
            <p:grpSpPr>
              <a:xfrm>
                <a:off x="6312043" y="1396353"/>
                <a:ext cx="310007" cy="347347"/>
                <a:chOff x="8388351" y="-2647950"/>
                <a:chExt cx="566738" cy="635000"/>
              </a:xfrm>
              <a:solidFill>
                <a:srgbClr val="7030A0"/>
              </a:solidFill>
            </p:grpSpPr>
            <p:sp>
              <p:nvSpPr>
                <p:cNvPr id="245" name="Freeform 14">
                  <a:extLst>
                    <a:ext uri="{FF2B5EF4-FFF2-40B4-BE49-F238E27FC236}">
                      <a16:creationId xmlns:a16="http://schemas.microsoft.com/office/drawing/2014/main" id="{0E385301-D2C2-67D8-75F3-6DB12352607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388351" y="-2647950"/>
                  <a:ext cx="566738" cy="635000"/>
                </a:xfrm>
                <a:custGeom>
                  <a:avLst/>
                  <a:gdLst>
                    <a:gd name="T0" fmla="*/ 79 w 86"/>
                    <a:gd name="T1" fmla="*/ 41 h 96"/>
                    <a:gd name="T2" fmla="*/ 59 w 86"/>
                    <a:gd name="T3" fmla="*/ 18 h 96"/>
                    <a:gd name="T4" fmla="*/ 27 w 86"/>
                    <a:gd name="T5" fmla="*/ 18 h 96"/>
                    <a:gd name="T6" fmla="*/ 7 w 86"/>
                    <a:gd name="T7" fmla="*/ 41 h 96"/>
                    <a:gd name="T8" fmla="*/ 7 w 86"/>
                    <a:gd name="T9" fmla="*/ 55 h 96"/>
                    <a:gd name="T10" fmla="*/ 15 w 86"/>
                    <a:gd name="T11" fmla="*/ 80 h 96"/>
                    <a:gd name="T12" fmla="*/ 43 w 86"/>
                    <a:gd name="T13" fmla="*/ 96 h 96"/>
                    <a:gd name="T14" fmla="*/ 71 w 86"/>
                    <a:gd name="T15" fmla="*/ 80 h 96"/>
                    <a:gd name="T16" fmla="*/ 79 w 86"/>
                    <a:gd name="T17" fmla="*/ 55 h 96"/>
                    <a:gd name="T18" fmla="*/ 71 w 86"/>
                    <a:gd name="T19" fmla="*/ 20 h 96"/>
                    <a:gd name="T20" fmla="*/ 75 w 86"/>
                    <a:gd name="T21" fmla="*/ 39 h 96"/>
                    <a:gd name="T22" fmla="*/ 63 w 86"/>
                    <a:gd name="T23" fmla="*/ 38 h 96"/>
                    <a:gd name="T24" fmla="*/ 71 w 86"/>
                    <a:gd name="T25" fmla="*/ 20 h 96"/>
                    <a:gd name="T26" fmla="*/ 43 w 86"/>
                    <a:gd name="T27" fmla="*/ 67 h 96"/>
                    <a:gd name="T28" fmla="*/ 27 w 86"/>
                    <a:gd name="T29" fmla="*/ 56 h 96"/>
                    <a:gd name="T30" fmla="*/ 27 w 86"/>
                    <a:gd name="T31" fmla="*/ 40 h 96"/>
                    <a:gd name="T32" fmla="*/ 43 w 86"/>
                    <a:gd name="T33" fmla="*/ 29 h 96"/>
                    <a:gd name="T34" fmla="*/ 59 w 86"/>
                    <a:gd name="T35" fmla="*/ 40 h 96"/>
                    <a:gd name="T36" fmla="*/ 59 w 86"/>
                    <a:gd name="T37" fmla="*/ 56 h 96"/>
                    <a:gd name="T38" fmla="*/ 58 w 86"/>
                    <a:gd name="T39" fmla="*/ 62 h 96"/>
                    <a:gd name="T40" fmla="*/ 47 w 86"/>
                    <a:gd name="T41" fmla="*/ 69 h 96"/>
                    <a:gd name="T42" fmla="*/ 58 w 86"/>
                    <a:gd name="T43" fmla="*/ 62 h 96"/>
                    <a:gd name="T44" fmla="*/ 30 w 86"/>
                    <a:gd name="T45" fmla="*/ 73 h 96"/>
                    <a:gd name="T46" fmla="*/ 32 w 86"/>
                    <a:gd name="T47" fmla="*/ 64 h 96"/>
                    <a:gd name="T48" fmla="*/ 23 w 86"/>
                    <a:gd name="T49" fmla="*/ 53 h 96"/>
                    <a:gd name="T50" fmla="*/ 23 w 86"/>
                    <a:gd name="T51" fmla="*/ 43 h 96"/>
                    <a:gd name="T52" fmla="*/ 23 w 86"/>
                    <a:gd name="T53" fmla="*/ 53 h 96"/>
                    <a:gd name="T54" fmla="*/ 30 w 86"/>
                    <a:gd name="T55" fmla="*/ 23 h 96"/>
                    <a:gd name="T56" fmla="*/ 32 w 86"/>
                    <a:gd name="T57" fmla="*/ 32 h 96"/>
                    <a:gd name="T58" fmla="*/ 47 w 86"/>
                    <a:gd name="T59" fmla="*/ 27 h 96"/>
                    <a:gd name="T60" fmla="*/ 58 w 86"/>
                    <a:gd name="T61" fmla="*/ 34 h 96"/>
                    <a:gd name="T62" fmla="*/ 47 w 86"/>
                    <a:gd name="T63" fmla="*/ 27 h 96"/>
                    <a:gd name="T64" fmla="*/ 68 w 86"/>
                    <a:gd name="T65" fmla="*/ 48 h 96"/>
                    <a:gd name="T66" fmla="*/ 63 w 86"/>
                    <a:gd name="T67" fmla="*/ 48 h 96"/>
                    <a:gd name="T68" fmla="*/ 43 w 86"/>
                    <a:gd name="T69" fmla="*/ 4 h 96"/>
                    <a:gd name="T70" fmla="*/ 43 w 86"/>
                    <a:gd name="T71" fmla="*/ 25 h 96"/>
                    <a:gd name="T72" fmla="*/ 43 w 86"/>
                    <a:gd name="T73" fmla="*/ 4 h 96"/>
                    <a:gd name="T74" fmla="*/ 7 w 86"/>
                    <a:gd name="T75" fmla="*/ 23 h 96"/>
                    <a:gd name="T76" fmla="*/ 23 w 86"/>
                    <a:gd name="T77" fmla="*/ 38 h 96"/>
                    <a:gd name="T78" fmla="*/ 11 w 86"/>
                    <a:gd name="T79" fmla="*/ 39 h 96"/>
                    <a:gd name="T80" fmla="*/ 11 w 86"/>
                    <a:gd name="T81" fmla="*/ 57 h 96"/>
                    <a:gd name="T82" fmla="*/ 23 w 86"/>
                    <a:gd name="T83" fmla="*/ 58 h 96"/>
                    <a:gd name="T84" fmla="*/ 7 w 86"/>
                    <a:gd name="T85" fmla="*/ 73 h 96"/>
                    <a:gd name="T86" fmla="*/ 31 w 86"/>
                    <a:gd name="T87" fmla="*/ 77 h 96"/>
                    <a:gd name="T88" fmla="*/ 55 w 86"/>
                    <a:gd name="T89" fmla="*/ 77 h 96"/>
                    <a:gd name="T90" fmla="*/ 79 w 86"/>
                    <a:gd name="T91" fmla="*/ 73 h 96"/>
                    <a:gd name="T92" fmla="*/ 63 w 86"/>
                    <a:gd name="T93" fmla="*/ 58 h 96"/>
                    <a:gd name="T94" fmla="*/ 75 w 86"/>
                    <a:gd name="T95" fmla="*/ 57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86" h="96">
                      <a:moveTo>
                        <a:pt x="73" y="48"/>
                      </a:moveTo>
                      <a:cubicBezTo>
                        <a:pt x="75" y="46"/>
                        <a:pt x="77" y="43"/>
                        <a:pt x="79" y="41"/>
                      </a:cubicBezTo>
                      <a:cubicBezTo>
                        <a:pt x="84" y="33"/>
                        <a:pt x="86" y="25"/>
                        <a:pt x="83" y="21"/>
                      </a:cubicBezTo>
                      <a:cubicBezTo>
                        <a:pt x="79" y="15"/>
                        <a:pt x="70" y="15"/>
                        <a:pt x="59" y="18"/>
                      </a:cubicBezTo>
                      <a:cubicBezTo>
                        <a:pt x="55" y="7"/>
                        <a:pt x="49" y="0"/>
                        <a:pt x="43" y="0"/>
                      </a:cubicBezTo>
                      <a:cubicBezTo>
                        <a:pt x="37" y="0"/>
                        <a:pt x="31" y="7"/>
                        <a:pt x="27" y="18"/>
                      </a:cubicBezTo>
                      <a:cubicBezTo>
                        <a:pt x="16" y="15"/>
                        <a:pt x="7" y="15"/>
                        <a:pt x="3" y="21"/>
                      </a:cubicBezTo>
                      <a:cubicBezTo>
                        <a:pt x="0" y="25"/>
                        <a:pt x="2" y="33"/>
                        <a:pt x="7" y="41"/>
                      </a:cubicBezTo>
                      <a:cubicBezTo>
                        <a:pt x="9" y="43"/>
                        <a:pt x="11" y="46"/>
                        <a:pt x="13" y="48"/>
                      </a:cubicBezTo>
                      <a:cubicBezTo>
                        <a:pt x="11" y="50"/>
                        <a:pt x="9" y="53"/>
                        <a:pt x="7" y="55"/>
                      </a:cubicBezTo>
                      <a:cubicBezTo>
                        <a:pt x="2" y="63"/>
                        <a:pt x="0" y="71"/>
                        <a:pt x="3" y="75"/>
                      </a:cubicBezTo>
                      <a:cubicBezTo>
                        <a:pt x="6" y="78"/>
                        <a:pt x="10" y="80"/>
                        <a:pt x="15" y="80"/>
                      </a:cubicBezTo>
                      <a:cubicBezTo>
                        <a:pt x="19" y="80"/>
                        <a:pt x="23" y="79"/>
                        <a:pt x="27" y="78"/>
                      </a:cubicBezTo>
                      <a:cubicBezTo>
                        <a:pt x="31" y="89"/>
                        <a:pt x="37" y="96"/>
                        <a:pt x="43" y="96"/>
                      </a:cubicBezTo>
                      <a:cubicBezTo>
                        <a:pt x="49" y="96"/>
                        <a:pt x="55" y="89"/>
                        <a:pt x="59" y="78"/>
                      </a:cubicBezTo>
                      <a:cubicBezTo>
                        <a:pt x="63" y="79"/>
                        <a:pt x="67" y="80"/>
                        <a:pt x="71" y="80"/>
                      </a:cubicBezTo>
                      <a:cubicBezTo>
                        <a:pt x="76" y="80"/>
                        <a:pt x="80" y="78"/>
                        <a:pt x="83" y="75"/>
                      </a:cubicBezTo>
                      <a:cubicBezTo>
                        <a:pt x="86" y="71"/>
                        <a:pt x="84" y="63"/>
                        <a:pt x="79" y="55"/>
                      </a:cubicBezTo>
                      <a:cubicBezTo>
                        <a:pt x="77" y="53"/>
                        <a:pt x="75" y="50"/>
                        <a:pt x="73" y="48"/>
                      </a:cubicBezTo>
                      <a:close/>
                      <a:moveTo>
                        <a:pt x="71" y="20"/>
                      </a:moveTo>
                      <a:cubicBezTo>
                        <a:pt x="75" y="20"/>
                        <a:pt x="78" y="21"/>
                        <a:pt x="79" y="23"/>
                      </a:cubicBezTo>
                      <a:cubicBezTo>
                        <a:pt x="81" y="26"/>
                        <a:pt x="80" y="32"/>
                        <a:pt x="75" y="39"/>
                      </a:cubicBezTo>
                      <a:cubicBezTo>
                        <a:pt x="74" y="41"/>
                        <a:pt x="72" y="43"/>
                        <a:pt x="71" y="45"/>
                      </a:cubicBezTo>
                      <a:cubicBezTo>
                        <a:pt x="68" y="43"/>
                        <a:pt x="65" y="40"/>
                        <a:pt x="63" y="38"/>
                      </a:cubicBezTo>
                      <a:cubicBezTo>
                        <a:pt x="62" y="32"/>
                        <a:pt x="61" y="27"/>
                        <a:pt x="60" y="22"/>
                      </a:cubicBezTo>
                      <a:cubicBezTo>
                        <a:pt x="64" y="21"/>
                        <a:pt x="68" y="20"/>
                        <a:pt x="71" y="20"/>
                      </a:cubicBezTo>
                      <a:close/>
                      <a:moveTo>
                        <a:pt x="52" y="61"/>
                      </a:moveTo>
                      <a:cubicBezTo>
                        <a:pt x="49" y="63"/>
                        <a:pt x="46" y="65"/>
                        <a:pt x="43" y="67"/>
                      </a:cubicBezTo>
                      <a:cubicBezTo>
                        <a:pt x="40" y="65"/>
                        <a:pt x="37" y="63"/>
                        <a:pt x="34" y="61"/>
                      </a:cubicBezTo>
                      <a:cubicBezTo>
                        <a:pt x="32" y="60"/>
                        <a:pt x="29" y="58"/>
                        <a:pt x="27" y="56"/>
                      </a:cubicBezTo>
                      <a:cubicBezTo>
                        <a:pt x="27" y="54"/>
                        <a:pt x="27" y="51"/>
                        <a:pt x="27" y="48"/>
                      </a:cubicBezTo>
                      <a:cubicBezTo>
                        <a:pt x="27" y="45"/>
                        <a:pt x="27" y="42"/>
                        <a:pt x="27" y="40"/>
                      </a:cubicBezTo>
                      <a:cubicBezTo>
                        <a:pt x="29" y="38"/>
                        <a:pt x="32" y="36"/>
                        <a:pt x="34" y="35"/>
                      </a:cubicBezTo>
                      <a:cubicBezTo>
                        <a:pt x="37" y="33"/>
                        <a:pt x="40" y="31"/>
                        <a:pt x="43" y="29"/>
                      </a:cubicBezTo>
                      <a:cubicBezTo>
                        <a:pt x="46" y="31"/>
                        <a:pt x="49" y="33"/>
                        <a:pt x="52" y="35"/>
                      </a:cubicBezTo>
                      <a:cubicBezTo>
                        <a:pt x="54" y="36"/>
                        <a:pt x="57" y="38"/>
                        <a:pt x="59" y="40"/>
                      </a:cubicBezTo>
                      <a:cubicBezTo>
                        <a:pt x="59" y="42"/>
                        <a:pt x="59" y="45"/>
                        <a:pt x="59" y="48"/>
                      </a:cubicBezTo>
                      <a:cubicBezTo>
                        <a:pt x="59" y="51"/>
                        <a:pt x="59" y="54"/>
                        <a:pt x="59" y="56"/>
                      </a:cubicBezTo>
                      <a:cubicBezTo>
                        <a:pt x="57" y="58"/>
                        <a:pt x="54" y="60"/>
                        <a:pt x="52" y="61"/>
                      </a:cubicBezTo>
                      <a:close/>
                      <a:moveTo>
                        <a:pt x="58" y="62"/>
                      </a:moveTo>
                      <a:cubicBezTo>
                        <a:pt x="58" y="66"/>
                        <a:pt x="57" y="69"/>
                        <a:pt x="56" y="73"/>
                      </a:cubicBezTo>
                      <a:cubicBezTo>
                        <a:pt x="53" y="72"/>
                        <a:pt x="50" y="71"/>
                        <a:pt x="47" y="69"/>
                      </a:cubicBezTo>
                      <a:cubicBezTo>
                        <a:pt x="50" y="68"/>
                        <a:pt x="52" y="66"/>
                        <a:pt x="54" y="64"/>
                      </a:cubicBezTo>
                      <a:cubicBezTo>
                        <a:pt x="56" y="64"/>
                        <a:pt x="57" y="63"/>
                        <a:pt x="58" y="62"/>
                      </a:cubicBezTo>
                      <a:close/>
                      <a:moveTo>
                        <a:pt x="39" y="69"/>
                      </a:moveTo>
                      <a:cubicBezTo>
                        <a:pt x="36" y="71"/>
                        <a:pt x="33" y="72"/>
                        <a:pt x="30" y="73"/>
                      </a:cubicBezTo>
                      <a:cubicBezTo>
                        <a:pt x="29" y="69"/>
                        <a:pt x="28" y="66"/>
                        <a:pt x="28" y="62"/>
                      </a:cubicBezTo>
                      <a:cubicBezTo>
                        <a:pt x="29" y="63"/>
                        <a:pt x="30" y="64"/>
                        <a:pt x="32" y="64"/>
                      </a:cubicBezTo>
                      <a:cubicBezTo>
                        <a:pt x="34" y="66"/>
                        <a:pt x="36" y="68"/>
                        <a:pt x="39" y="69"/>
                      </a:cubicBezTo>
                      <a:close/>
                      <a:moveTo>
                        <a:pt x="23" y="53"/>
                      </a:moveTo>
                      <a:cubicBezTo>
                        <a:pt x="21" y="51"/>
                        <a:pt x="20" y="50"/>
                        <a:pt x="18" y="48"/>
                      </a:cubicBezTo>
                      <a:cubicBezTo>
                        <a:pt x="20" y="46"/>
                        <a:pt x="21" y="45"/>
                        <a:pt x="23" y="43"/>
                      </a:cubicBezTo>
                      <a:cubicBezTo>
                        <a:pt x="23" y="45"/>
                        <a:pt x="23" y="46"/>
                        <a:pt x="23" y="48"/>
                      </a:cubicBezTo>
                      <a:cubicBezTo>
                        <a:pt x="23" y="50"/>
                        <a:pt x="23" y="51"/>
                        <a:pt x="23" y="53"/>
                      </a:cubicBezTo>
                      <a:close/>
                      <a:moveTo>
                        <a:pt x="28" y="34"/>
                      </a:moveTo>
                      <a:cubicBezTo>
                        <a:pt x="28" y="30"/>
                        <a:pt x="29" y="27"/>
                        <a:pt x="30" y="23"/>
                      </a:cubicBezTo>
                      <a:cubicBezTo>
                        <a:pt x="33" y="24"/>
                        <a:pt x="36" y="25"/>
                        <a:pt x="39" y="27"/>
                      </a:cubicBezTo>
                      <a:cubicBezTo>
                        <a:pt x="36" y="28"/>
                        <a:pt x="34" y="30"/>
                        <a:pt x="32" y="32"/>
                      </a:cubicBezTo>
                      <a:cubicBezTo>
                        <a:pt x="30" y="32"/>
                        <a:pt x="29" y="33"/>
                        <a:pt x="28" y="34"/>
                      </a:cubicBezTo>
                      <a:close/>
                      <a:moveTo>
                        <a:pt x="47" y="27"/>
                      </a:moveTo>
                      <a:cubicBezTo>
                        <a:pt x="50" y="25"/>
                        <a:pt x="53" y="24"/>
                        <a:pt x="56" y="23"/>
                      </a:cubicBezTo>
                      <a:cubicBezTo>
                        <a:pt x="57" y="27"/>
                        <a:pt x="58" y="30"/>
                        <a:pt x="58" y="34"/>
                      </a:cubicBezTo>
                      <a:cubicBezTo>
                        <a:pt x="57" y="33"/>
                        <a:pt x="56" y="32"/>
                        <a:pt x="54" y="32"/>
                      </a:cubicBezTo>
                      <a:cubicBezTo>
                        <a:pt x="52" y="30"/>
                        <a:pt x="50" y="28"/>
                        <a:pt x="47" y="27"/>
                      </a:cubicBezTo>
                      <a:close/>
                      <a:moveTo>
                        <a:pt x="63" y="43"/>
                      </a:moveTo>
                      <a:cubicBezTo>
                        <a:pt x="65" y="45"/>
                        <a:pt x="66" y="46"/>
                        <a:pt x="68" y="48"/>
                      </a:cubicBezTo>
                      <a:cubicBezTo>
                        <a:pt x="66" y="50"/>
                        <a:pt x="65" y="51"/>
                        <a:pt x="63" y="53"/>
                      </a:cubicBezTo>
                      <a:cubicBezTo>
                        <a:pt x="63" y="51"/>
                        <a:pt x="63" y="50"/>
                        <a:pt x="63" y="48"/>
                      </a:cubicBezTo>
                      <a:cubicBezTo>
                        <a:pt x="63" y="46"/>
                        <a:pt x="63" y="45"/>
                        <a:pt x="63" y="43"/>
                      </a:cubicBezTo>
                      <a:close/>
                      <a:moveTo>
                        <a:pt x="43" y="4"/>
                      </a:moveTo>
                      <a:cubicBezTo>
                        <a:pt x="47" y="4"/>
                        <a:pt x="52" y="10"/>
                        <a:pt x="55" y="19"/>
                      </a:cubicBezTo>
                      <a:cubicBezTo>
                        <a:pt x="51" y="21"/>
                        <a:pt x="47" y="22"/>
                        <a:pt x="43" y="25"/>
                      </a:cubicBezTo>
                      <a:cubicBezTo>
                        <a:pt x="39" y="22"/>
                        <a:pt x="35" y="21"/>
                        <a:pt x="31" y="19"/>
                      </a:cubicBezTo>
                      <a:cubicBezTo>
                        <a:pt x="34" y="10"/>
                        <a:pt x="39" y="4"/>
                        <a:pt x="43" y="4"/>
                      </a:cubicBezTo>
                      <a:close/>
                      <a:moveTo>
                        <a:pt x="11" y="39"/>
                      </a:moveTo>
                      <a:cubicBezTo>
                        <a:pt x="6" y="32"/>
                        <a:pt x="5" y="26"/>
                        <a:pt x="7" y="23"/>
                      </a:cubicBezTo>
                      <a:cubicBezTo>
                        <a:pt x="9" y="20"/>
                        <a:pt x="16" y="19"/>
                        <a:pt x="26" y="22"/>
                      </a:cubicBezTo>
                      <a:cubicBezTo>
                        <a:pt x="25" y="27"/>
                        <a:pt x="24" y="32"/>
                        <a:pt x="23" y="38"/>
                      </a:cubicBezTo>
                      <a:cubicBezTo>
                        <a:pt x="21" y="40"/>
                        <a:pt x="18" y="43"/>
                        <a:pt x="15" y="45"/>
                      </a:cubicBezTo>
                      <a:cubicBezTo>
                        <a:pt x="14" y="43"/>
                        <a:pt x="12" y="41"/>
                        <a:pt x="11" y="39"/>
                      </a:cubicBezTo>
                      <a:close/>
                      <a:moveTo>
                        <a:pt x="7" y="73"/>
                      </a:moveTo>
                      <a:cubicBezTo>
                        <a:pt x="5" y="70"/>
                        <a:pt x="6" y="64"/>
                        <a:pt x="11" y="57"/>
                      </a:cubicBezTo>
                      <a:cubicBezTo>
                        <a:pt x="12" y="55"/>
                        <a:pt x="14" y="53"/>
                        <a:pt x="15" y="51"/>
                      </a:cubicBezTo>
                      <a:cubicBezTo>
                        <a:pt x="18" y="53"/>
                        <a:pt x="21" y="56"/>
                        <a:pt x="23" y="58"/>
                      </a:cubicBezTo>
                      <a:cubicBezTo>
                        <a:pt x="24" y="64"/>
                        <a:pt x="25" y="69"/>
                        <a:pt x="26" y="74"/>
                      </a:cubicBezTo>
                      <a:cubicBezTo>
                        <a:pt x="16" y="77"/>
                        <a:pt x="9" y="76"/>
                        <a:pt x="7" y="73"/>
                      </a:cubicBezTo>
                      <a:close/>
                      <a:moveTo>
                        <a:pt x="43" y="92"/>
                      </a:moveTo>
                      <a:cubicBezTo>
                        <a:pt x="39" y="92"/>
                        <a:pt x="34" y="86"/>
                        <a:pt x="31" y="77"/>
                      </a:cubicBezTo>
                      <a:cubicBezTo>
                        <a:pt x="35" y="75"/>
                        <a:pt x="39" y="74"/>
                        <a:pt x="43" y="71"/>
                      </a:cubicBezTo>
                      <a:cubicBezTo>
                        <a:pt x="47" y="74"/>
                        <a:pt x="51" y="75"/>
                        <a:pt x="55" y="77"/>
                      </a:cubicBezTo>
                      <a:cubicBezTo>
                        <a:pt x="52" y="86"/>
                        <a:pt x="47" y="92"/>
                        <a:pt x="43" y="92"/>
                      </a:cubicBezTo>
                      <a:close/>
                      <a:moveTo>
                        <a:pt x="79" y="73"/>
                      </a:moveTo>
                      <a:cubicBezTo>
                        <a:pt x="77" y="76"/>
                        <a:pt x="70" y="77"/>
                        <a:pt x="60" y="74"/>
                      </a:cubicBezTo>
                      <a:cubicBezTo>
                        <a:pt x="61" y="69"/>
                        <a:pt x="62" y="64"/>
                        <a:pt x="63" y="58"/>
                      </a:cubicBezTo>
                      <a:cubicBezTo>
                        <a:pt x="65" y="56"/>
                        <a:pt x="68" y="53"/>
                        <a:pt x="71" y="51"/>
                      </a:cubicBezTo>
                      <a:cubicBezTo>
                        <a:pt x="72" y="53"/>
                        <a:pt x="74" y="55"/>
                        <a:pt x="75" y="57"/>
                      </a:cubicBezTo>
                      <a:cubicBezTo>
                        <a:pt x="80" y="64"/>
                        <a:pt x="81" y="70"/>
                        <a:pt x="79" y="7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62" tIns="45680" rIns="91362" bIns="4568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668">
                    <a:defRPr/>
                  </a:pPr>
                  <a:endParaRPr lang="en-US" sz="1000" kern="0">
                    <a:solidFill>
                      <a:srgbClr val="000000"/>
                    </a:solidFill>
                    <a:latin typeface="Arial"/>
                    <a:cs typeface="Arial" charset="0"/>
                  </a:endParaRPr>
                </a:p>
              </p:txBody>
            </p:sp>
            <p:sp>
              <p:nvSpPr>
                <p:cNvPr id="246" name="Freeform 15">
                  <a:extLst>
                    <a:ext uri="{FF2B5EF4-FFF2-40B4-BE49-F238E27FC236}">
                      <a16:creationId xmlns:a16="http://schemas.microsoft.com/office/drawing/2014/main" id="{43A3F23F-2328-6CEA-19D1-512BD56CE86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05838" y="-2397125"/>
                  <a:ext cx="131763" cy="133350"/>
                </a:xfrm>
                <a:custGeom>
                  <a:avLst/>
                  <a:gdLst>
                    <a:gd name="T0" fmla="*/ 10 w 20"/>
                    <a:gd name="T1" fmla="*/ 0 h 20"/>
                    <a:gd name="T2" fmla="*/ 0 w 20"/>
                    <a:gd name="T3" fmla="*/ 10 h 20"/>
                    <a:gd name="T4" fmla="*/ 10 w 20"/>
                    <a:gd name="T5" fmla="*/ 20 h 20"/>
                    <a:gd name="T6" fmla="*/ 20 w 20"/>
                    <a:gd name="T7" fmla="*/ 10 h 20"/>
                    <a:gd name="T8" fmla="*/ 10 w 20"/>
                    <a:gd name="T9" fmla="*/ 0 h 20"/>
                    <a:gd name="T10" fmla="*/ 10 w 20"/>
                    <a:gd name="T11" fmla="*/ 16 h 20"/>
                    <a:gd name="T12" fmla="*/ 4 w 20"/>
                    <a:gd name="T13" fmla="*/ 10 h 20"/>
                    <a:gd name="T14" fmla="*/ 10 w 20"/>
                    <a:gd name="T15" fmla="*/ 4 h 20"/>
                    <a:gd name="T16" fmla="*/ 16 w 20"/>
                    <a:gd name="T17" fmla="*/ 10 h 20"/>
                    <a:gd name="T18" fmla="*/ 10 w 20"/>
                    <a:gd name="T19" fmla="*/ 16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0" h="20">
                      <a:moveTo>
                        <a:pt x="10" y="0"/>
                      </a:moveTo>
                      <a:cubicBezTo>
                        <a:pt x="4" y="0"/>
                        <a:pt x="0" y="4"/>
                        <a:pt x="0" y="10"/>
                      </a:cubicBezTo>
                      <a:cubicBezTo>
                        <a:pt x="0" y="16"/>
                        <a:pt x="4" y="20"/>
                        <a:pt x="10" y="20"/>
                      </a:cubicBezTo>
                      <a:cubicBezTo>
                        <a:pt x="16" y="20"/>
                        <a:pt x="20" y="16"/>
                        <a:pt x="20" y="10"/>
                      </a:cubicBezTo>
                      <a:cubicBezTo>
                        <a:pt x="20" y="4"/>
                        <a:pt x="16" y="0"/>
                        <a:pt x="10" y="0"/>
                      </a:cubicBezTo>
                      <a:close/>
                      <a:moveTo>
                        <a:pt x="10" y="16"/>
                      </a:moveTo>
                      <a:cubicBezTo>
                        <a:pt x="7" y="16"/>
                        <a:pt x="4" y="13"/>
                        <a:pt x="4" y="10"/>
                      </a:cubicBezTo>
                      <a:cubicBezTo>
                        <a:pt x="4" y="7"/>
                        <a:pt x="7" y="4"/>
                        <a:pt x="10" y="4"/>
                      </a:cubicBezTo>
                      <a:cubicBezTo>
                        <a:pt x="13" y="4"/>
                        <a:pt x="16" y="7"/>
                        <a:pt x="16" y="10"/>
                      </a:cubicBezTo>
                      <a:cubicBezTo>
                        <a:pt x="16" y="13"/>
                        <a:pt x="13" y="16"/>
                        <a:pt x="10" y="1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62" tIns="45680" rIns="91362" bIns="4568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668">
                    <a:defRPr/>
                  </a:pPr>
                  <a:endParaRPr lang="en-US" sz="1000" kern="0">
                    <a:solidFill>
                      <a:srgbClr val="000000"/>
                    </a:solidFill>
                    <a:latin typeface="Arial"/>
                    <a:cs typeface="Arial" charset="0"/>
                  </a:endParaRPr>
                </a:p>
              </p:txBody>
            </p:sp>
          </p:grpSp>
        </p:grpSp>
        <p:sp>
          <p:nvSpPr>
            <p:cNvPr id="236" name="Text Placeholder 10">
              <a:extLst>
                <a:ext uri="{FF2B5EF4-FFF2-40B4-BE49-F238E27FC236}">
                  <a16:creationId xmlns:a16="http://schemas.microsoft.com/office/drawing/2014/main" id="{14DCC0A0-F5CF-B356-B498-ABAE5F7170E3}"/>
                </a:ext>
              </a:extLst>
            </p:cNvPr>
            <p:cNvSpPr txBox="1">
              <a:spLocks/>
            </p:cNvSpPr>
            <p:nvPr/>
          </p:nvSpPr>
          <p:spPr>
            <a:xfrm>
              <a:off x="9664372" y="1706375"/>
              <a:ext cx="2151375" cy="514429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8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000" indent="-180000" algn="l" defTabSz="914400" rtl="0" eaLnBrk="1" latinLnBrk="0" hangingPunct="1">
                <a:lnSpc>
                  <a:spcPct val="10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400" rtl="0" eaLnBrk="1" latinLnBrk="0" hangingPunct="1">
                <a:lnSpc>
                  <a:spcPct val="100000"/>
                </a:lnSpc>
                <a:spcBef>
                  <a:spcPts val="800"/>
                </a:spcBef>
                <a:buFont typeface="Graphik" panose="020B0503030202060203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0000" indent="-180000" algn="l" defTabSz="914400" rtl="0" eaLnBrk="1" latinLnBrk="0" hangingPunct="1">
                <a:lnSpc>
                  <a:spcPct val="10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pl-PL" sz="1200"/>
                <a:t>5+</a:t>
              </a:r>
              <a:endParaRPr lang="en-GB" sz="1200"/>
            </a:p>
            <a:p>
              <a:pPr lvl="1">
                <a:spcBef>
                  <a:spcPts val="0"/>
                </a:spcBef>
              </a:pPr>
              <a:r>
                <a:rPr lang="en-GB" sz="1200"/>
                <a:t>Languages spoken</a:t>
              </a:r>
            </a:p>
          </p:txBody>
        </p:sp>
        <p:grpSp>
          <p:nvGrpSpPr>
            <p:cNvPr id="237" name="Group 236">
              <a:extLst>
                <a:ext uri="{FF2B5EF4-FFF2-40B4-BE49-F238E27FC236}">
                  <a16:creationId xmlns:a16="http://schemas.microsoft.com/office/drawing/2014/main" id="{39168632-DE74-7890-8595-322CB4565C0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946109" y="1711310"/>
              <a:ext cx="557665" cy="135715"/>
              <a:chOff x="1006476" y="5775247"/>
              <a:chExt cx="789939" cy="188868"/>
            </a:xfrm>
          </p:grpSpPr>
          <p:pic>
            <p:nvPicPr>
              <p:cNvPr id="238" name="Picture 2">
                <a:extLst>
                  <a:ext uri="{FF2B5EF4-FFF2-40B4-BE49-F238E27FC236}">
                    <a16:creationId xmlns:a16="http://schemas.microsoft.com/office/drawing/2014/main" id="{40CD3734-9E67-6412-9A03-261F7BB9FCF7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5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29985" y="5775247"/>
                <a:ext cx="366430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39" name="Picture 2" descr="PL Poland Flag Icon | Public Domain World Flags Iconset | Wikipedia Authors">
                <a:extLst>
                  <a:ext uri="{FF2B5EF4-FFF2-40B4-BE49-F238E27FC236}">
                    <a16:creationId xmlns:a16="http://schemas.microsoft.com/office/drawing/2014/main" id="{DE8C3C60-F9B0-110F-A8DE-3B070AF32C34}"/>
                  </a:ext>
                </a:extLst>
              </p:cNvPr>
              <p:cNvPicPr>
                <a:picLocks noChangeArrowheads="1"/>
              </p:cNvPicPr>
              <p:nvPr/>
            </p:nvPicPr>
            <p:blipFill rotWithShape="1">
              <a:blip r:embed="rId5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9123" b="18418"/>
              <a:stretch/>
            </p:blipFill>
            <p:spPr bwMode="auto">
              <a:xfrm>
                <a:off x="1006476" y="5784115"/>
                <a:ext cx="366430" cy="180000"/>
              </a:xfrm>
              <a:prstGeom prst="rect">
                <a:avLst/>
              </a:prstGeom>
              <a:noFill/>
              <a:ln w="3175">
                <a:solidFill>
                  <a:schemeClr val="tx1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40" name="Text Placeholder 9">
              <a:extLst>
                <a:ext uri="{FF2B5EF4-FFF2-40B4-BE49-F238E27FC236}">
                  <a16:creationId xmlns:a16="http://schemas.microsoft.com/office/drawing/2014/main" id="{01845D4A-D561-A191-1433-69E513FD94B0}"/>
                </a:ext>
              </a:extLst>
            </p:cNvPr>
            <p:cNvSpPr txBox="1">
              <a:spLocks/>
            </p:cNvSpPr>
            <p:nvPr/>
          </p:nvSpPr>
          <p:spPr>
            <a:xfrm>
              <a:off x="6183681" y="1673545"/>
              <a:ext cx="2943313" cy="36933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4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000" indent="-180000" algn="l" defTabSz="914400" rtl="0" eaLnBrk="1" latinLnBrk="0" hangingPunct="1">
                <a:lnSpc>
                  <a:spcPct val="10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400" rtl="0" eaLnBrk="1" latinLnBrk="0" hangingPunct="1">
                <a:lnSpc>
                  <a:spcPct val="100000"/>
                </a:lnSpc>
                <a:spcBef>
                  <a:spcPts val="800"/>
                </a:spcBef>
                <a:buFont typeface="Graphik" panose="020B0503030202060203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0000" indent="-180000" algn="l" defTabSz="914400" rtl="0" eaLnBrk="1" latinLnBrk="0" hangingPunct="1">
                <a:lnSpc>
                  <a:spcPct val="10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pl-PL" sz="1200"/>
                <a:t>10 0</a:t>
              </a:r>
              <a:r>
                <a:rPr lang="en-US" sz="1200"/>
                <a:t>00</a:t>
              </a:r>
              <a:r>
                <a:rPr lang="en-GB" sz="1200"/>
                <a:t>+</a:t>
              </a:r>
            </a:p>
            <a:p>
              <a:pPr lvl="1"/>
              <a:r>
                <a:rPr lang="pl-PL" sz="1200"/>
                <a:t>Hours delivered monthly</a:t>
              </a:r>
              <a:endParaRPr lang="en-US" sz="1200"/>
            </a:p>
          </p:txBody>
        </p:sp>
        <p:sp>
          <p:nvSpPr>
            <p:cNvPr id="241" name="Text Placeholder 8">
              <a:extLst>
                <a:ext uri="{FF2B5EF4-FFF2-40B4-BE49-F238E27FC236}">
                  <a16:creationId xmlns:a16="http://schemas.microsoft.com/office/drawing/2014/main" id="{1DB51ABC-95C3-4EA4-22F4-7EAF02A4435A}"/>
                </a:ext>
              </a:extLst>
            </p:cNvPr>
            <p:cNvSpPr txBox="1">
              <a:spLocks/>
            </p:cNvSpPr>
            <p:nvPr/>
          </p:nvSpPr>
          <p:spPr>
            <a:xfrm>
              <a:off x="6154118" y="1165983"/>
              <a:ext cx="3676564" cy="36933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4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000" indent="-180000" algn="l" defTabSz="914400" rtl="0" eaLnBrk="1" latinLnBrk="0" hangingPunct="1">
                <a:lnSpc>
                  <a:spcPct val="10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400" rtl="0" eaLnBrk="1" latinLnBrk="0" hangingPunct="1">
                <a:lnSpc>
                  <a:spcPct val="100000"/>
                </a:lnSpc>
                <a:spcBef>
                  <a:spcPts val="800"/>
                </a:spcBef>
                <a:buFont typeface="Graphik" panose="020B0503030202060203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0000" indent="-180000" algn="l" defTabSz="914400" rtl="0" eaLnBrk="1" latinLnBrk="0" hangingPunct="1">
                <a:lnSpc>
                  <a:spcPct val="10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pl-PL" sz="1200"/>
                <a:t>100</a:t>
              </a:r>
              <a:r>
                <a:rPr lang="en-GB" sz="1200"/>
                <a:t>+</a:t>
              </a:r>
            </a:p>
            <a:p>
              <a:pPr lvl="1"/>
              <a:r>
                <a:rPr lang="pl-PL" sz="1200"/>
                <a:t>Industry-relevant proofs-of-work</a:t>
              </a:r>
              <a:endParaRPr lang="en-GB" sz="1200"/>
            </a:p>
          </p:txBody>
        </p:sp>
        <p:grpSp>
          <p:nvGrpSpPr>
            <p:cNvPr id="252" name="Group 251">
              <a:extLst>
                <a:ext uri="{FF2B5EF4-FFF2-40B4-BE49-F238E27FC236}">
                  <a16:creationId xmlns:a16="http://schemas.microsoft.com/office/drawing/2014/main" id="{1C68805B-1127-8DAE-370C-C6B2318A13D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940387" y="1903855"/>
              <a:ext cx="550781" cy="129342"/>
              <a:chOff x="2088275" y="5786424"/>
              <a:chExt cx="766497" cy="180000"/>
            </a:xfrm>
          </p:grpSpPr>
          <p:pic>
            <p:nvPicPr>
              <p:cNvPr id="257" name="Picture 3">
                <a:extLst>
                  <a:ext uri="{FF2B5EF4-FFF2-40B4-BE49-F238E27FC236}">
                    <a16:creationId xmlns:a16="http://schemas.microsoft.com/office/drawing/2014/main" id="{478C1CB0-1405-163C-2905-2659231F24B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88275" y="5786424"/>
                <a:ext cx="360039" cy="18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9" name="Picture 278">
                <a:extLst>
                  <a:ext uri="{FF2B5EF4-FFF2-40B4-BE49-F238E27FC236}">
                    <a16:creationId xmlns:a16="http://schemas.microsoft.com/office/drawing/2014/main" id="{1A77EC50-79F7-CA5A-CCE1-36047AC0A235}"/>
                  </a:ext>
                </a:extLst>
              </p:cNvPr>
              <p:cNvPicPr>
                <a:picLocks/>
              </p:cNvPicPr>
              <p:nvPr/>
            </p:nvPicPr>
            <p:blipFill>
              <a:blip r:embed="rId5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494772" y="5786424"/>
                <a:ext cx="360000" cy="180000"/>
              </a:xfrm>
              <a:prstGeom prst="rect">
                <a:avLst/>
              </a:prstGeom>
            </p:spPr>
          </p:pic>
        </p:grpSp>
        <p:pic>
          <p:nvPicPr>
            <p:cNvPr id="289" name="Picture 288">
              <a:extLst>
                <a:ext uri="{FF2B5EF4-FFF2-40B4-BE49-F238E27FC236}">
                  <a16:creationId xmlns:a16="http://schemas.microsoft.com/office/drawing/2014/main" id="{36BE446C-C0F2-3C8B-7C01-B5D70E361B76}"/>
                </a:ext>
              </a:extLst>
            </p:cNvPr>
            <p:cNvPicPr>
              <a:picLocks/>
            </p:cNvPicPr>
            <p:nvPr/>
          </p:nvPicPr>
          <p:blipFill>
            <a:blip r:embed="rId5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45286" y="2070601"/>
              <a:ext cx="258685" cy="129342"/>
            </a:xfrm>
            <a:prstGeom prst="rect">
              <a:avLst/>
            </a:prstGeom>
          </p:spPr>
        </p:pic>
        <p:sp>
          <p:nvSpPr>
            <p:cNvPr id="293" name="Rectangle 3">
              <a:extLst>
                <a:ext uri="{FF2B5EF4-FFF2-40B4-BE49-F238E27FC236}">
                  <a16:creationId xmlns:a16="http://schemas.microsoft.com/office/drawing/2014/main" id="{3FE07910-8DE7-FB99-4249-0AE4C8C07746}"/>
                </a:ext>
              </a:extLst>
            </p:cNvPr>
            <p:cNvSpPr/>
            <p:nvPr/>
          </p:nvSpPr>
          <p:spPr>
            <a:xfrm>
              <a:off x="5554642" y="762635"/>
              <a:ext cx="3638707" cy="184666"/>
            </a:xfrm>
            <a:prstGeom prst="rect">
              <a:avLst/>
            </a:prstGeom>
            <a:solidFill>
              <a:schemeClr val="bg1"/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spAutoFit/>
            </a:bodyPr>
            <a:lstStyle/>
            <a:p>
              <a:pPr marL="0" marR="0" lvl="0" indent="0" algn="l" defTabSz="9143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pl-PL" sz="1200" b="1" i="0" u="none" strike="noStrike" kern="0" cap="all" spc="0" normalizeH="0" baseline="0" noProof="0">
                  <a:ln>
                    <a:noFill/>
                  </a:ln>
                  <a:solidFill>
                    <a:srgbClr val="A100FF"/>
                  </a:solidFill>
                  <a:effectLst/>
                  <a:uLnTx/>
                  <a:uFillTx/>
                  <a:latin typeface="Graphik Black" panose="020B0A03030202060203" pitchFamily="34" charset="-18"/>
                  <a:ea typeface="+mn-ea"/>
                  <a:cs typeface="+mn-cs"/>
                </a:rPr>
                <a:t>KEY SCALING ENABLERS</a:t>
              </a:r>
              <a:endParaRPr kumimoji="0" lang="en-US" sz="1200" b="1" i="0" u="none" strike="noStrike" kern="0" cap="all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 Black" panose="020B0A03030202060203" pitchFamily="34" charset="-18"/>
                <a:ea typeface="+mn-ea"/>
                <a:cs typeface="+mn-cs"/>
              </a:endParaRPr>
            </a:p>
          </p:txBody>
        </p:sp>
        <p:sp>
          <p:nvSpPr>
            <p:cNvPr id="296" name="TextBox 295">
              <a:extLst>
                <a:ext uri="{FF2B5EF4-FFF2-40B4-BE49-F238E27FC236}">
                  <a16:creationId xmlns:a16="http://schemas.microsoft.com/office/drawing/2014/main" id="{A255E9AC-8908-0FDA-DC49-8E814C8F668E}"/>
                </a:ext>
              </a:extLst>
            </p:cNvPr>
            <p:cNvSpPr txBox="1"/>
            <p:nvPr/>
          </p:nvSpPr>
          <p:spPr>
            <a:xfrm>
              <a:off x="9623919" y="1113388"/>
              <a:ext cx="1798436" cy="5510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tIns="36000" bIns="144000" rtlCol="0" anchor="ctr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l-PL" sz="1200">
                  <a:solidFill>
                    <a:srgbClr val="A100FF"/>
                  </a:solidFill>
                  <a:latin typeface="Arial Black" panose="020B0A04020102020204" pitchFamily="34" charset="0"/>
                </a:rPr>
                <a:t>+2</a:t>
              </a:r>
              <a:r>
                <a:rPr kumimoji="0" lang="pl-PL" sz="1200" i="0" u="none" strike="noStrike" kern="1200" cap="none" spc="0" normalizeH="0" baseline="0" noProof="0">
                  <a:ln>
                    <a:noFill/>
                  </a:ln>
                  <a:solidFill>
                    <a:srgbClr val="A100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5</a:t>
              </a:r>
              <a:r>
                <a:rPr kumimoji="0" lang="en-GB" sz="1200" i="0" u="none" strike="noStrike" kern="1200" cap="none" spc="0" normalizeH="0" baseline="0" noProof="0">
                  <a:ln>
                    <a:noFill/>
                  </a:ln>
                  <a:solidFill>
                    <a:srgbClr val="A100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%</a:t>
              </a:r>
              <a:r>
                <a:rPr kumimoji="0" lang="pl-PL" sz="1200" i="0" u="none" strike="noStrike" kern="1200" cap="none" spc="0" normalizeH="0" baseline="0" noProof="0">
                  <a:ln>
                    <a:noFill/>
                  </a:ln>
                  <a:solidFill>
                    <a:srgbClr val="A100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 </a:t>
              </a:r>
              <a:r>
                <a:rPr kumimoji="0" lang="pl-PL" sz="120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Semibold"/>
                  <a:ea typeface="+mn-ea"/>
                  <a:cs typeface="+mn-cs"/>
                </a:rPr>
                <a:t>expected </a:t>
              </a:r>
              <a:br>
                <a:rPr kumimoji="0" lang="pl-PL" sz="120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Semibold"/>
                  <a:ea typeface="+mn-ea"/>
                  <a:cs typeface="+mn-cs"/>
                </a:rPr>
              </a:br>
              <a:r>
                <a:rPr kumimoji="0" lang="en-GB" sz="120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Semibold"/>
                  <a:ea typeface="+mn-ea"/>
                  <a:cs typeface="+mn-cs"/>
                </a:rPr>
                <a:t>HC increase</a:t>
              </a:r>
              <a:r>
                <a:rPr kumimoji="0" lang="pl-PL" sz="120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Semibold"/>
                  <a:ea typeface="+mn-ea"/>
                  <a:cs typeface="+mn-cs"/>
                </a:rPr>
                <a:t> in FY24</a:t>
              </a:r>
              <a:endPara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Semibold"/>
                <a:ea typeface="+mn-ea"/>
                <a:cs typeface="+mn-cs"/>
              </a:endParaRPr>
            </a:p>
          </p:txBody>
        </p:sp>
        <p:grpSp>
          <p:nvGrpSpPr>
            <p:cNvPr id="297" name="Group 26">
              <a:extLst>
                <a:ext uri="{FF2B5EF4-FFF2-40B4-BE49-F238E27FC236}">
                  <a16:creationId xmlns:a16="http://schemas.microsoft.com/office/drawing/2014/main" id="{8282CB56-5670-B7C6-F9C2-14D723B930B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864585" y="1090466"/>
              <a:ext cx="543629" cy="492482"/>
              <a:chOff x="3614" y="1720"/>
              <a:chExt cx="454" cy="385"/>
            </a:xfrm>
            <a:solidFill>
              <a:schemeClr val="accent2"/>
            </a:solidFill>
          </p:grpSpPr>
          <p:sp>
            <p:nvSpPr>
              <p:cNvPr id="298" name="Freeform 27">
                <a:extLst>
                  <a:ext uri="{FF2B5EF4-FFF2-40B4-BE49-F238E27FC236}">
                    <a16:creationId xmlns:a16="http://schemas.microsoft.com/office/drawing/2014/main" id="{57226475-99B7-B610-8117-7F1C4A2D4A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0" y="1720"/>
                <a:ext cx="142" cy="189"/>
              </a:xfrm>
              <a:custGeom>
                <a:avLst/>
                <a:gdLst>
                  <a:gd name="T0" fmla="*/ 10 w 60"/>
                  <a:gd name="T1" fmla="*/ 51 h 80"/>
                  <a:gd name="T2" fmla="*/ 14 w 60"/>
                  <a:gd name="T3" fmla="*/ 64 h 80"/>
                  <a:gd name="T4" fmla="*/ 14 w 60"/>
                  <a:gd name="T5" fmla="*/ 72 h 80"/>
                  <a:gd name="T6" fmla="*/ 30 w 60"/>
                  <a:gd name="T7" fmla="*/ 80 h 80"/>
                  <a:gd name="T8" fmla="*/ 46 w 60"/>
                  <a:gd name="T9" fmla="*/ 72 h 80"/>
                  <a:gd name="T10" fmla="*/ 46 w 60"/>
                  <a:gd name="T11" fmla="*/ 64 h 80"/>
                  <a:gd name="T12" fmla="*/ 50 w 60"/>
                  <a:gd name="T13" fmla="*/ 51 h 80"/>
                  <a:gd name="T14" fmla="*/ 55 w 60"/>
                  <a:gd name="T15" fmla="*/ 50 h 80"/>
                  <a:gd name="T16" fmla="*/ 58 w 60"/>
                  <a:gd name="T17" fmla="*/ 36 h 80"/>
                  <a:gd name="T18" fmla="*/ 54 w 60"/>
                  <a:gd name="T19" fmla="*/ 34 h 80"/>
                  <a:gd name="T20" fmla="*/ 54 w 60"/>
                  <a:gd name="T21" fmla="*/ 21 h 80"/>
                  <a:gd name="T22" fmla="*/ 45 w 60"/>
                  <a:gd name="T23" fmla="*/ 8 h 80"/>
                  <a:gd name="T24" fmla="*/ 30 w 60"/>
                  <a:gd name="T25" fmla="*/ 0 h 80"/>
                  <a:gd name="T26" fmla="*/ 6 w 60"/>
                  <a:gd name="T27" fmla="*/ 20 h 80"/>
                  <a:gd name="T28" fmla="*/ 6 w 60"/>
                  <a:gd name="T29" fmla="*/ 34 h 80"/>
                  <a:gd name="T30" fmla="*/ 2 w 60"/>
                  <a:gd name="T31" fmla="*/ 36 h 80"/>
                  <a:gd name="T32" fmla="*/ 5 w 60"/>
                  <a:gd name="T33" fmla="*/ 50 h 80"/>
                  <a:gd name="T34" fmla="*/ 10 w 60"/>
                  <a:gd name="T35" fmla="*/ 51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0" h="80">
                    <a:moveTo>
                      <a:pt x="10" y="51"/>
                    </a:moveTo>
                    <a:cubicBezTo>
                      <a:pt x="14" y="64"/>
                      <a:pt x="14" y="64"/>
                      <a:pt x="14" y="64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30" y="80"/>
                      <a:pt x="30" y="80"/>
                      <a:pt x="30" y="80"/>
                    </a:cubicBezTo>
                    <a:cubicBezTo>
                      <a:pt x="46" y="72"/>
                      <a:pt x="46" y="72"/>
                      <a:pt x="46" y="72"/>
                    </a:cubicBezTo>
                    <a:cubicBezTo>
                      <a:pt x="46" y="64"/>
                      <a:pt x="46" y="64"/>
                      <a:pt x="46" y="64"/>
                    </a:cubicBezTo>
                    <a:cubicBezTo>
                      <a:pt x="50" y="51"/>
                      <a:pt x="50" y="51"/>
                      <a:pt x="50" y="51"/>
                    </a:cubicBezTo>
                    <a:cubicBezTo>
                      <a:pt x="50" y="51"/>
                      <a:pt x="53" y="51"/>
                      <a:pt x="55" y="50"/>
                    </a:cubicBezTo>
                    <a:cubicBezTo>
                      <a:pt x="58" y="47"/>
                      <a:pt x="60" y="40"/>
                      <a:pt x="58" y="36"/>
                    </a:cubicBezTo>
                    <a:cubicBezTo>
                      <a:pt x="57" y="33"/>
                      <a:pt x="54" y="34"/>
                      <a:pt x="54" y="34"/>
                    </a:cubicBezTo>
                    <a:cubicBezTo>
                      <a:pt x="54" y="34"/>
                      <a:pt x="54" y="28"/>
                      <a:pt x="54" y="21"/>
                    </a:cubicBezTo>
                    <a:cubicBezTo>
                      <a:pt x="54" y="13"/>
                      <a:pt x="52" y="8"/>
                      <a:pt x="45" y="8"/>
                    </a:cubicBezTo>
                    <a:cubicBezTo>
                      <a:pt x="43" y="3"/>
                      <a:pt x="37" y="0"/>
                      <a:pt x="30" y="0"/>
                    </a:cubicBezTo>
                    <a:cubicBezTo>
                      <a:pt x="15" y="0"/>
                      <a:pt x="6" y="9"/>
                      <a:pt x="6" y="20"/>
                    </a:cubicBezTo>
                    <a:cubicBezTo>
                      <a:pt x="6" y="27"/>
                      <a:pt x="6" y="34"/>
                      <a:pt x="6" y="34"/>
                    </a:cubicBezTo>
                    <a:cubicBezTo>
                      <a:pt x="6" y="34"/>
                      <a:pt x="3" y="33"/>
                      <a:pt x="2" y="36"/>
                    </a:cubicBezTo>
                    <a:cubicBezTo>
                      <a:pt x="0" y="40"/>
                      <a:pt x="2" y="47"/>
                      <a:pt x="5" y="50"/>
                    </a:cubicBezTo>
                    <a:cubicBezTo>
                      <a:pt x="7" y="51"/>
                      <a:pt x="10" y="51"/>
                      <a:pt x="10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Arial" charset="0"/>
                </a:endParaRPr>
              </a:p>
            </p:txBody>
          </p:sp>
          <p:sp>
            <p:nvSpPr>
              <p:cNvPr id="299" name="Freeform 29">
                <a:extLst>
                  <a:ext uri="{FF2B5EF4-FFF2-40B4-BE49-F238E27FC236}">
                    <a16:creationId xmlns:a16="http://schemas.microsoft.com/office/drawing/2014/main" id="{20CB7835-C9BA-6FEA-284C-61F3F89AE5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14" y="1767"/>
                <a:ext cx="454" cy="322"/>
              </a:xfrm>
              <a:custGeom>
                <a:avLst/>
                <a:gdLst>
                  <a:gd name="T0" fmla="*/ 72 w 192"/>
                  <a:gd name="T1" fmla="*/ 61 h 136"/>
                  <a:gd name="T2" fmla="*/ 62 w 192"/>
                  <a:gd name="T3" fmla="*/ 54 h 136"/>
                  <a:gd name="T4" fmla="*/ 120 w 192"/>
                  <a:gd name="T5" fmla="*/ 61 h 136"/>
                  <a:gd name="T6" fmla="*/ 128 w 192"/>
                  <a:gd name="T7" fmla="*/ 56 h 136"/>
                  <a:gd name="T8" fmla="*/ 120 w 192"/>
                  <a:gd name="T9" fmla="*/ 61 h 136"/>
                  <a:gd name="T10" fmla="*/ 44 w 192"/>
                  <a:gd name="T11" fmla="*/ 63 h 136"/>
                  <a:gd name="T12" fmla="*/ 44 w 192"/>
                  <a:gd name="T13" fmla="*/ 70 h 136"/>
                  <a:gd name="T14" fmla="*/ 51 w 192"/>
                  <a:gd name="T15" fmla="*/ 69 h 136"/>
                  <a:gd name="T16" fmla="*/ 52 w 192"/>
                  <a:gd name="T17" fmla="*/ 63 h 136"/>
                  <a:gd name="T18" fmla="*/ 166 w 192"/>
                  <a:gd name="T19" fmla="*/ 46 h 136"/>
                  <a:gd name="T20" fmla="*/ 144 w 192"/>
                  <a:gd name="T21" fmla="*/ 0 h 136"/>
                  <a:gd name="T22" fmla="*/ 128 w 192"/>
                  <a:gd name="T23" fmla="*/ 21 h 136"/>
                  <a:gd name="T24" fmla="*/ 126 w 192"/>
                  <a:gd name="T25" fmla="*/ 48 h 136"/>
                  <a:gd name="T26" fmla="*/ 133 w 192"/>
                  <a:gd name="T27" fmla="*/ 52 h 136"/>
                  <a:gd name="T28" fmla="*/ 146 w 192"/>
                  <a:gd name="T29" fmla="*/ 70 h 136"/>
                  <a:gd name="T30" fmla="*/ 166 w 192"/>
                  <a:gd name="T31" fmla="*/ 46 h 136"/>
                  <a:gd name="T32" fmla="*/ 36 w 192"/>
                  <a:gd name="T33" fmla="*/ 44 h 136"/>
                  <a:gd name="T34" fmla="*/ 48 w 192"/>
                  <a:gd name="T35" fmla="*/ 56 h 136"/>
                  <a:gd name="T36" fmla="*/ 60 w 192"/>
                  <a:gd name="T37" fmla="*/ 44 h 136"/>
                  <a:gd name="T38" fmla="*/ 61 w 192"/>
                  <a:gd name="T39" fmla="*/ 24 h 136"/>
                  <a:gd name="T40" fmla="*/ 64 w 192"/>
                  <a:gd name="T41" fmla="*/ 7 h 136"/>
                  <a:gd name="T42" fmla="*/ 48 w 192"/>
                  <a:gd name="T43" fmla="*/ 0 h 136"/>
                  <a:gd name="T44" fmla="*/ 32 w 192"/>
                  <a:gd name="T45" fmla="*/ 24 h 136"/>
                  <a:gd name="T46" fmla="*/ 32 w 192"/>
                  <a:gd name="T47" fmla="*/ 35 h 136"/>
                  <a:gd name="T48" fmla="*/ 8 w 192"/>
                  <a:gd name="T49" fmla="*/ 63 h 136"/>
                  <a:gd name="T50" fmla="*/ 20 w 192"/>
                  <a:gd name="T51" fmla="*/ 136 h 136"/>
                  <a:gd name="T52" fmla="*/ 34 w 192"/>
                  <a:gd name="T53" fmla="*/ 76 h 136"/>
                  <a:gd name="T54" fmla="*/ 34 w 192"/>
                  <a:gd name="T55" fmla="*/ 54 h 136"/>
                  <a:gd name="T56" fmla="*/ 192 w 192"/>
                  <a:gd name="T57" fmla="*/ 136 h 136"/>
                  <a:gd name="T58" fmla="*/ 160 w 192"/>
                  <a:gd name="T59" fmla="*/ 56 h 136"/>
                  <a:gd name="T60" fmla="*/ 154 w 192"/>
                  <a:gd name="T61" fmla="*/ 72 h 136"/>
                  <a:gd name="T62" fmla="*/ 157 w 192"/>
                  <a:gd name="T63" fmla="*/ 76 h 136"/>
                  <a:gd name="T64" fmla="*/ 158 w 192"/>
                  <a:gd name="T65" fmla="*/ 76 h 136"/>
                  <a:gd name="T66" fmla="*/ 172 w 192"/>
                  <a:gd name="T67" fmla="*/ 129 h 136"/>
                  <a:gd name="T68" fmla="*/ 192 w 192"/>
                  <a:gd name="T69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92" h="136">
                    <a:moveTo>
                      <a:pt x="58" y="66"/>
                    </a:moveTo>
                    <a:cubicBezTo>
                      <a:pt x="62" y="65"/>
                      <a:pt x="67" y="63"/>
                      <a:pt x="72" y="61"/>
                    </a:cubicBezTo>
                    <a:cubicBezTo>
                      <a:pt x="72" y="57"/>
                      <a:pt x="72" y="57"/>
                      <a:pt x="72" y="57"/>
                    </a:cubicBezTo>
                    <a:cubicBezTo>
                      <a:pt x="67" y="55"/>
                      <a:pt x="62" y="54"/>
                      <a:pt x="62" y="54"/>
                    </a:cubicBezTo>
                    <a:lnTo>
                      <a:pt x="58" y="66"/>
                    </a:lnTo>
                    <a:close/>
                    <a:moveTo>
                      <a:pt x="120" y="61"/>
                    </a:moveTo>
                    <a:cubicBezTo>
                      <a:pt x="121" y="62"/>
                      <a:pt x="123" y="62"/>
                      <a:pt x="124" y="63"/>
                    </a:cubicBezTo>
                    <a:cubicBezTo>
                      <a:pt x="128" y="56"/>
                      <a:pt x="128" y="56"/>
                      <a:pt x="128" y="56"/>
                    </a:cubicBezTo>
                    <a:cubicBezTo>
                      <a:pt x="128" y="56"/>
                      <a:pt x="124" y="57"/>
                      <a:pt x="120" y="59"/>
                    </a:cubicBezTo>
                    <a:lnTo>
                      <a:pt x="120" y="61"/>
                    </a:lnTo>
                    <a:close/>
                    <a:moveTo>
                      <a:pt x="48" y="59"/>
                    </a:moveTo>
                    <a:cubicBezTo>
                      <a:pt x="44" y="63"/>
                      <a:pt x="44" y="63"/>
                      <a:pt x="44" y="63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4" y="71"/>
                      <a:pt x="44" y="71"/>
                      <a:pt x="44" y="71"/>
                    </a:cubicBezTo>
                    <a:cubicBezTo>
                      <a:pt x="46" y="70"/>
                      <a:pt x="48" y="70"/>
                      <a:pt x="51" y="69"/>
                    </a:cubicBezTo>
                    <a:cubicBezTo>
                      <a:pt x="50" y="66"/>
                      <a:pt x="50" y="66"/>
                      <a:pt x="50" y="66"/>
                    </a:cubicBezTo>
                    <a:cubicBezTo>
                      <a:pt x="52" y="63"/>
                      <a:pt x="52" y="63"/>
                      <a:pt x="52" y="63"/>
                    </a:cubicBezTo>
                    <a:lnTo>
                      <a:pt x="48" y="59"/>
                    </a:lnTo>
                    <a:close/>
                    <a:moveTo>
                      <a:pt x="166" y="46"/>
                    </a:moveTo>
                    <a:cubicBezTo>
                      <a:pt x="161" y="39"/>
                      <a:pt x="162" y="26"/>
                      <a:pt x="162" y="26"/>
                    </a:cubicBezTo>
                    <a:cubicBezTo>
                      <a:pt x="162" y="15"/>
                      <a:pt x="162" y="0"/>
                      <a:pt x="144" y="0"/>
                    </a:cubicBezTo>
                    <a:cubicBezTo>
                      <a:pt x="135" y="0"/>
                      <a:pt x="130" y="4"/>
                      <a:pt x="128" y="9"/>
                    </a:cubicBezTo>
                    <a:cubicBezTo>
                      <a:pt x="128" y="21"/>
                      <a:pt x="128" y="21"/>
                      <a:pt x="128" y="21"/>
                    </a:cubicBezTo>
                    <a:cubicBezTo>
                      <a:pt x="129" y="22"/>
                      <a:pt x="130" y="23"/>
                      <a:pt x="131" y="24"/>
                    </a:cubicBezTo>
                    <a:cubicBezTo>
                      <a:pt x="135" y="32"/>
                      <a:pt x="132" y="43"/>
                      <a:pt x="126" y="48"/>
                    </a:cubicBezTo>
                    <a:cubicBezTo>
                      <a:pt x="126" y="48"/>
                      <a:pt x="126" y="48"/>
                      <a:pt x="126" y="48"/>
                    </a:cubicBezTo>
                    <a:cubicBezTo>
                      <a:pt x="133" y="52"/>
                      <a:pt x="133" y="52"/>
                      <a:pt x="133" y="52"/>
                    </a:cubicBezTo>
                    <a:cubicBezTo>
                      <a:pt x="141" y="69"/>
                      <a:pt x="141" y="69"/>
                      <a:pt x="141" y="69"/>
                    </a:cubicBezTo>
                    <a:cubicBezTo>
                      <a:pt x="143" y="69"/>
                      <a:pt x="145" y="70"/>
                      <a:pt x="146" y="70"/>
                    </a:cubicBezTo>
                    <a:cubicBezTo>
                      <a:pt x="155" y="52"/>
                      <a:pt x="155" y="52"/>
                      <a:pt x="155" y="52"/>
                    </a:cubicBezTo>
                    <a:lnTo>
                      <a:pt x="166" y="46"/>
                    </a:lnTo>
                    <a:close/>
                    <a:moveTo>
                      <a:pt x="34" y="36"/>
                    </a:moveTo>
                    <a:cubicBezTo>
                      <a:pt x="36" y="44"/>
                      <a:pt x="36" y="44"/>
                      <a:pt x="36" y="44"/>
                    </a:cubicBezTo>
                    <a:cubicBezTo>
                      <a:pt x="36" y="48"/>
                      <a:pt x="36" y="48"/>
                      <a:pt x="36" y="48"/>
                    </a:cubicBezTo>
                    <a:cubicBezTo>
                      <a:pt x="48" y="56"/>
                      <a:pt x="48" y="56"/>
                      <a:pt x="48" y="56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4"/>
                      <a:pt x="60" y="44"/>
                      <a:pt x="60" y="44"/>
                    </a:cubicBezTo>
                    <a:cubicBezTo>
                      <a:pt x="61" y="40"/>
                      <a:pt x="61" y="40"/>
                      <a:pt x="61" y="40"/>
                    </a:cubicBezTo>
                    <a:cubicBezTo>
                      <a:pt x="59" y="35"/>
                      <a:pt x="58" y="29"/>
                      <a:pt x="61" y="24"/>
                    </a:cubicBezTo>
                    <a:cubicBezTo>
                      <a:pt x="62" y="23"/>
                      <a:pt x="63" y="22"/>
                      <a:pt x="64" y="21"/>
                    </a:cubicBezTo>
                    <a:cubicBezTo>
                      <a:pt x="64" y="7"/>
                      <a:pt x="64" y="7"/>
                      <a:pt x="64" y="7"/>
                    </a:cubicBezTo>
                    <a:cubicBezTo>
                      <a:pt x="63" y="6"/>
                      <a:pt x="61" y="5"/>
                      <a:pt x="59" y="5"/>
                    </a:cubicBezTo>
                    <a:cubicBezTo>
                      <a:pt x="57" y="1"/>
                      <a:pt x="53" y="0"/>
                      <a:pt x="48" y="0"/>
                    </a:cubicBezTo>
                    <a:cubicBezTo>
                      <a:pt x="37" y="0"/>
                      <a:pt x="32" y="6"/>
                      <a:pt x="32" y="14"/>
                    </a:cubicBezTo>
                    <a:cubicBezTo>
                      <a:pt x="32" y="19"/>
                      <a:pt x="32" y="24"/>
                      <a:pt x="32" y="24"/>
                    </a:cubicBezTo>
                    <a:cubicBezTo>
                      <a:pt x="32" y="24"/>
                      <a:pt x="31" y="24"/>
                      <a:pt x="30" y="26"/>
                    </a:cubicBezTo>
                    <a:cubicBezTo>
                      <a:pt x="28" y="28"/>
                      <a:pt x="29" y="33"/>
                      <a:pt x="32" y="35"/>
                    </a:cubicBezTo>
                    <a:cubicBezTo>
                      <a:pt x="33" y="36"/>
                      <a:pt x="34" y="36"/>
                      <a:pt x="34" y="36"/>
                    </a:cubicBezTo>
                    <a:close/>
                    <a:moveTo>
                      <a:pt x="8" y="63"/>
                    </a:moveTo>
                    <a:cubicBezTo>
                      <a:pt x="5" y="66"/>
                      <a:pt x="0" y="94"/>
                      <a:pt x="0" y="136"/>
                    </a:cubicBezTo>
                    <a:cubicBezTo>
                      <a:pt x="20" y="136"/>
                      <a:pt x="20" y="136"/>
                      <a:pt x="20" y="136"/>
                    </a:cubicBezTo>
                    <a:cubicBezTo>
                      <a:pt x="20" y="128"/>
                      <a:pt x="20" y="128"/>
                      <a:pt x="20" y="128"/>
                    </a:cubicBezTo>
                    <a:cubicBezTo>
                      <a:pt x="22" y="103"/>
                      <a:pt x="25" y="83"/>
                      <a:pt x="34" y="76"/>
                    </a:cubicBezTo>
                    <a:cubicBezTo>
                      <a:pt x="35" y="75"/>
                      <a:pt x="36" y="75"/>
                      <a:pt x="40" y="73"/>
                    </a:cubicBezTo>
                    <a:cubicBezTo>
                      <a:pt x="34" y="54"/>
                      <a:pt x="34" y="54"/>
                      <a:pt x="34" y="54"/>
                    </a:cubicBezTo>
                    <a:cubicBezTo>
                      <a:pt x="34" y="54"/>
                      <a:pt x="10" y="61"/>
                      <a:pt x="8" y="63"/>
                    </a:cubicBezTo>
                    <a:close/>
                    <a:moveTo>
                      <a:pt x="192" y="136"/>
                    </a:moveTo>
                    <a:cubicBezTo>
                      <a:pt x="192" y="94"/>
                      <a:pt x="187" y="69"/>
                      <a:pt x="184" y="66"/>
                    </a:cubicBezTo>
                    <a:cubicBezTo>
                      <a:pt x="182" y="65"/>
                      <a:pt x="160" y="56"/>
                      <a:pt x="160" y="56"/>
                    </a:cubicBezTo>
                    <a:cubicBezTo>
                      <a:pt x="170" y="72"/>
                      <a:pt x="170" y="72"/>
                      <a:pt x="170" y="72"/>
                    </a:cubicBezTo>
                    <a:cubicBezTo>
                      <a:pt x="154" y="72"/>
                      <a:pt x="154" y="72"/>
                      <a:pt x="154" y="72"/>
                    </a:cubicBezTo>
                    <a:cubicBezTo>
                      <a:pt x="153" y="73"/>
                      <a:pt x="153" y="73"/>
                      <a:pt x="153" y="73"/>
                    </a:cubicBezTo>
                    <a:cubicBezTo>
                      <a:pt x="156" y="75"/>
                      <a:pt x="157" y="75"/>
                      <a:pt x="157" y="76"/>
                    </a:cubicBezTo>
                    <a:cubicBezTo>
                      <a:pt x="157" y="76"/>
                      <a:pt x="158" y="76"/>
                      <a:pt x="158" y="76"/>
                    </a:cubicBezTo>
                    <a:cubicBezTo>
                      <a:pt x="158" y="76"/>
                      <a:pt x="158" y="76"/>
                      <a:pt x="158" y="76"/>
                    </a:cubicBezTo>
                    <a:cubicBezTo>
                      <a:pt x="158" y="76"/>
                      <a:pt x="158" y="76"/>
                      <a:pt x="158" y="76"/>
                    </a:cubicBezTo>
                    <a:cubicBezTo>
                      <a:pt x="167" y="83"/>
                      <a:pt x="170" y="105"/>
                      <a:pt x="172" y="129"/>
                    </a:cubicBezTo>
                    <a:cubicBezTo>
                      <a:pt x="172" y="136"/>
                      <a:pt x="172" y="136"/>
                      <a:pt x="172" y="136"/>
                    </a:cubicBezTo>
                    <a:lnTo>
                      <a:pt x="192" y="1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Arial" charset="0"/>
                </a:endParaRPr>
              </a:p>
            </p:txBody>
          </p:sp>
          <p:sp>
            <p:nvSpPr>
              <p:cNvPr id="300" name="Freeform 28">
                <a:extLst>
                  <a:ext uri="{FF2B5EF4-FFF2-40B4-BE49-F238E27FC236}">
                    <a16:creationId xmlns:a16="http://schemas.microsoft.com/office/drawing/2014/main" id="{FF8358F2-8B5A-C9DE-6BFE-9E698EFE7E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1" y="1890"/>
                <a:ext cx="321" cy="215"/>
              </a:xfrm>
              <a:custGeom>
                <a:avLst/>
                <a:gdLst>
                  <a:gd name="T0" fmla="*/ 125 w 136"/>
                  <a:gd name="T1" fmla="*/ 13 h 91"/>
                  <a:gd name="T2" fmla="*/ 88 w 136"/>
                  <a:gd name="T3" fmla="*/ 0 h 91"/>
                  <a:gd name="T4" fmla="*/ 76 w 136"/>
                  <a:gd name="T5" fmla="*/ 49 h 91"/>
                  <a:gd name="T6" fmla="*/ 76 w 136"/>
                  <a:gd name="T7" fmla="*/ 29 h 91"/>
                  <a:gd name="T8" fmla="*/ 70 w 136"/>
                  <a:gd name="T9" fmla="*/ 19 h 91"/>
                  <a:gd name="T10" fmla="*/ 76 w 136"/>
                  <a:gd name="T11" fmla="*/ 13 h 91"/>
                  <a:gd name="T12" fmla="*/ 68 w 136"/>
                  <a:gd name="T13" fmla="*/ 5 h 91"/>
                  <a:gd name="T14" fmla="*/ 60 w 136"/>
                  <a:gd name="T15" fmla="*/ 13 h 91"/>
                  <a:gd name="T16" fmla="*/ 66 w 136"/>
                  <a:gd name="T17" fmla="*/ 19 h 91"/>
                  <a:gd name="T18" fmla="*/ 60 w 136"/>
                  <a:gd name="T19" fmla="*/ 29 h 91"/>
                  <a:gd name="T20" fmla="*/ 60 w 136"/>
                  <a:gd name="T21" fmla="*/ 49 h 91"/>
                  <a:gd name="T22" fmla="*/ 48 w 136"/>
                  <a:gd name="T23" fmla="*/ 0 h 91"/>
                  <a:gd name="T24" fmla="*/ 11 w 136"/>
                  <a:gd name="T25" fmla="*/ 13 h 91"/>
                  <a:gd name="T26" fmla="*/ 0 w 136"/>
                  <a:gd name="T27" fmla="*/ 91 h 91"/>
                  <a:gd name="T28" fmla="*/ 136 w 136"/>
                  <a:gd name="T29" fmla="*/ 91 h 91"/>
                  <a:gd name="T30" fmla="*/ 125 w 136"/>
                  <a:gd name="T31" fmla="*/ 13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36" h="91">
                    <a:moveTo>
                      <a:pt x="125" y="13"/>
                    </a:moveTo>
                    <a:cubicBezTo>
                      <a:pt x="121" y="10"/>
                      <a:pt x="88" y="0"/>
                      <a:pt x="88" y="0"/>
                    </a:cubicBezTo>
                    <a:cubicBezTo>
                      <a:pt x="76" y="49"/>
                      <a:pt x="76" y="49"/>
                      <a:pt x="76" y="49"/>
                    </a:cubicBezTo>
                    <a:cubicBezTo>
                      <a:pt x="76" y="29"/>
                      <a:pt x="76" y="29"/>
                      <a:pt x="76" y="29"/>
                    </a:cubicBezTo>
                    <a:cubicBezTo>
                      <a:pt x="70" y="19"/>
                      <a:pt x="70" y="19"/>
                      <a:pt x="70" y="19"/>
                    </a:cubicBezTo>
                    <a:cubicBezTo>
                      <a:pt x="76" y="13"/>
                      <a:pt x="76" y="13"/>
                      <a:pt x="76" y="13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60" y="13"/>
                      <a:pt x="60" y="13"/>
                      <a:pt x="60" y="13"/>
                    </a:cubicBezTo>
                    <a:cubicBezTo>
                      <a:pt x="66" y="19"/>
                      <a:pt x="66" y="19"/>
                      <a:pt x="66" y="19"/>
                    </a:cubicBezTo>
                    <a:cubicBezTo>
                      <a:pt x="60" y="29"/>
                      <a:pt x="60" y="29"/>
                      <a:pt x="60" y="29"/>
                    </a:cubicBezTo>
                    <a:cubicBezTo>
                      <a:pt x="60" y="49"/>
                      <a:pt x="60" y="49"/>
                      <a:pt x="60" y="49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8" y="0"/>
                      <a:pt x="15" y="10"/>
                      <a:pt x="11" y="13"/>
                    </a:cubicBezTo>
                    <a:cubicBezTo>
                      <a:pt x="7" y="17"/>
                      <a:pt x="0" y="35"/>
                      <a:pt x="0" y="91"/>
                    </a:cubicBezTo>
                    <a:cubicBezTo>
                      <a:pt x="136" y="91"/>
                      <a:pt x="136" y="91"/>
                      <a:pt x="136" y="91"/>
                    </a:cubicBezTo>
                    <a:cubicBezTo>
                      <a:pt x="136" y="35"/>
                      <a:pt x="129" y="17"/>
                      <a:pt x="125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Arial" charset="0"/>
                </a:endParaRPr>
              </a:p>
            </p:txBody>
          </p:sp>
        </p:grpSp>
        <p:cxnSp>
          <p:nvCxnSpPr>
            <p:cNvPr id="295" name="Straight Connector 294">
              <a:extLst>
                <a:ext uri="{FF2B5EF4-FFF2-40B4-BE49-F238E27FC236}">
                  <a16:creationId xmlns:a16="http://schemas.microsoft.com/office/drawing/2014/main" id="{CC33E514-1C78-3E77-3885-3204E5EEBBAD}"/>
                </a:ext>
              </a:extLst>
            </p:cNvPr>
            <p:cNvCxnSpPr>
              <a:cxnSpLocks/>
            </p:cNvCxnSpPr>
            <p:nvPr/>
          </p:nvCxnSpPr>
          <p:spPr>
            <a:xfrm>
              <a:off x="5544607" y="991506"/>
              <a:ext cx="6302996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28" name="Picture 4" descr="Flaga Slowacji Zdjęcia - darmowe pobieranie na Freepik">
              <a:extLst>
                <a:ext uri="{FF2B5EF4-FFF2-40B4-BE49-F238E27FC236}">
                  <a16:creationId xmlns:a16="http://schemas.microsoft.com/office/drawing/2014/main" id="{AFFBDB24-3FE5-8A63-427F-69434A441E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54622" y="2079909"/>
              <a:ext cx="245683" cy="129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" name="Picture 36" descr="Brand assets - Hugging Face">
            <a:extLst>
              <a:ext uri="{FF2B5EF4-FFF2-40B4-BE49-F238E27FC236}">
                <a16:creationId xmlns:a16="http://schemas.microsoft.com/office/drawing/2014/main" id="{3FAD7553-4E5A-082D-AF82-C1654F2AD7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22" r="72318" b="8622"/>
          <a:stretch/>
        </p:blipFill>
        <p:spPr bwMode="auto">
          <a:xfrm>
            <a:off x="11081408" y="5416571"/>
            <a:ext cx="480776" cy="3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68978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 Placeholder 5">
            <a:extLst>
              <a:ext uri="{FF2B5EF4-FFF2-40B4-BE49-F238E27FC236}">
                <a16:creationId xmlns:a16="http://schemas.microsoft.com/office/drawing/2014/main" id="{95D48B8E-EE79-66DE-D0CB-F1C0874BA1AE}"/>
              </a:ext>
            </a:extLst>
          </p:cNvPr>
          <p:cNvSpPr txBox="1">
            <a:spLocks/>
          </p:cNvSpPr>
          <p:nvPr/>
        </p:nvSpPr>
        <p:spPr bwMode="auto">
          <a:xfrm>
            <a:off x="2174812" y="4144582"/>
            <a:ext cx="1659600" cy="279347"/>
          </a:xfrm>
          <a:prstGeom prst="rect">
            <a:avLst/>
          </a:prstGeom>
          <a:gradFill flip="none" rotWithShape="1">
            <a:gsLst>
              <a:gs pos="0">
                <a:srgbClr val="C20CE6">
                  <a:tint val="66000"/>
                  <a:satMod val="160000"/>
                </a:srgbClr>
              </a:gs>
              <a:gs pos="50000">
                <a:srgbClr val="C20CE6">
                  <a:tint val="44500"/>
                  <a:satMod val="160000"/>
                </a:srgbClr>
              </a:gs>
              <a:gs pos="100000">
                <a:srgbClr val="C20CE6">
                  <a:tint val="23500"/>
                  <a:satMod val="160000"/>
                </a:srgbClr>
              </a:gs>
            </a:gsLst>
            <a:lin ang="8100000" scaled="1"/>
            <a:tileRect/>
          </a:gra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algn="ctr" defTabSz="685783">
              <a:defRPr sz="900" b="1" kern="0">
                <a:solidFill>
                  <a:srgbClr val="FFFFFF"/>
                </a:solidFill>
                <a:latin typeface="Arial" panose="020B0604020202020204"/>
              </a:defRPr>
            </a:lvl1pPr>
            <a:lvl2pPr marL="538163" indent="-274638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803275" indent="-265113">
              <a:spcBef>
                <a:spcPct val="20000"/>
              </a:spcBef>
              <a:buClr>
                <a:schemeClr val="tx2"/>
              </a:buClr>
              <a:buChar char="–"/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076325" indent="-273050">
              <a:spcBef>
                <a:spcPct val="20000"/>
              </a:spcBef>
              <a:buClr>
                <a:schemeClr val="tx2"/>
              </a:buClr>
              <a:buChar char="–"/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341438" indent="-265113">
              <a:spcBef>
                <a:spcPct val="20000"/>
              </a:spcBef>
              <a:buClr>
                <a:schemeClr val="tx2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798638" indent="-2651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255838" indent="-2651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713038" indent="-2651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170238" indent="-2651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5143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ADVANCED ANALYTICS</a:t>
            </a:r>
          </a:p>
        </p:txBody>
      </p:sp>
      <p:sp>
        <p:nvSpPr>
          <p:cNvPr id="1028" name="Content Placeholder 3">
            <a:extLst>
              <a:ext uri="{FF2B5EF4-FFF2-40B4-BE49-F238E27FC236}">
                <a16:creationId xmlns:a16="http://schemas.microsoft.com/office/drawing/2014/main" id="{9238BAFB-6840-765E-5909-431ED6EA4F64}"/>
              </a:ext>
            </a:extLst>
          </p:cNvPr>
          <p:cNvSpPr txBox="1">
            <a:spLocks/>
          </p:cNvSpPr>
          <p:nvPr/>
        </p:nvSpPr>
        <p:spPr bwMode="auto">
          <a:xfrm>
            <a:off x="2182390" y="4428744"/>
            <a:ext cx="1659600" cy="1616400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>
                <a:lumMod val="65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3960" tIns="107919" rIns="26980" bIns="0"/>
          <a:lstStyle>
            <a:lvl1pPr marL="171450" indent="-171450" algn="l" defTabSz="7016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7016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536575" indent="-169863" algn="l" defTabSz="7016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714375" indent="-169863" algn="l" defTabSz="7016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000">
                <a:solidFill>
                  <a:schemeClr val="tx1"/>
                </a:solidFill>
                <a:latin typeface="+mn-lt"/>
                <a:cs typeface="+mn-cs"/>
              </a:defRPr>
            </a:lvl4pPr>
            <a:lvl5pPr marL="890588" indent="-169863" algn="l" defTabSz="90805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+mn-lt"/>
                <a:cs typeface="+mn-cs"/>
              </a:defRPr>
            </a:lvl5pPr>
            <a:lvl6pPr marL="1206951" indent="-166197" algn="l" defTabSz="867061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700">
                <a:solidFill>
                  <a:schemeClr val="tx1"/>
                </a:solidFill>
                <a:latin typeface="+mn-lt"/>
                <a:cs typeface="+mn-cs"/>
              </a:defRPr>
            </a:lvl6pPr>
            <a:lvl7pPr marL="1564218" indent="-166197" algn="l" defTabSz="867061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700">
                <a:solidFill>
                  <a:schemeClr val="tx1"/>
                </a:solidFill>
                <a:latin typeface="+mn-lt"/>
                <a:cs typeface="+mn-cs"/>
              </a:defRPr>
            </a:lvl7pPr>
            <a:lvl8pPr marL="1921462" indent="-166197" algn="l" defTabSz="867061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700">
                <a:solidFill>
                  <a:schemeClr val="tx1"/>
                </a:solidFill>
                <a:latin typeface="+mn-lt"/>
                <a:cs typeface="+mn-cs"/>
              </a:defRPr>
            </a:lvl8pPr>
            <a:lvl9pPr marL="2278731" indent="-166197" algn="l" defTabSz="867061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7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525800" rtl="0" eaLnBrk="1" fontAlgn="base" latinLnBrk="0" hangingPunct="1">
              <a:lnSpc>
                <a:spcPct val="100000"/>
              </a:lnSpc>
              <a:spcBef>
                <a:spcPts val="451"/>
              </a:spcBef>
              <a:spcAft>
                <a:spcPct val="0"/>
              </a:spcAft>
              <a:buClr>
                <a:srgbClr val="FF0000"/>
              </a:buClr>
              <a:buSzTx/>
              <a:buFont typeface="Symbol" pitchFamily="18" charset="2"/>
              <a:buNone/>
              <a:tabLst/>
              <a:defRPr/>
            </a:pPr>
            <a:endParaRPr kumimoji="0" lang="en-GB" altLang="en-US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Arial"/>
            </a:endParaRPr>
          </a:p>
        </p:txBody>
      </p:sp>
      <p:sp>
        <p:nvSpPr>
          <p:cNvPr id="1042" name="AutoShape 11" descr="Magnifying glass outline">
            <a:extLst>
              <a:ext uri="{FF2B5EF4-FFF2-40B4-BE49-F238E27FC236}">
                <a16:creationId xmlns:a16="http://schemas.microsoft.com/office/drawing/2014/main" id="{31F4EC59-94D7-06A4-9A83-98D27A79C96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054043" y="422919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1043" name="AutoShape 12" descr="Scatterplot outline">
            <a:extLst>
              <a:ext uri="{FF2B5EF4-FFF2-40B4-BE49-F238E27FC236}">
                <a16:creationId xmlns:a16="http://schemas.microsoft.com/office/drawing/2014/main" id="{EDED8728-9C2A-DC7D-DD23-186E702CEB4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560415" y="4270804"/>
            <a:ext cx="225256" cy="22525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F172BD4-DDE1-412D-9D77-2DF6E32A96D6}"/>
              </a:ext>
            </a:extLst>
          </p:cNvPr>
          <p:cNvSpPr/>
          <p:nvPr/>
        </p:nvSpPr>
        <p:spPr>
          <a:xfrm>
            <a:off x="208780" y="945282"/>
            <a:ext cx="5760000" cy="2701430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D425C8"/>
                </a:gs>
                <a:gs pos="75000">
                  <a:schemeClr val="bg1"/>
                </a:gs>
              </a:gsLst>
              <a:lin ang="135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r>
              <a:rPr lang="pl-PL" b="1">
                <a:solidFill>
                  <a:srgbClr val="D425C8"/>
                </a:solidFill>
              </a:rPr>
              <a:t>People</a:t>
            </a:r>
          </a:p>
          <a:p>
            <a:endParaRPr lang="pl-PL" b="1">
              <a:solidFill>
                <a:srgbClr val="D425C8"/>
              </a:solidFill>
            </a:endParaRPr>
          </a:p>
          <a:p>
            <a:endParaRPr lang="pl-PL" b="1">
              <a:solidFill>
                <a:srgbClr val="D425C8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E8A82B-C4D1-4A09-9EC8-5D93EACE1C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62" imgH="262" progId="TCLayout.ActiveDocument.1">
                  <p:embed/>
                </p:oleObj>
              </mc:Choice>
              <mc:Fallback>
                <p:oleObj name="think-cell Slide" r:id="rId5" imgW="262" imgH="2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E8A82B-C4D1-4A09-9EC8-5D93EACE1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3" name="Title 1">
            <a:extLst>
              <a:ext uri="{FF2B5EF4-FFF2-40B4-BE49-F238E27FC236}">
                <a16:creationId xmlns:a16="http://schemas.microsoft.com/office/drawing/2014/main" id="{D59545F7-0203-C7F3-1C53-BE4FF3E604E7}"/>
              </a:ext>
            </a:extLst>
          </p:cNvPr>
          <p:cNvSpPr txBox="1">
            <a:spLocks/>
          </p:cNvSpPr>
          <p:nvPr/>
        </p:nvSpPr>
        <p:spPr>
          <a:xfrm>
            <a:off x="338546" y="207092"/>
            <a:ext cx="11641970" cy="77613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inden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79600" algn="l"/>
              </a:tabLst>
              <a:defRPr sz="3600" b="1" i="0">
                <a:solidFill>
                  <a:schemeClr val="accent2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pl-PL"/>
              <a:t>AI Industry Hub | </a:t>
            </a:r>
            <a:r>
              <a:rPr lang="pl-PL">
                <a:solidFill>
                  <a:schemeClr val="tx1"/>
                </a:solidFill>
              </a:rPr>
              <a:t>Anti-Money Laundering</a:t>
            </a:r>
            <a:endParaRPr lang="en-GB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98AAEE8-C3C9-4F40-2699-9D78B0E181F1}"/>
              </a:ext>
            </a:extLst>
          </p:cNvPr>
          <p:cNvSpPr/>
          <p:nvPr/>
        </p:nvSpPr>
        <p:spPr>
          <a:xfrm>
            <a:off x="6164312" y="926983"/>
            <a:ext cx="5760000" cy="2701430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FC796F"/>
                </a:gs>
                <a:gs pos="70000">
                  <a:schemeClr val="bg1"/>
                </a:gs>
              </a:gsLst>
              <a:lin ang="189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r"/>
            <a:r>
              <a:rPr lang="pl-PL" b="1">
                <a:solidFill>
                  <a:srgbClr val="FC796F"/>
                </a:solidFill>
              </a:rPr>
              <a:t>Projec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A51913E-3E1E-A772-1449-356F34A13A83}"/>
              </a:ext>
            </a:extLst>
          </p:cNvPr>
          <p:cNvSpPr/>
          <p:nvPr/>
        </p:nvSpPr>
        <p:spPr>
          <a:xfrm>
            <a:off x="208780" y="3764984"/>
            <a:ext cx="5760000" cy="2700000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9509B2"/>
                </a:gs>
                <a:gs pos="75000">
                  <a:schemeClr val="bg1"/>
                </a:gs>
              </a:gsLst>
              <a:lin ang="81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b"/>
          <a:lstStyle/>
          <a:p>
            <a:endParaRPr lang="pl-PL" b="1">
              <a:solidFill>
                <a:srgbClr val="9509B2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3452339-892D-AF8C-4E46-6762471B70D8}"/>
              </a:ext>
            </a:extLst>
          </p:cNvPr>
          <p:cNvSpPr/>
          <p:nvPr/>
        </p:nvSpPr>
        <p:spPr>
          <a:xfrm>
            <a:off x="6173263" y="3764984"/>
            <a:ext cx="5760000" cy="2700000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EF885F"/>
                </a:gs>
                <a:gs pos="75000">
                  <a:schemeClr val="bg1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b"/>
          <a:lstStyle/>
          <a:p>
            <a:pPr algn="r"/>
            <a:r>
              <a:rPr lang="pl-PL" b="1">
                <a:solidFill>
                  <a:srgbClr val="EF885F"/>
                </a:solidFill>
              </a:rPr>
              <a:t>Initiativ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945257B-1A30-331F-8EED-D211FD49E5F4}"/>
              </a:ext>
            </a:extLst>
          </p:cNvPr>
          <p:cNvSpPr txBox="1"/>
          <p:nvPr/>
        </p:nvSpPr>
        <p:spPr>
          <a:xfrm>
            <a:off x="1362865" y="1401124"/>
            <a:ext cx="4181211" cy="49306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pl-PL" sz="1200" b="1" err="1"/>
              <a:t>talented</a:t>
            </a:r>
            <a:r>
              <a:rPr lang="pl-PL" sz="1200" b="1" noProof="0"/>
              <a:t> </a:t>
            </a:r>
            <a:r>
              <a:rPr lang="pl-PL" sz="1200" b="1" noProof="0" err="1"/>
              <a:t>professionals</a:t>
            </a:r>
            <a:r>
              <a:rPr lang="pl-PL" sz="1200" b="1" noProof="0"/>
              <a:t> with </a:t>
            </a:r>
            <a:r>
              <a:rPr lang="pl-PL" sz="1200" b="1" noProof="0" err="1"/>
              <a:t>broad</a:t>
            </a:r>
            <a:r>
              <a:rPr lang="pl-PL" sz="1200" b="1" noProof="0"/>
              <a:t> </a:t>
            </a:r>
            <a:r>
              <a:rPr lang="pl-PL" sz="1200" b="1" noProof="0" err="1"/>
              <a:t>experience</a:t>
            </a:r>
            <a:r>
              <a:rPr lang="pl-PL" sz="1200" b="1" noProof="0"/>
              <a:t> in </a:t>
            </a:r>
            <a:r>
              <a:rPr lang="pl-PL" sz="1200" b="1" noProof="0" err="1"/>
              <a:t>Transaction</a:t>
            </a:r>
            <a:r>
              <a:rPr lang="pl-PL" sz="1200" b="1" noProof="0"/>
              <a:t> Monitoring </a:t>
            </a:r>
            <a:r>
              <a:rPr lang="pl-PL" sz="1200" b="1" noProof="0" err="1"/>
              <a:t>optimization</a:t>
            </a:r>
            <a:r>
              <a:rPr lang="pl-PL" sz="1200" b="1" noProof="0"/>
              <a:t>, and </a:t>
            </a:r>
            <a:r>
              <a:rPr lang="pl-PL" sz="1200" b="1" noProof="0" err="1"/>
              <a:t>skilled</a:t>
            </a:r>
            <a:r>
              <a:rPr lang="pl-PL" sz="1200" b="1" noProof="0"/>
              <a:t> in </a:t>
            </a:r>
            <a:r>
              <a:rPr lang="pl-PL" sz="1200" b="1" noProof="0" err="1"/>
              <a:t>main</a:t>
            </a:r>
            <a:r>
              <a:rPr lang="pl-PL" sz="1200" b="1" noProof="0"/>
              <a:t> </a:t>
            </a:r>
            <a:r>
              <a:rPr lang="pl-PL" sz="1200" b="1" noProof="0" err="1"/>
              <a:t>analytical</a:t>
            </a:r>
            <a:r>
              <a:rPr lang="pl-PL" sz="1200" b="1" noProof="0"/>
              <a:t> </a:t>
            </a:r>
            <a:r>
              <a:rPr lang="pl-PL" sz="1200" b="1" noProof="0" err="1"/>
              <a:t>technologies</a:t>
            </a:r>
            <a:r>
              <a:rPr lang="pl-PL" sz="1200" b="1" noProof="0"/>
              <a:t>.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D1590162-32E6-194A-2607-22B978911DD3}"/>
              </a:ext>
            </a:extLst>
          </p:cNvPr>
          <p:cNvGrpSpPr/>
          <p:nvPr/>
        </p:nvGrpSpPr>
        <p:grpSpPr>
          <a:xfrm>
            <a:off x="3258156" y="2107256"/>
            <a:ext cx="279609" cy="324531"/>
            <a:chOff x="3843917" y="2487381"/>
            <a:chExt cx="197685" cy="230800"/>
          </a:xfrm>
          <a:solidFill>
            <a:srgbClr val="D425C8"/>
          </a:solidFill>
        </p:grpSpPr>
        <p:sp>
          <p:nvSpPr>
            <p:cNvPr id="66" name="Arrow: Chevron 65">
              <a:extLst>
                <a:ext uri="{FF2B5EF4-FFF2-40B4-BE49-F238E27FC236}">
                  <a16:creationId xmlns:a16="http://schemas.microsoft.com/office/drawing/2014/main" id="{4C8C6B38-309E-6598-185F-AC15AEB8DC1B}"/>
                </a:ext>
              </a:extLst>
            </p:cNvPr>
            <p:cNvSpPr/>
            <p:nvPr/>
          </p:nvSpPr>
          <p:spPr>
            <a:xfrm rot="16200000">
              <a:off x="3874170" y="2598043"/>
              <a:ext cx="141920" cy="98356"/>
            </a:xfrm>
            <a:prstGeom prst="chevron">
              <a:avLst>
                <a:gd name="adj" fmla="val 18695"/>
              </a:avLst>
            </a:prstGeom>
            <a:grpFill/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67" name="Star: 32 Points 66">
              <a:extLst>
                <a:ext uri="{FF2B5EF4-FFF2-40B4-BE49-F238E27FC236}">
                  <a16:creationId xmlns:a16="http://schemas.microsoft.com/office/drawing/2014/main" id="{3D240E51-34E9-EC7A-38F8-8B1D13755904}"/>
                </a:ext>
              </a:extLst>
            </p:cNvPr>
            <p:cNvSpPr/>
            <p:nvPr/>
          </p:nvSpPr>
          <p:spPr>
            <a:xfrm>
              <a:off x="3843917" y="2487381"/>
              <a:ext cx="197685" cy="197684"/>
            </a:xfrm>
            <a:prstGeom prst="star32">
              <a:avLst>
                <a:gd name="adj" fmla="val 43754"/>
              </a:avLst>
            </a:prstGeom>
            <a:grpFill/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049A5BF5-167C-CB29-C8A7-72B75EEC0592}"/>
                </a:ext>
              </a:extLst>
            </p:cNvPr>
            <p:cNvSpPr/>
            <p:nvPr/>
          </p:nvSpPr>
          <p:spPr>
            <a:xfrm>
              <a:off x="3870792" y="2514256"/>
              <a:ext cx="143935" cy="143935"/>
            </a:xfrm>
            <a:prstGeom prst="ellipse">
              <a:avLst/>
            </a:prstGeom>
            <a:grpFill/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84" name="TextBox 83">
            <a:extLst>
              <a:ext uri="{FF2B5EF4-FFF2-40B4-BE49-F238E27FC236}">
                <a16:creationId xmlns:a16="http://schemas.microsoft.com/office/drawing/2014/main" id="{C60AAD7C-912E-8A1B-71BD-4A040D922B7B}"/>
              </a:ext>
            </a:extLst>
          </p:cNvPr>
          <p:cNvSpPr txBox="1"/>
          <p:nvPr/>
        </p:nvSpPr>
        <p:spPr>
          <a:xfrm>
            <a:off x="3604657" y="2126757"/>
            <a:ext cx="822938" cy="286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pl-PL" sz="1100" b="1" noProof="0"/>
              <a:t>SQL</a:t>
            </a: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8E9EE9BC-26D1-C7DE-9B77-44BBD74280A0}"/>
              </a:ext>
            </a:extLst>
          </p:cNvPr>
          <p:cNvGrpSpPr/>
          <p:nvPr/>
        </p:nvGrpSpPr>
        <p:grpSpPr>
          <a:xfrm>
            <a:off x="3256952" y="2430952"/>
            <a:ext cx="279609" cy="324531"/>
            <a:chOff x="3843917" y="2487381"/>
            <a:chExt cx="197685" cy="230800"/>
          </a:xfrm>
          <a:solidFill>
            <a:srgbClr val="D425C8"/>
          </a:solidFill>
        </p:grpSpPr>
        <p:sp>
          <p:nvSpPr>
            <p:cNvPr id="86" name="Arrow: Chevron 85">
              <a:extLst>
                <a:ext uri="{FF2B5EF4-FFF2-40B4-BE49-F238E27FC236}">
                  <a16:creationId xmlns:a16="http://schemas.microsoft.com/office/drawing/2014/main" id="{D1BCB724-2275-D5F5-CBD7-3EB07EC8A5F9}"/>
                </a:ext>
              </a:extLst>
            </p:cNvPr>
            <p:cNvSpPr/>
            <p:nvPr/>
          </p:nvSpPr>
          <p:spPr>
            <a:xfrm rot="16200000">
              <a:off x="3874170" y="2598043"/>
              <a:ext cx="141920" cy="98356"/>
            </a:xfrm>
            <a:prstGeom prst="chevron">
              <a:avLst>
                <a:gd name="adj" fmla="val 18695"/>
              </a:avLst>
            </a:prstGeom>
            <a:grpFill/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>
                <a:solidFill>
                  <a:schemeClr val="tx1"/>
                </a:solidFill>
              </a:endParaRPr>
            </a:p>
          </p:txBody>
        </p:sp>
        <p:sp>
          <p:nvSpPr>
            <p:cNvPr id="87" name="Star: 32 Points 86">
              <a:extLst>
                <a:ext uri="{FF2B5EF4-FFF2-40B4-BE49-F238E27FC236}">
                  <a16:creationId xmlns:a16="http://schemas.microsoft.com/office/drawing/2014/main" id="{6EEE59DC-8880-18B0-F66F-F741E9E5D7E8}"/>
                </a:ext>
              </a:extLst>
            </p:cNvPr>
            <p:cNvSpPr/>
            <p:nvPr/>
          </p:nvSpPr>
          <p:spPr>
            <a:xfrm>
              <a:off x="3843917" y="2487381"/>
              <a:ext cx="197685" cy="197684"/>
            </a:xfrm>
            <a:prstGeom prst="star32">
              <a:avLst>
                <a:gd name="adj" fmla="val 43754"/>
              </a:avLst>
            </a:prstGeom>
            <a:grpFill/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596907E1-BB8C-E98D-50B8-239C6413FDCF}"/>
                </a:ext>
              </a:extLst>
            </p:cNvPr>
            <p:cNvSpPr/>
            <p:nvPr/>
          </p:nvSpPr>
          <p:spPr>
            <a:xfrm>
              <a:off x="3870792" y="2514256"/>
              <a:ext cx="143935" cy="143935"/>
            </a:xfrm>
            <a:prstGeom prst="ellipse">
              <a:avLst/>
            </a:prstGeom>
            <a:grpFill/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</p:grpSp>
      <p:sp>
        <p:nvSpPr>
          <p:cNvPr id="89" name="TextBox 88">
            <a:extLst>
              <a:ext uri="{FF2B5EF4-FFF2-40B4-BE49-F238E27FC236}">
                <a16:creationId xmlns:a16="http://schemas.microsoft.com/office/drawing/2014/main" id="{F99A7A18-E7D4-C116-ADE8-E5601FC3E02B}"/>
              </a:ext>
            </a:extLst>
          </p:cNvPr>
          <p:cNvSpPr txBox="1"/>
          <p:nvPr/>
        </p:nvSpPr>
        <p:spPr>
          <a:xfrm>
            <a:off x="3603453" y="2450453"/>
            <a:ext cx="822938" cy="286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pl-PL" sz="1100" b="1"/>
              <a:t>SAS</a:t>
            </a:r>
            <a:endParaRPr lang="pl-PL" sz="1100" b="1" noProof="0"/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1468C721-AD3F-060A-320A-5FF2C232FC93}"/>
              </a:ext>
            </a:extLst>
          </p:cNvPr>
          <p:cNvGrpSpPr/>
          <p:nvPr/>
        </p:nvGrpSpPr>
        <p:grpSpPr>
          <a:xfrm>
            <a:off x="4154831" y="2100321"/>
            <a:ext cx="279609" cy="324531"/>
            <a:chOff x="3843917" y="2487381"/>
            <a:chExt cx="197685" cy="230800"/>
          </a:xfrm>
          <a:solidFill>
            <a:srgbClr val="D425C8"/>
          </a:solidFill>
        </p:grpSpPr>
        <p:sp>
          <p:nvSpPr>
            <p:cNvPr id="91" name="Arrow: Chevron 90">
              <a:extLst>
                <a:ext uri="{FF2B5EF4-FFF2-40B4-BE49-F238E27FC236}">
                  <a16:creationId xmlns:a16="http://schemas.microsoft.com/office/drawing/2014/main" id="{45CA44BE-FE9A-F5AD-CCAF-53FF9D2FF69A}"/>
                </a:ext>
              </a:extLst>
            </p:cNvPr>
            <p:cNvSpPr/>
            <p:nvPr/>
          </p:nvSpPr>
          <p:spPr>
            <a:xfrm rot="16200000">
              <a:off x="3874170" y="2598043"/>
              <a:ext cx="141920" cy="98356"/>
            </a:xfrm>
            <a:prstGeom prst="chevron">
              <a:avLst>
                <a:gd name="adj" fmla="val 18695"/>
              </a:avLst>
            </a:prstGeom>
            <a:grpFill/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92" name="Star: 32 Points 91">
              <a:extLst>
                <a:ext uri="{FF2B5EF4-FFF2-40B4-BE49-F238E27FC236}">
                  <a16:creationId xmlns:a16="http://schemas.microsoft.com/office/drawing/2014/main" id="{E5442CA8-C971-CD2A-FA37-7119DFE5E933}"/>
                </a:ext>
              </a:extLst>
            </p:cNvPr>
            <p:cNvSpPr/>
            <p:nvPr/>
          </p:nvSpPr>
          <p:spPr>
            <a:xfrm>
              <a:off x="3843917" y="2487381"/>
              <a:ext cx="197685" cy="197684"/>
            </a:xfrm>
            <a:prstGeom prst="star32">
              <a:avLst>
                <a:gd name="adj" fmla="val 43754"/>
              </a:avLst>
            </a:prstGeom>
            <a:grpFill/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10DF1BCF-3A25-51BE-4923-96B06A1DABF0}"/>
                </a:ext>
              </a:extLst>
            </p:cNvPr>
            <p:cNvSpPr/>
            <p:nvPr/>
          </p:nvSpPr>
          <p:spPr>
            <a:xfrm>
              <a:off x="3870792" y="2514256"/>
              <a:ext cx="143935" cy="143935"/>
            </a:xfrm>
            <a:prstGeom prst="ellipse">
              <a:avLst/>
            </a:prstGeom>
            <a:grpFill/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94" name="TextBox 93">
            <a:extLst>
              <a:ext uri="{FF2B5EF4-FFF2-40B4-BE49-F238E27FC236}">
                <a16:creationId xmlns:a16="http://schemas.microsoft.com/office/drawing/2014/main" id="{D59CC0FF-DF4B-5B2B-98E8-4BC07C7554EC}"/>
              </a:ext>
            </a:extLst>
          </p:cNvPr>
          <p:cNvSpPr txBox="1"/>
          <p:nvPr/>
        </p:nvSpPr>
        <p:spPr>
          <a:xfrm>
            <a:off x="4493283" y="2118368"/>
            <a:ext cx="822938" cy="286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pl-PL" sz="1100" b="1"/>
              <a:t>Python</a:t>
            </a:r>
            <a:endParaRPr lang="pl-PL" sz="1100" b="1" noProof="0"/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B12147EB-1DF0-38B9-D8A3-6150D79C0A78}"/>
              </a:ext>
            </a:extLst>
          </p:cNvPr>
          <p:cNvGrpSpPr/>
          <p:nvPr/>
        </p:nvGrpSpPr>
        <p:grpSpPr>
          <a:xfrm>
            <a:off x="4146782" y="2441282"/>
            <a:ext cx="279609" cy="324531"/>
            <a:chOff x="3843917" y="2487381"/>
            <a:chExt cx="197685" cy="230800"/>
          </a:xfrm>
          <a:solidFill>
            <a:srgbClr val="D425C8"/>
          </a:solidFill>
        </p:grpSpPr>
        <p:sp>
          <p:nvSpPr>
            <p:cNvPr id="96" name="Arrow: Chevron 95">
              <a:extLst>
                <a:ext uri="{FF2B5EF4-FFF2-40B4-BE49-F238E27FC236}">
                  <a16:creationId xmlns:a16="http://schemas.microsoft.com/office/drawing/2014/main" id="{ED3C055A-0AA3-7472-1A21-4FE444D03BDC}"/>
                </a:ext>
              </a:extLst>
            </p:cNvPr>
            <p:cNvSpPr/>
            <p:nvPr/>
          </p:nvSpPr>
          <p:spPr>
            <a:xfrm rot="16200000">
              <a:off x="3874170" y="2598043"/>
              <a:ext cx="141920" cy="98356"/>
            </a:xfrm>
            <a:prstGeom prst="chevron">
              <a:avLst>
                <a:gd name="adj" fmla="val 18695"/>
              </a:avLst>
            </a:prstGeom>
            <a:grpFill/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97" name="Star: 32 Points 96">
              <a:extLst>
                <a:ext uri="{FF2B5EF4-FFF2-40B4-BE49-F238E27FC236}">
                  <a16:creationId xmlns:a16="http://schemas.microsoft.com/office/drawing/2014/main" id="{DFFB0685-041B-FADF-F8B9-6BC55350BBC3}"/>
                </a:ext>
              </a:extLst>
            </p:cNvPr>
            <p:cNvSpPr/>
            <p:nvPr/>
          </p:nvSpPr>
          <p:spPr>
            <a:xfrm>
              <a:off x="3843917" y="2487381"/>
              <a:ext cx="197685" cy="197684"/>
            </a:xfrm>
            <a:prstGeom prst="star32">
              <a:avLst>
                <a:gd name="adj" fmla="val 43754"/>
              </a:avLst>
            </a:prstGeom>
            <a:grpFill/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1BA79CC2-9379-0C98-C1B1-4422288C019C}"/>
                </a:ext>
              </a:extLst>
            </p:cNvPr>
            <p:cNvSpPr/>
            <p:nvPr/>
          </p:nvSpPr>
          <p:spPr>
            <a:xfrm>
              <a:off x="3870792" y="2514256"/>
              <a:ext cx="143935" cy="143935"/>
            </a:xfrm>
            <a:prstGeom prst="ellipse">
              <a:avLst/>
            </a:prstGeom>
            <a:grpFill/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8575D333-8AC3-A673-927A-933F3C7D86E4}"/>
              </a:ext>
            </a:extLst>
          </p:cNvPr>
          <p:cNvSpPr txBox="1"/>
          <p:nvPr/>
        </p:nvSpPr>
        <p:spPr>
          <a:xfrm>
            <a:off x="4493283" y="2460783"/>
            <a:ext cx="822938" cy="286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pl-PL" sz="1100" b="1"/>
              <a:t>Cloud</a:t>
            </a:r>
            <a:endParaRPr lang="pl-PL" sz="1100" b="1" noProof="0"/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1135B53F-9932-B281-75E9-6C4117A9094F}"/>
              </a:ext>
            </a:extLst>
          </p:cNvPr>
          <p:cNvGrpSpPr>
            <a:grpSpLocks/>
          </p:cNvGrpSpPr>
          <p:nvPr/>
        </p:nvGrpSpPr>
        <p:grpSpPr>
          <a:xfrm>
            <a:off x="470827" y="2261493"/>
            <a:ext cx="2103716" cy="1070004"/>
            <a:chOff x="790228" y="3771408"/>
            <a:chExt cx="1300791" cy="1167623"/>
          </a:xfrm>
        </p:grpSpPr>
        <p:sp>
          <p:nvSpPr>
            <p:cNvPr id="107" name="Arrow: Pentagon 106">
              <a:extLst>
                <a:ext uri="{FF2B5EF4-FFF2-40B4-BE49-F238E27FC236}">
                  <a16:creationId xmlns:a16="http://schemas.microsoft.com/office/drawing/2014/main" id="{E9865515-3C99-7050-A45C-1248FE22EA27}"/>
                </a:ext>
              </a:extLst>
            </p:cNvPr>
            <p:cNvSpPr/>
            <p:nvPr/>
          </p:nvSpPr>
          <p:spPr>
            <a:xfrm>
              <a:off x="790253" y="4723031"/>
              <a:ext cx="1017992" cy="216000"/>
            </a:xfrm>
            <a:prstGeom prst="homePlate">
              <a:avLst/>
            </a:prstGeom>
            <a:solidFill>
              <a:srgbClr val="F0AA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A</a:t>
              </a:r>
            </a:p>
          </p:txBody>
        </p:sp>
        <p:sp>
          <p:nvSpPr>
            <p:cNvPr id="108" name="Arrow: Pentagon 107">
              <a:extLst>
                <a:ext uri="{FF2B5EF4-FFF2-40B4-BE49-F238E27FC236}">
                  <a16:creationId xmlns:a16="http://schemas.microsoft.com/office/drawing/2014/main" id="{5645295A-6BEF-146C-2426-F612ADF4EA9F}"/>
                </a:ext>
              </a:extLst>
            </p:cNvPr>
            <p:cNvSpPr/>
            <p:nvPr/>
          </p:nvSpPr>
          <p:spPr>
            <a:xfrm>
              <a:off x="790251" y="4488330"/>
              <a:ext cx="1300768" cy="216000"/>
            </a:xfrm>
            <a:prstGeom prst="homePlate">
              <a:avLst/>
            </a:prstGeom>
            <a:solidFill>
              <a:srgbClr val="EA86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C</a:t>
              </a:r>
            </a:p>
          </p:txBody>
        </p:sp>
        <p:sp>
          <p:nvSpPr>
            <p:cNvPr id="109" name="Arrow: Pentagon 108">
              <a:extLst>
                <a:ext uri="{FF2B5EF4-FFF2-40B4-BE49-F238E27FC236}">
                  <a16:creationId xmlns:a16="http://schemas.microsoft.com/office/drawing/2014/main" id="{5AE67CEB-477D-AF54-726F-01FC9F39B9C4}"/>
                </a:ext>
              </a:extLst>
            </p:cNvPr>
            <p:cNvSpPr/>
            <p:nvPr/>
          </p:nvSpPr>
          <p:spPr>
            <a:xfrm>
              <a:off x="790252" y="4240810"/>
              <a:ext cx="1093398" cy="228819"/>
            </a:xfrm>
            <a:prstGeom prst="homePlate">
              <a:avLst/>
            </a:prstGeom>
            <a:solidFill>
              <a:srgbClr val="E56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M</a:t>
              </a:r>
              <a:r>
                <a:rPr kumimoji="0" lang="pl-PL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/AM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10" name="Arrow: Pentagon 109">
              <a:extLst>
                <a:ext uri="{FF2B5EF4-FFF2-40B4-BE49-F238E27FC236}">
                  <a16:creationId xmlns:a16="http://schemas.microsoft.com/office/drawing/2014/main" id="{43344780-96BA-C111-CEBD-EA97E463A0D0}"/>
                </a:ext>
              </a:extLst>
            </p:cNvPr>
            <p:cNvSpPr/>
            <p:nvPr/>
          </p:nvSpPr>
          <p:spPr>
            <a:xfrm>
              <a:off x="790234" y="4006109"/>
              <a:ext cx="358182" cy="216000"/>
            </a:xfrm>
            <a:prstGeom prst="homePlate">
              <a:avLst/>
            </a:prstGeom>
            <a:solidFill>
              <a:srgbClr val="E151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D/SM</a:t>
              </a:r>
              <a:r>
                <a:rPr lang="en-US" sz="1200">
                  <a:solidFill>
                    <a:srgbClr val="FFFFFF"/>
                  </a:solidFill>
                  <a:latin typeface="Graphik"/>
                </a:rPr>
                <a:t>        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11" name="Arrow: Pentagon 110">
              <a:extLst>
                <a:ext uri="{FF2B5EF4-FFF2-40B4-BE49-F238E27FC236}">
                  <a16:creationId xmlns:a16="http://schemas.microsoft.com/office/drawing/2014/main" id="{215637DA-37D6-A908-49BE-8EEF12C937DF}"/>
                </a:ext>
              </a:extLst>
            </p:cNvPr>
            <p:cNvSpPr/>
            <p:nvPr/>
          </p:nvSpPr>
          <p:spPr>
            <a:xfrm>
              <a:off x="790228" y="3771408"/>
              <a:ext cx="358182" cy="216000"/>
            </a:xfrm>
            <a:prstGeom prst="homePlate">
              <a:avLst/>
            </a:prstGeom>
            <a:solidFill>
              <a:srgbClr val="D425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MD</a:t>
              </a: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AD21D642-CF38-375F-8AB6-F8E032B1F31B}"/>
              </a:ext>
            </a:extLst>
          </p:cNvPr>
          <p:cNvGrpSpPr/>
          <p:nvPr/>
        </p:nvGrpSpPr>
        <p:grpSpPr>
          <a:xfrm>
            <a:off x="3261648" y="2822655"/>
            <a:ext cx="279609" cy="324531"/>
            <a:chOff x="3843917" y="2487381"/>
            <a:chExt cx="197685" cy="230800"/>
          </a:xfrm>
          <a:solidFill>
            <a:srgbClr val="D425C8"/>
          </a:solidFill>
        </p:grpSpPr>
        <p:sp>
          <p:nvSpPr>
            <p:cNvPr id="113" name="Arrow: Chevron 112">
              <a:extLst>
                <a:ext uri="{FF2B5EF4-FFF2-40B4-BE49-F238E27FC236}">
                  <a16:creationId xmlns:a16="http://schemas.microsoft.com/office/drawing/2014/main" id="{EC8B5431-996F-81AE-52BC-4EE394A184B5}"/>
                </a:ext>
              </a:extLst>
            </p:cNvPr>
            <p:cNvSpPr/>
            <p:nvPr/>
          </p:nvSpPr>
          <p:spPr>
            <a:xfrm rot="16200000">
              <a:off x="3874170" y="2598043"/>
              <a:ext cx="141920" cy="98356"/>
            </a:xfrm>
            <a:prstGeom prst="chevron">
              <a:avLst>
                <a:gd name="adj" fmla="val 18695"/>
              </a:avLst>
            </a:prstGeom>
            <a:grpFill/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>
                <a:solidFill>
                  <a:schemeClr val="tx1"/>
                </a:solidFill>
              </a:endParaRPr>
            </a:p>
          </p:txBody>
        </p:sp>
        <p:sp>
          <p:nvSpPr>
            <p:cNvPr id="114" name="Star: 32 Points 113">
              <a:extLst>
                <a:ext uri="{FF2B5EF4-FFF2-40B4-BE49-F238E27FC236}">
                  <a16:creationId xmlns:a16="http://schemas.microsoft.com/office/drawing/2014/main" id="{BD05C9F6-15F4-2476-4FC1-F5B7DF9A609E}"/>
                </a:ext>
              </a:extLst>
            </p:cNvPr>
            <p:cNvSpPr/>
            <p:nvPr/>
          </p:nvSpPr>
          <p:spPr>
            <a:xfrm>
              <a:off x="3843917" y="2487381"/>
              <a:ext cx="197685" cy="197684"/>
            </a:xfrm>
            <a:prstGeom prst="star32">
              <a:avLst>
                <a:gd name="adj" fmla="val 43754"/>
              </a:avLst>
            </a:prstGeom>
            <a:grpFill/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C60E4FA2-B1CE-9795-0CDE-50ECE879F9A1}"/>
                </a:ext>
              </a:extLst>
            </p:cNvPr>
            <p:cNvSpPr/>
            <p:nvPr/>
          </p:nvSpPr>
          <p:spPr>
            <a:xfrm>
              <a:off x="3870792" y="2514256"/>
              <a:ext cx="143935" cy="143935"/>
            </a:xfrm>
            <a:prstGeom prst="ellipse">
              <a:avLst/>
            </a:prstGeom>
            <a:grpFill/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</p:grpSp>
      <p:sp>
        <p:nvSpPr>
          <p:cNvPr id="116" name="TextBox 115">
            <a:extLst>
              <a:ext uri="{FF2B5EF4-FFF2-40B4-BE49-F238E27FC236}">
                <a16:creationId xmlns:a16="http://schemas.microsoft.com/office/drawing/2014/main" id="{AD8B7E20-F2AE-1A94-81E2-52B87C3B47B6}"/>
              </a:ext>
            </a:extLst>
          </p:cNvPr>
          <p:cNvSpPr txBox="1"/>
          <p:nvPr/>
        </p:nvSpPr>
        <p:spPr>
          <a:xfrm>
            <a:off x="3608149" y="2842156"/>
            <a:ext cx="822938" cy="286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pl-PL" sz="1100" b="1"/>
              <a:t>Spark</a:t>
            </a:r>
            <a:endParaRPr lang="pl-PL" sz="1100" b="1" noProof="0"/>
          </a:p>
        </p:txBody>
      </p: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DDF2A6A3-AA3B-EC7D-649E-C88996DB773B}"/>
              </a:ext>
            </a:extLst>
          </p:cNvPr>
          <p:cNvGrpSpPr/>
          <p:nvPr/>
        </p:nvGrpSpPr>
        <p:grpSpPr>
          <a:xfrm>
            <a:off x="4151478" y="2832985"/>
            <a:ext cx="279609" cy="324531"/>
            <a:chOff x="3843917" y="2487381"/>
            <a:chExt cx="197685" cy="230800"/>
          </a:xfrm>
          <a:solidFill>
            <a:srgbClr val="D425C8"/>
          </a:solidFill>
        </p:grpSpPr>
        <p:sp>
          <p:nvSpPr>
            <p:cNvPr id="118" name="Arrow: Chevron 117">
              <a:extLst>
                <a:ext uri="{FF2B5EF4-FFF2-40B4-BE49-F238E27FC236}">
                  <a16:creationId xmlns:a16="http://schemas.microsoft.com/office/drawing/2014/main" id="{E8F3B8A0-DE40-B1B2-9E47-FAAD3EDB14B0}"/>
                </a:ext>
              </a:extLst>
            </p:cNvPr>
            <p:cNvSpPr/>
            <p:nvPr/>
          </p:nvSpPr>
          <p:spPr>
            <a:xfrm rot="16200000">
              <a:off x="3874170" y="2598043"/>
              <a:ext cx="141920" cy="98356"/>
            </a:xfrm>
            <a:prstGeom prst="chevron">
              <a:avLst>
                <a:gd name="adj" fmla="val 18695"/>
              </a:avLst>
            </a:prstGeom>
            <a:grpFill/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19" name="Star: 32 Points 118">
              <a:extLst>
                <a:ext uri="{FF2B5EF4-FFF2-40B4-BE49-F238E27FC236}">
                  <a16:creationId xmlns:a16="http://schemas.microsoft.com/office/drawing/2014/main" id="{D8C14797-C18A-59F1-5476-09A2DAF03806}"/>
                </a:ext>
              </a:extLst>
            </p:cNvPr>
            <p:cNvSpPr/>
            <p:nvPr/>
          </p:nvSpPr>
          <p:spPr>
            <a:xfrm>
              <a:off x="3843917" y="2487381"/>
              <a:ext cx="197685" cy="197684"/>
            </a:xfrm>
            <a:prstGeom prst="star32">
              <a:avLst>
                <a:gd name="adj" fmla="val 43754"/>
              </a:avLst>
            </a:prstGeom>
            <a:grpFill/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C94F31F2-D69E-309D-DED3-CD6D33F2C520}"/>
                </a:ext>
              </a:extLst>
            </p:cNvPr>
            <p:cNvSpPr/>
            <p:nvPr/>
          </p:nvSpPr>
          <p:spPr>
            <a:xfrm>
              <a:off x="3870792" y="2514256"/>
              <a:ext cx="143935" cy="143935"/>
            </a:xfrm>
            <a:prstGeom prst="ellipse">
              <a:avLst/>
            </a:prstGeom>
            <a:grpFill/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21" name="TextBox 120">
            <a:extLst>
              <a:ext uri="{FF2B5EF4-FFF2-40B4-BE49-F238E27FC236}">
                <a16:creationId xmlns:a16="http://schemas.microsoft.com/office/drawing/2014/main" id="{50EA1321-F59F-A4AC-660C-1AC78E2C1A2B}"/>
              </a:ext>
            </a:extLst>
          </p:cNvPr>
          <p:cNvSpPr txBox="1"/>
          <p:nvPr/>
        </p:nvSpPr>
        <p:spPr>
          <a:xfrm>
            <a:off x="4497979" y="2852486"/>
            <a:ext cx="822938" cy="286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pl-PL" sz="1100" b="1"/>
              <a:t>Hadoop</a:t>
            </a:r>
            <a:endParaRPr lang="pl-PL" sz="1100" b="1" noProof="0"/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948202AF-1ED2-FCB7-D2AA-6D7EFC03D08A}"/>
              </a:ext>
            </a:extLst>
          </p:cNvPr>
          <p:cNvSpPr/>
          <p:nvPr/>
        </p:nvSpPr>
        <p:spPr>
          <a:xfrm>
            <a:off x="11329129" y="146764"/>
            <a:ext cx="704850" cy="3429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pl-PL"/>
              <a:t>JM</a:t>
            </a:r>
          </a:p>
        </p:txBody>
      </p:sp>
      <p:sp>
        <p:nvSpPr>
          <p:cNvPr id="1025" name="Content Placeholder 3">
            <a:extLst>
              <a:ext uri="{FF2B5EF4-FFF2-40B4-BE49-F238E27FC236}">
                <a16:creationId xmlns:a16="http://schemas.microsoft.com/office/drawing/2014/main" id="{3E7B8531-117C-BDFE-D91B-1418F221CF9A}"/>
              </a:ext>
            </a:extLst>
          </p:cNvPr>
          <p:cNvSpPr txBox="1">
            <a:spLocks/>
          </p:cNvSpPr>
          <p:nvPr/>
        </p:nvSpPr>
        <p:spPr bwMode="auto">
          <a:xfrm>
            <a:off x="401875" y="4429921"/>
            <a:ext cx="1660866" cy="1615194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>
                <a:lumMod val="65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3960" tIns="107919" rIns="26980" bIns="0"/>
          <a:lstStyle>
            <a:lvl1pPr marL="171450" indent="-171450" algn="l" defTabSz="7016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7016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536575" indent="-169863" algn="l" defTabSz="7016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714375" indent="-169863" algn="l" defTabSz="7016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000">
                <a:solidFill>
                  <a:schemeClr val="tx1"/>
                </a:solidFill>
                <a:latin typeface="+mn-lt"/>
                <a:cs typeface="+mn-cs"/>
              </a:defRPr>
            </a:lvl4pPr>
            <a:lvl5pPr marL="890588" indent="-169863" algn="l" defTabSz="90805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+mn-lt"/>
                <a:cs typeface="+mn-cs"/>
              </a:defRPr>
            </a:lvl5pPr>
            <a:lvl6pPr marL="1206951" indent="-166197" algn="l" defTabSz="867061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700">
                <a:solidFill>
                  <a:schemeClr val="tx1"/>
                </a:solidFill>
                <a:latin typeface="+mn-lt"/>
                <a:cs typeface="+mn-cs"/>
              </a:defRPr>
            </a:lvl6pPr>
            <a:lvl7pPr marL="1564218" indent="-166197" algn="l" defTabSz="867061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700">
                <a:solidFill>
                  <a:schemeClr val="tx1"/>
                </a:solidFill>
                <a:latin typeface="+mn-lt"/>
                <a:cs typeface="+mn-cs"/>
              </a:defRPr>
            </a:lvl7pPr>
            <a:lvl8pPr marL="1921462" indent="-166197" algn="l" defTabSz="867061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700">
                <a:solidFill>
                  <a:schemeClr val="tx1"/>
                </a:solidFill>
                <a:latin typeface="+mn-lt"/>
                <a:cs typeface="+mn-cs"/>
              </a:defRPr>
            </a:lvl8pPr>
            <a:lvl9pPr marL="2278731" indent="-166197" algn="l" defTabSz="867061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7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525800" rtl="0" eaLnBrk="1" fontAlgn="base" latinLnBrk="0" hangingPunct="1">
              <a:lnSpc>
                <a:spcPct val="100000"/>
              </a:lnSpc>
              <a:spcBef>
                <a:spcPts val="451"/>
              </a:spcBef>
              <a:spcAft>
                <a:spcPct val="0"/>
              </a:spcAft>
              <a:buClr>
                <a:srgbClr val="FF0000"/>
              </a:buClr>
              <a:buSzTx/>
              <a:buFont typeface="Symbol" pitchFamily="18" charset="2"/>
              <a:buNone/>
              <a:tabLst/>
              <a:defRPr/>
            </a:pPr>
            <a:endParaRPr kumimoji="0" lang="en-GB" altLang="en-US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Arial"/>
            </a:endParaRPr>
          </a:p>
        </p:txBody>
      </p:sp>
      <p:sp>
        <p:nvSpPr>
          <p:cNvPr id="1026" name="Text Placeholder 5">
            <a:extLst>
              <a:ext uri="{FF2B5EF4-FFF2-40B4-BE49-F238E27FC236}">
                <a16:creationId xmlns:a16="http://schemas.microsoft.com/office/drawing/2014/main" id="{4EE0572D-BA31-6EDD-4DF0-7CA50A620A35}"/>
              </a:ext>
            </a:extLst>
          </p:cNvPr>
          <p:cNvSpPr txBox="1">
            <a:spLocks/>
          </p:cNvSpPr>
          <p:nvPr/>
        </p:nvSpPr>
        <p:spPr bwMode="auto">
          <a:xfrm>
            <a:off x="401874" y="4145749"/>
            <a:ext cx="1660866" cy="279348"/>
          </a:xfrm>
          <a:prstGeom prst="rect">
            <a:avLst/>
          </a:prstGeom>
          <a:gradFill flip="none" rotWithShape="1">
            <a:gsLst>
              <a:gs pos="0">
                <a:srgbClr val="F0B7FB">
                  <a:shade val="30000"/>
                  <a:satMod val="115000"/>
                </a:srgbClr>
              </a:gs>
              <a:gs pos="50000">
                <a:srgbClr val="F0B7FB">
                  <a:shade val="67500"/>
                  <a:satMod val="115000"/>
                </a:srgbClr>
              </a:gs>
              <a:gs pos="100000">
                <a:srgbClr val="F0B7FB">
                  <a:shade val="100000"/>
                  <a:satMod val="115000"/>
                </a:srgbClr>
              </a:gs>
            </a:gsLst>
            <a:lin ang="8100000" scaled="1"/>
            <a:tileRect/>
          </a:gradFill>
          <a:ln w="9525" cap="flat" cmpd="sng" algn="ctr">
            <a:solidFill>
              <a:schemeClr val="accent3">
                <a:lumMod val="20000"/>
                <a:lumOff val="80000"/>
              </a:schemeClr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algn="ctr" defTabSz="685783">
              <a:defRPr sz="900" b="1" kern="0">
                <a:solidFill>
                  <a:srgbClr val="FFFFFF"/>
                </a:solidFill>
                <a:latin typeface="Arial" panose="020B0604020202020204"/>
              </a:defRPr>
            </a:lvl1pPr>
            <a:lvl2pPr marL="538163" indent="-274638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803275" indent="-265113">
              <a:spcBef>
                <a:spcPct val="20000"/>
              </a:spcBef>
              <a:buClr>
                <a:schemeClr val="tx2"/>
              </a:buClr>
              <a:buChar char="–"/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076325" indent="-273050">
              <a:spcBef>
                <a:spcPct val="20000"/>
              </a:spcBef>
              <a:buClr>
                <a:schemeClr val="tx2"/>
              </a:buClr>
              <a:buChar char="–"/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341438" indent="-265113">
              <a:spcBef>
                <a:spcPct val="20000"/>
              </a:spcBef>
              <a:buClr>
                <a:schemeClr val="tx2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798638" indent="-2651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255838" indent="-2651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713038" indent="-2651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170238" indent="-2651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5143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TRADITIONAL</a:t>
            </a:r>
          </a:p>
        </p:txBody>
      </p:sp>
      <p:sp>
        <p:nvSpPr>
          <p:cNvPr id="1027" name="Rectangle 1026">
            <a:extLst>
              <a:ext uri="{FF2B5EF4-FFF2-40B4-BE49-F238E27FC236}">
                <a16:creationId xmlns:a16="http://schemas.microsoft.com/office/drawing/2014/main" id="{C848F8A0-5A35-5167-3DFD-F8EE8C916F51}"/>
              </a:ext>
            </a:extLst>
          </p:cNvPr>
          <p:cNvSpPr/>
          <p:nvPr/>
        </p:nvSpPr>
        <p:spPr>
          <a:xfrm>
            <a:off x="428508" y="4502432"/>
            <a:ext cx="1597934" cy="1308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6852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pl-PL" sz="800" b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cenario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 optimization </a:t>
            </a:r>
            <a:r>
              <a:rPr kumimoji="0" lang="en-GB" sz="8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performed</a:t>
            </a:r>
            <a:r>
              <a:rPr lang="pl-PL" sz="80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in 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standardized and successful</a:t>
            </a:r>
            <a:r>
              <a:rPr lang="en-GB" sz="800" b="1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y</a:t>
            </a:r>
            <a:r>
              <a:rPr lang="en-GB" sz="800" b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emonstrated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 way</a:t>
            </a:r>
            <a:endParaRPr kumimoji="0" lang="en-GB" sz="8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defTabSz="685223" fontAlgn="base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/>
            </a:pPr>
            <a:r>
              <a:rPr kumimoji="0" lang="pl-PL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Initial 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Threshold Setting</a:t>
            </a:r>
            <a:endParaRPr lang="en-GB" sz="800"/>
          </a:p>
          <a:p>
            <a:pPr marL="171450" marR="0" lvl="0" indent="-171450" algn="l" defTabSz="6852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800" b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cenario Tuning</a:t>
            </a:r>
            <a:r>
              <a:rPr lang="pl-PL" sz="800" b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171450" marR="0" lvl="0" indent="-171450" algn="l" defTabSz="6852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Segmentation Analysis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31" name="Rectangle 1030">
            <a:extLst>
              <a:ext uri="{FF2B5EF4-FFF2-40B4-BE49-F238E27FC236}">
                <a16:creationId xmlns:a16="http://schemas.microsoft.com/office/drawing/2014/main" id="{FE65D1B8-A8EF-256A-3B2C-00E82D80E85A}"/>
              </a:ext>
            </a:extLst>
          </p:cNvPr>
          <p:cNvSpPr/>
          <p:nvPr/>
        </p:nvSpPr>
        <p:spPr>
          <a:xfrm>
            <a:off x="2192227" y="4517651"/>
            <a:ext cx="1600444" cy="10080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6852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Narrative Generation</a:t>
            </a:r>
            <a:endParaRPr kumimoji="0" lang="pl-PL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marR="0" lvl="0" indent="-171450" algn="l" defTabSz="6852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Decision Trees </a:t>
            </a:r>
            <a:endParaRPr kumimoji="0" lang="pl-PL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marR="0" lvl="0" indent="-171450" algn="l" defTabSz="6852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ata Feedback Led Tuning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171450" indent="-171450" defTabSz="685223" fontAlgn="base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egression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171450" indent="-171450" defTabSz="685223" fontAlgn="base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ntity Resolution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128479" marR="0" lvl="0" indent="-128479" algn="l" defTabSz="6852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32" name="Content Placeholder 3">
            <a:extLst>
              <a:ext uri="{FF2B5EF4-FFF2-40B4-BE49-F238E27FC236}">
                <a16:creationId xmlns:a16="http://schemas.microsoft.com/office/drawing/2014/main" id="{F360E5C4-44C6-AC93-A9AE-BA868987D058}"/>
              </a:ext>
            </a:extLst>
          </p:cNvPr>
          <p:cNvSpPr txBox="1">
            <a:spLocks/>
          </p:cNvSpPr>
          <p:nvPr/>
        </p:nvSpPr>
        <p:spPr bwMode="auto">
          <a:xfrm>
            <a:off x="3965005" y="4433827"/>
            <a:ext cx="1659600" cy="1616400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>
                <a:lumMod val="65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3960" tIns="107919" rIns="26980" bIns="0"/>
          <a:lstStyle>
            <a:lvl1pPr marL="171450" indent="-171450" algn="l" defTabSz="7016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7016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536575" indent="-169863" algn="l" defTabSz="7016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714375" indent="-169863" algn="l" defTabSz="7016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000">
                <a:solidFill>
                  <a:schemeClr val="tx1"/>
                </a:solidFill>
                <a:latin typeface="+mn-lt"/>
                <a:cs typeface="+mn-cs"/>
              </a:defRPr>
            </a:lvl4pPr>
            <a:lvl5pPr marL="890588" indent="-169863" algn="l" defTabSz="90805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+mn-lt"/>
                <a:cs typeface="+mn-cs"/>
              </a:defRPr>
            </a:lvl5pPr>
            <a:lvl6pPr marL="1206951" indent="-166197" algn="l" defTabSz="867061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700">
                <a:solidFill>
                  <a:schemeClr val="tx1"/>
                </a:solidFill>
                <a:latin typeface="+mn-lt"/>
                <a:cs typeface="+mn-cs"/>
              </a:defRPr>
            </a:lvl6pPr>
            <a:lvl7pPr marL="1564218" indent="-166197" algn="l" defTabSz="867061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700">
                <a:solidFill>
                  <a:schemeClr val="tx1"/>
                </a:solidFill>
                <a:latin typeface="+mn-lt"/>
                <a:cs typeface="+mn-cs"/>
              </a:defRPr>
            </a:lvl7pPr>
            <a:lvl8pPr marL="1921462" indent="-166197" algn="l" defTabSz="867061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700">
                <a:solidFill>
                  <a:schemeClr val="tx1"/>
                </a:solidFill>
                <a:latin typeface="+mn-lt"/>
                <a:cs typeface="+mn-cs"/>
              </a:defRPr>
            </a:lvl8pPr>
            <a:lvl9pPr marL="2278731" indent="-166197" algn="l" defTabSz="867061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7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525800" rtl="0" eaLnBrk="1" fontAlgn="base" latinLnBrk="0" hangingPunct="1">
              <a:lnSpc>
                <a:spcPct val="100000"/>
              </a:lnSpc>
              <a:spcBef>
                <a:spcPts val="451"/>
              </a:spcBef>
              <a:spcAft>
                <a:spcPct val="0"/>
              </a:spcAft>
              <a:buClr>
                <a:srgbClr val="FF0000"/>
              </a:buClr>
              <a:buSzTx/>
              <a:buFont typeface="Symbol" pitchFamily="18" charset="2"/>
              <a:buNone/>
              <a:tabLst/>
              <a:defRPr/>
            </a:pPr>
            <a:endParaRPr kumimoji="0" lang="en-GB" altLang="en-US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Arial"/>
            </a:endParaRPr>
          </a:p>
        </p:txBody>
      </p:sp>
      <p:sp>
        <p:nvSpPr>
          <p:cNvPr id="1033" name="Text Placeholder 5">
            <a:extLst>
              <a:ext uri="{FF2B5EF4-FFF2-40B4-BE49-F238E27FC236}">
                <a16:creationId xmlns:a16="http://schemas.microsoft.com/office/drawing/2014/main" id="{35D62320-8A1B-1D08-466D-25899862E8A6}"/>
              </a:ext>
            </a:extLst>
          </p:cNvPr>
          <p:cNvSpPr txBox="1">
            <a:spLocks/>
          </p:cNvSpPr>
          <p:nvPr/>
        </p:nvSpPr>
        <p:spPr bwMode="auto">
          <a:xfrm>
            <a:off x="3965009" y="4144582"/>
            <a:ext cx="1659600" cy="279346"/>
          </a:xfrm>
          <a:prstGeom prst="rect">
            <a:avLst/>
          </a:prstGeom>
          <a:gradFill flip="none" rotWithShape="1">
            <a:gsLst>
              <a:gs pos="0">
                <a:srgbClr val="9509B2">
                  <a:shade val="30000"/>
                  <a:satMod val="115000"/>
                </a:srgbClr>
              </a:gs>
              <a:gs pos="50000">
                <a:srgbClr val="9509B2">
                  <a:shade val="67500"/>
                  <a:satMod val="115000"/>
                </a:srgbClr>
              </a:gs>
              <a:gs pos="100000">
                <a:srgbClr val="9509B2">
                  <a:shade val="100000"/>
                  <a:satMod val="115000"/>
                </a:srgbClr>
              </a:gs>
            </a:gsLst>
            <a:lin ang="8100000" scaled="1"/>
            <a:tileRect/>
          </a:gradFill>
          <a:ln w="9525" cap="flat" cmpd="sng" algn="ctr">
            <a:solidFill>
              <a:srgbClr val="9509B2"/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algn="ctr" defTabSz="685783">
              <a:defRPr sz="900" b="1" kern="0">
                <a:solidFill>
                  <a:srgbClr val="FFFFFF"/>
                </a:solidFill>
                <a:latin typeface="Arial" panose="020B0604020202020204"/>
              </a:defRPr>
            </a:lvl1pPr>
            <a:lvl2pPr marL="538163" indent="-274638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803275" indent="-265113">
              <a:spcBef>
                <a:spcPct val="20000"/>
              </a:spcBef>
              <a:buClr>
                <a:schemeClr val="tx2"/>
              </a:buClr>
              <a:buChar char="–"/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076325" indent="-273050">
              <a:spcBef>
                <a:spcPct val="20000"/>
              </a:spcBef>
              <a:buClr>
                <a:schemeClr val="tx2"/>
              </a:buClr>
              <a:buChar char="–"/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341438" indent="-265113">
              <a:spcBef>
                <a:spcPct val="20000"/>
              </a:spcBef>
              <a:buClr>
                <a:schemeClr val="tx2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798638" indent="-2651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255838" indent="-2651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713038" indent="-2651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170238" indent="-2651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5143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800">
                <a:latin typeface="+mn-lt"/>
              </a:rPr>
              <a:t>INTELLIGENT </a:t>
            </a:r>
            <a:endParaRPr lang="pl-PL" altLang="en-US" sz="800">
              <a:latin typeface="+mn-lt"/>
            </a:endParaRPr>
          </a:p>
          <a:p>
            <a:pPr marL="0" marR="0" lvl="0" indent="0" algn="l" defTabSz="5143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800">
                <a:latin typeface="+mn-lt"/>
              </a:rPr>
              <a:t>ECOSYSTEM</a:t>
            </a:r>
            <a:r>
              <a:rPr lang="pl-PL" altLang="en-US" sz="800">
                <a:latin typeface="+mn-lt"/>
              </a:rPr>
              <a:t>   </a:t>
            </a:r>
            <a:r>
              <a:rPr kumimoji="0" lang="en-GB" altLang="en-US" sz="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GEN AI</a:t>
            </a:r>
          </a:p>
        </p:txBody>
      </p:sp>
      <p:sp>
        <p:nvSpPr>
          <p:cNvPr id="1034" name="Rectangle 1033">
            <a:extLst>
              <a:ext uri="{FF2B5EF4-FFF2-40B4-BE49-F238E27FC236}">
                <a16:creationId xmlns:a16="http://schemas.microsoft.com/office/drawing/2014/main" id="{65509118-98B0-F7C9-F472-8328DC7CA7B3}"/>
              </a:ext>
            </a:extLst>
          </p:cNvPr>
          <p:cNvSpPr/>
          <p:nvPr/>
        </p:nvSpPr>
        <p:spPr>
          <a:xfrm>
            <a:off x="4000052" y="4482986"/>
            <a:ext cx="1600444" cy="1148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6852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Neural Network </a:t>
            </a:r>
            <a:endParaRPr kumimoji="0" lang="pl-PL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marR="0" lvl="0" indent="-171450" algn="l" defTabSz="6852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Deep Learning </a:t>
            </a:r>
            <a:endParaRPr kumimoji="0" lang="pl-PL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marR="0" lvl="0" indent="-171450" algn="l" defTabSz="6852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Cognitive Investigations</a:t>
            </a:r>
            <a:r>
              <a:rPr lang="en-GB" sz="800">
                <a:solidFill>
                  <a:srgbClr val="000000"/>
                </a:solidFill>
              </a:rPr>
              <a:t> –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AI Generated Narrative for AML</a:t>
            </a:r>
          </a:p>
          <a:p>
            <a:pPr marL="171450" indent="-171450" defTabSz="685223" fontAlgn="base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Automated SAR/STR Filing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– Automating manual effort in AML suspicious filings.</a:t>
            </a:r>
          </a:p>
          <a:p>
            <a:pPr marL="128479" marR="0" lvl="0" indent="-128479" algn="l" defTabSz="6852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035" name="Graphic 1034" descr="Open book with solid fill">
            <a:extLst>
              <a:ext uri="{FF2B5EF4-FFF2-40B4-BE49-F238E27FC236}">
                <a16:creationId xmlns:a16="http://schemas.microsoft.com/office/drawing/2014/main" id="{AB6EDD87-AE9F-3A42-8848-84AE8B33CF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90909" y="4164002"/>
            <a:ext cx="226309" cy="242842"/>
          </a:xfrm>
          <a:prstGeom prst="rect">
            <a:avLst/>
          </a:prstGeom>
        </p:spPr>
      </p:pic>
      <p:pic>
        <p:nvPicPr>
          <p:cNvPr id="1039" name="Graphic 1038" descr="Head with gears outline">
            <a:extLst>
              <a:ext uri="{FF2B5EF4-FFF2-40B4-BE49-F238E27FC236}">
                <a16:creationId xmlns:a16="http://schemas.microsoft.com/office/drawing/2014/main" id="{686DB8D0-9748-E225-2829-FD4F289CDB1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354614" y="4185667"/>
            <a:ext cx="199162" cy="213712"/>
          </a:xfrm>
          <a:prstGeom prst="rect">
            <a:avLst/>
          </a:prstGeom>
        </p:spPr>
      </p:pic>
      <p:pic>
        <p:nvPicPr>
          <p:cNvPr id="1044" name="Graphic 1043" descr="Magnifying glass outline">
            <a:extLst>
              <a:ext uri="{FF2B5EF4-FFF2-40B4-BE49-F238E27FC236}">
                <a16:creationId xmlns:a16="http://schemas.microsoft.com/office/drawing/2014/main" id="{803BB366-6C01-B9F9-DEA8-612BF280FBE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655057" y="4211038"/>
            <a:ext cx="108550" cy="146434"/>
          </a:xfrm>
          <a:prstGeom prst="rect">
            <a:avLst/>
          </a:prstGeom>
        </p:spPr>
      </p:pic>
      <p:pic>
        <p:nvPicPr>
          <p:cNvPr id="1045" name="Graphic 1044" descr="Scatterplot outline">
            <a:extLst>
              <a:ext uri="{FF2B5EF4-FFF2-40B4-BE49-F238E27FC236}">
                <a16:creationId xmlns:a16="http://schemas.microsoft.com/office/drawing/2014/main" id="{1634B42C-F51E-62E8-45F3-D15D21CB4E5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586019" y="4174123"/>
            <a:ext cx="199652" cy="225256"/>
          </a:xfrm>
          <a:prstGeom prst="rect">
            <a:avLst/>
          </a:prstGeom>
        </p:spPr>
      </p:pic>
      <p:grpSp>
        <p:nvGrpSpPr>
          <p:cNvPr id="24" name="Group 23" descr="q1">
            <a:extLst>
              <a:ext uri="{FF2B5EF4-FFF2-40B4-BE49-F238E27FC236}">
                <a16:creationId xmlns:a16="http://schemas.microsoft.com/office/drawing/2014/main" id="{AFE023A9-9D12-F4CC-DFF1-FCA49B4395A8}"/>
              </a:ext>
            </a:extLst>
          </p:cNvPr>
          <p:cNvGrpSpPr>
            <a:grpSpLocks/>
          </p:cNvGrpSpPr>
          <p:nvPr/>
        </p:nvGrpSpPr>
        <p:grpSpPr bwMode="auto">
          <a:xfrm>
            <a:off x="6422970" y="1161652"/>
            <a:ext cx="2094490" cy="821120"/>
            <a:chOff x="1749" y="1129"/>
            <a:chExt cx="2739" cy="504"/>
          </a:xfrm>
          <a:gradFill flip="none" rotWithShape="1">
            <a:gsLst>
              <a:gs pos="0">
                <a:srgbClr val="FC796F">
                  <a:tint val="66000"/>
                  <a:satMod val="160000"/>
                </a:srgbClr>
              </a:gs>
              <a:gs pos="50000">
                <a:srgbClr val="FC796F">
                  <a:tint val="44500"/>
                  <a:satMod val="160000"/>
                </a:srgbClr>
              </a:gs>
              <a:gs pos="100000">
                <a:srgbClr val="FC796F">
                  <a:tint val="23500"/>
                  <a:satMod val="160000"/>
                </a:srgbClr>
              </a:gs>
            </a:gsLst>
            <a:lin ang="13500000" scaled="1"/>
            <a:tileRect/>
          </a:gradFill>
        </p:grpSpPr>
        <p:sp>
          <p:nvSpPr>
            <p:cNvPr id="25" name="Freeform 4">
              <a:extLst>
                <a:ext uri="{FF2B5EF4-FFF2-40B4-BE49-F238E27FC236}">
                  <a16:creationId xmlns:a16="http://schemas.microsoft.com/office/drawing/2014/main" id="{DDE18944-D70D-E642-6DC6-0B0ECEEC7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1129"/>
              <a:ext cx="2739" cy="50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004" y="1212"/>
                </a:cxn>
                <a:cxn ang="0">
                  <a:pos x="4962" y="1233"/>
                </a:cxn>
                <a:cxn ang="0">
                  <a:pos x="4872" y="1212"/>
                </a:cxn>
                <a:cxn ang="0">
                  <a:pos x="4747" y="1200"/>
                </a:cxn>
                <a:cxn ang="0">
                  <a:pos x="4644" y="1211"/>
                </a:cxn>
                <a:cxn ang="0">
                  <a:pos x="4536" y="1188"/>
                </a:cxn>
                <a:cxn ang="0">
                  <a:pos x="4480" y="1163"/>
                </a:cxn>
                <a:cxn ang="0">
                  <a:pos x="4408" y="1172"/>
                </a:cxn>
                <a:cxn ang="0">
                  <a:pos x="4297" y="1212"/>
                </a:cxn>
                <a:cxn ang="0">
                  <a:pos x="4219" y="1215"/>
                </a:cxn>
                <a:cxn ang="0">
                  <a:pos x="4171" y="1242"/>
                </a:cxn>
                <a:cxn ang="0">
                  <a:pos x="4078" y="1252"/>
                </a:cxn>
                <a:cxn ang="0">
                  <a:pos x="4073" y="1248"/>
                </a:cxn>
                <a:cxn ang="0">
                  <a:pos x="3987" y="1258"/>
                </a:cxn>
                <a:cxn ang="0">
                  <a:pos x="3646" y="1263"/>
                </a:cxn>
                <a:cxn ang="0">
                  <a:pos x="3562" y="1260"/>
                </a:cxn>
                <a:cxn ang="0">
                  <a:pos x="3521" y="1239"/>
                </a:cxn>
                <a:cxn ang="0">
                  <a:pos x="3451" y="1225"/>
                </a:cxn>
                <a:cxn ang="0">
                  <a:pos x="3377" y="1243"/>
                </a:cxn>
                <a:cxn ang="0">
                  <a:pos x="3348" y="1269"/>
                </a:cxn>
                <a:cxn ang="0">
                  <a:pos x="3285" y="1252"/>
                </a:cxn>
                <a:cxn ang="0">
                  <a:pos x="3202" y="1218"/>
                </a:cxn>
                <a:cxn ang="0">
                  <a:pos x="3089" y="1222"/>
                </a:cxn>
                <a:cxn ang="0">
                  <a:pos x="2934" y="1273"/>
                </a:cxn>
                <a:cxn ang="0">
                  <a:pos x="2753" y="1273"/>
                </a:cxn>
                <a:cxn ang="0">
                  <a:pos x="2551" y="1251"/>
                </a:cxn>
                <a:cxn ang="0">
                  <a:pos x="2449" y="1285"/>
                </a:cxn>
                <a:cxn ang="0">
                  <a:pos x="2385" y="1273"/>
                </a:cxn>
                <a:cxn ang="0">
                  <a:pos x="2304" y="1245"/>
                </a:cxn>
                <a:cxn ang="0">
                  <a:pos x="2234" y="1248"/>
                </a:cxn>
                <a:cxn ang="0">
                  <a:pos x="2116" y="1233"/>
                </a:cxn>
                <a:cxn ang="0">
                  <a:pos x="2053" y="1237"/>
                </a:cxn>
                <a:cxn ang="0">
                  <a:pos x="1970" y="1206"/>
                </a:cxn>
                <a:cxn ang="0">
                  <a:pos x="1912" y="1185"/>
                </a:cxn>
                <a:cxn ang="0">
                  <a:pos x="1850" y="1246"/>
                </a:cxn>
                <a:cxn ang="0">
                  <a:pos x="1777" y="1279"/>
                </a:cxn>
                <a:cxn ang="0">
                  <a:pos x="1471" y="1221"/>
                </a:cxn>
                <a:cxn ang="0">
                  <a:pos x="1383" y="1206"/>
                </a:cxn>
                <a:cxn ang="0">
                  <a:pos x="1317" y="1196"/>
                </a:cxn>
                <a:cxn ang="0">
                  <a:pos x="1241" y="1222"/>
                </a:cxn>
                <a:cxn ang="0">
                  <a:pos x="1141" y="1260"/>
                </a:cxn>
                <a:cxn ang="0">
                  <a:pos x="949" y="1267"/>
                </a:cxn>
                <a:cxn ang="0">
                  <a:pos x="851" y="1248"/>
                </a:cxn>
                <a:cxn ang="0">
                  <a:pos x="730" y="1179"/>
                </a:cxn>
                <a:cxn ang="0">
                  <a:pos x="692" y="1185"/>
                </a:cxn>
                <a:cxn ang="0">
                  <a:pos x="608" y="1230"/>
                </a:cxn>
                <a:cxn ang="0">
                  <a:pos x="505" y="1234"/>
                </a:cxn>
                <a:cxn ang="0">
                  <a:pos x="408" y="1214"/>
                </a:cxn>
                <a:cxn ang="0">
                  <a:pos x="334" y="1218"/>
                </a:cxn>
                <a:cxn ang="0">
                  <a:pos x="292" y="1234"/>
                </a:cxn>
                <a:cxn ang="0">
                  <a:pos x="99" y="1200"/>
                </a:cxn>
              </a:cxnLst>
              <a:rect l="0" t="0" r="r" b="b"/>
              <a:pathLst>
                <a:path w="5004" h="1288">
                  <a:moveTo>
                    <a:pt x="0" y="1175"/>
                  </a:moveTo>
                  <a:lnTo>
                    <a:pt x="0" y="0"/>
                  </a:lnTo>
                  <a:lnTo>
                    <a:pt x="5004" y="0"/>
                  </a:lnTo>
                  <a:lnTo>
                    <a:pt x="5004" y="1212"/>
                  </a:lnTo>
                  <a:lnTo>
                    <a:pt x="4986" y="1227"/>
                  </a:lnTo>
                  <a:lnTo>
                    <a:pt x="4962" y="1233"/>
                  </a:lnTo>
                  <a:lnTo>
                    <a:pt x="4924" y="1227"/>
                  </a:lnTo>
                  <a:lnTo>
                    <a:pt x="4872" y="1212"/>
                  </a:lnTo>
                  <a:lnTo>
                    <a:pt x="4810" y="1203"/>
                  </a:lnTo>
                  <a:lnTo>
                    <a:pt x="4747" y="1200"/>
                  </a:lnTo>
                  <a:lnTo>
                    <a:pt x="4694" y="1206"/>
                  </a:lnTo>
                  <a:lnTo>
                    <a:pt x="4644" y="1211"/>
                  </a:lnTo>
                  <a:lnTo>
                    <a:pt x="4588" y="1203"/>
                  </a:lnTo>
                  <a:lnTo>
                    <a:pt x="4536" y="1188"/>
                  </a:lnTo>
                  <a:lnTo>
                    <a:pt x="4497" y="1170"/>
                  </a:lnTo>
                  <a:lnTo>
                    <a:pt x="4480" y="1163"/>
                  </a:lnTo>
                  <a:lnTo>
                    <a:pt x="4458" y="1161"/>
                  </a:lnTo>
                  <a:lnTo>
                    <a:pt x="4408" y="1172"/>
                  </a:lnTo>
                  <a:lnTo>
                    <a:pt x="4326" y="1206"/>
                  </a:lnTo>
                  <a:lnTo>
                    <a:pt x="4297" y="1212"/>
                  </a:lnTo>
                  <a:lnTo>
                    <a:pt x="4257" y="1214"/>
                  </a:lnTo>
                  <a:lnTo>
                    <a:pt x="4219" y="1215"/>
                  </a:lnTo>
                  <a:lnTo>
                    <a:pt x="4192" y="1227"/>
                  </a:lnTo>
                  <a:lnTo>
                    <a:pt x="4171" y="1242"/>
                  </a:lnTo>
                  <a:lnTo>
                    <a:pt x="4145" y="1252"/>
                  </a:lnTo>
                  <a:lnTo>
                    <a:pt x="4078" y="1252"/>
                  </a:lnTo>
                  <a:lnTo>
                    <a:pt x="4065" y="1248"/>
                  </a:lnTo>
                  <a:lnTo>
                    <a:pt x="4073" y="1248"/>
                  </a:lnTo>
                  <a:lnTo>
                    <a:pt x="4061" y="1251"/>
                  </a:lnTo>
                  <a:lnTo>
                    <a:pt x="3987" y="1258"/>
                  </a:lnTo>
                  <a:lnTo>
                    <a:pt x="3757" y="1263"/>
                  </a:lnTo>
                  <a:lnTo>
                    <a:pt x="3646" y="1263"/>
                  </a:lnTo>
                  <a:lnTo>
                    <a:pt x="3599" y="1263"/>
                  </a:lnTo>
                  <a:lnTo>
                    <a:pt x="3562" y="1260"/>
                  </a:lnTo>
                  <a:lnTo>
                    <a:pt x="3534" y="1248"/>
                  </a:lnTo>
                  <a:lnTo>
                    <a:pt x="3521" y="1239"/>
                  </a:lnTo>
                  <a:lnTo>
                    <a:pt x="3501" y="1231"/>
                  </a:lnTo>
                  <a:lnTo>
                    <a:pt x="3451" y="1225"/>
                  </a:lnTo>
                  <a:lnTo>
                    <a:pt x="3399" y="1233"/>
                  </a:lnTo>
                  <a:lnTo>
                    <a:pt x="3377" y="1243"/>
                  </a:lnTo>
                  <a:lnTo>
                    <a:pt x="3361" y="1258"/>
                  </a:lnTo>
                  <a:lnTo>
                    <a:pt x="3348" y="1269"/>
                  </a:lnTo>
                  <a:lnTo>
                    <a:pt x="3329" y="1270"/>
                  </a:lnTo>
                  <a:lnTo>
                    <a:pt x="3285" y="1252"/>
                  </a:lnTo>
                  <a:lnTo>
                    <a:pt x="3231" y="1227"/>
                  </a:lnTo>
                  <a:lnTo>
                    <a:pt x="3202" y="1218"/>
                  </a:lnTo>
                  <a:lnTo>
                    <a:pt x="3172" y="1217"/>
                  </a:lnTo>
                  <a:lnTo>
                    <a:pt x="3089" y="1222"/>
                  </a:lnTo>
                  <a:lnTo>
                    <a:pt x="2988" y="1252"/>
                  </a:lnTo>
                  <a:lnTo>
                    <a:pt x="2934" y="1273"/>
                  </a:lnTo>
                  <a:lnTo>
                    <a:pt x="2900" y="1282"/>
                  </a:lnTo>
                  <a:lnTo>
                    <a:pt x="2753" y="1273"/>
                  </a:lnTo>
                  <a:lnTo>
                    <a:pt x="2588" y="1254"/>
                  </a:lnTo>
                  <a:lnTo>
                    <a:pt x="2551" y="1251"/>
                  </a:lnTo>
                  <a:lnTo>
                    <a:pt x="2519" y="1258"/>
                  </a:lnTo>
                  <a:lnTo>
                    <a:pt x="2449" y="1285"/>
                  </a:lnTo>
                  <a:lnTo>
                    <a:pt x="2416" y="1288"/>
                  </a:lnTo>
                  <a:lnTo>
                    <a:pt x="2385" y="1273"/>
                  </a:lnTo>
                  <a:lnTo>
                    <a:pt x="2348" y="1254"/>
                  </a:lnTo>
                  <a:lnTo>
                    <a:pt x="2304" y="1245"/>
                  </a:lnTo>
                  <a:lnTo>
                    <a:pt x="2264" y="1243"/>
                  </a:lnTo>
                  <a:lnTo>
                    <a:pt x="2234" y="1248"/>
                  </a:lnTo>
                  <a:lnTo>
                    <a:pt x="2171" y="1243"/>
                  </a:lnTo>
                  <a:lnTo>
                    <a:pt x="2116" y="1233"/>
                  </a:lnTo>
                  <a:lnTo>
                    <a:pt x="2094" y="1231"/>
                  </a:lnTo>
                  <a:lnTo>
                    <a:pt x="2053" y="1237"/>
                  </a:lnTo>
                  <a:lnTo>
                    <a:pt x="2013" y="1228"/>
                  </a:lnTo>
                  <a:lnTo>
                    <a:pt x="1970" y="1206"/>
                  </a:lnTo>
                  <a:lnTo>
                    <a:pt x="1929" y="1187"/>
                  </a:lnTo>
                  <a:lnTo>
                    <a:pt x="1912" y="1185"/>
                  </a:lnTo>
                  <a:lnTo>
                    <a:pt x="1899" y="1191"/>
                  </a:lnTo>
                  <a:lnTo>
                    <a:pt x="1850" y="1246"/>
                  </a:lnTo>
                  <a:lnTo>
                    <a:pt x="1818" y="1270"/>
                  </a:lnTo>
                  <a:lnTo>
                    <a:pt x="1777" y="1279"/>
                  </a:lnTo>
                  <a:lnTo>
                    <a:pt x="1512" y="1242"/>
                  </a:lnTo>
                  <a:lnTo>
                    <a:pt x="1471" y="1221"/>
                  </a:lnTo>
                  <a:lnTo>
                    <a:pt x="1436" y="1209"/>
                  </a:lnTo>
                  <a:lnTo>
                    <a:pt x="1383" y="1206"/>
                  </a:lnTo>
                  <a:lnTo>
                    <a:pt x="1340" y="1203"/>
                  </a:lnTo>
                  <a:lnTo>
                    <a:pt x="1317" y="1196"/>
                  </a:lnTo>
                  <a:lnTo>
                    <a:pt x="1291" y="1199"/>
                  </a:lnTo>
                  <a:lnTo>
                    <a:pt x="1241" y="1222"/>
                  </a:lnTo>
                  <a:lnTo>
                    <a:pt x="1182" y="1251"/>
                  </a:lnTo>
                  <a:lnTo>
                    <a:pt x="1141" y="1260"/>
                  </a:lnTo>
                  <a:lnTo>
                    <a:pt x="1052" y="1263"/>
                  </a:lnTo>
                  <a:lnTo>
                    <a:pt x="949" y="1267"/>
                  </a:lnTo>
                  <a:lnTo>
                    <a:pt x="902" y="1263"/>
                  </a:lnTo>
                  <a:lnTo>
                    <a:pt x="851" y="1248"/>
                  </a:lnTo>
                  <a:lnTo>
                    <a:pt x="765" y="1196"/>
                  </a:lnTo>
                  <a:lnTo>
                    <a:pt x="730" y="1179"/>
                  </a:lnTo>
                  <a:lnTo>
                    <a:pt x="712" y="1179"/>
                  </a:lnTo>
                  <a:lnTo>
                    <a:pt x="692" y="1185"/>
                  </a:lnTo>
                  <a:lnTo>
                    <a:pt x="636" y="1220"/>
                  </a:lnTo>
                  <a:lnTo>
                    <a:pt x="608" y="1230"/>
                  </a:lnTo>
                  <a:lnTo>
                    <a:pt x="561" y="1237"/>
                  </a:lnTo>
                  <a:lnTo>
                    <a:pt x="505" y="1234"/>
                  </a:lnTo>
                  <a:lnTo>
                    <a:pt x="454" y="1224"/>
                  </a:lnTo>
                  <a:lnTo>
                    <a:pt x="408" y="1214"/>
                  </a:lnTo>
                  <a:lnTo>
                    <a:pt x="364" y="1212"/>
                  </a:lnTo>
                  <a:lnTo>
                    <a:pt x="334" y="1218"/>
                  </a:lnTo>
                  <a:lnTo>
                    <a:pt x="314" y="1227"/>
                  </a:lnTo>
                  <a:lnTo>
                    <a:pt x="292" y="1234"/>
                  </a:lnTo>
                  <a:lnTo>
                    <a:pt x="251" y="1233"/>
                  </a:lnTo>
                  <a:lnTo>
                    <a:pt x="99" y="1200"/>
                  </a:lnTo>
                  <a:lnTo>
                    <a:pt x="0" y="1175"/>
                  </a:lnTo>
                  <a:close/>
                </a:path>
              </a:pathLst>
            </a:custGeom>
            <a:grpFill/>
            <a:ln w="0">
              <a:solidFill>
                <a:srgbClr val="E4E7E7"/>
              </a:solidFill>
              <a:round/>
              <a:headEnd/>
              <a:tailEnd/>
            </a:ln>
            <a:effectLst/>
          </p:spPr>
          <p:txBody>
            <a:bodyPr lIns="45720" rIns="4572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7E43B95-51AF-2B9A-E9EE-42D76C9A47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9" y="1129"/>
              <a:ext cx="2739" cy="43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  <a:effectLst/>
          </p:spPr>
          <p:txBody>
            <a:bodyPr lIns="45720" rIns="45720"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lang="pl-PL" sz="800" i="1" kern="0">
                  <a:solidFill>
                    <a:srgbClr val="000000"/>
                  </a:solidFill>
                </a:rPr>
                <a:t>D</a:t>
              </a:r>
              <a:r>
                <a:rPr kumimoji="0" lang="en-US" sz="800" b="0" i="1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esign</a:t>
              </a:r>
              <a:r>
                <a:rPr kumimoji="0" lang="pl-PL" sz="8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ed</a:t>
              </a:r>
              <a:r>
                <a:rPr kumimoji="0" lang="en-US" sz="8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, build</a:t>
              </a:r>
              <a:r>
                <a:rPr kumimoji="0" lang="pl-PL" sz="8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ed</a:t>
              </a:r>
              <a:r>
                <a:rPr kumimoji="0" lang="en-US" sz="8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, and implement</a:t>
              </a:r>
              <a:r>
                <a:rPr kumimoji="0" lang="pl-PL" sz="8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ed</a:t>
              </a:r>
              <a:r>
                <a:rPr kumimoji="0" lang="en-US" sz="8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 a robust and efficient Global Compliance </a:t>
              </a:r>
              <a:r>
                <a:rPr kumimoji="0" lang="en-US" sz="800" b="0" i="1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Programme</a:t>
              </a:r>
              <a:r>
                <a:rPr kumimoji="0" lang="en-US" sz="8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 aimed at optimization and consolidation</a:t>
              </a:r>
              <a:r>
                <a:rPr lang="pl-PL" sz="800" kern="0">
                  <a:solidFill>
                    <a:srgbClr val="000000"/>
                  </a:solidFill>
                </a:rPr>
                <a:t>.</a:t>
              </a: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7" name="Text Box 6">
              <a:extLst>
                <a:ext uri="{FF2B5EF4-FFF2-40B4-BE49-F238E27FC236}">
                  <a16:creationId xmlns:a16="http://schemas.microsoft.com/office/drawing/2014/main" id="{B73FB55D-81D8-20F0-9ED9-D4D3B28DA9E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61" y="1456"/>
              <a:ext cx="1013" cy="103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  <a:effectLst/>
          </p:spPr>
          <p:txBody>
            <a:bodyPr wrap="none" lIns="45720" rIns="45720"/>
            <a:lstStyle/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pl-PL" sz="700" b="1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Large Japanese Bank</a:t>
              </a:r>
              <a:endParaRPr kumimoji="0" lang="en-US" sz="700" b="1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28" name="Group 27" descr="q1">
            <a:extLst>
              <a:ext uri="{FF2B5EF4-FFF2-40B4-BE49-F238E27FC236}">
                <a16:creationId xmlns:a16="http://schemas.microsoft.com/office/drawing/2014/main" id="{7425B6EA-E337-DDF4-2CF2-B4F26DDDE1CE}"/>
              </a:ext>
            </a:extLst>
          </p:cNvPr>
          <p:cNvGrpSpPr>
            <a:grpSpLocks/>
          </p:cNvGrpSpPr>
          <p:nvPr/>
        </p:nvGrpSpPr>
        <p:grpSpPr bwMode="auto">
          <a:xfrm>
            <a:off x="6422025" y="2842062"/>
            <a:ext cx="3687190" cy="605738"/>
            <a:chOff x="1749" y="1129"/>
            <a:chExt cx="2739" cy="504"/>
          </a:xfrm>
          <a:gradFill flip="none" rotWithShape="1">
            <a:gsLst>
              <a:gs pos="0">
                <a:srgbClr val="FC796F">
                  <a:tint val="66000"/>
                  <a:satMod val="160000"/>
                </a:srgbClr>
              </a:gs>
              <a:gs pos="50000">
                <a:srgbClr val="FC796F">
                  <a:tint val="44500"/>
                  <a:satMod val="160000"/>
                </a:srgbClr>
              </a:gs>
              <a:gs pos="100000">
                <a:srgbClr val="FC796F">
                  <a:tint val="23500"/>
                  <a:satMod val="160000"/>
                </a:srgbClr>
              </a:gs>
            </a:gsLst>
            <a:lin ang="13500000" scaled="1"/>
            <a:tileRect/>
          </a:gradFill>
        </p:grpSpPr>
        <p:sp>
          <p:nvSpPr>
            <p:cNvPr id="31" name="Freeform 4">
              <a:extLst>
                <a:ext uri="{FF2B5EF4-FFF2-40B4-BE49-F238E27FC236}">
                  <a16:creationId xmlns:a16="http://schemas.microsoft.com/office/drawing/2014/main" id="{DC9C3EBE-C79F-AABA-4866-D4687B8A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1129"/>
              <a:ext cx="2739" cy="50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004" y="1212"/>
                </a:cxn>
                <a:cxn ang="0">
                  <a:pos x="4962" y="1233"/>
                </a:cxn>
                <a:cxn ang="0">
                  <a:pos x="4872" y="1212"/>
                </a:cxn>
                <a:cxn ang="0">
                  <a:pos x="4747" y="1200"/>
                </a:cxn>
                <a:cxn ang="0">
                  <a:pos x="4644" y="1211"/>
                </a:cxn>
                <a:cxn ang="0">
                  <a:pos x="4536" y="1188"/>
                </a:cxn>
                <a:cxn ang="0">
                  <a:pos x="4480" y="1163"/>
                </a:cxn>
                <a:cxn ang="0">
                  <a:pos x="4408" y="1172"/>
                </a:cxn>
                <a:cxn ang="0">
                  <a:pos x="4297" y="1212"/>
                </a:cxn>
                <a:cxn ang="0">
                  <a:pos x="4219" y="1215"/>
                </a:cxn>
                <a:cxn ang="0">
                  <a:pos x="4171" y="1242"/>
                </a:cxn>
                <a:cxn ang="0">
                  <a:pos x="4078" y="1252"/>
                </a:cxn>
                <a:cxn ang="0">
                  <a:pos x="4073" y="1248"/>
                </a:cxn>
                <a:cxn ang="0">
                  <a:pos x="3987" y="1258"/>
                </a:cxn>
                <a:cxn ang="0">
                  <a:pos x="3646" y="1263"/>
                </a:cxn>
                <a:cxn ang="0">
                  <a:pos x="3562" y="1260"/>
                </a:cxn>
                <a:cxn ang="0">
                  <a:pos x="3521" y="1239"/>
                </a:cxn>
                <a:cxn ang="0">
                  <a:pos x="3451" y="1225"/>
                </a:cxn>
                <a:cxn ang="0">
                  <a:pos x="3377" y="1243"/>
                </a:cxn>
                <a:cxn ang="0">
                  <a:pos x="3348" y="1269"/>
                </a:cxn>
                <a:cxn ang="0">
                  <a:pos x="3285" y="1252"/>
                </a:cxn>
                <a:cxn ang="0">
                  <a:pos x="3202" y="1218"/>
                </a:cxn>
                <a:cxn ang="0">
                  <a:pos x="3089" y="1222"/>
                </a:cxn>
                <a:cxn ang="0">
                  <a:pos x="2934" y="1273"/>
                </a:cxn>
                <a:cxn ang="0">
                  <a:pos x="2753" y="1273"/>
                </a:cxn>
                <a:cxn ang="0">
                  <a:pos x="2551" y="1251"/>
                </a:cxn>
                <a:cxn ang="0">
                  <a:pos x="2449" y="1285"/>
                </a:cxn>
                <a:cxn ang="0">
                  <a:pos x="2385" y="1273"/>
                </a:cxn>
                <a:cxn ang="0">
                  <a:pos x="2304" y="1245"/>
                </a:cxn>
                <a:cxn ang="0">
                  <a:pos x="2234" y="1248"/>
                </a:cxn>
                <a:cxn ang="0">
                  <a:pos x="2116" y="1233"/>
                </a:cxn>
                <a:cxn ang="0">
                  <a:pos x="2053" y="1237"/>
                </a:cxn>
                <a:cxn ang="0">
                  <a:pos x="1970" y="1206"/>
                </a:cxn>
                <a:cxn ang="0">
                  <a:pos x="1912" y="1185"/>
                </a:cxn>
                <a:cxn ang="0">
                  <a:pos x="1850" y="1246"/>
                </a:cxn>
                <a:cxn ang="0">
                  <a:pos x="1777" y="1279"/>
                </a:cxn>
                <a:cxn ang="0">
                  <a:pos x="1471" y="1221"/>
                </a:cxn>
                <a:cxn ang="0">
                  <a:pos x="1383" y="1206"/>
                </a:cxn>
                <a:cxn ang="0">
                  <a:pos x="1317" y="1196"/>
                </a:cxn>
                <a:cxn ang="0">
                  <a:pos x="1241" y="1222"/>
                </a:cxn>
                <a:cxn ang="0">
                  <a:pos x="1141" y="1260"/>
                </a:cxn>
                <a:cxn ang="0">
                  <a:pos x="949" y="1267"/>
                </a:cxn>
                <a:cxn ang="0">
                  <a:pos x="851" y="1248"/>
                </a:cxn>
                <a:cxn ang="0">
                  <a:pos x="730" y="1179"/>
                </a:cxn>
                <a:cxn ang="0">
                  <a:pos x="692" y="1185"/>
                </a:cxn>
                <a:cxn ang="0">
                  <a:pos x="608" y="1230"/>
                </a:cxn>
                <a:cxn ang="0">
                  <a:pos x="505" y="1234"/>
                </a:cxn>
                <a:cxn ang="0">
                  <a:pos x="408" y="1214"/>
                </a:cxn>
                <a:cxn ang="0">
                  <a:pos x="334" y="1218"/>
                </a:cxn>
                <a:cxn ang="0">
                  <a:pos x="292" y="1234"/>
                </a:cxn>
                <a:cxn ang="0">
                  <a:pos x="99" y="1200"/>
                </a:cxn>
              </a:cxnLst>
              <a:rect l="0" t="0" r="r" b="b"/>
              <a:pathLst>
                <a:path w="5004" h="1288">
                  <a:moveTo>
                    <a:pt x="0" y="1175"/>
                  </a:moveTo>
                  <a:lnTo>
                    <a:pt x="0" y="0"/>
                  </a:lnTo>
                  <a:lnTo>
                    <a:pt x="5004" y="0"/>
                  </a:lnTo>
                  <a:lnTo>
                    <a:pt x="5004" y="1212"/>
                  </a:lnTo>
                  <a:lnTo>
                    <a:pt x="4986" y="1227"/>
                  </a:lnTo>
                  <a:lnTo>
                    <a:pt x="4962" y="1233"/>
                  </a:lnTo>
                  <a:lnTo>
                    <a:pt x="4924" y="1227"/>
                  </a:lnTo>
                  <a:lnTo>
                    <a:pt x="4872" y="1212"/>
                  </a:lnTo>
                  <a:lnTo>
                    <a:pt x="4810" y="1203"/>
                  </a:lnTo>
                  <a:lnTo>
                    <a:pt x="4747" y="1200"/>
                  </a:lnTo>
                  <a:lnTo>
                    <a:pt x="4694" y="1206"/>
                  </a:lnTo>
                  <a:lnTo>
                    <a:pt x="4644" y="1211"/>
                  </a:lnTo>
                  <a:lnTo>
                    <a:pt x="4588" y="1203"/>
                  </a:lnTo>
                  <a:lnTo>
                    <a:pt x="4536" y="1188"/>
                  </a:lnTo>
                  <a:lnTo>
                    <a:pt x="4497" y="1170"/>
                  </a:lnTo>
                  <a:lnTo>
                    <a:pt x="4480" y="1163"/>
                  </a:lnTo>
                  <a:lnTo>
                    <a:pt x="4458" y="1161"/>
                  </a:lnTo>
                  <a:lnTo>
                    <a:pt x="4408" y="1172"/>
                  </a:lnTo>
                  <a:lnTo>
                    <a:pt x="4326" y="1206"/>
                  </a:lnTo>
                  <a:lnTo>
                    <a:pt x="4297" y="1212"/>
                  </a:lnTo>
                  <a:lnTo>
                    <a:pt x="4257" y="1214"/>
                  </a:lnTo>
                  <a:lnTo>
                    <a:pt x="4219" y="1215"/>
                  </a:lnTo>
                  <a:lnTo>
                    <a:pt x="4192" y="1227"/>
                  </a:lnTo>
                  <a:lnTo>
                    <a:pt x="4171" y="1242"/>
                  </a:lnTo>
                  <a:lnTo>
                    <a:pt x="4145" y="1252"/>
                  </a:lnTo>
                  <a:lnTo>
                    <a:pt x="4078" y="1252"/>
                  </a:lnTo>
                  <a:lnTo>
                    <a:pt x="4065" y="1248"/>
                  </a:lnTo>
                  <a:lnTo>
                    <a:pt x="4073" y="1248"/>
                  </a:lnTo>
                  <a:lnTo>
                    <a:pt x="4061" y="1251"/>
                  </a:lnTo>
                  <a:lnTo>
                    <a:pt x="3987" y="1258"/>
                  </a:lnTo>
                  <a:lnTo>
                    <a:pt x="3757" y="1263"/>
                  </a:lnTo>
                  <a:lnTo>
                    <a:pt x="3646" y="1263"/>
                  </a:lnTo>
                  <a:lnTo>
                    <a:pt x="3599" y="1263"/>
                  </a:lnTo>
                  <a:lnTo>
                    <a:pt x="3562" y="1260"/>
                  </a:lnTo>
                  <a:lnTo>
                    <a:pt x="3534" y="1248"/>
                  </a:lnTo>
                  <a:lnTo>
                    <a:pt x="3521" y="1239"/>
                  </a:lnTo>
                  <a:lnTo>
                    <a:pt x="3501" y="1231"/>
                  </a:lnTo>
                  <a:lnTo>
                    <a:pt x="3451" y="1225"/>
                  </a:lnTo>
                  <a:lnTo>
                    <a:pt x="3399" y="1233"/>
                  </a:lnTo>
                  <a:lnTo>
                    <a:pt x="3377" y="1243"/>
                  </a:lnTo>
                  <a:lnTo>
                    <a:pt x="3361" y="1258"/>
                  </a:lnTo>
                  <a:lnTo>
                    <a:pt x="3348" y="1269"/>
                  </a:lnTo>
                  <a:lnTo>
                    <a:pt x="3329" y="1270"/>
                  </a:lnTo>
                  <a:lnTo>
                    <a:pt x="3285" y="1252"/>
                  </a:lnTo>
                  <a:lnTo>
                    <a:pt x="3231" y="1227"/>
                  </a:lnTo>
                  <a:lnTo>
                    <a:pt x="3202" y="1218"/>
                  </a:lnTo>
                  <a:lnTo>
                    <a:pt x="3172" y="1217"/>
                  </a:lnTo>
                  <a:lnTo>
                    <a:pt x="3089" y="1222"/>
                  </a:lnTo>
                  <a:lnTo>
                    <a:pt x="2988" y="1252"/>
                  </a:lnTo>
                  <a:lnTo>
                    <a:pt x="2934" y="1273"/>
                  </a:lnTo>
                  <a:lnTo>
                    <a:pt x="2900" y="1282"/>
                  </a:lnTo>
                  <a:lnTo>
                    <a:pt x="2753" y="1273"/>
                  </a:lnTo>
                  <a:lnTo>
                    <a:pt x="2588" y="1254"/>
                  </a:lnTo>
                  <a:lnTo>
                    <a:pt x="2551" y="1251"/>
                  </a:lnTo>
                  <a:lnTo>
                    <a:pt x="2519" y="1258"/>
                  </a:lnTo>
                  <a:lnTo>
                    <a:pt x="2449" y="1285"/>
                  </a:lnTo>
                  <a:lnTo>
                    <a:pt x="2416" y="1288"/>
                  </a:lnTo>
                  <a:lnTo>
                    <a:pt x="2385" y="1273"/>
                  </a:lnTo>
                  <a:lnTo>
                    <a:pt x="2348" y="1254"/>
                  </a:lnTo>
                  <a:lnTo>
                    <a:pt x="2304" y="1245"/>
                  </a:lnTo>
                  <a:lnTo>
                    <a:pt x="2264" y="1243"/>
                  </a:lnTo>
                  <a:lnTo>
                    <a:pt x="2234" y="1248"/>
                  </a:lnTo>
                  <a:lnTo>
                    <a:pt x="2171" y="1243"/>
                  </a:lnTo>
                  <a:lnTo>
                    <a:pt x="2116" y="1233"/>
                  </a:lnTo>
                  <a:lnTo>
                    <a:pt x="2094" y="1231"/>
                  </a:lnTo>
                  <a:lnTo>
                    <a:pt x="2053" y="1237"/>
                  </a:lnTo>
                  <a:lnTo>
                    <a:pt x="2013" y="1228"/>
                  </a:lnTo>
                  <a:lnTo>
                    <a:pt x="1970" y="1206"/>
                  </a:lnTo>
                  <a:lnTo>
                    <a:pt x="1929" y="1187"/>
                  </a:lnTo>
                  <a:lnTo>
                    <a:pt x="1912" y="1185"/>
                  </a:lnTo>
                  <a:lnTo>
                    <a:pt x="1899" y="1191"/>
                  </a:lnTo>
                  <a:lnTo>
                    <a:pt x="1850" y="1246"/>
                  </a:lnTo>
                  <a:lnTo>
                    <a:pt x="1818" y="1270"/>
                  </a:lnTo>
                  <a:lnTo>
                    <a:pt x="1777" y="1279"/>
                  </a:lnTo>
                  <a:lnTo>
                    <a:pt x="1512" y="1242"/>
                  </a:lnTo>
                  <a:lnTo>
                    <a:pt x="1471" y="1221"/>
                  </a:lnTo>
                  <a:lnTo>
                    <a:pt x="1436" y="1209"/>
                  </a:lnTo>
                  <a:lnTo>
                    <a:pt x="1383" y="1206"/>
                  </a:lnTo>
                  <a:lnTo>
                    <a:pt x="1340" y="1203"/>
                  </a:lnTo>
                  <a:lnTo>
                    <a:pt x="1317" y="1196"/>
                  </a:lnTo>
                  <a:lnTo>
                    <a:pt x="1291" y="1199"/>
                  </a:lnTo>
                  <a:lnTo>
                    <a:pt x="1241" y="1222"/>
                  </a:lnTo>
                  <a:lnTo>
                    <a:pt x="1182" y="1251"/>
                  </a:lnTo>
                  <a:lnTo>
                    <a:pt x="1141" y="1260"/>
                  </a:lnTo>
                  <a:lnTo>
                    <a:pt x="1052" y="1263"/>
                  </a:lnTo>
                  <a:lnTo>
                    <a:pt x="949" y="1267"/>
                  </a:lnTo>
                  <a:lnTo>
                    <a:pt x="902" y="1263"/>
                  </a:lnTo>
                  <a:lnTo>
                    <a:pt x="851" y="1248"/>
                  </a:lnTo>
                  <a:lnTo>
                    <a:pt x="765" y="1196"/>
                  </a:lnTo>
                  <a:lnTo>
                    <a:pt x="730" y="1179"/>
                  </a:lnTo>
                  <a:lnTo>
                    <a:pt x="712" y="1179"/>
                  </a:lnTo>
                  <a:lnTo>
                    <a:pt x="692" y="1185"/>
                  </a:lnTo>
                  <a:lnTo>
                    <a:pt x="636" y="1220"/>
                  </a:lnTo>
                  <a:lnTo>
                    <a:pt x="608" y="1230"/>
                  </a:lnTo>
                  <a:lnTo>
                    <a:pt x="561" y="1237"/>
                  </a:lnTo>
                  <a:lnTo>
                    <a:pt x="505" y="1234"/>
                  </a:lnTo>
                  <a:lnTo>
                    <a:pt x="454" y="1224"/>
                  </a:lnTo>
                  <a:lnTo>
                    <a:pt x="408" y="1214"/>
                  </a:lnTo>
                  <a:lnTo>
                    <a:pt x="364" y="1212"/>
                  </a:lnTo>
                  <a:lnTo>
                    <a:pt x="334" y="1218"/>
                  </a:lnTo>
                  <a:lnTo>
                    <a:pt x="314" y="1227"/>
                  </a:lnTo>
                  <a:lnTo>
                    <a:pt x="292" y="1234"/>
                  </a:lnTo>
                  <a:lnTo>
                    <a:pt x="251" y="1233"/>
                  </a:lnTo>
                  <a:lnTo>
                    <a:pt x="99" y="1200"/>
                  </a:lnTo>
                  <a:lnTo>
                    <a:pt x="0" y="1175"/>
                  </a:lnTo>
                  <a:close/>
                </a:path>
              </a:pathLst>
            </a:custGeom>
            <a:grpFill/>
            <a:ln w="0">
              <a:solidFill>
                <a:srgbClr val="E4E7E7"/>
              </a:solidFill>
              <a:round/>
              <a:headEnd/>
              <a:tailEnd/>
            </a:ln>
            <a:effectLst/>
          </p:spPr>
          <p:txBody>
            <a:bodyPr lIns="45720" rIns="4572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B759BAF2-CBC9-CF98-82AB-D38BB10636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9" y="1129"/>
              <a:ext cx="2739" cy="334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  <a:effectLst/>
          </p:spPr>
          <p:txBody>
            <a:bodyPr lIns="45720" rIns="45720"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lang="en-US" sz="800" i="1" kern="0">
                  <a:solidFill>
                    <a:srgbClr val="000000"/>
                  </a:solidFill>
                </a:rPr>
                <a:t>Accenture helped the Client with optimal planning of the global roll-out of the new transaction monitoring scenarios and implemented a thorough and auditable QA processes.</a:t>
              </a: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8" name="Text Box 6">
              <a:extLst>
                <a:ext uri="{FF2B5EF4-FFF2-40B4-BE49-F238E27FC236}">
                  <a16:creationId xmlns:a16="http://schemas.microsoft.com/office/drawing/2014/main" id="{9AC89C85-88A5-48CA-B7CF-AF1C06D988A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69" y="1434"/>
              <a:ext cx="1013" cy="164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  <a:effectLst/>
          </p:spPr>
          <p:txBody>
            <a:bodyPr wrap="none" lIns="45720" rIns="45720"/>
            <a:lstStyle/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pl-PL" sz="700" b="1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TopTier UK BANK</a:t>
              </a:r>
              <a:endParaRPr kumimoji="0" lang="en-US" sz="700" b="1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49" name="Group 48" descr="q1">
            <a:extLst>
              <a:ext uri="{FF2B5EF4-FFF2-40B4-BE49-F238E27FC236}">
                <a16:creationId xmlns:a16="http://schemas.microsoft.com/office/drawing/2014/main" id="{8FD81A47-1887-CF7E-F09D-1F82EB1B5B39}"/>
              </a:ext>
            </a:extLst>
          </p:cNvPr>
          <p:cNvGrpSpPr>
            <a:grpSpLocks/>
          </p:cNvGrpSpPr>
          <p:nvPr/>
        </p:nvGrpSpPr>
        <p:grpSpPr bwMode="auto">
          <a:xfrm>
            <a:off x="6660650" y="2121445"/>
            <a:ext cx="3104140" cy="572443"/>
            <a:chOff x="1749" y="1129"/>
            <a:chExt cx="2739" cy="504"/>
          </a:xfrm>
          <a:gradFill flip="none" rotWithShape="1">
            <a:gsLst>
              <a:gs pos="0">
                <a:srgbClr val="FC796F">
                  <a:tint val="66000"/>
                  <a:satMod val="160000"/>
                </a:srgbClr>
              </a:gs>
              <a:gs pos="50000">
                <a:srgbClr val="FC796F">
                  <a:tint val="44500"/>
                  <a:satMod val="160000"/>
                </a:srgbClr>
              </a:gs>
              <a:gs pos="100000">
                <a:srgbClr val="FC796F">
                  <a:tint val="23500"/>
                  <a:satMod val="160000"/>
                </a:srgbClr>
              </a:gs>
            </a:gsLst>
            <a:lin ang="13500000" scaled="1"/>
            <a:tileRect/>
          </a:gradFill>
        </p:grpSpPr>
        <p:sp>
          <p:nvSpPr>
            <p:cNvPr id="50" name="Freeform 4">
              <a:extLst>
                <a:ext uri="{FF2B5EF4-FFF2-40B4-BE49-F238E27FC236}">
                  <a16:creationId xmlns:a16="http://schemas.microsoft.com/office/drawing/2014/main" id="{CF6C6B43-E882-B8C9-A0B9-E9ED44C293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1129"/>
              <a:ext cx="2739" cy="50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004" y="1212"/>
                </a:cxn>
                <a:cxn ang="0">
                  <a:pos x="4962" y="1233"/>
                </a:cxn>
                <a:cxn ang="0">
                  <a:pos x="4872" y="1212"/>
                </a:cxn>
                <a:cxn ang="0">
                  <a:pos x="4747" y="1200"/>
                </a:cxn>
                <a:cxn ang="0">
                  <a:pos x="4644" y="1211"/>
                </a:cxn>
                <a:cxn ang="0">
                  <a:pos x="4536" y="1188"/>
                </a:cxn>
                <a:cxn ang="0">
                  <a:pos x="4480" y="1163"/>
                </a:cxn>
                <a:cxn ang="0">
                  <a:pos x="4408" y="1172"/>
                </a:cxn>
                <a:cxn ang="0">
                  <a:pos x="4297" y="1212"/>
                </a:cxn>
                <a:cxn ang="0">
                  <a:pos x="4219" y="1215"/>
                </a:cxn>
                <a:cxn ang="0">
                  <a:pos x="4171" y="1242"/>
                </a:cxn>
                <a:cxn ang="0">
                  <a:pos x="4078" y="1252"/>
                </a:cxn>
                <a:cxn ang="0">
                  <a:pos x="4073" y="1248"/>
                </a:cxn>
                <a:cxn ang="0">
                  <a:pos x="3987" y="1258"/>
                </a:cxn>
                <a:cxn ang="0">
                  <a:pos x="3646" y="1263"/>
                </a:cxn>
                <a:cxn ang="0">
                  <a:pos x="3562" y="1260"/>
                </a:cxn>
                <a:cxn ang="0">
                  <a:pos x="3521" y="1239"/>
                </a:cxn>
                <a:cxn ang="0">
                  <a:pos x="3451" y="1225"/>
                </a:cxn>
                <a:cxn ang="0">
                  <a:pos x="3377" y="1243"/>
                </a:cxn>
                <a:cxn ang="0">
                  <a:pos x="3348" y="1269"/>
                </a:cxn>
                <a:cxn ang="0">
                  <a:pos x="3285" y="1252"/>
                </a:cxn>
                <a:cxn ang="0">
                  <a:pos x="3202" y="1218"/>
                </a:cxn>
                <a:cxn ang="0">
                  <a:pos x="3089" y="1222"/>
                </a:cxn>
                <a:cxn ang="0">
                  <a:pos x="2934" y="1273"/>
                </a:cxn>
                <a:cxn ang="0">
                  <a:pos x="2753" y="1273"/>
                </a:cxn>
                <a:cxn ang="0">
                  <a:pos x="2551" y="1251"/>
                </a:cxn>
                <a:cxn ang="0">
                  <a:pos x="2449" y="1285"/>
                </a:cxn>
                <a:cxn ang="0">
                  <a:pos x="2385" y="1273"/>
                </a:cxn>
                <a:cxn ang="0">
                  <a:pos x="2304" y="1245"/>
                </a:cxn>
                <a:cxn ang="0">
                  <a:pos x="2234" y="1248"/>
                </a:cxn>
                <a:cxn ang="0">
                  <a:pos x="2116" y="1233"/>
                </a:cxn>
                <a:cxn ang="0">
                  <a:pos x="2053" y="1237"/>
                </a:cxn>
                <a:cxn ang="0">
                  <a:pos x="1970" y="1206"/>
                </a:cxn>
                <a:cxn ang="0">
                  <a:pos x="1912" y="1185"/>
                </a:cxn>
                <a:cxn ang="0">
                  <a:pos x="1850" y="1246"/>
                </a:cxn>
                <a:cxn ang="0">
                  <a:pos x="1777" y="1279"/>
                </a:cxn>
                <a:cxn ang="0">
                  <a:pos x="1471" y="1221"/>
                </a:cxn>
                <a:cxn ang="0">
                  <a:pos x="1383" y="1206"/>
                </a:cxn>
                <a:cxn ang="0">
                  <a:pos x="1317" y="1196"/>
                </a:cxn>
                <a:cxn ang="0">
                  <a:pos x="1241" y="1222"/>
                </a:cxn>
                <a:cxn ang="0">
                  <a:pos x="1141" y="1260"/>
                </a:cxn>
                <a:cxn ang="0">
                  <a:pos x="949" y="1267"/>
                </a:cxn>
                <a:cxn ang="0">
                  <a:pos x="851" y="1248"/>
                </a:cxn>
                <a:cxn ang="0">
                  <a:pos x="730" y="1179"/>
                </a:cxn>
                <a:cxn ang="0">
                  <a:pos x="692" y="1185"/>
                </a:cxn>
                <a:cxn ang="0">
                  <a:pos x="608" y="1230"/>
                </a:cxn>
                <a:cxn ang="0">
                  <a:pos x="505" y="1234"/>
                </a:cxn>
                <a:cxn ang="0">
                  <a:pos x="408" y="1214"/>
                </a:cxn>
                <a:cxn ang="0">
                  <a:pos x="334" y="1218"/>
                </a:cxn>
                <a:cxn ang="0">
                  <a:pos x="292" y="1234"/>
                </a:cxn>
                <a:cxn ang="0">
                  <a:pos x="99" y="1200"/>
                </a:cxn>
              </a:cxnLst>
              <a:rect l="0" t="0" r="r" b="b"/>
              <a:pathLst>
                <a:path w="5004" h="1288">
                  <a:moveTo>
                    <a:pt x="0" y="1175"/>
                  </a:moveTo>
                  <a:lnTo>
                    <a:pt x="0" y="0"/>
                  </a:lnTo>
                  <a:lnTo>
                    <a:pt x="5004" y="0"/>
                  </a:lnTo>
                  <a:lnTo>
                    <a:pt x="5004" y="1212"/>
                  </a:lnTo>
                  <a:lnTo>
                    <a:pt x="4986" y="1227"/>
                  </a:lnTo>
                  <a:lnTo>
                    <a:pt x="4962" y="1233"/>
                  </a:lnTo>
                  <a:lnTo>
                    <a:pt x="4924" y="1227"/>
                  </a:lnTo>
                  <a:lnTo>
                    <a:pt x="4872" y="1212"/>
                  </a:lnTo>
                  <a:lnTo>
                    <a:pt x="4810" y="1203"/>
                  </a:lnTo>
                  <a:lnTo>
                    <a:pt x="4747" y="1200"/>
                  </a:lnTo>
                  <a:lnTo>
                    <a:pt x="4694" y="1206"/>
                  </a:lnTo>
                  <a:lnTo>
                    <a:pt x="4644" y="1211"/>
                  </a:lnTo>
                  <a:lnTo>
                    <a:pt x="4588" y="1203"/>
                  </a:lnTo>
                  <a:lnTo>
                    <a:pt x="4536" y="1188"/>
                  </a:lnTo>
                  <a:lnTo>
                    <a:pt x="4497" y="1170"/>
                  </a:lnTo>
                  <a:lnTo>
                    <a:pt x="4480" y="1163"/>
                  </a:lnTo>
                  <a:lnTo>
                    <a:pt x="4458" y="1161"/>
                  </a:lnTo>
                  <a:lnTo>
                    <a:pt x="4408" y="1172"/>
                  </a:lnTo>
                  <a:lnTo>
                    <a:pt x="4326" y="1206"/>
                  </a:lnTo>
                  <a:lnTo>
                    <a:pt x="4297" y="1212"/>
                  </a:lnTo>
                  <a:lnTo>
                    <a:pt x="4257" y="1214"/>
                  </a:lnTo>
                  <a:lnTo>
                    <a:pt x="4219" y="1215"/>
                  </a:lnTo>
                  <a:lnTo>
                    <a:pt x="4192" y="1227"/>
                  </a:lnTo>
                  <a:lnTo>
                    <a:pt x="4171" y="1242"/>
                  </a:lnTo>
                  <a:lnTo>
                    <a:pt x="4145" y="1252"/>
                  </a:lnTo>
                  <a:lnTo>
                    <a:pt x="4078" y="1252"/>
                  </a:lnTo>
                  <a:lnTo>
                    <a:pt x="4065" y="1248"/>
                  </a:lnTo>
                  <a:lnTo>
                    <a:pt x="4073" y="1248"/>
                  </a:lnTo>
                  <a:lnTo>
                    <a:pt x="4061" y="1251"/>
                  </a:lnTo>
                  <a:lnTo>
                    <a:pt x="3987" y="1258"/>
                  </a:lnTo>
                  <a:lnTo>
                    <a:pt x="3757" y="1263"/>
                  </a:lnTo>
                  <a:lnTo>
                    <a:pt x="3646" y="1263"/>
                  </a:lnTo>
                  <a:lnTo>
                    <a:pt x="3599" y="1263"/>
                  </a:lnTo>
                  <a:lnTo>
                    <a:pt x="3562" y="1260"/>
                  </a:lnTo>
                  <a:lnTo>
                    <a:pt x="3534" y="1248"/>
                  </a:lnTo>
                  <a:lnTo>
                    <a:pt x="3521" y="1239"/>
                  </a:lnTo>
                  <a:lnTo>
                    <a:pt x="3501" y="1231"/>
                  </a:lnTo>
                  <a:lnTo>
                    <a:pt x="3451" y="1225"/>
                  </a:lnTo>
                  <a:lnTo>
                    <a:pt x="3399" y="1233"/>
                  </a:lnTo>
                  <a:lnTo>
                    <a:pt x="3377" y="1243"/>
                  </a:lnTo>
                  <a:lnTo>
                    <a:pt x="3361" y="1258"/>
                  </a:lnTo>
                  <a:lnTo>
                    <a:pt x="3348" y="1269"/>
                  </a:lnTo>
                  <a:lnTo>
                    <a:pt x="3329" y="1270"/>
                  </a:lnTo>
                  <a:lnTo>
                    <a:pt x="3285" y="1252"/>
                  </a:lnTo>
                  <a:lnTo>
                    <a:pt x="3231" y="1227"/>
                  </a:lnTo>
                  <a:lnTo>
                    <a:pt x="3202" y="1218"/>
                  </a:lnTo>
                  <a:lnTo>
                    <a:pt x="3172" y="1217"/>
                  </a:lnTo>
                  <a:lnTo>
                    <a:pt x="3089" y="1222"/>
                  </a:lnTo>
                  <a:lnTo>
                    <a:pt x="2988" y="1252"/>
                  </a:lnTo>
                  <a:lnTo>
                    <a:pt x="2934" y="1273"/>
                  </a:lnTo>
                  <a:lnTo>
                    <a:pt x="2900" y="1282"/>
                  </a:lnTo>
                  <a:lnTo>
                    <a:pt x="2753" y="1273"/>
                  </a:lnTo>
                  <a:lnTo>
                    <a:pt x="2588" y="1254"/>
                  </a:lnTo>
                  <a:lnTo>
                    <a:pt x="2551" y="1251"/>
                  </a:lnTo>
                  <a:lnTo>
                    <a:pt x="2519" y="1258"/>
                  </a:lnTo>
                  <a:lnTo>
                    <a:pt x="2449" y="1285"/>
                  </a:lnTo>
                  <a:lnTo>
                    <a:pt x="2416" y="1288"/>
                  </a:lnTo>
                  <a:lnTo>
                    <a:pt x="2385" y="1273"/>
                  </a:lnTo>
                  <a:lnTo>
                    <a:pt x="2348" y="1254"/>
                  </a:lnTo>
                  <a:lnTo>
                    <a:pt x="2304" y="1245"/>
                  </a:lnTo>
                  <a:lnTo>
                    <a:pt x="2264" y="1243"/>
                  </a:lnTo>
                  <a:lnTo>
                    <a:pt x="2234" y="1248"/>
                  </a:lnTo>
                  <a:lnTo>
                    <a:pt x="2171" y="1243"/>
                  </a:lnTo>
                  <a:lnTo>
                    <a:pt x="2116" y="1233"/>
                  </a:lnTo>
                  <a:lnTo>
                    <a:pt x="2094" y="1231"/>
                  </a:lnTo>
                  <a:lnTo>
                    <a:pt x="2053" y="1237"/>
                  </a:lnTo>
                  <a:lnTo>
                    <a:pt x="2013" y="1228"/>
                  </a:lnTo>
                  <a:lnTo>
                    <a:pt x="1970" y="1206"/>
                  </a:lnTo>
                  <a:lnTo>
                    <a:pt x="1929" y="1187"/>
                  </a:lnTo>
                  <a:lnTo>
                    <a:pt x="1912" y="1185"/>
                  </a:lnTo>
                  <a:lnTo>
                    <a:pt x="1899" y="1191"/>
                  </a:lnTo>
                  <a:lnTo>
                    <a:pt x="1850" y="1246"/>
                  </a:lnTo>
                  <a:lnTo>
                    <a:pt x="1818" y="1270"/>
                  </a:lnTo>
                  <a:lnTo>
                    <a:pt x="1777" y="1279"/>
                  </a:lnTo>
                  <a:lnTo>
                    <a:pt x="1512" y="1242"/>
                  </a:lnTo>
                  <a:lnTo>
                    <a:pt x="1471" y="1221"/>
                  </a:lnTo>
                  <a:lnTo>
                    <a:pt x="1436" y="1209"/>
                  </a:lnTo>
                  <a:lnTo>
                    <a:pt x="1383" y="1206"/>
                  </a:lnTo>
                  <a:lnTo>
                    <a:pt x="1340" y="1203"/>
                  </a:lnTo>
                  <a:lnTo>
                    <a:pt x="1317" y="1196"/>
                  </a:lnTo>
                  <a:lnTo>
                    <a:pt x="1291" y="1199"/>
                  </a:lnTo>
                  <a:lnTo>
                    <a:pt x="1241" y="1222"/>
                  </a:lnTo>
                  <a:lnTo>
                    <a:pt x="1182" y="1251"/>
                  </a:lnTo>
                  <a:lnTo>
                    <a:pt x="1141" y="1260"/>
                  </a:lnTo>
                  <a:lnTo>
                    <a:pt x="1052" y="1263"/>
                  </a:lnTo>
                  <a:lnTo>
                    <a:pt x="949" y="1267"/>
                  </a:lnTo>
                  <a:lnTo>
                    <a:pt x="902" y="1263"/>
                  </a:lnTo>
                  <a:lnTo>
                    <a:pt x="851" y="1248"/>
                  </a:lnTo>
                  <a:lnTo>
                    <a:pt x="765" y="1196"/>
                  </a:lnTo>
                  <a:lnTo>
                    <a:pt x="730" y="1179"/>
                  </a:lnTo>
                  <a:lnTo>
                    <a:pt x="712" y="1179"/>
                  </a:lnTo>
                  <a:lnTo>
                    <a:pt x="692" y="1185"/>
                  </a:lnTo>
                  <a:lnTo>
                    <a:pt x="636" y="1220"/>
                  </a:lnTo>
                  <a:lnTo>
                    <a:pt x="608" y="1230"/>
                  </a:lnTo>
                  <a:lnTo>
                    <a:pt x="561" y="1237"/>
                  </a:lnTo>
                  <a:lnTo>
                    <a:pt x="505" y="1234"/>
                  </a:lnTo>
                  <a:lnTo>
                    <a:pt x="454" y="1224"/>
                  </a:lnTo>
                  <a:lnTo>
                    <a:pt x="408" y="1214"/>
                  </a:lnTo>
                  <a:lnTo>
                    <a:pt x="364" y="1212"/>
                  </a:lnTo>
                  <a:lnTo>
                    <a:pt x="334" y="1218"/>
                  </a:lnTo>
                  <a:lnTo>
                    <a:pt x="314" y="1227"/>
                  </a:lnTo>
                  <a:lnTo>
                    <a:pt x="292" y="1234"/>
                  </a:lnTo>
                  <a:lnTo>
                    <a:pt x="251" y="1233"/>
                  </a:lnTo>
                  <a:lnTo>
                    <a:pt x="99" y="1200"/>
                  </a:lnTo>
                  <a:lnTo>
                    <a:pt x="0" y="1175"/>
                  </a:lnTo>
                  <a:close/>
                </a:path>
              </a:pathLst>
            </a:custGeom>
            <a:grpFill/>
            <a:ln w="0">
              <a:solidFill>
                <a:srgbClr val="E4E7E7"/>
              </a:solidFill>
              <a:round/>
              <a:headEnd/>
              <a:tailEnd/>
            </a:ln>
            <a:effectLst/>
          </p:spPr>
          <p:txBody>
            <a:bodyPr lIns="45720" rIns="4572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FE97A731-2817-F3B6-FBD1-C6D4DA513C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9" y="1129"/>
              <a:ext cx="2739" cy="334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  <a:effectLst/>
          </p:spPr>
          <p:txBody>
            <a:bodyPr lIns="45720" rIns="45720"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lang="en-US" sz="800" i="1" kern="0">
                  <a:solidFill>
                    <a:srgbClr val="000000"/>
                  </a:solidFill>
                </a:rPr>
                <a:t>Quantitative models delivered provided a more sensitive way of identification of fraudulent transactions.</a:t>
              </a: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52" name="Text Box 6">
              <a:extLst>
                <a:ext uri="{FF2B5EF4-FFF2-40B4-BE49-F238E27FC236}">
                  <a16:creationId xmlns:a16="http://schemas.microsoft.com/office/drawing/2014/main" id="{F2877C31-E87D-AEF1-BD73-6303F08CF97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00" y="1381"/>
              <a:ext cx="1013" cy="164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  <a:effectLst/>
          </p:spPr>
          <p:txBody>
            <a:bodyPr wrap="none" lIns="45720" rIns="45720"/>
            <a:lstStyle/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pl-PL" sz="700" b="1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TopTier UK BANK</a:t>
              </a:r>
              <a:endParaRPr kumimoji="0" lang="en-US" sz="700" b="1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57" name="Group 56" descr="q1">
            <a:extLst>
              <a:ext uri="{FF2B5EF4-FFF2-40B4-BE49-F238E27FC236}">
                <a16:creationId xmlns:a16="http://schemas.microsoft.com/office/drawing/2014/main" id="{FAA085A2-9B13-7317-4560-4074AE8EA234}"/>
              </a:ext>
            </a:extLst>
          </p:cNvPr>
          <p:cNvGrpSpPr>
            <a:grpSpLocks/>
          </p:cNvGrpSpPr>
          <p:nvPr/>
        </p:nvGrpSpPr>
        <p:grpSpPr bwMode="auto">
          <a:xfrm>
            <a:off x="10268463" y="2151623"/>
            <a:ext cx="1177726" cy="1179874"/>
            <a:chOff x="1749" y="1129"/>
            <a:chExt cx="2739" cy="504"/>
          </a:xfrm>
          <a:gradFill flip="none" rotWithShape="1">
            <a:gsLst>
              <a:gs pos="0">
                <a:srgbClr val="FC796F">
                  <a:tint val="66000"/>
                  <a:satMod val="160000"/>
                </a:srgbClr>
              </a:gs>
              <a:gs pos="50000">
                <a:srgbClr val="FC796F">
                  <a:tint val="44500"/>
                  <a:satMod val="160000"/>
                </a:srgbClr>
              </a:gs>
              <a:gs pos="100000">
                <a:srgbClr val="FC796F">
                  <a:tint val="23500"/>
                  <a:satMod val="160000"/>
                </a:srgbClr>
              </a:gs>
            </a:gsLst>
            <a:lin ang="13500000" scaled="1"/>
            <a:tileRect/>
          </a:gradFill>
        </p:grpSpPr>
        <p:sp>
          <p:nvSpPr>
            <p:cNvPr id="58" name="Freeform 4">
              <a:extLst>
                <a:ext uri="{FF2B5EF4-FFF2-40B4-BE49-F238E27FC236}">
                  <a16:creationId xmlns:a16="http://schemas.microsoft.com/office/drawing/2014/main" id="{20D6BD9F-3053-F79D-0B38-21589C23C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1129"/>
              <a:ext cx="2739" cy="50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004" y="1212"/>
                </a:cxn>
                <a:cxn ang="0">
                  <a:pos x="4962" y="1233"/>
                </a:cxn>
                <a:cxn ang="0">
                  <a:pos x="4872" y="1212"/>
                </a:cxn>
                <a:cxn ang="0">
                  <a:pos x="4747" y="1200"/>
                </a:cxn>
                <a:cxn ang="0">
                  <a:pos x="4644" y="1211"/>
                </a:cxn>
                <a:cxn ang="0">
                  <a:pos x="4536" y="1188"/>
                </a:cxn>
                <a:cxn ang="0">
                  <a:pos x="4480" y="1163"/>
                </a:cxn>
                <a:cxn ang="0">
                  <a:pos x="4408" y="1172"/>
                </a:cxn>
                <a:cxn ang="0">
                  <a:pos x="4297" y="1212"/>
                </a:cxn>
                <a:cxn ang="0">
                  <a:pos x="4219" y="1215"/>
                </a:cxn>
                <a:cxn ang="0">
                  <a:pos x="4171" y="1242"/>
                </a:cxn>
                <a:cxn ang="0">
                  <a:pos x="4078" y="1252"/>
                </a:cxn>
                <a:cxn ang="0">
                  <a:pos x="4073" y="1248"/>
                </a:cxn>
                <a:cxn ang="0">
                  <a:pos x="3987" y="1258"/>
                </a:cxn>
                <a:cxn ang="0">
                  <a:pos x="3646" y="1263"/>
                </a:cxn>
                <a:cxn ang="0">
                  <a:pos x="3562" y="1260"/>
                </a:cxn>
                <a:cxn ang="0">
                  <a:pos x="3521" y="1239"/>
                </a:cxn>
                <a:cxn ang="0">
                  <a:pos x="3451" y="1225"/>
                </a:cxn>
                <a:cxn ang="0">
                  <a:pos x="3377" y="1243"/>
                </a:cxn>
                <a:cxn ang="0">
                  <a:pos x="3348" y="1269"/>
                </a:cxn>
                <a:cxn ang="0">
                  <a:pos x="3285" y="1252"/>
                </a:cxn>
                <a:cxn ang="0">
                  <a:pos x="3202" y="1218"/>
                </a:cxn>
                <a:cxn ang="0">
                  <a:pos x="3089" y="1222"/>
                </a:cxn>
                <a:cxn ang="0">
                  <a:pos x="2934" y="1273"/>
                </a:cxn>
                <a:cxn ang="0">
                  <a:pos x="2753" y="1273"/>
                </a:cxn>
                <a:cxn ang="0">
                  <a:pos x="2551" y="1251"/>
                </a:cxn>
                <a:cxn ang="0">
                  <a:pos x="2449" y="1285"/>
                </a:cxn>
                <a:cxn ang="0">
                  <a:pos x="2385" y="1273"/>
                </a:cxn>
                <a:cxn ang="0">
                  <a:pos x="2304" y="1245"/>
                </a:cxn>
                <a:cxn ang="0">
                  <a:pos x="2234" y="1248"/>
                </a:cxn>
                <a:cxn ang="0">
                  <a:pos x="2116" y="1233"/>
                </a:cxn>
                <a:cxn ang="0">
                  <a:pos x="2053" y="1237"/>
                </a:cxn>
                <a:cxn ang="0">
                  <a:pos x="1970" y="1206"/>
                </a:cxn>
                <a:cxn ang="0">
                  <a:pos x="1912" y="1185"/>
                </a:cxn>
                <a:cxn ang="0">
                  <a:pos x="1850" y="1246"/>
                </a:cxn>
                <a:cxn ang="0">
                  <a:pos x="1777" y="1279"/>
                </a:cxn>
                <a:cxn ang="0">
                  <a:pos x="1471" y="1221"/>
                </a:cxn>
                <a:cxn ang="0">
                  <a:pos x="1383" y="1206"/>
                </a:cxn>
                <a:cxn ang="0">
                  <a:pos x="1317" y="1196"/>
                </a:cxn>
                <a:cxn ang="0">
                  <a:pos x="1241" y="1222"/>
                </a:cxn>
                <a:cxn ang="0">
                  <a:pos x="1141" y="1260"/>
                </a:cxn>
                <a:cxn ang="0">
                  <a:pos x="949" y="1267"/>
                </a:cxn>
                <a:cxn ang="0">
                  <a:pos x="851" y="1248"/>
                </a:cxn>
                <a:cxn ang="0">
                  <a:pos x="730" y="1179"/>
                </a:cxn>
                <a:cxn ang="0">
                  <a:pos x="692" y="1185"/>
                </a:cxn>
                <a:cxn ang="0">
                  <a:pos x="608" y="1230"/>
                </a:cxn>
                <a:cxn ang="0">
                  <a:pos x="505" y="1234"/>
                </a:cxn>
                <a:cxn ang="0">
                  <a:pos x="408" y="1214"/>
                </a:cxn>
                <a:cxn ang="0">
                  <a:pos x="334" y="1218"/>
                </a:cxn>
                <a:cxn ang="0">
                  <a:pos x="292" y="1234"/>
                </a:cxn>
                <a:cxn ang="0">
                  <a:pos x="99" y="1200"/>
                </a:cxn>
              </a:cxnLst>
              <a:rect l="0" t="0" r="r" b="b"/>
              <a:pathLst>
                <a:path w="5004" h="1288">
                  <a:moveTo>
                    <a:pt x="0" y="1175"/>
                  </a:moveTo>
                  <a:lnTo>
                    <a:pt x="0" y="0"/>
                  </a:lnTo>
                  <a:lnTo>
                    <a:pt x="5004" y="0"/>
                  </a:lnTo>
                  <a:lnTo>
                    <a:pt x="5004" y="1212"/>
                  </a:lnTo>
                  <a:lnTo>
                    <a:pt x="4986" y="1227"/>
                  </a:lnTo>
                  <a:lnTo>
                    <a:pt x="4962" y="1233"/>
                  </a:lnTo>
                  <a:lnTo>
                    <a:pt x="4924" y="1227"/>
                  </a:lnTo>
                  <a:lnTo>
                    <a:pt x="4872" y="1212"/>
                  </a:lnTo>
                  <a:lnTo>
                    <a:pt x="4810" y="1203"/>
                  </a:lnTo>
                  <a:lnTo>
                    <a:pt x="4747" y="1200"/>
                  </a:lnTo>
                  <a:lnTo>
                    <a:pt x="4694" y="1206"/>
                  </a:lnTo>
                  <a:lnTo>
                    <a:pt x="4644" y="1211"/>
                  </a:lnTo>
                  <a:lnTo>
                    <a:pt x="4588" y="1203"/>
                  </a:lnTo>
                  <a:lnTo>
                    <a:pt x="4536" y="1188"/>
                  </a:lnTo>
                  <a:lnTo>
                    <a:pt x="4497" y="1170"/>
                  </a:lnTo>
                  <a:lnTo>
                    <a:pt x="4480" y="1163"/>
                  </a:lnTo>
                  <a:lnTo>
                    <a:pt x="4458" y="1161"/>
                  </a:lnTo>
                  <a:lnTo>
                    <a:pt x="4408" y="1172"/>
                  </a:lnTo>
                  <a:lnTo>
                    <a:pt x="4326" y="1206"/>
                  </a:lnTo>
                  <a:lnTo>
                    <a:pt x="4297" y="1212"/>
                  </a:lnTo>
                  <a:lnTo>
                    <a:pt x="4257" y="1214"/>
                  </a:lnTo>
                  <a:lnTo>
                    <a:pt x="4219" y="1215"/>
                  </a:lnTo>
                  <a:lnTo>
                    <a:pt x="4192" y="1227"/>
                  </a:lnTo>
                  <a:lnTo>
                    <a:pt x="4171" y="1242"/>
                  </a:lnTo>
                  <a:lnTo>
                    <a:pt x="4145" y="1252"/>
                  </a:lnTo>
                  <a:lnTo>
                    <a:pt x="4078" y="1252"/>
                  </a:lnTo>
                  <a:lnTo>
                    <a:pt x="4065" y="1248"/>
                  </a:lnTo>
                  <a:lnTo>
                    <a:pt x="4073" y="1248"/>
                  </a:lnTo>
                  <a:lnTo>
                    <a:pt x="4061" y="1251"/>
                  </a:lnTo>
                  <a:lnTo>
                    <a:pt x="3987" y="1258"/>
                  </a:lnTo>
                  <a:lnTo>
                    <a:pt x="3757" y="1263"/>
                  </a:lnTo>
                  <a:lnTo>
                    <a:pt x="3646" y="1263"/>
                  </a:lnTo>
                  <a:lnTo>
                    <a:pt x="3599" y="1263"/>
                  </a:lnTo>
                  <a:lnTo>
                    <a:pt x="3562" y="1260"/>
                  </a:lnTo>
                  <a:lnTo>
                    <a:pt x="3534" y="1248"/>
                  </a:lnTo>
                  <a:lnTo>
                    <a:pt x="3521" y="1239"/>
                  </a:lnTo>
                  <a:lnTo>
                    <a:pt x="3501" y="1231"/>
                  </a:lnTo>
                  <a:lnTo>
                    <a:pt x="3451" y="1225"/>
                  </a:lnTo>
                  <a:lnTo>
                    <a:pt x="3399" y="1233"/>
                  </a:lnTo>
                  <a:lnTo>
                    <a:pt x="3377" y="1243"/>
                  </a:lnTo>
                  <a:lnTo>
                    <a:pt x="3361" y="1258"/>
                  </a:lnTo>
                  <a:lnTo>
                    <a:pt x="3348" y="1269"/>
                  </a:lnTo>
                  <a:lnTo>
                    <a:pt x="3329" y="1270"/>
                  </a:lnTo>
                  <a:lnTo>
                    <a:pt x="3285" y="1252"/>
                  </a:lnTo>
                  <a:lnTo>
                    <a:pt x="3231" y="1227"/>
                  </a:lnTo>
                  <a:lnTo>
                    <a:pt x="3202" y="1218"/>
                  </a:lnTo>
                  <a:lnTo>
                    <a:pt x="3172" y="1217"/>
                  </a:lnTo>
                  <a:lnTo>
                    <a:pt x="3089" y="1222"/>
                  </a:lnTo>
                  <a:lnTo>
                    <a:pt x="2988" y="1252"/>
                  </a:lnTo>
                  <a:lnTo>
                    <a:pt x="2934" y="1273"/>
                  </a:lnTo>
                  <a:lnTo>
                    <a:pt x="2900" y="1282"/>
                  </a:lnTo>
                  <a:lnTo>
                    <a:pt x="2753" y="1273"/>
                  </a:lnTo>
                  <a:lnTo>
                    <a:pt x="2588" y="1254"/>
                  </a:lnTo>
                  <a:lnTo>
                    <a:pt x="2551" y="1251"/>
                  </a:lnTo>
                  <a:lnTo>
                    <a:pt x="2519" y="1258"/>
                  </a:lnTo>
                  <a:lnTo>
                    <a:pt x="2449" y="1285"/>
                  </a:lnTo>
                  <a:lnTo>
                    <a:pt x="2416" y="1288"/>
                  </a:lnTo>
                  <a:lnTo>
                    <a:pt x="2385" y="1273"/>
                  </a:lnTo>
                  <a:lnTo>
                    <a:pt x="2348" y="1254"/>
                  </a:lnTo>
                  <a:lnTo>
                    <a:pt x="2304" y="1245"/>
                  </a:lnTo>
                  <a:lnTo>
                    <a:pt x="2264" y="1243"/>
                  </a:lnTo>
                  <a:lnTo>
                    <a:pt x="2234" y="1248"/>
                  </a:lnTo>
                  <a:lnTo>
                    <a:pt x="2171" y="1243"/>
                  </a:lnTo>
                  <a:lnTo>
                    <a:pt x="2116" y="1233"/>
                  </a:lnTo>
                  <a:lnTo>
                    <a:pt x="2094" y="1231"/>
                  </a:lnTo>
                  <a:lnTo>
                    <a:pt x="2053" y="1237"/>
                  </a:lnTo>
                  <a:lnTo>
                    <a:pt x="2013" y="1228"/>
                  </a:lnTo>
                  <a:lnTo>
                    <a:pt x="1970" y="1206"/>
                  </a:lnTo>
                  <a:lnTo>
                    <a:pt x="1929" y="1187"/>
                  </a:lnTo>
                  <a:lnTo>
                    <a:pt x="1912" y="1185"/>
                  </a:lnTo>
                  <a:lnTo>
                    <a:pt x="1899" y="1191"/>
                  </a:lnTo>
                  <a:lnTo>
                    <a:pt x="1850" y="1246"/>
                  </a:lnTo>
                  <a:lnTo>
                    <a:pt x="1818" y="1270"/>
                  </a:lnTo>
                  <a:lnTo>
                    <a:pt x="1777" y="1279"/>
                  </a:lnTo>
                  <a:lnTo>
                    <a:pt x="1512" y="1242"/>
                  </a:lnTo>
                  <a:lnTo>
                    <a:pt x="1471" y="1221"/>
                  </a:lnTo>
                  <a:lnTo>
                    <a:pt x="1436" y="1209"/>
                  </a:lnTo>
                  <a:lnTo>
                    <a:pt x="1383" y="1206"/>
                  </a:lnTo>
                  <a:lnTo>
                    <a:pt x="1340" y="1203"/>
                  </a:lnTo>
                  <a:lnTo>
                    <a:pt x="1317" y="1196"/>
                  </a:lnTo>
                  <a:lnTo>
                    <a:pt x="1291" y="1199"/>
                  </a:lnTo>
                  <a:lnTo>
                    <a:pt x="1241" y="1222"/>
                  </a:lnTo>
                  <a:lnTo>
                    <a:pt x="1182" y="1251"/>
                  </a:lnTo>
                  <a:lnTo>
                    <a:pt x="1141" y="1260"/>
                  </a:lnTo>
                  <a:lnTo>
                    <a:pt x="1052" y="1263"/>
                  </a:lnTo>
                  <a:lnTo>
                    <a:pt x="949" y="1267"/>
                  </a:lnTo>
                  <a:lnTo>
                    <a:pt x="902" y="1263"/>
                  </a:lnTo>
                  <a:lnTo>
                    <a:pt x="851" y="1248"/>
                  </a:lnTo>
                  <a:lnTo>
                    <a:pt x="765" y="1196"/>
                  </a:lnTo>
                  <a:lnTo>
                    <a:pt x="730" y="1179"/>
                  </a:lnTo>
                  <a:lnTo>
                    <a:pt x="712" y="1179"/>
                  </a:lnTo>
                  <a:lnTo>
                    <a:pt x="692" y="1185"/>
                  </a:lnTo>
                  <a:lnTo>
                    <a:pt x="636" y="1220"/>
                  </a:lnTo>
                  <a:lnTo>
                    <a:pt x="608" y="1230"/>
                  </a:lnTo>
                  <a:lnTo>
                    <a:pt x="561" y="1237"/>
                  </a:lnTo>
                  <a:lnTo>
                    <a:pt x="505" y="1234"/>
                  </a:lnTo>
                  <a:lnTo>
                    <a:pt x="454" y="1224"/>
                  </a:lnTo>
                  <a:lnTo>
                    <a:pt x="408" y="1214"/>
                  </a:lnTo>
                  <a:lnTo>
                    <a:pt x="364" y="1212"/>
                  </a:lnTo>
                  <a:lnTo>
                    <a:pt x="334" y="1218"/>
                  </a:lnTo>
                  <a:lnTo>
                    <a:pt x="314" y="1227"/>
                  </a:lnTo>
                  <a:lnTo>
                    <a:pt x="292" y="1234"/>
                  </a:lnTo>
                  <a:lnTo>
                    <a:pt x="251" y="1233"/>
                  </a:lnTo>
                  <a:lnTo>
                    <a:pt x="99" y="1200"/>
                  </a:lnTo>
                  <a:lnTo>
                    <a:pt x="0" y="1175"/>
                  </a:lnTo>
                  <a:close/>
                </a:path>
              </a:pathLst>
            </a:custGeom>
            <a:grpFill/>
            <a:ln w="0">
              <a:solidFill>
                <a:srgbClr val="E4E7E7"/>
              </a:solidFill>
              <a:round/>
              <a:headEnd/>
              <a:tailEnd/>
            </a:ln>
            <a:effectLst/>
          </p:spPr>
          <p:txBody>
            <a:bodyPr lIns="45720" rIns="4572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EB68603C-B873-7FA3-DF20-B613163D2D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9" y="1129"/>
              <a:ext cx="2739" cy="43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  <a:effectLst/>
          </p:spPr>
          <p:txBody>
            <a:bodyPr lIns="45720" rIns="45720"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lang="en-US" sz="800" i="1" kern="0">
                  <a:solidFill>
                    <a:srgbClr val="000000"/>
                  </a:solidFill>
                </a:rPr>
                <a:t>Demonstrated high precision of advanced analytics techniques for future development</a:t>
              </a:r>
              <a:r>
                <a:rPr lang="pl-PL" sz="800" i="1" kern="0">
                  <a:solidFill>
                    <a:srgbClr val="000000"/>
                  </a:solidFill>
                </a:rPr>
                <a:t>.</a:t>
              </a: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60" name="Text Box 6">
              <a:extLst>
                <a:ext uri="{FF2B5EF4-FFF2-40B4-BE49-F238E27FC236}">
                  <a16:creationId xmlns:a16="http://schemas.microsoft.com/office/drawing/2014/main" id="{65D2C88A-4675-46FD-2C6D-7F10B57B32A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61" y="1456"/>
              <a:ext cx="1013" cy="103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  <a:effectLst/>
          </p:spPr>
          <p:txBody>
            <a:bodyPr wrap="none" lIns="45720" rIns="45720"/>
            <a:lstStyle/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pl-PL" sz="700" b="1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Top Tier UK BANK</a:t>
              </a:r>
              <a:endParaRPr kumimoji="0" lang="en-US" sz="700" b="1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61" name="Group 60" descr="q1">
            <a:extLst>
              <a:ext uri="{FF2B5EF4-FFF2-40B4-BE49-F238E27FC236}">
                <a16:creationId xmlns:a16="http://schemas.microsoft.com/office/drawing/2014/main" id="{97EA18B5-1100-E4E1-2902-DB0E51D79A9A}"/>
              </a:ext>
            </a:extLst>
          </p:cNvPr>
          <p:cNvGrpSpPr>
            <a:grpSpLocks/>
          </p:cNvGrpSpPr>
          <p:nvPr/>
        </p:nvGrpSpPr>
        <p:grpSpPr bwMode="auto">
          <a:xfrm>
            <a:off x="8831421" y="1308222"/>
            <a:ext cx="1990382" cy="604424"/>
            <a:chOff x="1749" y="1129"/>
            <a:chExt cx="2739" cy="504"/>
          </a:xfrm>
          <a:gradFill flip="none" rotWithShape="1">
            <a:gsLst>
              <a:gs pos="0">
                <a:srgbClr val="FC796F">
                  <a:tint val="66000"/>
                  <a:satMod val="160000"/>
                </a:srgbClr>
              </a:gs>
              <a:gs pos="50000">
                <a:srgbClr val="FC796F">
                  <a:tint val="44500"/>
                  <a:satMod val="160000"/>
                </a:srgbClr>
              </a:gs>
              <a:gs pos="100000">
                <a:srgbClr val="FC796F">
                  <a:tint val="23500"/>
                  <a:satMod val="160000"/>
                </a:srgbClr>
              </a:gs>
            </a:gsLst>
            <a:lin ang="13500000" scaled="1"/>
            <a:tileRect/>
          </a:gradFill>
        </p:grpSpPr>
        <p:sp>
          <p:nvSpPr>
            <p:cNvPr id="64" name="Freeform 4">
              <a:extLst>
                <a:ext uri="{FF2B5EF4-FFF2-40B4-BE49-F238E27FC236}">
                  <a16:creationId xmlns:a16="http://schemas.microsoft.com/office/drawing/2014/main" id="{AA428C4A-6FF0-DECC-192E-4222DA1B6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1129"/>
              <a:ext cx="2739" cy="50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004" y="1212"/>
                </a:cxn>
                <a:cxn ang="0">
                  <a:pos x="4962" y="1233"/>
                </a:cxn>
                <a:cxn ang="0">
                  <a:pos x="4872" y="1212"/>
                </a:cxn>
                <a:cxn ang="0">
                  <a:pos x="4747" y="1200"/>
                </a:cxn>
                <a:cxn ang="0">
                  <a:pos x="4644" y="1211"/>
                </a:cxn>
                <a:cxn ang="0">
                  <a:pos x="4536" y="1188"/>
                </a:cxn>
                <a:cxn ang="0">
                  <a:pos x="4480" y="1163"/>
                </a:cxn>
                <a:cxn ang="0">
                  <a:pos x="4408" y="1172"/>
                </a:cxn>
                <a:cxn ang="0">
                  <a:pos x="4297" y="1212"/>
                </a:cxn>
                <a:cxn ang="0">
                  <a:pos x="4219" y="1215"/>
                </a:cxn>
                <a:cxn ang="0">
                  <a:pos x="4171" y="1242"/>
                </a:cxn>
                <a:cxn ang="0">
                  <a:pos x="4078" y="1252"/>
                </a:cxn>
                <a:cxn ang="0">
                  <a:pos x="4073" y="1248"/>
                </a:cxn>
                <a:cxn ang="0">
                  <a:pos x="3987" y="1258"/>
                </a:cxn>
                <a:cxn ang="0">
                  <a:pos x="3646" y="1263"/>
                </a:cxn>
                <a:cxn ang="0">
                  <a:pos x="3562" y="1260"/>
                </a:cxn>
                <a:cxn ang="0">
                  <a:pos x="3521" y="1239"/>
                </a:cxn>
                <a:cxn ang="0">
                  <a:pos x="3451" y="1225"/>
                </a:cxn>
                <a:cxn ang="0">
                  <a:pos x="3377" y="1243"/>
                </a:cxn>
                <a:cxn ang="0">
                  <a:pos x="3348" y="1269"/>
                </a:cxn>
                <a:cxn ang="0">
                  <a:pos x="3285" y="1252"/>
                </a:cxn>
                <a:cxn ang="0">
                  <a:pos x="3202" y="1218"/>
                </a:cxn>
                <a:cxn ang="0">
                  <a:pos x="3089" y="1222"/>
                </a:cxn>
                <a:cxn ang="0">
                  <a:pos x="2934" y="1273"/>
                </a:cxn>
                <a:cxn ang="0">
                  <a:pos x="2753" y="1273"/>
                </a:cxn>
                <a:cxn ang="0">
                  <a:pos x="2551" y="1251"/>
                </a:cxn>
                <a:cxn ang="0">
                  <a:pos x="2449" y="1285"/>
                </a:cxn>
                <a:cxn ang="0">
                  <a:pos x="2385" y="1273"/>
                </a:cxn>
                <a:cxn ang="0">
                  <a:pos x="2304" y="1245"/>
                </a:cxn>
                <a:cxn ang="0">
                  <a:pos x="2234" y="1248"/>
                </a:cxn>
                <a:cxn ang="0">
                  <a:pos x="2116" y="1233"/>
                </a:cxn>
                <a:cxn ang="0">
                  <a:pos x="2053" y="1237"/>
                </a:cxn>
                <a:cxn ang="0">
                  <a:pos x="1970" y="1206"/>
                </a:cxn>
                <a:cxn ang="0">
                  <a:pos x="1912" y="1185"/>
                </a:cxn>
                <a:cxn ang="0">
                  <a:pos x="1850" y="1246"/>
                </a:cxn>
                <a:cxn ang="0">
                  <a:pos x="1777" y="1279"/>
                </a:cxn>
                <a:cxn ang="0">
                  <a:pos x="1471" y="1221"/>
                </a:cxn>
                <a:cxn ang="0">
                  <a:pos x="1383" y="1206"/>
                </a:cxn>
                <a:cxn ang="0">
                  <a:pos x="1317" y="1196"/>
                </a:cxn>
                <a:cxn ang="0">
                  <a:pos x="1241" y="1222"/>
                </a:cxn>
                <a:cxn ang="0">
                  <a:pos x="1141" y="1260"/>
                </a:cxn>
                <a:cxn ang="0">
                  <a:pos x="949" y="1267"/>
                </a:cxn>
                <a:cxn ang="0">
                  <a:pos x="851" y="1248"/>
                </a:cxn>
                <a:cxn ang="0">
                  <a:pos x="730" y="1179"/>
                </a:cxn>
                <a:cxn ang="0">
                  <a:pos x="692" y="1185"/>
                </a:cxn>
                <a:cxn ang="0">
                  <a:pos x="608" y="1230"/>
                </a:cxn>
                <a:cxn ang="0">
                  <a:pos x="505" y="1234"/>
                </a:cxn>
                <a:cxn ang="0">
                  <a:pos x="408" y="1214"/>
                </a:cxn>
                <a:cxn ang="0">
                  <a:pos x="334" y="1218"/>
                </a:cxn>
                <a:cxn ang="0">
                  <a:pos x="292" y="1234"/>
                </a:cxn>
                <a:cxn ang="0">
                  <a:pos x="99" y="1200"/>
                </a:cxn>
              </a:cxnLst>
              <a:rect l="0" t="0" r="r" b="b"/>
              <a:pathLst>
                <a:path w="5004" h="1288">
                  <a:moveTo>
                    <a:pt x="0" y="1175"/>
                  </a:moveTo>
                  <a:lnTo>
                    <a:pt x="0" y="0"/>
                  </a:lnTo>
                  <a:lnTo>
                    <a:pt x="5004" y="0"/>
                  </a:lnTo>
                  <a:lnTo>
                    <a:pt x="5004" y="1212"/>
                  </a:lnTo>
                  <a:lnTo>
                    <a:pt x="4986" y="1227"/>
                  </a:lnTo>
                  <a:lnTo>
                    <a:pt x="4962" y="1233"/>
                  </a:lnTo>
                  <a:lnTo>
                    <a:pt x="4924" y="1227"/>
                  </a:lnTo>
                  <a:lnTo>
                    <a:pt x="4872" y="1212"/>
                  </a:lnTo>
                  <a:lnTo>
                    <a:pt x="4810" y="1203"/>
                  </a:lnTo>
                  <a:lnTo>
                    <a:pt x="4747" y="1200"/>
                  </a:lnTo>
                  <a:lnTo>
                    <a:pt x="4694" y="1206"/>
                  </a:lnTo>
                  <a:lnTo>
                    <a:pt x="4644" y="1211"/>
                  </a:lnTo>
                  <a:lnTo>
                    <a:pt x="4588" y="1203"/>
                  </a:lnTo>
                  <a:lnTo>
                    <a:pt x="4536" y="1188"/>
                  </a:lnTo>
                  <a:lnTo>
                    <a:pt x="4497" y="1170"/>
                  </a:lnTo>
                  <a:lnTo>
                    <a:pt x="4480" y="1163"/>
                  </a:lnTo>
                  <a:lnTo>
                    <a:pt x="4458" y="1161"/>
                  </a:lnTo>
                  <a:lnTo>
                    <a:pt x="4408" y="1172"/>
                  </a:lnTo>
                  <a:lnTo>
                    <a:pt x="4326" y="1206"/>
                  </a:lnTo>
                  <a:lnTo>
                    <a:pt x="4297" y="1212"/>
                  </a:lnTo>
                  <a:lnTo>
                    <a:pt x="4257" y="1214"/>
                  </a:lnTo>
                  <a:lnTo>
                    <a:pt x="4219" y="1215"/>
                  </a:lnTo>
                  <a:lnTo>
                    <a:pt x="4192" y="1227"/>
                  </a:lnTo>
                  <a:lnTo>
                    <a:pt x="4171" y="1242"/>
                  </a:lnTo>
                  <a:lnTo>
                    <a:pt x="4145" y="1252"/>
                  </a:lnTo>
                  <a:lnTo>
                    <a:pt x="4078" y="1252"/>
                  </a:lnTo>
                  <a:lnTo>
                    <a:pt x="4065" y="1248"/>
                  </a:lnTo>
                  <a:lnTo>
                    <a:pt x="4073" y="1248"/>
                  </a:lnTo>
                  <a:lnTo>
                    <a:pt x="4061" y="1251"/>
                  </a:lnTo>
                  <a:lnTo>
                    <a:pt x="3987" y="1258"/>
                  </a:lnTo>
                  <a:lnTo>
                    <a:pt x="3757" y="1263"/>
                  </a:lnTo>
                  <a:lnTo>
                    <a:pt x="3646" y="1263"/>
                  </a:lnTo>
                  <a:lnTo>
                    <a:pt x="3599" y="1263"/>
                  </a:lnTo>
                  <a:lnTo>
                    <a:pt x="3562" y="1260"/>
                  </a:lnTo>
                  <a:lnTo>
                    <a:pt x="3534" y="1248"/>
                  </a:lnTo>
                  <a:lnTo>
                    <a:pt x="3521" y="1239"/>
                  </a:lnTo>
                  <a:lnTo>
                    <a:pt x="3501" y="1231"/>
                  </a:lnTo>
                  <a:lnTo>
                    <a:pt x="3451" y="1225"/>
                  </a:lnTo>
                  <a:lnTo>
                    <a:pt x="3399" y="1233"/>
                  </a:lnTo>
                  <a:lnTo>
                    <a:pt x="3377" y="1243"/>
                  </a:lnTo>
                  <a:lnTo>
                    <a:pt x="3361" y="1258"/>
                  </a:lnTo>
                  <a:lnTo>
                    <a:pt x="3348" y="1269"/>
                  </a:lnTo>
                  <a:lnTo>
                    <a:pt x="3329" y="1270"/>
                  </a:lnTo>
                  <a:lnTo>
                    <a:pt x="3285" y="1252"/>
                  </a:lnTo>
                  <a:lnTo>
                    <a:pt x="3231" y="1227"/>
                  </a:lnTo>
                  <a:lnTo>
                    <a:pt x="3202" y="1218"/>
                  </a:lnTo>
                  <a:lnTo>
                    <a:pt x="3172" y="1217"/>
                  </a:lnTo>
                  <a:lnTo>
                    <a:pt x="3089" y="1222"/>
                  </a:lnTo>
                  <a:lnTo>
                    <a:pt x="2988" y="1252"/>
                  </a:lnTo>
                  <a:lnTo>
                    <a:pt x="2934" y="1273"/>
                  </a:lnTo>
                  <a:lnTo>
                    <a:pt x="2900" y="1282"/>
                  </a:lnTo>
                  <a:lnTo>
                    <a:pt x="2753" y="1273"/>
                  </a:lnTo>
                  <a:lnTo>
                    <a:pt x="2588" y="1254"/>
                  </a:lnTo>
                  <a:lnTo>
                    <a:pt x="2551" y="1251"/>
                  </a:lnTo>
                  <a:lnTo>
                    <a:pt x="2519" y="1258"/>
                  </a:lnTo>
                  <a:lnTo>
                    <a:pt x="2449" y="1285"/>
                  </a:lnTo>
                  <a:lnTo>
                    <a:pt x="2416" y="1288"/>
                  </a:lnTo>
                  <a:lnTo>
                    <a:pt x="2385" y="1273"/>
                  </a:lnTo>
                  <a:lnTo>
                    <a:pt x="2348" y="1254"/>
                  </a:lnTo>
                  <a:lnTo>
                    <a:pt x="2304" y="1245"/>
                  </a:lnTo>
                  <a:lnTo>
                    <a:pt x="2264" y="1243"/>
                  </a:lnTo>
                  <a:lnTo>
                    <a:pt x="2234" y="1248"/>
                  </a:lnTo>
                  <a:lnTo>
                    <a:pt x="2171" y="1243"/>
                  </a:lnTo>
                  <a:lnTo>
                    <a:pt x="2116" y="1233"/>
                  </a:lnTo>
                  <a:lnTo>
                    <a:pt x="2094" y="1231"/>
                  </a:lnTo>
                  <a:lnTo>
                    <a:pt x="2053" y="1237"/>
                  </a:lnTo>
                  <a:lnTo>
                    <a:pt x="2013" y="1228"/>
                  </a:lnTo>
                  <a:lnTo>
                    <a:pt x="1970" y="1206"/>
                  </a:lnTo>
                  <a:lnTo>
                    <a:pt x="1929" y="1187"/>
                  </a:lnTo>
                  <a:lnTo>
                    <a:pt x="1912" y="1185"/>
                  </a:lnTo>
                  <a:lnTo>
                    <a:pt x="1899" y="1191"/>
                  </a:lnTo>
                  <a:lnTo>
                    <a:pt x="1850" y="1246"/>
                  </a:lnTo>
                  <a:lnTo>
                    <a:pt x="1818" y="1270"/>
                  </a:lnTo>
                  <a:lnTo>
                    <a:pt x="1777" y="1279"/>
                  </a:lnTo>
                  <a:lnTo>
                    <a:pt x="1512" y="1242"/>
                  </a:lnTo>
                  <a:lnTo>
                    <a:pt x="1471" y="1221"/>
                  </a:lnTo>
                  <a:lnTo>
                    <a:pt x="1436" y="1209"/>
                  </a:lnTo>
                  <a:lnTo>
                    <a:pt x="1383" y="1206"/>
                  </a:lnTo>
                  <a:lnTo>
                    <a:pt x="1340" y="1203"/>
                  </a:lnTo>
                  <a:lnTo>
                    <a:pt x="1317" y="1196"/>
                  </a:lnTo>
                  <a:lnTo>
                    <a:pt x="1291" y="1199"/>
                  </a:lnTo>
                  <a:lnTo>
                    <a:pt x="1241" y="1222"/>
                  </a:lnTo>
                  <a:lnTo>
                    <a:pt x="1182" y="1251"/>
                  </a:lnTo>
                  <a:lnTo>
                    <a:pt x="1141" y="1260"/>
                  </a:lnTo>
                  <a:lnTo>
                    <a:pt x="1052" y="1263"/>
                  </a:lnTo>
                  <a:lnTo>
                    <a:pt x="949" y="1267"/>
                  </a:lnTo>
                  <a:lnTo>
                    <a:pt x="902" y="1263"/>
                  </a:lnTo>
                  <a:lnTo>
                    <a:pt x="851" y="1248"/>
                  </a:lnTo>
                  <a:lnTo>
                    <a:pt x="765" y="1196"/>
                  </a:lnTo>
                  <a:lnTo>
                    <a:pt x="730" y="1179"/>
                  </a:lnTo>
                  <a:lnTo>
                    <a:pt x="712" y="1179"/>
                  </a:lnTo>
                  <a:lnTo>
                    <a:pt x="692" y="1185"/>
                  </a:lnTo>
                  <a:lnTo>
                    <a:pt x="636" y="1220"/>
                  </a:lnTo>
                  <a:lnTo>
                    <a:pt x="608" y="1230"/>
                  </a:lnTo>
                  <a:lnTo>
                    <a:pt x="561" y="1237"/>
                  </a:lnTo>
                  <a:lnTo>
                    <a:pt x="505" y="1234"/>
                  </a:lnTo>
                  <a:lnTo>
                    <a:pt x="454" y="1224"/>
                  </a:lnTo>
                  <a:lnTo>
                    <a:pt x="408" y="1214"/>
                  </a:lnTo>
                  <a:lnTo>
                    <a:pt x="364" y="1212"/>
                  </a:lnTo>
                  <a:lnTo>
                    <a:pt x="334" y="1218"/>
                  </a:lnTo>
                  <a:lnTo>
                    <a:pt x="314" y="1227"/>
                  </a:lnTo>
                  <a:lnTo>
                    <a:pt x="292" y="1234"/>
                  </a:lnTo>
                  <a:lnTo>
                    <a:pt x="251" y="1233"/>
                  </a:lnTo>
                  <a:lnTo>
                    <a:pt x="99" y="1200"/>
                  </a:lnTo>
                  <a:lnTo>
                    <a:pt x="0" y="1175"/>
                  </a:lnTo>
                  <a:close/>
                </a:path>
              </a:pathLst>
            </a:custGeom>
            <a:grpFill/>
            <a:ln w="0">
              <a:solidFill>
                <a:srgbClr val="E4E7E7"/>
              </a:solidFill>
              <a:round/>
              <a:headEnd/>
              <a:tailEnd/>
            </a:ln>
            <a:effectLst/>
          </p:spPr>
          <p:txBody>
            <a:bodyPr lIns="45720" rIns="4572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84CFD54E-BC70-DD99-3B21-06EA72EB7C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9" y="1129"/>
              <a:ext cx="2739" cy="430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  <a:effectLst/>
          </p:spPr>
          <p:txBody>
            <a:bodyPr lIns="45720" rIns="45720"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lang="en-US" sz="800" i="1" kern="0">
                  <a:solidFill>
                    <a:srgbClr val="000000"/>
                  </a:solidFill>
                </a:rPr>
                <a:t>Automated solution allowing on time data update and timely review scheduling.</a:t>
              </a: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0" name="Text Box 6">
              <a:extLst>
                <a:ext uri="{FF2B5EF4-FFF2-40B4-BE49-F238E27FC236}">
                  <a16:creationId xmlns:a16="http://schemas.microsoft.com/office/drawing/2014/main" id="{00DE363E-0E17-0C66-8E5B-8D7BEE9393C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61" y="1456"/>
              <a:ext cx="1013" cy="103"/>
            </a:xfrm>
            <a:prstGeom prst="rect">
              <a:avLst/>
            </a:prstGeom>
            <a:grpFill/>
            <a:ln w="0">
              <a:noFill/>
              <a:miter lim="800000"/>
              <a:headEnd/>
              <a:tailEnd/>
            </a:ln>
            <a:effectLst/>
          </p:spPr>
          <p:txBody>
            <a:bodyPr wrap="none" lIns="45720" rIns="45720"/>
            <a:lstStyle/>
            <a:p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pl-PL" sz="700" b="1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Top Tier UK BANK</a:t>
              </a:r>
              <a:endParaRPr kumimoji="0" lang="en-US" sz="700" b="1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2E668BF8-E67F-71C5-2FC7-49D61C3B807A}"/>
              </a:ext>
            </a:extLst>
          </p:cNvPr>
          <p:cNvSpPr txBox="1"/>
          <p:nvPr/>
        </p:nvSpPr>
        <p:spPr>
          <a:xfrm>
            <a:off x="6173263" y="3767379"/>
            <a:ext cx="552916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EF885F"/>
                </a:solidFill>
                <a:effectLst/>
                <a:uLnTx/>
                <a:uFillTx/>
                <a:ea typeface="+mn-ea"/>
                <a:cs typeface="Arial"/>
              </a:rPr>
              <a:t>Gen AI Powered Solution</a:t>
            </a:r>
            <a:r>
              <a:rPr lang="en-US" sz="1600" b="1">
                <a:solidFill>
                  <a:srgbClr val="EF885F"/>
                </a:solidFill>
              </a:rPr>
              <a:t> </a:t>
            </a:r>
            <a:endParaRPr lang="pl-PL" sz="1600" b="1">
              <a:solidFill>
                <a:srgbClr val="EF885F"/>
              </a:solidFill>
            </a:endParaRPr>
          </a:p>
        </p:txBody>
      </p:sp>
      <p:pic>
        <p:nvPicPr>
          <p:cNvPr id="1318" name="Picture 1317">
            <a:extLst>
              <a:ext uri="{FF2B5EF4-FFF2-40B4-BE49-F238E27FC236}">
                <a16:creationId xmlns:a16="http://schemas.microsoft.com/office/drawing/2014/main" id="{95A5805B-A578-197F-CDA6-9922F67DF90B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497060" y="4265660"/>
            <a:ext cx="3824404" cy="1049321"/>
          </a:xfrm>
          <a:prstGeom prst="rect">
            <a:avLst/>
          </a:prstGeom>
        </p:spPr>
      </p:pic>
      <p:sp>
        <p:nvSpPr>
          <p:cNvPr id="1320" name="Freeform 6">
            <a:extLst>
              <a:ext uri="{FF2B5EF4-FFF2-40B4-BE49-F238E27FC236}">
                <a16:creationId xmlns:a16="http://schemas.microsoft.com/office/drawing/2014/main" id="{24686CBF-DC08-FDBA-EB3B-4912EB68DFA0}"/>
              </a:ext>
            </a:extLst>
          </p:cNvPr>
          <p:cNvSpPr>
            <a:spLocks/>
          </p:cNvSpPr>
          <p:nvPr/>
        </p:nvSpPr>
        <p:spPr bwMode="auto">
          <a:xfrm>
            <a:off x="10811630" y="3867391"/>
            <a:ext cx="1024805" cy="1205124"/>
          </a:xfrm>
          <a:custGeom>
            <a:avLst/>
            <a:gdLst>
              <a:gd name="T0" fmla="*/ 7252 w 7737"/>
              <a:gd name="T1" fmla="*/ 5613 h 8527"/>
              <a:gd name="T2" fmla="*/ 7184 w 7737"/>
              <a:gd name="T3" fmla="*/ 5379 h 8527"/>
              <a:gd name="T4" fmla="*/ 7268 w 7737"/>
              <a:gd name="T5" fmla="*/ 5280 h 8527"/>
              <a:gd name="T6" fmla="*/ 7587 w 7737"/>
              <a:gd name="T7" fmla="*/ 5155 h 8527"/>
              <a:gd name="T8" fmla="*/ 7700 w 7737"/>
              <a:gd name="T9" fmla="*/ 5074 h 8527"/>
              <a:gd name="T10" fmla="*/ 7735 w 7737"/>
              <a:gd name="T11" fmla="*/ 4944 h 8527"/>
              <a:gd name="T12" fmla="*/ 7653 w 7737"/>
              <a:gd name="T13" fmla="*/ 4744 h 8527"/>
              <a:gd name="T14" fmla="*/ 7308 w 7737"/>
              <a:gd name="T15" fmla="*/ 4169 h 8527"/>
              <a:gd name="T16" fmla="*/ 7009 w 7737"/>
              <a:gd name="T17" fmla="*/ 3734 h 8527"/>
              <a:gd name="T18" fmla="*/ 6942 w 7737"/>
              <a:gd name="T19" fmla="*/ 3599 h 8527"/>
              <a:gd name="T20" fmla="*/ 6993 w 7737"/>
              <a:gd name="T21" fmla="*/ 3515 h 8527"/>
              <a:gd name="T22" fmla="*/ 7064 w 7737"/>
              <a:gd name="T23" fmla="*/ 3400 h 8527"/>
              <a:gd name="T24" fmla="*/ 7061 w 7737"/>
              <a:gd name="T25" fmla="*/ 3175 h 8527"/>
              <a:gd name="T26" fmla="*/ 6971 w 7737"/>
              <a:gd name="T27" fmla="*/ 2714 h 8527"/>
              <a:gd name="T28" fmla="*/ 6785 w 7737"/>
              <a:gd name="T29" fmla="*/ 2122 h 8527"/>
              <a:gd name="T30" fmla="*/ 6534 w 7737"/>
              <a:gd name="T31" fmla="*/ 1603 h 8527"/>
              <a:gd name="T32" fmla="*/ 6223 w 7737"/>
              <a:gd name="T33" fmla="*/ 1143 h 8527"/>
              <a:gd name="T34" fmla="*/ 5848 w 7737"/>
              <a:gd name="T35" fmla="*/ 753 h 8527"/>
              <a:gd name="T36" fmla="*/ 5388 w 7737"/>
              <a:gd name="T37" fmla="*/ 437 h 8527"/>
              <a:gd name="T38" fmla="*/ 4822 w 7737"/>
              <a:gd name="T39" fmla="*/ 197 h 8527"/>
              <a:gd name="T40" fmla="*/ 4170 w 7737"/>
              <a:gd name="T41" fmla="*/ 49 h 8527"/>
              <a:gd name="T42" fmla="*/ 3475 w 7737"/>
              <a:gd name="T43" fmla="*/ 0 h 8527"/>
              <a:gd name="T44" fmla="*/ 2778 w 7737"/>
              <a:gd name="T45" fmla="*/ 48 h 8527"/>
              <a:gd name="T46" fmla="*/ 2121 w 7737"/>
              <a:gd name="T47" fmla="*/ 197 h 8527"/>
              <a:gd name="T48" fmla="*/ 1550 w 7737"/>
              <a:gd name="T49" fmla="*/ 432 h 8527"/>
              <a:gd name="T50" fmla="*/ 1081 w 7737"/>
              <a:gd name="T51" fmla="*/ 739 h 8527"/>
              <a:gd name="T52" fmla="*/ 701 w 7737"/>
              <a:gd name="T53" fmla="*/ 1118 h 8527"/>
              <a:gd name="T54" fmla="*/ 387 w 7737"/>
              <a:gd name="T55" fmla="*/ 1573 h 8527"/>
              <a:gd name="T56" fmla="*/ 145 w 7737"/>
              <a:gd name="T57" fmla="*/ 2148 h 8527"/>
              <a:gd name="T58" fmla="*/ 16 w 7737"/>
              <a:gd name="T59" fmla="*/ 2802 h 8527"/>
              <a:gd name="T60" fmla="*/ 19 w 7737"/>
              <a:gd name="T61" fmla="*/ 3483 h 8527"/>
              <a:gd name="T62" fmla="*/ 177 w 7737"/>
              <a:gd name="T63" fmla="*/ 4164 h 8527"/>
              <a:gd name="T64" fmla="*/ 496 w 7737"/>
              <a:gd name="T65" fmla="*/ 4818 h 8527"/>
              <a:gd name="T66" fmla="*/ 878 w 7737"/>
              <a:gd name="T67" fmla="*/ 5312 h 8527"/>
              <a:gd name="T68" fmla="*/ 1201 w 7737"/>
              <a:gd name="T69" fmla="*/ 5726 h 8527"/>
              <a:gd name="T70" fmla="*/ 1381 w 7737"/>
              <a:gd name="T71" fmla="*/ 6193 h 8527"/>
              <a:gd name="T72" fmla="*/ 1460 w 7737"/>
              <a:gd name="T73" fmla="*/ 6769 h 8527"/>
              <a:gd name="T74" fmla="*/ 1435 w 7737"/>
              <a:gd name="T75" fmla="*/ 7366 h 8527"/>
              <a:gd name="T76" fmla="*/ 1305 w 7737"/>
              <a:gd name="T77" fmla="*/ 7948 h 8527"/>
              <a:gd name="T78" fmla="*/ 1126 w 7737"/>
              <a:gd name="T79" fmla="*/ 8377 h 8527"/>
              <a:gd name="T80" fmla="*/ 5156 w 7737"/>
              <a:gd name="T81" fmla="*/ 8526 h 8527"/>
              <a:gd name="T82" fmla="*/ 5224 w 7737"/>
              <a:gd name="T83" fmla="*/ 8251 h 8527"/>
              <a:gd name="T84" fmla="*/ 5269 w 7737"/>
              <a:gd name="T85" fmla="*/ 7750 h 8527"/>
              <a:gd name="T86" fmla="*/ 5352 w 7737"/>
              <a:gd name="T87" fmla="*/ 7501 h 8527"/>
              <a:gd name="T88" fmla="*/ 5539 w 7737"/>
              <a:gd name="T89" fmla="*/ 7420 h 8527"/>
              <a:gd name="T90" fmla="*/ 5823 w 7737"/>
              <a:gd name="T91" fmla="*/ 7441 h 8527"/>
              <a:gd name="T92" fmla="*/ 6332 w 7737"/>
              <a:gd name="T93" fmla="*/ 7510 h 8527"/>
              <a:gd name="T94" fmla="*/ 6649 w 7737"/>
              <a:gd name="T95" fmla="*/ 7499 h 8527"/>
              <a:gd name="T96" fmla="*/ 6912 w 7737"/>
              <a:gd name="T97" fmla="*/ 7391 h 8527"/>
              <a:gd name="T98" fmla="*/ 7058 w 7737"/>
              <a:gd name="T99" fmla="*/ 7204 h 8527"/>
              <a:gd name="T100" fmla="*/ 7097 w 7737"/>
              <a:gd name="T101" fmla="*/ 6951 h 8527"/>
              <a:gd name="T102" fmla="*/ 7032 w 7737"/>
              <a:gd name="T103" fmla="*/ 6644 h 8527"/>
              <a:gd name="T104" fmla="*/ 6950 w 7737"/>
              <a:gd name="T105" fmla="*/ 6392 h 8527"/>
              <a:gd name="T106" fmla="*/ 6998 w 7737"/>
              <a:gd name="T107" fmla="*/ 6331 h 8527"/>
              <a:gd name="T108" fmla="*/ 7207 w 7737"/>
              <a:gd name="T109" fmla="*/ 6138 h 8527"/>
              <a:gd name="T110" fmla="*/ 7173 w 7737"/>
              <a:gd name="T111" fmla="*/ 6034 h 8527"/>
              <a:gd name="T112" fmla="*/ 7034 w 7737"/>
              <a:gd name="T113" fmla="*/ 5946 h 8527"/>
              <a:gd name="T114" fmla="*/ 7133 w 7737"/>
              <a:gd name="T115" fmla="*/ 5876 h 8527"/>
              <a:gd name="T116" fmla="*/ 7262 w 7737"/>
              <a:gd name="T117" fmla="*/ 5794 h 8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7737" h="8527">
                <a:moveTo>
                  <a:pt x="7262" y="5794"/>
                </a:moveTo>
                <a:lnTo>
                  <a:pt x="7265" y="5765"/>
                </a:lnTo>
                <a:lnTo>
                  <a:pt x="7266" y="5737"/>
                </a:lnTo>
                <a:lnTo>
                  <a:pt x="7266" y="5710"/>
                </a:lnTo>
                <a:lnTo>
                  <a:pt x="7264" y="5684"/>
                </a:lnTo>
                <a:lnTo>
                  <a:pt x="7261" y="5659"/>
                </a:lnTo>
                <a:lnTo>
                  <a:pt x="7256" y="5636"/>
                </a:lnTo>
                <a:lnTo>
                  <a:pt x="7252" y="5613"/>
                </a:lnTo>
                <a:lnTo>
                  <a:pt x="7246" y="5592"/>
                </a:lnTo>
                <a:lnTo>
                  <a:pt x="7219" y="5514"/>
                </a:lnTo>
                <a:lnTo>
                  <a:pt x="7193" y="5448"/>
                </a:lnTo>
                <a:lnTo>
                  <a:pt x="7189" y="5434"/>
                </a:lnTo>
                <a:lnTo>
                  <a:pt x="7186" y="5419"/>
                </a:lnTo>
                <a:lnTo>
                  <a:pt x="7184" y="5405"/>
                </a:lnTo>
                <a:lnTo>
                  <a:pt x="7184" y="5392"/>
                </a:lnTo>
                <a:lnTo>
                  <a:pt x="7184" y="5379"/>
                </a:lnTo>
                <a:lnTo>
                  <a:pt x="7187" y="5366"/>
                </a:lnTo>
                <a:lnTo>
                  <a:pt x="7191" y="5352"/>
                </a:lnTo>
                <a:lnTo>
                  <a:pt x="7198" y="5340"/>
                </a:lnTo>
                <a:lnTo>
                  <a:pt x="7207" y="5328"/>
                </a:lnTo>
                <a:lnTo>
                  <a:pt x="7218" y="5316"/>
                </a:lnTo>
                <a:lnTo>
                  <a:pt x="7232" y="5304"/>
                </a:lnTo>
                <a:lnTo>
                  <a:pt x="7248" y="5292"/>
                </a:lnTo>
                <a:lnTo>
                  <a:pt x="7268" y="5280"/>
                </a:lnTo>
                <a:lnTo>
                  <a:pt x="7291" y="5268"/>
                </a:lnTo>
                <a:lnTo>
                  <a:pt x="7319" y="5256"/>
                </a:lnTo>
                <a:lnTo>
                  <a:pt x="7349" y="5243"/>
                </a:lnTo>
                <a:lnTo>
                  <a:pt x="7420" y="5217"/>
                </a:lnTo>
                <a:lnTo>
                  <a:pt x="7496" y="5192"/>
                </a:lnTo>
                <a:lnTo>
                  <a:pt x="7533" y="5179"/>
                </a:lnTo>
                <a:lnTo>
                  <a:pt x="7570" y="5163"/>
                </a:lnTo>
                <a:lnTo>
                  <a:pt x="7587" y="5155"/>
                </a:lnTo>
                <a:lnTo>
                  <a:pt x="7605" y="5148"/>
                </a:lnTo>
                <a:lnTo>
                  <a:pt x="7621" y="5139"/>
                </a:lnTo>
                <a:lnTo>
                  <a:pt x="7637" y="5129"/>
                </a:lnTo>
                <a:lnTo>
                  <a:pt x="7651" y="5120"/>
                </a:lnTo>
                <a:lnTo>
                  <a:pt x="7665" y="5109"/>
                </a:lnTo>
                <a:lnTo>
                  <a:pt x="7678" y="5098"/>
                </a:lnTo>
                <a:lnTo>
                  <a:pt x="7691" y="5087"/>
                </a:lnTo>
                <a:lnTo>
                  <a:pt x="7700" y="5074"/>
                </a:lnTo>
                <a:lnTo>
                  <a:pt x="7710" y="5062"/>
                </a:lnTo>
                <a:lnTo>
                  <a:pt x="7719" y="5048"/>
                </a:lnTo>
                <a:lnTo>
                  <a:pt x="7726" y="5032"/>
                </a:lnTo>
                <a:lnTo>
                  <a:pt x="7730" y="5017"/>
                </a:lnTo>
                <a:lnTo>
                  <a:pt x="7735" y="5000"/>
                </a:lnTo>
                <a:lnTo>
                  <a:pt x="7737" y="4983"/>
                </a:lnTo>
                <a:lnTo>
                  <a:pt x="7737" y="4964"/>
                </a:lnTo>
                <a:lnTo>
                  <a:pt x="7735" y="4944"/>
                </a:lnTo>
                <a:lnTo>
                  <a:pt x="7731" y="4923"/>
                </a:lnTo>
                <a:lnTo>
                  <a:pt x="7726" y="4901"/>
                </a:lnTo>
                <a:lnTo>
                  <a:pt x="7718" y="4878"/>
                </a:lnTo>
                <a:lnTo>
                  <a:pt x="7711" y="4863"/>
                </a:lnTo>
                <a:lnTo>
                  <a:pt x="7704" y="4843"/>
                </a:lnTo>
                <a:lnTo>
                  <a:pt x="7693" y="4822"/>
                </a:lnTo>
                <a:lnTo>
                  <a:pt x="7682" y="4798"/>
                </a:lnTo>
                <a:lnTo>
                  <a:pt x="7653" y="4744"/>
                </a:lnTo>
                <a:lnTo>
                  <a:pt x="7618" y="4683"/>
                </a:lnTo>
                <a:lnTo>
                  <a:pt x="7579" y="4614"/>
                </a:lnTo>
                <a:lnTo>
                  <a:pt x="7538" y="4543"/>
                </a:lnTo>
                <a:lnTo>
                  <a:pt x="7493" y="4468"/>
                </a:lnTo>
                <a:lnTo>
                  <a:pt x="7446" y="4391"/>
                </a:lnTo>
                <a:lnTo>
                  <a:pt x="7399" y="4315"/>
                </a:lnTo>
                <a:lnTo>
                  <a:pt x="7353" y="4241"/>
                </a:lnTo>
                <a:lnTo>
                  <a:pt x="7308" y="4169"/>
                </a:lnTo>
                <a:lnTo>
                  <a:pt x="7265" y="4102"/>
                </a:lnTo>
                <a:lnTo>
                  <a:pt x="7226" y="4041"/>
                </a:lnTo>
                <a:lnTo>
                  <a:pt x="7191" y="3990"/>
                </a:lnTo>
                <a:lnTo>
                  <a:pt x="7162" y="3946"/>
                </a:lnTo>
                <a:lnTo>
                  <a:pt x="7138" y="3914"/>
                </a:lnTo>
                <a:lnTo>
                  <a:pt x="7086" y="3844"/>
                </a:lnTo>
                <a:lnTo>
                  <a:pt x="7043" y="3784"/>
                </a:lnTo>
                <a:lnTo>
                  <a:pt x="7009" y="3734"/>
                </a:lnTo>
                <a:lnTo>
                  <a:pt x="6981" y="3693"/>
                </a:lnTo>
                <a:lnTo>
                  <a:pt x="6971" y="3675"/>
                </a:lnTo>
                <a:lnTo>
                  <a:pt x="6963" y="3659"/>
                </a:lnTo>
                <a:lnTo>
                  <a:pt x="6955" y="3644"/>
                </a:lnTo>
                <a:lnTo>
                  <a:pt x="6949" y="3631"/>
                </a:lnTo>
                <a:lnTo>
                  <a:pt x="6945" y="3619"/>
                </a:lnTo>
                <a:lnTo>
                  <a:pt x="6943" y="3608"/>
                </a:lnTo>
                <a:lnTo>
                  <a:pt x="6942" y="3599"/>
                </a:lnTo>
                <a:lnTo>
                  <a:pt x="6941" y="3591"/>
                </a:lnTo>
                <a:lnTo>
                  <a:pt x="6943" y="3582"/>
                </a:lnTo>
                <a:lnTo>
                  <a:pt x="6945" y="3574"/>
                </a:lnTo>
                <a:lnTo>
                  <a:pt x="6948" y="3566"/>
                </a:lnTo>
                <a:lnTo>
                  <a:pt x="6952" y="3560"/>
                </a:lnTo>
                <a:lnTo>
                  <a:pt x="6964" y="3545"/>
                </a:lnTo>
                <a:lnTo>
                  <a:pt x="6977" y="3531"/>
                </a:lnTo>
                <a:lnTo>
                  <a:pt x="6993" y="3515"/>
                </a:lnTo>
                <a:lnTo>
                  <a:pt x="7011" y="3494"/>
                </a:lnTo>
                <a:lnTo>
                  <a:pt x="7021" y="3483"/>
                </a:lnTo>
                <a:lnTo>
                  <a:pt x="7030" y="3470"/>
                </a:lnTo>
                <a:lnTo>
                  <a:pt x="7039" y="3455"/>
                </a:lnTo>
                <a:lnTo>
                  <a:pt x="7049" y="3440"/>
                </a:lnTo>
                <a:lnTo>
                  <a:pt x="7055" y="3428"/>
                </a:lnTo>
                <a:lnTo>
                  <a:pt x="7060" y="3415"/>
                </a:lnTo>
                <a:lnTo>
                  <a:pt x="7064" y="3400"/>
                </a:lnTo>
                <a:lnTo>
                  <a:pt x="7067" y="3385"/>
                </a:lnTo>
                <a:lnTo>
                  <a:pt x="7069" y="3367"/>
                </a:lnTo>
                <a:lnTo>
                  <a:pt x="7071" y="3350"/>
                </a:lnTo>
                <a:lnTo>
                  <a:pt x="7072" y="3330"/>
                </a:lnTo>
                <a:lnTo>
                  <a:pt x="7072" y="3310"/>
                </a:lnTo>
                <a:lnTo>
                  <a:pt x="7071" y="3267"/>
                </a:lnTo>
                <a:lnTo>
                  <a:pt x="7067" y="3222"/>
                </a:lnTo>
                <a:lnTo>
                  <a:pt x="7061" y="3175"/>
                </a:lnTo>
                <a:lnTo>
                  <a:pt x="7055" y="3126"/>
                </a:lnTo>
                <a:lnTo>
                  <a:pt x="7047" y="3077"/>
                </a:lnTo>
                <a:lnTo>
                  <a:pt x="7038" y="3029"/>
                </a:lnTo>
                <a:lnTo>
                  <a:pt x="7029" y="2982"/>
                </a:lnTo>
                <a:lnTo>
                  <a:pt x="7020" y="2936"/>
                </a:lnTo>
                <a:lnTo>
                  <a:pt x="7002" y="2855"/>
                </a:lnTo>
                <a:lnTo>
                  <a:pt x="6988" y="2790"/>
                </a:lnTo>
                <a:lnTo>
                  <a:pt x="6971" y="2714"/>
                </a:lnTo>
                <a:lnTo>
                  <a:pt x="6954" y="2637"/>
                </a:lnTo>
                <a:lnTo>
                  <a:pt x="6934" y="2562"/>
                </a:lnTo>
                <a:lnTo>
                  <a:pt x="6912" y="2486"/>
                </a:lnTo>
                <a:lnTo>
                  <a:pt x="6890" y="2412"/>
                </a:lnTo>
                <a:lnTo>
                  <a:pt x="6866" y="2338"/>
                </a:lnTo>
                <a:lnTo>
                  <a:pt x="6840" y="2265"/>
                </a:lnTo>
                <a:lnTo>
                  <a:pt x="6814" y="2193"/>
                </a:lnTo>
                <a:lnTo>
                  <a:pt x="6785" y="2122"/>
                </a:lnTo>
                <a:lnTo>
                  <a:pt x="6757" y="2053"/>
                </a:lnTo>
                <a:lnTo>
                  <a:pt x="6727" y="1984"/>
                </a:lnTo>
                <a:lnTo>
                  <a:pt x="6697" y="1917"/>
                </a:lnTo>
                <a:lnTo>
                  <a:pt x="6666" y="1852"/>
                </a:lnTo>
                <a:lnTo>
                  <a:pt x="6635" y="1788"/>
                </a:lnTo>
                <a:lnTo>
                  <a:pt x="6602" y="1725"/>
                </a:lnTo>
                <a:lnTo>
                  <a:pt x="6569" y="1665"/>
                </a:lnTo>
                <a:lnTo>
                  <a:pt x="6534" y="1603"/>
                </a:lnTo>
                <a:lnTo>
                  <a:pt x="6497" y="1542"/>
                </a:lnTo>
                <a:lnTo>
                  <a:pt x="6461" y="1481"/>
                </a:lnTo>
                <a:lnTo>
                  <a:pt x="6424" y="1422"/>
                </a:lnTo>
                <a:lnTo>
                  <a:pt x="6385" y="1365"/>
                </a:lnTo>
                <a:lnTo>
                  <a:pt x="6347" y="1308"/>
                </a:lnTo>
                <a:lnTo>
                  <a:pt x="6306" y="1251"/>
                </a:lnTo>
                <a:lnTo>
                  <a:pt x="6265" y="1196"/>
                </a:lnTo>
                <a:lnTo>
                  <a:pt x="6223" y="1143"/>
                </a:lnTo>
                <a:lnTo>
                  <a:pt x="6181" y="1090"/>
                </a:lnTo>
                <a:lnTo>
                  <a:pt x="6137" y="1039"/>
                </a:lnTo>
                <a:lnTo>
                  <a:pt x="6092" y="989"/>
                </a:lnTo>
                <a:lnTo>
                  <a:pt x="6045" y="939"/>
                </a:lnTo>
                <a:lnTo>
                  <a:pt x="5998" y="891"/>
                </a:lnTo>
                <a:lnTo>
                  <a:pt x="5949" y="843"/>
                </a:lnTo>
                <a:lnTo>
                  <a:pt x="5899" y="797"/>
                </a:lnTo>
                <a:lnTo>
                  <a:pt x="5848" y="753"/>
                </a:lnTo>
                <a:lnTo>
                  <a:pt x="5796" y="709"/>
                </a:lnTo>
                <a:lnTo>
                  <a:pt x="5742" y="666"/>
                </a:lnTo>
                <a:lnTo>
                  <a:pt x="5687" y="626"/>
                </a:lnTo>
                <a:lnTo>
                  <a:pt x="5630" y="585"/>
                </a:lnTo>
                <a:lnTo>
                  <a:pt x="5571" y="547"/>
                </a:lnTo>
                <a:lnTo>
                  <a:pt x="5512" y="509"/>
                </a:lnTo>
                <a:lnTo>
                  <a:pt x="5450" y="472"/>
                </a:lnTo>
                <a:lnTo>
                  <a:pt x="5388" y="437"/>
                </a:lnTo>
                <a:lnTo>
                  <a:pt x="5323" y="402"/>
                </a:lnTo>
                <a:lnTo>
                  <a:pt x="5257" y="370"/>
                </a:lnTo>
                <a:lnTo>
                  <a:pt x="5189" y="338"/>
                </a:lnTo>
                <a:lnTo>
                  <a:pt x="5118" y="307"/>
                </a:lnTo>
                <a:lnTo>
                  <a:pt x="5047" y="277"/>
                </a:lnTo>
                <a:lnTo>
                  <a:pt x="4974" y="250"/>
                </a:lnTo>
                <a:lnTo>
                  <a:pt x="4898" y="222"/>
                </a:lnTo>
                <a:lnTo>
                  <a:pt x="4822" y="197"/>
                </a:lnTo>
                <a:lnTo>
                  <a:pt x="4744" y="174"/>
                </a:lnTo>
                <a:lnTo>
                  <a:pt x="4665" y="152"/>
                </a:lnTo>
                <a:lnTo>
                  <a:pt x="4585" y="131"/>
                </a:lnTo>
                <a:lnTo>
                  <a:pt x="4505" y="111"/>
                </a:lnTo>
                <a:lnTo>
                  <a:pt x="4422" y="93"/>
                </a:lnTo>
                <a:lnTo>
                  <a:pt x="4339" y="78"/>
                </a:lnTo>
                <a:lnTo>
                  <a:pt x="4255" y="63"/>
                </a:lnTo>
                <a:lnTo>
                  <a:pt x="4170" y="49"/>
                </a:lnTo>
                <a:lnTo>
                  <a:pt x="4084" y="38"/>
                </a:lnTo>
                <a:lnTo>
                  <a:pt x="3999" y="29"/>
                </a:lnTo>
                <a:lnTo>
                  <a:pt x="3912" y="20"/>
                </a:lnTo>
                <a:lnTo>
                  <a:pt x="3825" y="13"/>
                </a:lnTo>
                <a:lnTo>
                  <a:pt x="3738" y="8"/>
                </a:lnTo>
                <a:lnTo>
                  <a:pt x="3650" y="3"/>
                </a:lnTo>
                <a:lnTo>
                  <a:pt x="3562" y="1"/>
                </a:lnTo>
                <a:lnTo>
                  <a:pt x="3475" y="0"/>
                </a:lnTo>
                <a:lnTo>
                  <a:pt x="3387" y="1"/>
                </a:lnTo>
                <a:lnTo>
                  <a:pt x="3299" y="3"/>
                </a:lnTo>
                <a:lnTo>
                  <a:pt x="3211" y="7"/>
                </a:lnTo>
                <a:lnTo>
                  <a:pt x="3124" y="12"/>
                </a:lnTo>
                <a:lnTo>
                  <a:pt x="3036" y="19"/>
                </a:lnTo>
                <a:lnTo>
                  <a:pt x="2950" y="27"/>
                </a:lnTo>
                <a:lnTo>
                  <a:pt x="2864" y="37"/>
                </a:lnTo>
                <a:lnTo>
                  <a:pt x="2778" y="48"/>
                </a:lnTo>
                <a:lnTo>
                  <a:pt x="2693" y="62"/>
                </a:lnTo>
                <a:lnTo>
                  <a:pt x="2609" y="76"/>
                </a:lnTo>
                <a:lnTo>
                  <a:pt x="2525" y="92"/>
                </a:lnTo>
                <a:lnTo>
                  <a:pt x="2443" y="110"/>
                </a:lnTo>
                <a:lnTo>
                  <a:pt x="2361" y="130"/>
                </a:lnTo>
                <a:lnTo>
                  <a:pt x="2280" y="151"/>
                </a:lnTo>
                <a:lnTo>
                  <a:pt x="2201" y="173"/>
                </a:lnTo>
                <a:lnTo>
                  <a:pt x="2121" y="197"/>
                </a:lnTo>
                <a:lnTo>
                  <a:pt x="2043" y="222"/>
                </a:lnTo>
                <a:lnTo>
                  <a:pt x="1967" y="249"/>
                </a:lnTo>
                <a:lnTo>
                  <a:pt x="1893" y="277"/>
                </a:lnTo>
                <a:lnTo>
                  <a:pt x="1821" y="306"/>
                </a:lnTo>
                <a:lnTo>
                  <a:pt x="1751" y="335"/>
                </a:lnTo>
                <a:lnTo>
                  <a:pt x="1682" y="366"/>
                </a:lnTo>
                <a:lnTo>
                  <a:pt x="1614" y="399"/>
                </a:lnTo>
                <a:lnTo>
                  <a:pt x="1550" y="432"/>
                </a:lnTo>
                <a:lnTo>
                  <a:pt x="1486" y="466"/>
                </a:lnTo>
                <a:lnTo>
                  <a:pt x="1423" y="503"/>
                </a:lnTo>
                <a:lnTo>
                  <a:pt x="1363" y="539"/>
                </a:lnTo>
                <a:lnTo>
                  <a:pt x="1303" y="576"/>
                </a:lnTo>
                <a:lnTo>
                  <a:pt x="1246" y="616"/>
                </a:lnTo>
                <a:lnTo>
                  <a:pt x="1190" y="655"/>
                </a:lnTo>
                <a:lnTo>
                  <a:pt x="1135" y="697"/>
                </a:lnTo>
                <a:lnTo>
                  <a:pt x="1081" y="739"/>
                </a:lnTo>
                <a:lnTo>
                  <a:pt x="1029" y="783"/>
                </a:lnTo>
                <a:lnTo>
                  <a:pt x="979" y="827"/>
                </a:lnTo>
                <a:lnTo>
                  <a:pt x="929" y="873"/>
                </a:lnTo>
                <a:lnTo>
                  <a:pt x="881" y="920"/>
                </a:lnTo>
                <a:lnTo>
                  <a:pt x="835" y="968"/>
                </a:lnTo>
                <a:lnTo>
                  <a:pt x="789" y="1017"/>
                </a:lnTo>
                <a:lnTo>
                  <a:pt x="743" y="1068"/>
                </a:lnTo>
                <a:lnTo>
                  <a:pt x="701" y="1118"/>
                </a:lnTo>
                <a:lnTo>
                  <a:pt x="658" y="1171"/>
                </a:lnTo>
                <a:lnTo>
                  <a:pt x="617" y="1225"/>
                </a:lnTo>
                <a:lnTo>
                  <a:pt x="576" y="1279"/>
                </a:lnTo>
                <a:lnTo>
                  <a:pt x="537" y="1335"/>
                </a:lnTo>
                <a:lnTo>
                  <a:pt x="498" y="1392"/>
                </a:lnTo>
                <a:lnTo>
                  <a:pt x="461" y="1451"/>
                </a:lnTo>
                <a:lnTo>
                  <a:pt x="425" y="1509"/>
                </a:lnTo>
                <a:lnTo>
                  <a:pt x="387" y="1573"/>
                </a:lnTo>
                <a:lnTo>
                  <a:pt x="351" y="1639"/>
                </a:lnTo>
                <a:lnTo>
                  <a:pt x="317" y="1707"/>
                </a:lnTo>
                <a:lnTo>
                  <a:pt x="284" y="1776"/>
                </a:lnTo>
                <a:lnTo>
                  <a:pt x="253" y="1848"/>
                </a:lnTo>
                <a:lnTo>
                  <a:pt x="223" y="1920"/>
                </a:lnTo>
                <a:lnTo>
                  <a:pt x="196" y="1995"/>
                </a:lnTo>
                <a:lnTo>
                  <a:pt x="169" y="2071"/>
                </a:lnTo>
                <a:lnTo>
                  <a:pt x="145" y="2148"/>
                </a:lnTo>
                <a:lnTo>
                  <a:pt x="123" y="2227"/>
                </a:lnTo>
                <a:lnTo>
                  <a:pt x="102" y="2306"/>
                </a:lnTo>
                <a:lnTo>
                  <a:pt x="82" y="2386"/>
                </a:lnTo>
                <a:lnTo>
                  <a:pt x="66" y="2469"/>
                </a:lnTo>
                <a:lnTo>
                  <a:pt x="51" y="2550"/>
                </a:lnTo>
                <a:lnTo>
                  <a:pt x="37" y="2634"/>
                </a:lnTo>
                <a:lnTo>
                  <a:pt x="25" y="2717"/>
                </a:lnTo>
                <a:lnTo>
                  <a:pt x="16" y="2802"/>
                </a:lnTo>
                <a:lnTo>
                  <a:pt x="9" y="2887"/>
                </a:lnTo>
                <a:lnTo>
                  <a:pt x="4" y="2971"/>
                </a:lnTo>
                <a:lnTo>
                  <a:pt x="1" y="3057"/>
                </a:lnTo>
                <a:lnTo>
                  <a:pt x="0" y="3142"/>
                </a:lnTo>
                <a:lnTo>
                  <a:pt x="1" y="3228"/>
                </a:lnTo>
                <a:lnTo>
                  <a:pt x="4" y="3313"/>
                </a:lnTo>
                <a:lnTo>
                  <a:pt x="11" y="3398"/>
                </a:lnTo>
                <a:lnTo>
                  <a:pt x="19" y="3483"/>
                </a:lnTo>
                <a:lnTo>
                  <a:pt x="29" y="3567"/>
                </a:lnTo>
                <a:lnTo>
                  <a:pt x="42" y="3652"/>
                </a:lnTo>
                <a:lnTo>
                  <a:pt x="56" y="3736"/>
                </a:lnTo>
                <a:lnTo>
                  <a:pt x="74" y="3818"/>
                </a:lnTo>
                <a:lnTo>
                  <a:pt x="93" y="3900"/>
                </a:lnTo>
                <a:lnTo>
                  <a:pt x="117" y="3981"/>
                </a:lnTo>
                <a:lnTo>
                  <a:pt x="142" y="4061"/>
                </a:lnTo>
                <a:lnTo>
                  <a:pt x="177" y="4164"/>
                </a:lnTo>
                <a:lnTo>
                  <a:pt x="213" y="4261"/>
                </a:lnTo>
                <a:lnTo>
                  <a:pt x="252" y="4354"/>
                </a:lnTo>
                <a:lnTo>
                  <a:pt x="290" y="4442"/>
                </a:lnTo>
                <a:lnTo>
                  <a:pt x="330" y="4524"/>
                </a:lnTo>
                <a:lnTo>
                  <a:pt x="371" y="4603"/>
                </a:lnTo>
                <a:lnTo>
                  <a:pt x="412" y="4678"/>
                </a:lnTo>
                <a:lnTo>
                  <a:pt x="454" y="4750"/>
                </a:lnTo>
                <a:lnTo>
                  <a:pt x="496" y="4818"/>
                </a:lnTo>
                <a:lnTo>
                  <a:pt x="539" y="4882"/>
                </a:lnTo>
                <a:lnTo>
                  <a:pt x="582" y="4943"/>
                </a:lnTo>
                <a:lnTo>
                  <a:pt x="625" y="5003"/>
                </a:lnTo>
                <a:lnTo>
                  <a:pt x="668" y="5059"/>
                </a:lnTo>
                <a:lnTo>
                  <a:pt x="710" y="5113"/>
                </a:lnTo>
                <a:lnTo>
                  <a:pt x="752" y="5164"/>
                </a:lnTo>
                <a:lnTo>
                  <a:pt x="795" y="5215"/>
                </a:lnTo>
                <a:lnTo>
                  <a:pt x="878" y="5312"/>
                </a:lnTo>
                <a:lnTo>
                  <a:pt x="957" y="5404"/>
                </a:lnTo>
                <a:lnTo>
                  <a:pt x="995" y="5449"/>
                </a:lnTo>
                <a:lnTo>
                  <a:pt x="1034" y="5494"/>
                </a:lnTo>
                <a:lnTo>
                  <a:pt x="1070" y="5539"/>
                </a:lnTo>
                <a:lnTo>
                  <a:pt x="1104" y="5585"/>
                </a:lnTo>
                <a:lnTo>
                  <a:pt x="1138" y="5632"/>
                </a:lnTo>
                <a:lnTo>
                  <a:pt x="1170" y="5678"/>
                </a:lnTo>
                <a:lnTo>
                  <a:pt x="1201" y="5726"/>
                </a:lnTo>
                <a:lnTo>
                  <a:pt x="1230" y="5776"/>
                </a:lnTo>
                <a:lnTo>
                  <a:pt x="1256" y="5826"/>
                </a:lnTo>
                <a:lnTo>
                  <a:pt x="1280" y="5878"/>
                </a:lnTo>
                <a:lnTo>
                  <a:pt x="1303" y="5933"/>
                </a:lnTo>
                <a:lnTo>
                  <a:pt x="1323" y="5990"/>
                </a:lnTo>
                <a:lnTo>
                  <a:pt x="1344" y="6056"/>
                </a:lnTo>
                <a:lnTo>
                  <a:pt x="1364" y="6124"/>
                </a:lnTo>
                <a:lnTo>
                  <a:pt x="1381" y="6193"/>
                </a:lnTo>
                <a:lnTo>
                  <a:pt x="1397" y="6263"/>
                </a:lnTo>
                <a:lnTo>
                  <a:pt x="1411" y="6333"/>
                </a:lnTo>
                <a:lnTo>
                  <a:pt x="1424" y="6404"/>
                </a:lnTo>
                <a:lnTo>
                  <a:pt x="1434" y="6476"/>
                </a:lnTo>
                <a:lnTo>
                  <a:pt x="1444" y="6549"/>
                </a:lnTo>
                <a:lnTo>
                  <a:pt x="1451" y="6621"/>
                </a:lnTo>
                <a:lnTo>
                  <a:pt x="1457" y="6695"/>
                </a:lnTo>
                <a:lnTo>
                  <a:pt x="1460" y="6769"/>
                </a:lnTo>
                <a:lnTo>
                  <a:pt x="1464" y="6844"/>
                </a:lnTo>
                <a:lnTo>
                  <a:pt x="1464" y="6918"/>
                </a:lnTo>
                <a:lnTo>
                  <a:pt x="1464" y="6993"/>
                </a:lnTo>
                <a:lnTo>
                  <a:pt x="1460" y="7068"/>
                </a:lnTo>
                <a:lnTo>
                  <a:pt x="1457" y="7143"/>
                </a:lnTo>
                <a:lnTo>
                  <a:pt x="1451" y="7217"/>
                </a:lnTo>
                <a:lnTo>
                  <a:pt x="1444" y="7292"/>
                </a:lnTo>
                <a:lnTo>
                  <a:pt x="1435" y="7366"/>
                </a:lnTo>
                <a:lnTo>
                  <a:pt x="1424" y="7441"/>
                </a:lnTo>
                <a:lnTo>
                  <a:pt x="1412" y="7514"/>
                </a:lnTo>
                <a:lnTo>
                  <a:pt x="1398" y="7588"/>
                </a:lnTo>
                <a:lnTo>
                  <a:pt x="1382" y="7661"/>
                </a:lnTo>
                <a:lnTo>
                  <a:pt x="1366" y="7733"/>
                </a:lnTo>
                <a:lnTo>
                  <a:pt x="1347" y="7806"/>
                </a:lnTo>
                <a:lnTo>
                  <a:pt x="1327" y="7876"/>
                </a:lnTo>
                <a:lnTo>
                  <a:pt x="1305" y="7948"/>
                </a:lnTo>
                <a:lnTo>
                  <a:pt x="1282" y="8017"/>
                </a:lnTo>
                <a:lnTo>
                  <a:pt x="1258" y="8085"/>
                </a:lnTo>
                <a:lnTo>
                  <a:pt x="1232" y="8153"/>
                </a:lnTo>
                <a:lnTo>
                  <a:pt x="1204" y="8219"/>
                </a:lnTo>
                <a:lnTo>
                  <a:pt x="1175" y="8285"/>
                </a:lnTo>
                <a:lnTo>
                  <a:pt x="1159" y="8315"/>
                </a:lnTo>
                <a:lnTo>
                  <a:pt x="1144" y="8346"/>
                </a:lnTo>
                <a:lnTo>
                  <a:pt x="1126" y="8377"/>
                </a:lnTo>
                <a:lnTo>
                  <a:pt x="1110" y="8407"/>
                </a:lnTo>
                <a:lnTo>
                  <a:pt x="1094" y="8438"/>
                </a:lnTo>
                <a:lnTo>
                  <a:pt x="1080" y="8469"/>
                </a:lnTo>
                <a:lnTo>
                  <a:pt x="1074" y="8483"/>
                </a:lnTo>
                <a:lnTo>
                  <a:pt x="1069" y="8498"/>
                </a:lnTo>
                <a:lnTo>
                  <a:pt x="1065" y="8513"/>
                </a:lnTo>
                <a:lnTo>
                  <a:pt x="1061" y="8527"/>
                </a:lnTo>
                <a:lnTo>
                  <a:pt x="5156" y="8526"/>
                </a:lnTo>
                <a:lnTo>
                  <a:pt x="5169" y="8499"/>
                </a:lnTo>
                <a:lnTo>
                  <a:pt x="5180" y="8469"/>
                </a:lnTo>
                <a:lnTo>
                  <a:pt x="5190" y="8437"/>
                </a:lnTo>
                <a:lnTo>
                  <a:pt x="5199" y="8403"/>
                </a:lnTo>
                <a:lnTo>
                  <a:pt x="5206" y="8367"/>
                </a:lnTo>
                <a:lnTo>
                  <a:pt x="5213" y="8329"/>
                </a:lnTo>
                <a:lnTo>
                  <a:pt x="5218" y="8291"/>
                </a:lnTo>
                <a:lnTo>
                  <a:pt x="5224" y="8251"/>
                </a:lnTo>
                <a:lnTo>
                  <a:pt x="5232" y="8168"/>
                </a:lnTo>
                <a:lnTo>
                  <a:pt x="5238" y="8083"/>
                </a:lnTo>
                <a:lnTo>
                  <a:pt x="5245" y="7997"/>
                </a:lnTo>
                <a:lnTo>
                  <a:pt x="5251" y="7912"/>
                </a:lnTo>
                <a:lnTo>
                  <a:pt x="5255" y="7871"/>
                </a:lnTo>
                <a:lnTo>
                  <a:pt x="5259" y="7829"/>
                </a:lnTo>
                <a:lnTo>
                  <a:pt x="5263" y="7789"/>
                </a:lnTo>
                <a:lnTo>
                  <a:pt x="5269" y="7750"/>
                </a:lnTo>
                <a:lnTo>
                  <a:pt x="5276" y="7712"/>
                </a:lnTo>
                <a:lnTo>
                  <a:pt x="5283" y="7676"/>
                </a:lnTo>
                <a:lnTo>
                  <a:pt x="5291" y="7642"/>
                </a:lnTo>
                <a:lnTo>
                  <a:pt x="5301" y="7609"/>
                </a:lnTo>
                <a:lnTo>
                  <a:pt x="5312" y="7578"/>
                </a:lnTo>
                <a:lnTo>
                  <a:pt x="5324" y="7550"/>
                </a:lnTo>
                <a:lnTo>
                  <a:pt x="5337" y="7524"/>
                </a:lnTo>
                <a:lnTo>
                  <a:pt x="5352" y="7501"/>
                </a:lnTo>
                <a:lnTo>
                  <a:pt x="5370" y="7480"/>
                </a:lnTo>
                <a:lnTo>
                  <a:pt x="5389" y="7464"/>
                </a:lnTo>
                <a:lnTo>
                  <a:pt x="5411" y="7449"/>
                </a:lnTo>
                <a:lnTo>
                  <a:pt x="5434" y="7438"/>
                </a:lnTo>
                <a:lnTo>
                  <a:pt x="5457" y="7432"/>
                </a:lnTo>
                <a:lnTo>
                  <a:pt x="5482" y="7426"/>
                </a:lnTo>
                <a:lnTo>
                  <a:pt x="5510" y="7422"/>
                </a:lnTo>
                <a:lnTo>
                  <a:pt x="5539" y="7420"/>
                </a:lnTo>
                <a:lnTo>
                  <a:pt x="5570" y="7419"/>
                </a:lnTo>
                <a:lnTo>
                  <a:pt x="5602" y="7419"/>
                </a:lnTo>
                <a:lnTo>
                  <a:pt x="5636" y="7420"/>
                </a:lnTo>
                <a:lnTo>
                  <a:pt x="5671" y="7423"/>
                </a:lnTo>
                <a:lnTo>
                  <a:pt x="5708" y="7426"/>
                </a:lnTo>
                <a:lnTo>
                  <a:pt x="5745" y="7430"/>
                </a:lnTo>
                <a:lnTo>
                  <a:pt x="5784" y="7435"/>
                </a:lnTo>
                <a:lnTo>
                  <a:pt x="5823" y="7441"/>
                </a:lnTo>
                <a:lnTo>
                  <a:pt x="5905" y="7453"/>
                </a:lnTo>
                <a:lnTo>
                  <a:pt x="5988" y="7466"/>
                </a:lnTo>
                <a:lnTo>
                  <a:pt x="6074" y="7479"/>
                </a:lnTo>
                <a:lnTo>
                  <a:pt x="6160" y="7491"/>
                </a:lnTo>
                <a:lnTo>
                  <a:pt x="6204" y="7497"/>
                </a:lnTo>
                <a:lnTo>
                  <a:pt x="6247" y="7502"/>
                </a:lnTo>
                <a:lnTo>
                  <a:pt x="6289" y="7507"/>
                </a:lnTo>
                <a:lnTo>
                  <a:pt x="6332" y="7510"/>
                </a:lnTo>
                <a:lnTo>
                  <a:pt x="6374" y="7513"/>
                </a:lnTo>
                <a:lnTo>
                  <a:pt x="6416" y="7514"/>
                </a:lnTo>
                <a:lnTo>
                  <a:pt x="6457" y="7515"/>
                </a:lnTo>
                <a:lnTo>
                  <a:pt x="6497" y="7515"/>
                </a:lnTo>
                <a:lnTo>
                  <a:pt x="6537" y="7513"/>
                </a:lnTo>
                <a:lnTo>
                  <a:pt x="6575" y="7510"/>
                </a:lnTo>
                <a:lnTo>
                  <a:pt x="6613" y="7506"/>
                </a:lnTo>
                <a:lnTo>
                  <a:pt x="6649" y="7499"/>
                </a:lnTo>
                <a:lnTo>
                  <a:pt x="6689" y="7490"/>
                </a:lnTo>
                <a:lnTo>
                  <a:pt x="6726" y="7480"/>
                </a:lnTo>
                <a:lnTo>
                  <a:pt x="6761" y="7468"/>
                </a:lnTo>
                <a:lnTo>
                  <a:pt x="6795" y="7455"/>
                </a:lnTo>
                <a:lnTo>
                  <a:pt x="6827" y="7441"/>
                </a:lnTo>
                <a:lnTo>
                  <a:pt x="6857" y="7425"/>
                </a:lnTo>
                <a:lnTo>
                  <a:pt x="6886" y="7409"/>
                </a:lnTo>
                <a:lnTo>
                  <a:pt x="6912" y="7391"/>
                </a:lnTo>
                <a:lnTo>
                  <a:pt x="6936" y="7371"/>
                </a:lnTo>
                <a:lnTo>
                  <a:pt x="6959" y="7352"/>
                </a:lnTo>
                <a:lnTo>
                  <a:pt x="6980" y="7330"/>
                </a:lnTo>
                <a:lnTo>
                  <a:pt x="6999" y="7307"/>
                </a:lnTo>
                <a:lnTo>
                  <a:pt x="7016" y="7282"/>
                </a:lnTo>
                <a:lnTo>
                  <a:pt x="7032" y="7258"/>
                </a:lnTo>
                <a:lnTo>
                  <a:pt x="7046" y="7232"/>
                </a:lnTo>
                <a:lnTo>
                  <a:pt x="7058" y="7204"/>
                </a:lnTo>
                <a:lnTo>
                  <a:pt x="7069" y="7177"/>
                </a:lnTo>
                <a:lnTo>
                  <a:pt x="7078" y="7147"/>
                </a:lnTo>
                <a:lnTo>
                  <a:pt x="7086" y="7117"/>
                </a:lnTo>
                <a:lnTo>
                  <a:pt x="7091" y="7085"/>
                </a:lnTo>
                <a:lnTo>
                  <a:pt x="7094" y="7054"/>
                </a:lnTo>
                <a:lnTo>
                  <a:pt x="7097" y="7021"/>
                </a:lnTo>
                <a:lnTo>
                  <a:pt x="7098" y="6986"/>
                </a:lnTo>
                <a:lnTo>
                  <a:pt x="7097" y="6951"/>
                </a:lnTo>
                <a:lnTo>
                  <a:pt x="7094" y="6916"/>
                </a:lnTo>
                <a:lnTo>
                  <a:pt x="7090" y="6880"/>
                </a:lnTo>
                <a:lnTo>
                  <a:pt x="7085" y="6842"/>
                </a:lnTo>
                <a:lnTo>
                  <a:pt x="7077" y="6804"/>
                </a:lnTo>
                <a:lnTo>
                  <a:pt x="7068" y="6765"/>
                </a:lnTo>
                <a:lnTo>
                  <a:pt x="7057" y="6726"/>
                </a:lnTo>
                <a:lnTo>
                  <a:pt x="7045" y="6685"/>
                </a:lnTo>
                <a:lnTo>
                  <a:pt x="7032" y="6644"/>
                </a:lnTo>
                <a:lnTo>
                  <a:pt x="6996" y="6546"/>
                </a:lnTo>
                <a:lnTo>
                  <a:pt x="6968" y="6476"/>
                </a:lnTo>
                <a:lnTo>
                  <a:pt x="6959" y="6449"/>
                </a:lnTo>
                <a:lnTo>
                  <a:pt x="6953" y="6427"/>
                </a:lnTo>
                <a:lnTo>
                  <a:pt x="6950" y="6417"/>
                </a:lnTo>
                <a:lnTo>
                  <a:pt x="6950" y="6408"/>
                </a:lnTo>
                <a:lnTo>
                  <a:pt x="6950" y="6399"/>
                </a:lnTo>
                <a:lnTo>
                  <a:pt x="6950" y="6392"/>
                </a:lnTo>
                <a:lnTo>
                  <a:pt x="6953" y="6384"/>
                </a:lnTo>
                <a:lnTo>
                  <a:pt x="6956" y="6376"/>
                </a:lnTo>
                <a:lnTo>
                  <a:pt x="6959" y="6368"/>
                </a:lnTo>
                <a:lnTo>
                  <a:pt x="6965" y="6362"/>
                </a:lnTo>
                <a:lnTo>
                  <a:pt x="6971" y="6354"/>
                </a:lnTo>
                <a:lnTo>
                  <a:pt x="6979" y="6346"/>
                </a:lnTo>
                <a:lnTo>
                  <a:pt x="6988" y="6339"/>
                </a:lnTo>
                <a:lnTo>
                  <a:pt x="6998" y="6331"/>
                </a:lnTo>
                <a:lnTo>
                  <a:pt x="7050" y="6291"/>
                </a:lnTo>
                <a:lnTo>
                  <a:pt x="7126" y="6235"/>
                </a:lnTo>
                <a:lnTo>
                  <a:pt x="7148" y="6218"/>
                </a:lnTo>
                <a:lnTo>
                  <a:pt x="7166" y="6201"/>
                </a:lnTo>
                <a:lnTo>
                  <a:pt x="7181" y="6185"/>
                </a:lnTo>
                <a:lnTo>
                  <a:pt x="7192" y="6168"/>
                </a:lnTo>
                <a:lnTo>
                  <a:pt x="7201" y="6153"/>
                </a:lnTo>
                <a:lnTo>
                  <a:pt x="7207" y="6138"/>
                </a:lnTo>
                <a:lnTo>
                  <a:pt x="7210" y="6123"/>
                </a:lnTo>
                <a:lnTo>
                  <a:pt x="7211" y="6109"/>
                </a:lnTo>
                <a:lnTo>
                  <a:pt x="7209" y="6096"/>
                </a:lnTo>
                <a:lnTo>
                  <a:pt x="7206" y="6083"/>
                </a:lnTo>
                <a:lnTo>
                  <a:pt x="7200" y="6069"/>
                </a:lnTo>
                <a:lnTo>
                  <a:pt x="7192" y="6057"/>
                </a:lnTo>
                <a:lnTo>
                  <a:pt x="7184" y="6045"/>
                </a:lnTo>
                <a:lnTo>
                  <a:pt x="7173" y="6034"/>
                </a:lnTo>
                <a:lnTo>
                  <a:pt x="7162" y="6023"/>
                </a:lnTo>
                <a:lnTo>
                  <a:pt x="7149" y="6013"/>
                </a:lnTo>
                <a:lnTo>
                  <a:pt x="7135" y="6002"/>
                </a:lnTo>
                <a:lnTo>
                  <a:pt x="7122" y="5993"/>
                </a:lnTo>
                <a:lnTo>
                  <a:pt x="7108" y="5985"/>
                </a:lnTo>
                <a:lnTo>
                  <a:pt x="7092" y="5976"/>
                </a:lnTo>
                <a:lnTo>
                  <a:pt x="7063" y="5960"/>
                </a:lnTo>
                <a:lnTo>
                  <a:pt x="7034" y="5946"/>
                </a:lnTo>
                <a:lnTo>
                  <a:pt x="6985" y="5925"/>
                </a:lnTo>
                <a:lnTo>
                  <a:pt x="6957" y="5912"/>
                </a:lnTo>
                <a:lnTo>
                  <a:pt x="7010" y="5903"/>
                </a:lnTo>
                <a:lnTo>
                  <a:pt x="7056" y="5894"/>
                </a:lnTo>
                <a:lnTo>
                  <a:pt x="7077" y="5891"/>
                </a:lnTo>
                <a:lnTo>
                  <a:pt x="7097" y="5886"/>
                </a:lnTo>
                <a:lnTo>
                  <a:pt x="7115" y="5881"/>
                </a:lnTo>
                <a:lnTo>
                  <a:pt x="7133" y="5876"/>
                </a:lnTo>
                <a:lnTo>
                  <a:pt x="7149" y="5869"/>
                </a:lnTo>
                <a:lnTo>
                  <a:pt x="7166" y="5861"/>
                </a:lnTo>
                <a:lnTo>
                  <a:pt x="7181" y="5854"/>
                </a:lnTo>
                <a:lnTo>
                  <a:pt x="7198" y="5845"/>
                </a:lnTo>
                <a:lnTo>
                  <a:pt x="7213" y="5834"/>
                </a:lnTo>
                <a:lnTo>
                  <a:pt x="7229" y="5822"/>
                </a:lnTo>
                <a:lnTo>
                  <a:pt x="7245" y="5809"/>
                </a:lnTo>
                <a:lnTo>
                  <a:pt x="7262" y="5794"/>
                </a:lnTo>
                <a:close/>
              </a:path>
            </a:pathLst>
          </a:custGeom>
          <a:solidFill>
            <a:srgbClr val="EF885F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321" name="Freeform 13">
            <a:extLst>
              <a:ext uri="{FF2B5EF4-FFF2-40B4-BE49-F238E27FC236}">
                <a16:creationId xmlns:a16="http://schemas.microsoft.com/office/drawing/2014/main" id="{904BE0D2-BA79-F23D-AD31-DD1EC9979E3C}"/>
              </a:ext>
            </a:extLst>
          </p:cNvPr>
          <p:cNvSpPr>
            <a:spLocks/>
          </p:cNvSpPr>
          <p:nvPr/>
        </p:nvSpPr>
        <p:spPr bwMode="auto">
          <a:xfrm>
            <a:off x="10845346" y="3971629"/>
            <a:ext cx="849350" cy="659843"/>
          </a:xfrm>
          <a:custGeom>
            <a:avLst/>
            <a:gdLst>
              <a:gd name="T0" fmla="*/ 662 w 5510"/>
              <a:gd name="T1" fmla="*/ 3833 h 4742"/>
              <a:gd name="T2" fmla="*/ 870 w 5510"/>
              <a:gd name="T3" fmla="*/ 3840 h 4742"/>
              <a:gd name="T4" fmla="*/ 1119 w 5510"/>
              <a:gd name="T5" fmla="*/ 4013 h 4742"/>
              <a:gd name="T6" fmla="*/ 1267 w 5510"/>
              <a:gd name="T7" fmla="*/ 4298 h 4742"/>
              <a:gd name="T8" fmla="*/ 1565 w 5510"/>
              <a:gd name="T9" fmla="*/ 4466 h 4742"/>
              <a:gd name="T10" fmla="*/ 1893 w 5510"/>
              <a:gd name="T11" fmla="*/ 4399 h 4742"/>
              <a:gd name="T12" fmla="*/ 2287 w 5510"/>
              <a:gd name="T13" fmla="*/ 4742 h 4742"/>
              <a:gd name="T14" fmla="*/ 2786 w 5510"/>
              <a:gd name="T15" fmla="*/ 4013 h 4742"/>
              <a:gd name="T16" fmla="*/ 3065 w 5510"/>
              <a:gd name="T17" fmla="*/ 3637 h 4742"/>
              <a:gd name="T18" fmla="*/ 3395 w 5510"/>
              <a:gd name="T19" fmla="*/ 3543 h 4742"/>
              <a:gd name="T20" fmla="*/ 3770 w 5510"/>
              <a:gd name="T21" fmla="*/ 3413 h 4742"/>
              <a:gd name="T22" fmla="*/ 3989 w 5510"/>
              <a:gd name="T23" fmla="*/ 3198 h 4742"/>
              <a:gd name="T24" fmla="*/ 4013 w 5510"/>
              <a:gd name="T25" fmla="*/ 3020 h 4742"/>
              <a:gd name="T26" fmla="*/ 4104 w 5510"/>
              <a:gd name="T27" fmla="*/ 2804 h 4742"/>
              <a:gd name="T28" fmla="*/ 4590 w 5510"/>
              <a:gd name="T29" fmla="*/ 2746 h 4742"/>
              <a:gd name="T30" fmla="*/ 4981 w 5510"/>
              <a:gd name="T31" fmla="*/ 2640 h 4742"/>
              <a:gd name="T32" fmla="*/ 5126 w 5510"/>
              <a:gd name="T33" fmla="*/ 2516 h 4742"/>
              <a:gd name="T34" fmla="*/ 5170 w 5510"/>
              <a:gd name="T35" fmla="*/ 2316 h 4742"/>
              <a:gd name="T36" fmla="*/ 5333 w 5510"/>
              <a:gd name="T37" fmla="*/ 2183 h 4742"/>
              <a:gd name="T38" fmla="*/ 5476 w 5510"/>
              <a:gd name="T39" fmla="*/ 2005 h 4742"/>
              <a:gd name="T40" fmla="*/ 5506 w 5510"/>
              <a:gd name="T41" fmla="*/ 1742 h 4742"/>
              <a:gd name="T42" fmla="*/ 5437 w 5510"/>
              <a:gd name="T43" fmla="*/ 1464 h 4742"/>
              <a:gd name="T44" fmla="*/ 5320 w 5510"/>
              <a:gd name="T45" fmla="*/ 1270 h 4742"/>
              <a:gd name="T46" fmla="*/ 5073 w 5510"/>
              <a:gd name="T47" fmla="*/ 1064 h 4742"/>
              <a:gd name="T48" fmla="*/ 5026 w 5510"/>
              <a:gd name="T49" fmla="*/ 869 h 4742"/>
              <a:gd name="T50" fmla="*/ 4903 w 5510"/>
              <a:gd name="T51" fmla="*/ 749 h 4742"/>
              <a:gd name="T52" fmla="*/ 4691 w 5510"/>
              <a:gd name="T53" fmla="*/ 684 h 4742"/>
              <a:gd name="T54" fmla="*/ 4498 w 5510"/>
              <a:gd name="T55" fmla="*/ 475 h 4742"/>
              <a:gd name="T56" fmla="*/ 4215 w 5510"/>
              <a:gd name="T57" fmla="*/ 326 h 4742"/>
              <a:gd name="T58" fmla="*/ 3896 w 5510"/>
              <a:gd name="T59" fmla="*/ 326 h 4742"/>
              <a:gd name="T60" fmla="*/ 3731 w 5510"/>
              <a:gd name="T61" fmla="*/ 215 h 4742"/>
              <a:gd name="T62" fmla="*/ 3571 w 5510"/>
              <a:gd name="T63" fmla="*/ 109 h 4742"/>
              <a:gd name="T64" fmla="*/ 3358 w 5510"/>
              <a:gd name="T65" fmla="*/ 64 h 4742"/>
              <a:gd name="T66" fmla="*/ 3096 w 5510"/>
              <a:gd name="T67" fmla="*/ 120 h 4742"/>
              <a:gd name="T68" fmla="*/ 2975 w 5510"/>
              <a:gd name="T69" fmla="*/ 103 h 4742"/>
              <a:gd name="T70" fmla="*/ 2784 w 5510"/>
              <a:gd name="T71" fmla="*/ 25 h 4742"/>
              <a:gd name="T72" fmla="*/ 2568 w 5510"/>
              <a:gd name="T73" fmla="*/ 0 h 4742"/>
              <a:gd name="T74" fmla="*/ 2362 w 5510"/>
              <a:gd name="T75" fmla="*/ 37 h 4742"/>
              <a:gd name="T76" fmla="*/ 2189 w 5510"/>
              <a:gd name="T77" fmla="*/ 136 h 4742"/>
              <a:gd name="T78" fmla="*/ 1963 w 5510"/>
              <a:gd name="T79" fmla="*/ 106 h 4742"/>
              <a:gd name="T80" fmla="*/ 1767 w 5510"/>
              <a:gd name="T81" fmla="*/ 150 h 4742"/>
              <a:gd name="T82" fmla="*/ 1627 w 5510"/>
              <a:gd name="T83" fmla="*/ 260 h 4742"/>
              <a:gd name="T84" fmla="*/ 1457 w 5510"/>
              <a:gd name="T85" fmla="*/ 370 h 4742"/>
              <a:gd name="T86" fmla="*/ 1210 w 5510"/>
              <a:gd name="T87" fmla="*/ 378 h 4742"/>
              <a:gd name="T88" fmla="*/ 1027 w 5510"/>
              <a:gd name="T89" fmla="*/ 496 h 4742"/>
              <a:gd name="T90" fmla="*/ 874 w 5510"/>
              <a:gd name="T91" fmla="*/ 677 h 4742"/>
              <a:gd name="T92" fmla="*/ 686 w 5510"/>
              <a:gd name="T93" fmla="*/ 740 h 4742"/>
              <a:gd name="T94" fmla="*/ 588 w 5510"/>
              <a:gd name="T95" fmla="*/ 861 h 4742"/>
              <a:gd name="T96" fmla="*/ 540 w 5510"/>
              <a:gd name="T97" fmla="*/ 1050 h 4742"/>
              <a:gd name="T98" fmla="*/ 364 w 5510"/>
              <a:gd name="T99" fmla="*/ 1182 h 4742"/>
              <a:gd name="T100" fmla="*/ 269 w 5510"/>
              <a:gd name="T101" fmla="*/ 1369 h 4742"/>
              <a:gd name="T102" fmla="*/ 302 w 5510"/>
              <a:gd name="T103" fmla="*/ 1621 h 4742"/>
              <a:gd name="T104" fmla="*/ 202 w 5510"/>
              <a:gd name="T105" fmla="*/ 1793 h 4742"/>
              <a:gd name="T106" fmla="*/ 27 w 5510"/>
              <a:gd name="T107" fmla="*/ 2239 h 4742"/>
              <a:gd name="T108" fmla="*/ 23 w 5510"/>
              <a:gd name="T109" fmla="*/ 2752 h 4742"/>
              <a:gd name="T110" fmla="*/ 252 w 5510"/>
              <a:gd name="T111" fmla="*/ 3145 h 4742"/>
              <a:gd name="T112" fmla="*/ 377 w 5510"/>
              <a:gd name="T113" fmla="*/ 3494 h 4742"/>
              <a:gd name="T114" fmla="*/ 439 w 5510"/>
              <a:gd name="T115" fmla="*/ 3659 h 47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510" h="4742">
                <a:moveTo>
                  <a:pt x="520" y="3750"/>
                </a:moveTo>
                <a:lnTo>
                  <a:pt x="537" y="3764"/>
                </a:lnTo>
                <a:lnTo>
                  <a:pt x="553" y="3776"/>
                </a:lnTo>
                <a:lnTo>
                  <a:pt x="568" y="3787"/>
                </a:lnTo>
                <a:lnTo>
                  <a:pt x="584" y="3797"/>
                </a:lnTo>
                <a:lnTo>
                  <a:pt x="600" y="3807"/>
                </a:lnTo>
                <a:lnTo>
                  <a:pt x="616" y="3815"/>
                </a:lnTo>
                <a:lnTo>
                  <a:pt x="631" y="3821"/>
                </a:lnTo>
                <a:lnTo>
                  <a:pt x="647" y="3828"/>
                </a:lnTo>
                <a:lnTo>
                  <a:pt x="662" y="3833"/>
                </a:lnTo>
                <a:lnTo>
                  <a:pt x="677" y="3838"/>
                </a:lnTo>
                <a:lnTo>
                  <a:pt x="693" y="3841"/>
                </a:lnTo>
                <a:lnTo>
                  <a:pt x="708" y="3844"/>
                </a:lnTo>
                <a:lnTo>
                  <a:pt x="723" y="3847"/>
                </a:lnTo>
                <a:lnTo>
                  <a:pt x="739" y="3848"/>
                </a:lnTo>
                <a:lnTo>
                  <a:pt x="755" y="3849"/>
                </a:lnTo>
                <a:lnTo>
                  <a:pt x="771" y="3849"/>
                </a:lnTo>
                <a:lnTo>
                  <a:pt x="803" y="3848"/>
                </a:lnTo>
                <a:lnTo>
                  <a:pt x="836" y="3844"/>
                </a:lnTo>
                <a:lnTo>
                  <a:pt x="870" y="3840"/>
                </a:lnTo>
                <a:lnTo>
                  <a:pt x="904" y="3835"/>
                </a:lnTo>
                <a:lnTo>
                  <a:pt x="978" y="3820"/>
                </a:lnTo>
                <a:lnTo>
                  <a:pt x="1056" y="3806"/>
                </a:lnTo>
                <a:lnTo>
                  <a:pt x="1066" y="3826"/>
                </a:lnTo>
                <a:lnTo>
                  <a:pt x="1073" y="3847"/>
                </a:lnTo>
                <a:lnTo>
                  <a:pt x="1081" y="3869"/>
                </a:lnTo>
                <a:lnTo>
                  <a:pt x="1089" y="3891"/>
                </a:lnTo>
                <a:lnTo>
                  <a:pt x="1101" y="3938"/>
                </a:lnTo>
                <a:lnTo>
                  <a:pt x="1113" y="3987"/>
                </a:lnTo>
                <a:lnTo>
                  <a:pt x="1119" y="4013"/>
                </a:lnTo>
                <a:lnTo>
                  <a:pt x="1127" y="4038"/>
                </a:lnTo>
                <a:lnTo>
                  <a:pt x="1135" y="4064"/>
                </a:lnTo>
                <a:lnTo>
                  <a:pt x="1144" y="4090"/>
                </a:lnTo>
                <a:lnTo>
                  <a:pt x="1153" y="4116"/>
                </a:lnTo>
                <a:lnTo>
                  <a:pt x="1164" y="4142"/>
                </a:lnTo>
                <a:lnTo>
                  <a:pt x="1178" y="4168"/>
                </a:lnTo>
                <a:lnTo>
                  <a:pt x="1192" y="4194"/>
                </a:lnTo>
                <a:lnTo>
                  <a:pt x="1216" y="4232"/>
                </a:lnTo>
                <a:lnTo>
                  <a:pt x="1241" y="4266"/>
                </a:lnTo>
                <a:lnTo>
                  <a:pt x="1267" y="4298"/>
                </a:lnTo>
                <a:lnTo>
                  <a:pt x="1294" y="4326"/>
                </a:lnTo>
                <a:lnTo>
                  <a:pt x="1322" y="4352"/>
                </a:lnTo>
                <a:lnTo>
                  <a:pt x="1350" y="4376"/>
                </a:lnTo>
                <a:lnTo>
                  <a:pt x="1379" y="4396"/>
                </a:lnTo>
                <a:lnTo>
                  <a:pt x="1409" y="4414"/>
                </a:lnTo>
                <a:lnTo>
                  <a:pt x="1439" y="4429"/>
                </a:lnTo>
                <a:lnTo>
                  <a:pt x="1470" y="4443"/>
                </a:lnTo>
                <a:lnTo>
                  <a:pt x="1501" y="4453"/>
                </a:lnTo>
                <a:lnTo>
                  <a:pt x="1533" y="4460"/>
                </a:lnTo>
                <a:lnTo>
                  <a:pt x="1565" y="4466"/>
                </a:lnTo>
                <a:lnTo>
                  <a:pt x="1598" y="4469"/>
                </a:lnTo>
                <a:lnTo>
                  <a:pt x="1630" y="4469"/>
                </a:lnTo>
                <a:lnTo>
                  <a:pt x="1663" y="4468"/>
                </a:lnTo>
                <a:lnTo>
                  <a:pt x="1696" y="4464"/>
                </a:lnTo>
                <a:lnTo>
                  <a:pt x="1729" y="4458"/>
                </a:lnTo>
                <a:lnTo>
                  <a:pt x="1762" y="4450"/>
                </a:lnTo>
                <a:lnTo>
                  <a:pt x="1795" y="4440"/>
                </a:lnTo>
                <a:lnTo>
                  <a:pt x="1828" y="4428"/>
                </a:lnTo>
                <a:lnTo>
                  <a:pt x="1861" y="4414"/>
                </a:lnTo>
                <a:lnTo>
                  <a:pt x="1893" y="4399"/>
                </a:lnTo>
                <a:lnTo>
                  <a:pt x="1926" y="4381"/>
                </a:lnTo>
                <a:lnTo>
                  <a:pt x="1957" y="4361"/>
                </a:lnTo>
                <a:lnTo>
                  <a:pt x="1989" y="4340"/>
                </a:lnTo>
                <a:lnTo>
                  <a:pt x="2020" y="4317"/>
                </a:lnTo>
                <a:lnTo>
                  <a:pt x="2051" y="4293"/>
                </a:lnTo>
                <a:lnTo>
                  <a:pt x="2081" y="4267"/>
                </a:lnTo>
                <a:lnTo>
                  <a:pt x="2110" y="4239"/>
                </a:lnTo>
                <a:lnTo>
                  <a:pt x="2139" y="4211"/>
                </a:lnTo>
                <a:lnTo>
                  <a:pt x="2167" y="4180"/>
                </a:lnTo>
                <a:lnTo>
                  <a:pt x="2287" y="4742"/>
                </a:lnTo>
                <a:lnTo>
                  <a:pt x="2547" y="4741"/>
                </a:lnTo>
                <a:lnTo>
                  <a:pt x="2570" y="4657"/>
                </a:lnTo>
                <a:lnTo>
                  <a:pt x="2595" y="4574"/>
                </a:lnTo>
                <a:lnTo>
                  <a:pt x="2621" y="4490"/>
                </a:lnTo>
                <a:lnTo>
                  <a:pt x="2647" y="4407"/>
                </a:lnTo>
                <a:lnTo>
                  <a:pt x="2674" y="4325"/>
                </a:lnTo>
                <a:lnTo>
                  <a:pt x="2702" y="4243"/>
                </a:lnTo>
                <a:lnTo>
                  <a:pt x="2731" y="4160"/>
                </a:lnTo>
                <a:lnTo>
                  <a:pt x="2760" y="4078"/>
                </a:lnTo>
                <a:lnTo>
                  <a:pt x="2786" y="4013"/>
                </a:lnTo>
                <a:lnTo>
                  <a:pt x="2811" y="3953"/>
                </a:lnTo>
                <a:lnTo>
                  <a:pt x="2837" y="3899"/>
                </a:lnTo>
                <a:lnTo>
                  <a:pt x="2864" y="3851"/>
                </a:lnTo>
                <a:lnTo>
                  <a:pt x="2891" y="3808"/>
                </a:lnTo>
                <a:lnTo>
                  <a:pt x="2919" y="3769"/>
                </a:lnTo>
                <a:lnTo>
                  <a:pt x="2947" y="3734"/>
                </a:lnTo>
                <a:lnTo>
                  <a:pt x="2976" y="3705"/>
                </a:lnTo>
                <a:lnTo>
                  <a:pt x="3005" y="3678"/>
                </a:lnTo>
                <a:lnTo>
                  <a:pt x="3035" y="3656"/>
                </a:lnTo>
                <a:lnTo>
                  <a:pt x="3065" y="3637"/>
                </a:lnTo>
                <a:lnTo>
                  <a:pt x="3096" y="3619"/>
                </a:lnTo>
                <a:lnTo>
                  <a:pt x="3128" y="3605"/>
                </a:lnTo>
                <a:lnTo>
                  <a:pt x="3159" y="3593"/>
                </a:lnTo>
                <a:lnTo>
                  <a:pt x="3191" y="3583"/>
                </a:lnTo>
                <a:lnTo>
                  <a:pt x="3224" y="3574"/>
                </a:lnTo>
                <a:lnTo>
                  <a:pt x="3257" y="3566"/>
                </a:lnTo>
                <a:lnTo>
                  <a:pt x="3290" y="3560"/>
                </a:lnTo>
                <a:lnTo>
                  <a:pt x="3324" y="3554"/>
                </a:lnTo>
                <a:lnTo>
                  <a:pt x="3360" y="3549"/>
                </a:lnTo>
                <a:lnTo>
                  <a:pt x="3395" y="3543"/>
                </a:lnTo>
                <a:lnTo>
                  <a:pt x="3430" y="3537"/>
                </a:lnTo>
                <a:lnTo>
                  <a:pt x="3466" y="3530"/>
                </a:lnTo>
                <a:lnTo>
                  <a:pt x="3503" y="3522"/>
                </a:lnTo>
                <a:lnTo>
                  <a:pt x="3539" y="3513"/>
                </a:lnTo>
                <a:lnTo>
                  <a:pt x="3576" y="3502"/>
                </a:lnTo>
                <a:lnTo>
                  <a:pt x="3614" y="3489"/>
                </a:lnTo>
                <a:lnTo>
                  <a:pt x="3652" y="3475"/>
                </a:lnTo>
                <a:lnTo>
                  <a:pt x="3691" y="3457"/>
                </a:lnTo>
                <a:lnTo>
                  <a:pt x="3730" y="3436"/>
                </a:lnTo>
                <a:lnTo>
                  <a:pt x="3770" y="3413"/>
                </a:lnTo>
                <a:lnTo>
                  <a:pt x="3809" y="3386"/>
                </a:lnTo>
                <a:lnTo>
                  <a:pt x="3839" y="3363"/>
                </a:lnTo>
                <a:lnTo>
                  <a:pt x="3867" y="3341"/>
                </a:lnTo>
                <a:lnTo>
                  <a:pt x="3891" y="3320"/>
                </a:lnTo>
                <a:lnTo>
                  <a:pt x="3913" y="3298"/>
                </a:lnTo>
                <a:lnTo>
                  <a:pt x="3933" y="3277"/>
                </a:lnTo>
                <a:lnTo>
                  <a:pt x="3949" y="3257"/>
                </a:lnTo>
                <a:lnTo>
                  <a:pt x="3964" y="3236"/>
                </a:lnTo>
                <a:lnTo>
                  <a:pt x="3978" y="3218"/>
                </a:lnTo>
                <a:lnTo>
                  <a:pt x="3989" y="3198"/>
                </a:lnTo>
                <a:lnTo>
                  <a:pt x="3997" y="3179"/>
                </a:lnTo>
                <a:lnTo>
                  <a:pt x="4005" y="3159"/>
                </a:lnTo>
                <a:lnTo>
                  <a:pt x="4011" y="3142"/>
                </a:lnTo>
                <a:lnTo>
                  <a:pt x="4015" y="3123"/>
                </a:lnTo>
                <a:lnTo>
                  <a:pt x="4017" y="3105"/>
                </a:lnTo>
                <a:lnTo>
                  <a:pt x="4018" y="3088"/>
                </a:lnTo>
                <a:lnTo>
                  <a:pt x="4018" y="3070"/>
                </a:lnTo>
                <a:lnTo>
                  <a:pt x="4018" y="3053"/>
                </a:lnTo>
                <a:lnTo>
                  <a:pt x="4016" y="3036"/>
                </a:lnTo>
                <a:lnTo>
                  <a:pt x="4013" y="3020"/>
                </a:lnTo>
                <a:lnTo>
                  <a:pt x="4010" y="3003"/>
                </a:lnTo>
                <a:lnTo>
                  <a:pt x="4000" y="2970"/>
                </a:lnTo>
                <a:lnTo>
                  <a:pt x="3989" y="2938"/>
                </a:lnTo>
                <a:lnTo>
                  <a:pt x="3977" y="2907"/>
                </a:lnTo>
                <a:lnTo>
                  <a:pt x="3964" y="2877"/>
                </a:lnTo>
                <a:lnTo>
                  <a:pt x="3953" y="2846"/>
                </a:lnTo>
                <a:lnTo>
                  <a:pt x="3944" y="2816"/>
                </a:lnTo>
                <a:lnTo>
                  <a:pt x="3999" y="2812"/>
                </a:lnTo>
                <a:lnTo>
                  <a:pt x="4052" y="2807"/>
                </a:lnTo>
                <a:lnTo>
                  <a:pt x="4104" y="2804"/>
                </a:lnTo>
                <a:lnTo>
                  <a:pt x="4155" y="2800"/>
                </a:lnTo>
                <a:lnTo>
                  <a:pt x="4204" y="2795"/>
                </a:lnTo>
                <a:lnTo>
                  <a:pt x="4253" y="2791"/>
                </a:lnTo>
                <a:lnTo>
                  <a:pt x="4301" y="2787"/>
                </a:lnTo>
                <a:lnTo>
                  <a:pt x="4349" y="2781"/>
                </a:lnTo>
                <a:lnTo>
                  <a:pt x="4397" y="2776"/>
                </a:lnTo>
                <a:lnTo>
                  <a:pt x="4444" y="2769"/>
                </a:lnTo>
                <a:lnTo>
                  <a:pt x="4492" y="2762"/>
                </a:lnTo>
                <a:lnTo>
                  <a:pt x="4541" y="2755"/>
                </a:lnTo>
                <a:lnTo>
                  <a:pt x="4590" y="2746"/>
                </a:lnTo>
                <a:lnTo>
                  <a:pt x="4640" y="2737"/>
                </a:lnTo>
                <a:lnTo>
                  <a:pt x="4691" y="2726"/>
                </a:lnTo>
                <a:lnTo>
                  <a:pt x="4744" y="2715"/>
                </a:lnTo>
                <a:lnTo>
                  <a:pt x="4806" y="2700"/>
                </a:lnTo>
                <a:lnTo>
                  <a:pt x="4862" y="2684"/>
                </a:lnTo>
                <a:lnTo>
                  <a:pt x="4888" y="2675"/>
                </a:lnTo>
                <a:lnTo>
                  <a:pt x="4914" y="2668"/>
                </a:lnTo>
                <a:lnTo>
                  <a:pt x="4937" y="2659"/>
                </a:lnTo>
                <a:lnTo>
                  <a:pt x="4960" y="2649"/>
                </a:lnTo>
                <a:lnTo>
                  <a:pt x="4981" y="2640"/>
                </a:lnTo>
                <a:lnTo>
                  <a:pt x="5000" y="2629"/>
                </a:lnTo>
                <a:lnTo>
                  <a:pt x="5019" y="2619"/>
                </a:lnTo>
                <a:lnTo>
                  <a:pt x="5036" y="2608"/>
                </a:lnTo>
                <a:lnTo>
                  <a:pt x="5052" y="2597"/>
                </a:lnTo>
                <a:lnTo>
                  <a:pt x="5067" y="2585"/>
                </a:lnTo>
                <a:lnTo>
                  <a:pt x="5082" y="2572"/>
                </a:lnTo>
                <a:lnTo>
                  <a:pt x="5094" y="2559"/>
                </a:lnTo>
                <a:lnTo>
                  <a:pt x="5106" y="2546"/>
                </a:lnTo>
                <a:lnTo>
                  <a:pt x="5117" y="2531"/>
                </a:lnTo>
                <a:lnTo>
                  <a:pt x="5126" y="2516"/>
                </a:lnTo>
                <a:lnTo>
                  <a:pt x="5135" y="2499"/>
                </a:lnTo>
                <a:lnTo>
                  <a:pt x="5142" y="2483"/>
                </a:lnTo>
                <a:lnTo>
                  <a:pt x="5149" y="2465"/>
                </a:lnTo>
                <a:lnTo>
                  <a:pt x="5154" y="2447"/>
                </a:lnTo>
                <a:lnTo>
                  <a:pt x="5160" y="2427"/>
                </a:lnTo>
                <a:lnTo>
                  <a:pt x="5163" y="2407"/>
                </a:lnTo>
                <a:lnTo>
                  <a:pt x="5166" y="2386"/>
                </a:lnTo>
                <a:lnTo>
                  <a:pt x="5168" y="2363"/>
                </a:lnTo>
                <a:lnTo>
                  <a:pt x="5169" y="2340"/>
                </a:lnTo>
                <a:lnTo>
                  <a:pt x="5170" y="2316"/>
                </a:lnTo>
                <a:lnTo>
                  <a:pt x="5169" y="2291"/>
                </a:lnTo>
                <a:lnTo>
                  <a:pt x="5168" y="2264"/>
                </a:lnTo>
                <a:lnTo>
                  <a:pt x="5165" y="2237"/>
                </a:lnTo>
                <a:lnTo>
                  <a:pt x="5193" y="2232"/>
                </a:lnTo>
                <a:lnTo>
                  <a:pt x="5218" y="2228"/>
                </a:lnTo>
                <a:lnTo>
                  <a:pt x="5243" y="2221"/>
                </a:lnTo>
                <a:lnTo>
                  <a:pt x="5268" y="2214"/>
                </a:lnTo>
                <a:lnTo>
                  <a:pt x="5290" y="2205"/>
                </a:lnTo>
                <a:lnTo>
                  <a:pt x="5312" y="2195"/>
                </a:lnTo>
                <a:lnTo>
                  <a:pt x="5333" y="2183"/>
                </a:lnTo>
                <a:lnTo>
                  <a:pt x="5351" y="2170"/>
                </a:lnTo>
                <a:lnTo>
                  <a:pt x="5370" y="2155"/>
                </a:lnTo>
                <a:lnTo>
                  <a:pt x="5388" y="2140"/>
                </a:lnTo>
                <a:lnTo>
                  <a:pt x="5403" y="2124"/>
                </a:lnTo>
                <a:lnTo>
                  <a:pt x="5418" y="2107"/>
                </a:lnTo>
                <a:lnTo>
                  <a:pt x="5432" y="2088"/>
                </a:lnTo>
                <a:lnTo>
                  <a:pt x="5445" y="2068"/>
                </a:lnTo>
                <a:lnTo>
                  <a:pt x="5456" y="2047"/>
                </a:lnTo>
                <a:lnTo>
                  <a:pt x="5467" y="2027"/>
                </a:lnTo>
                <a:lnTo>
                  <a:pt x="5476" y="2005"/>
                </a:lnTo>
                <a:lnTo>
                  <a:pt x="5483" y="1982"/>
                </a:lnTo>
                <a:lnTo>
                  <a:pt x="5491" y="1957"/>
                </a:lnTo>
                <a:lnTo>
                  <a:pt x="5496" y="1932"/>
                </a:lnTo>
                <a:lnTo>
                  <a:pt x="5502" y="1907"/>
                </a:lnTo>
                <a:lnTo>
                  <a:pt x="5505" y="1880"/>
                </a:lnTo>
                <a:lnTo>
                  <a:pt x="5507" y="1854"/>
                </a:lnTo>
                <a:lnTo>
                  <a:pt x="5508" y="1826"/>
                </a:lnTo>
                <a:lnTo>
                  <a:pt x="5510" y="1799"/>
                </a:lnTo>
                <a:lnTo>
                  <a:pt x="5508" y="1770"/>
                </a:lnTo>
                <a:lnTo>
                  <a:pt x="5506" y="1742"/>
                </a:lnTo>
                <a:lnTo>
                  <a:pt x="5503" y="1712"/>
                </a:lnTo>
                <a:lnTo>
                  <a:pt x="5500" y="1682"/>
                </a:lnTo>
                <a:lnTo>
                  <a:pt x="5494" y="1653"/>
                </a:lnTo>
                <a:lnTo>
                  <a:pt x="5488" y="1622"/>
                </a:lnTo>
                <a:lnTo>
                  <a:pt x="5480" y="1591"/>
                </a:lnTo>
                <a:lnTo>
                  <a:pt x="5472" y="1564"/>
                </a:lnTo>
                <a:lnTo>
                  <a:pt x="5465" y="1537"/>
                </a:lnTo>
                <a:lnTo>
                  <a:pt x="5456" y="1512"/>
                </a:lnTo>
                <a:lnTo>
                  <a:pt x="5447" y="1487"/>
                </a:lnTo>
                <a:lnTo>
                  <a:pt x="5437" y="1464"/>
                </a:lnTo>
                <a:lnTo>
                  <a:pt x="5427" y="1440"/>
                </a:lnTo>
                <a:lnTo>
                  <a:pt x="5417" y="1418"/>
                </a:lnTo>
                <a:lnTo>
                  <a:pt x="5406" y="1398"/>
                </a:lnTo>
                <a:lnTo>
                  <a:pt x="5395" y="1377"/>
                </a:lnTo>
                <a:lnTo>
                  <a:pt x="5384" y="1358"/>
                </a:lnTo>
                <a:lnTo>
                  <a:pt x="5372" y="1338"/>
                </a:lnTo>
                <a:lnTo>
                  <a:pt x="5360" y="1321"/>
                </a:lnTo>
                <a:lnTo>
                  <a:pt x="5348" y="1303"/>
                </a:lnTo>
                <a:lnTo>
                  <a:pt x="5335" y="1286"/>
                </a:lnTo>
                <a:lnTo>
                  <a:pt x="5320" y="1270"/>
                </a:lnTo>
                <a:lnTo>
                  <a:pt x="5307" y="1254"/>
                </a:lnTo>
                <a:lnTo>
                  <a:pt x="5293" y="1238"/>
                </a:lnTo>
                <a:lnTo>
                  <a:pt x="5279" y="1223"/>
                </a:lnTo>
                <a:lnTo>
                  <a:pt x="5263" y="1208"/>
                </a:lnTo>
                <a:lnTo>
                  <a:pt x="5248" y="1194"/>
                </a:lnTo>
                <a:lnTo>
                  <a:pt x="5216" y="1167"/>
                </a:lnTo>
                <a:lnTo>
                  <a:pt x="5182" y="1140"/>
                </a:lnTo>
                <a:lnTo>
                  <a:pt x="5148" y="1115"/>
                </a:lnTo>
                <a:lnTo>
                  <a:pt x="5111" y="1090"/>
                </a:lnTo>
                <a:lnTo>
                  <a:pt x="5073" y="1064"/>
                </a:lnTo>
                <a:lnTo>
                  <a:pt x="5035" y="1039"/>
                </a:lnTo>
                <a:lnTo>
                  <a:pt x="5039" y="1017"/>
                </a:lnTo>
                <a:lnTo>
                  <a:pt x="5042" y="996"/>
                </a:lnTo>
                <a:lnTo>
                  <a:pt x="5044" y="975"/>
                </a:lnTo>
                <a:lnTo>
                  <a:pt x="5044" y="955"/>
                </a:lnTo>
                <a:lnTo>
                  <a:pt x="5043" y="937"/>
                </a:lnTo>
                <a:lnTo>
                  <a:pt x="5041" y="919"/>
                </a:lnTo>
                <a:lnTo>
                  <a:pt x="5037" y="902"/>
                </a:lnTo>
                <a:lnTo>
                  <a:pt x="5032" y="885"/>
                </a:lnTo>
                <a:lnTo>
                  <a:pt x="5026" y="869"/>
                </a:lnTo>
                <a:lnTo>
                  <a:pt x="5018" y="854"/>
                </a:lnTo>
                <a:lnTo>
                  <a:pt x="5009" y="840"/>
                </a:lnTo>
                <a:lnTo>
                  <a:pt x="4998" y="826"/>
                </a:lnTo>
                <a:lnTo>
                  <a:pt x="4987" y="813"/>
                </a:lnTo>
                <a:lnTo>
                  <a:pt x="4975" y="800"/>
                </a:lnTo>
                <a:lnTo>
                  <a:pt x="4963" y="788"/>
                </a:lnTo>
                <a:lnTo>
                  <a:pt x="4949" y="777"/>
                </a:lnTo>
                <a:lnTo>
                  <a:pt x="4934" y="767"/>
                </a:lnTo>
                <a:lnTo>
                  <a:pt x="4919" y="758"/>
                </a:lnTo>
                <a:lnTo>
                  <a:pt x="4903" y="749"/>
                </a:lnTo>
                <a:lnTo>
                  <a:pt x="4886" y="740"/>
                </a:lnTo>
                <a:lnTo>
                  <a:pt x="4868" y="731"/>
                </a:lnTo>
                <a:lnTo>
                  <a:pt x="4850" y="725"/>
                </a:lnTo>
                <a:lnTo>
                  <a:pt x="4831" y="717"/>
                </a:lnTo>
                <a:lnTo>
                  <a:pt x="4812" y="711"/>
                </a:lnTo>
                <a:lnTo>
                  <a:pt x="4793" y="705"/>
                </a:lnTo>
                <a:lnTo>
                  <a:pt x="4773" y="699"/>
                </a:lnTo>
                <a:lnTo>
                  <a:pt x="4753" y="695"/>
                </a:lnTo>
                <a:lnTo>
                  <a:pt x="4732" y="690"/>
                </a:lnTo>
                <a:lnTo>
                  <a:pt x="4691" y="684"/>
                </a:lnTo>
                <a:lnTo>
                  <a:pt x="4650" y="678"/>
                </a:lnTo>
                <a:lnTo>
                  <a:pt x="4634" y="650"/>
                </a:lnTo>
                <a:lnTo>
                  <a:pt x="4620" y="623"/>
                </a:lnTo>
                <a:lnTo>
                  <a:pt x="4603" y="599"/>
                </a:lnTo>
                <a:lnTo>
                  <a:pt x="4588" y="575"/>
                </a:lnTo>
                <a:lnTo>
                  <a:pt x="4572" y="553"/>
                </a:lnTo>
                <a:lnTo>
                  <a:pt x="4554" y="532"/>
                </a:lnTo>
                <a:lnTo>
                  <a:pt x="4536" y="512"/>
                </a:lnTo>
                <a:lnTo>
                  <a:pt x="4518" y="492"/>
                </a:lnTo>
                <a:lnTo>
                  <a:pt x="4498" y="475"/>
                </a:lnTo>
                <a:lnTo>
                  <a:pt x="4478" y="458"/>
                </a:lnTo>
                <a:lnTo>
                  <a:pt x="4456" y="442"/>
                </a:lnTo>
                <a:lnTo>
                  <a:pt x="4434" y="427"/>
                </a:lnTo>
                <a:lnTo>
                  <a:pt x="4410" y="412"/>
                </a:lnTo>
                <a:lnTo>
                  <a:pt x="4386" y="398"/>
                </a:lnTo>
                <a:lnTo>
                  <a:pt x="4359" y="385"/>
                </a:lnTo>
                <a:lnTo>
                  <a:pt x="4332" y="372"/>
                </a:lnTo>
                <a:lnTo>
                  <a:pt x="4289" y="353"/>
                </a:lnTo>
                <a:lnTo>
                  <a:pt x="4250" y="339"/>
                </a:lnTo>
                <a:lnTo>
                  <a:pt x="4215" y="326"/>
                </a:lnTo>
                <a:lnTo>
                  <a:pt x="4183" y="317"/>
                </a:lnTo>
                <a:lnTo>
                  <a:pt x="4154" y="310"/>
                </a:lnTo>
                <a:lnTo>
                  <a:pt x="4126" y="307"/>
                </a:lnTo>
                <a:lnTo>
                  <a:pt x="4099" y="304"/>
                </a:lnTo>
                <a:lnTo>
                  <a:pt x="4073" y="303"/>
                </a:lnTo>
                <a:lnTo>
                  <a:pt x="4047" y="306"/>
                </a:lnTo>
                <a:lnTo>
                  <a:pt x="4021" y="308"/>
                </a:lnTo>
                <a:lnTo>
                  <a:pt x="3993" y="311"/>
                </a:lnTo>
                <a:lnTo>
                  <a:pt x="3963" y="315"/>
                </a:lnTo>
                <a:lnTo>
                  <a:pt x="3896" y="326"/>
                </a:lnTo>
                <a:lnTo>
                  <a:pt x="3816" y="337"/>
                </a:lnTo>
                <a:lnTo>
                  <a:pt x="3810" y="323"/>
                </a:lnTo>
                <a:lnTo>
                  <a:pt x="3803" y="309"/>
                </a:lnTo>
                <a:lnTo>
                  <a:pt x="3795" y="295"/>
                </a:lnTo>
                <a:lnTo>
                  <a:pt x="3786" y="281"/>
                </a:lnTo>
                <a:lnTo>
                  <a:pt x="3776" y="268"/>
                </a:lnTo>
                <a:lnTo>
                  <a:pt x="3766" y="254"/>
                </a:lnTo>
                <a:lnTo>
                  <a:pt x="3755" y="241"/>
                </a:lnTo>
                <a:lnTo>
                  <a:pt x="3743" y="227"/>
                </a:lnTo>
                <a:lnTo>
                  <a:pt x="3731" y="215"/>
                </a:lnTo>
                <a:lnTo>
                  <a:pt x="3718" y="203"/>
                </a:lnTo>
                <a:lnTo>
                  <a:pt x="3704" y="191"/>
                </a:lnTo>
                <a:lnTo>
                  <a:pt x="3690" y="179"/>
                </a:lnTo>
                <a:lnTo>
                  <a:pt x="3674" y="167"/>
                </a:lnTo>
                <a:lnTo>
                  <a:pt x="3658" y="157"/>
                </a:lnTo>
                <a:lnTo>
                  <a:pt x="3641" y="146"/>
                </a:lnTo>
                <a:lnTo>
                  <a:pt x="3625" y="136"/>
                </a:lnTo>
                <a:lnTo>
                  <a:pt x="3607" y="126"/>
                </a:lnTo>
                <a:lnTo>
                  <a:pt x="3588" y="117"/>
                </a:lnTo>
                <a:lnTo>
                  <a:pt x="3571" y="109"/>
                </a:lnTo>
                <a:lnTo>
                  <a:pt x="3551" y="101"/>
                </a:lnTo>
                <a:lnTo>
                  <a:pt x="3531" y="94"/>
                </a:lnTo>
                <a:lnTo>
                  <a:pt x="3511" y="88"/>
                </a:lnTo>
                <a:lnTo>
                  <a:pt x="3490" y="82"/>
                </a:lnTo>
                <a:lnTo>
                  <a:pt x="3470" y="77"/>
                </a:lnTo>
                <a:lnTo>
                  <a:pt x="3449" y="72"/>
                </a:lnTo>
                <a:lnTo>
                  <a:pt x="3427" y="69"/>
                </a:lnTo>
                <a:lnTo>
                  <a:pt x="3404" y="66"/>
                </a:lnTo>
                <a:lnTo>
                  <a:pt x="3382" y="65"/>
                </a:lnTo>
                <a:lnTo>
                  <a:pt x="3358" y="64"/>
                </a:lnTo>
                <a:lnTo>
                  <a:pt x="3335" y="64"/>
                </a:lnTo>
                <a:lnTo>
                  <a:pt x="3312" y="64"/>
                </a:lnTo>
                <a:lnTo>
                  <a:pt x="3288" y="66"/>
                </a:lnTo>
                <a:lnTo>
                  <a:pt x="3258" y="69"/>
                </a:lnTo>
                <a:lnTo>
                  <a:pt x="3232" y="75"/>
                </a:lnTo>
                <a:lnTo>
                  <a:pt x="3208" y="81"/>
                </a:lnTo>
                <a:lnTo>
                  <a:pt x="3186" y="88"/>
                </a:lnTo>
                <a:lnTo>
                  <a:pt x="3147" y="102"/>
                </a:lnTo>
                <a:lnTo>
                  <a:pt x="3112" y="114"/>
                </a:lnTo>
                <a:lnTo>
                  <a:pt x="3096" y="120"/>
                </a:lnTo>
                <a:lnTo>
                  <a:pt x="3079" y="123"/>
                </a:lnTo>
                <a:lnTo>
                  <a:pt x="3063" y="125"/>
                </a:lnTo>
                <a:lnTo>
                  <a:pt x="3046" y="125"/>
                </a:lnTo>
                <a:lnTo>
                  <a:pt x="3036" y="124"/>
                </a:lnTo>
                <a:lnTo>
                  <a:pt x="3027" y="122"/>
                </a:lnTo>
                <a:lnTo>
                  <a:pt x="3018" y="120"/>
                </a:lnTo>
                <a:lnTo>
                  <a:pt x="3008" y="116"/>
                </a:lnTo>
                <a:lnTo>
                  <a:pt x="2998" y="113"/>
                </a:lnTo>
                <a:lnTo>
                  <a:pt x="2987" y="109"/>
                </a:lnTo>
                <a:lnTo>
                  <a:pt x="2975" y="103"/>
                </a:lnTo>
                <a:lnTo>
                  <a:pt x="2964" y="97"/>
                </a:lnTo>
                <a:lnTo>
                  <a:pt x="2945" y="87"/>
                </a:lnTo>
                <a:lnTo>
                  <a:pt x="2926" y="77"/>
                </a:lnTo>
                <a:lnTo>
                  <a:pt x="2906" y="68"/>
                </a:lnTo>
                <a:lnTo>
                  <a:pt x="2887" y="60"/>
                </a:lnTo>
                <a:lnTo>
                  <a:pt x="2867" y="52"/>
                </a:lnTo>
                <a:lnTo>
                  <a:pt x="2847" y="45"/>
                </a:lnTo>
                <a:lnTo>
                  <a:pt x="2826" y="37"/>
                </a:lnTo>
                <a:lnTo>
                  <a:pt x="2805" y="32"/>
                </a:lnTo>
                <a:lnTo>
                  <a:pt x="2784" y="25"/>
                </a:lnTo>
                <a:lnTo>
                  <a:pt x="2762" y="21"/>
                </a:lnTo>
                <a:lnTo>
                  <a:pt x="2742" y="15"/>
                </a:lnTo>
                <a:lnTo>
                  <a:pt x="2720" y="12"/>
                </a:lnTo>
                <a:lnTo>
                  <a:pt x="2699" y="8"/>
                </a:lnTo>
                <a:lnTo>
                  <a:pt x="2677" y="5"/>
                </a:lnTo>
                <a:lnTo>
                  <a:pt x="2655" y="3"/>
                </a:lnTo>
                <a:lnTo>
                  <a:pt x="2633" y="1"/>
                </a:lnTo>
                <a:lnTo>
                  <a:pt x="2612" y="0"/>
                </a:lnTo>
                <a:lnTo>
                  <a:pt x="2590" y="0"/>
                </a:lnTo>
                <a:lnTo>
                  <a:pt x="2568" y="0"/>
                </a:lnTo>
                <a:lnTo>
                  <a:pt x="2547" y="0"/>
                </a:lnTo>
                <a:lnTo>
                  <a:pt x="2525" y="2"/>
                </a:lnTo>
                <a:lnTo>
                  <a:pt x="2504" y="4"/>
                </a:lnTo>
                <a:lnTo>
                  <a:pt x="2483" y="6"/>
                </a:lnTo>
                <a:lnTo>
                  <a:pt x="2462" y="10"/>
                </a:lnTo>
                <a:lnTo>
                  <a:pt x="2441" y="14"/>
                </a:lnTo>
                <a:lnTo>
                  <a:pt x="2421" y="19"/>
                </a:lnTo>
                <a:lnTo>
                  <a:pt x="2402" y="24"/>
                </a:lnTo>
                <a:lnTo>
                  <a:pt x="2382" y="31"/>
                </a:lnTo>
                <a:lnTo>
                  <a:pt x="2362" y="37"/>
                </a:lnTo>
                <a:lnTo>
                  <a:pt x="2343" y="45"/>
                </a:lnTo>
                <a:lnTo>
                  <a:pt x="2326" y="54"/>
                </a:lnTo>
                <a:lnTo>
                  <a:pt x="2307" y="63"/>
                </a:lnTo>
                <a:lnTo>
                  <a:pt x="2273" y="81"/>
                </a:lnTo>
                <a:lnTo>
                  <a:pt x="2247" y="98"/>
                </a:lnTo>
                <a:lnTo>
                  <a:pt x="2227" y="110"/>
                </a:lnTo>
                <a:lnTo>
                  <a:pt x="2213" y="120"/>
                </a:lnTo>
                <a:lnTo>
                  <a:pt x="2202" y="127"/>
                </a:lnTo>
                <a:lnTo>
                  <a:pt x="2195" y="133"/>
                </a:lnTo>
                <a:lnTo>
                  <a:pt x="2189" y="136"/>
                </a:lnTo>
                <a:lnTo>
                  <a:pt x="2185" y="137"/>
                </a:lnTo>
                <a:lnTo>
                  <a:pt x="2174" y="135"/>
                </a:lnTo>
                <a:lnTo>
                  <a:pt x="2151" y="128"/>
                </a:lnTo>
                <a:lnTo>
                  <a:pt x="2132" y="124"/>
                </a:lnTo>
                <a:lnTo>
                  <a:pt x="2107" y="120"/>
                </a:lnTo>
                <a:lnTo>
                  <a:pt x="2075" y="114"/>
                </a:lnTo>
                <a:lnTo>
                  <a:pt x="2033" y="110"/>
                </a:lnTo>
                <a:lnTo>
                  <a:pt x="2009" y="108"/>
                </a:lnTo>
                <a:lnTo>
                  <a:pt x="1985" y="106"/>
                </a:lnTo>
                <a:lnTo>
                  <a:pt x="1963" y="106"/>
                </a:lnTo>
                <a:lnTo>
                  <a:pt x="1940" y="108"/>
                </a:lnTo>
                <a:lnTo>
                  <a:pt x="1918" y="109"/>
                </a:lnTo>
                <a:lnTo>
                  <a:pt x="1897" y="112"/>
                </a:lnTo>
                <a:lnTo>
                  <a:pt x="1877" y="115"/>
                </a:lnTo>
                <a:lnTo>
                  <a:pt x="1857" y="119"/>
                </a:lnTo>
                <a:lnTo>
                  <a:pt x="1838" y="124"/>
                </a:lnTo>
                <a:lnTo>
                  <a:pt x="1819" y="130"/>
                </a:lnTo>
                <a:lnTo>
                  <a:pt x="1801" y="136"/>
                </a:lnTo>
                <a:lnTo>
                  <a:pt x="1784" y="143"/>
                </a:lnTo>
                <a:lnTo>
                  <a:pt x="1767" y="150"/>
                </a:lnTo>
                <a:lnTo>
                  <a:pt x="1751" y="159"/>
                </a:lnTo>
                <a:lnTo>
                  <a:pt x="1734" y="168"/>
                </a:lnTo>
                <a:lnTo>
                  <a:pt x="1720" y="178"/>
                </a:lnTo>
                <a:lnTo>
                  <a:pt x="1704" y="188"/>
                </a:lnTo>
                <a:lnTo>
                  <a:pt x="1690" y="199"/>
                </a:lnTo>
                <a:lnTo>
                  <a:pt x="1677" y="210"/>
                </a:lnTo>
                <a:lnTo>
                  <a:pt x="1664" y="222"/>
                </a:lnTo>
                <a:lnTo>
                  <a:pt x="1652" y="234"/>
                </a:lnTo>
                <a:lnTo>
                  <a:pt x="1640" y="247"/>
                </a:lnTo>
                <a:lnTo>
                  <a:pt x="1627" y="260"/>
                </a:lnTo>
                <a:lnTo>
                  <a:pt x="1616" y="274"/>
                </a:lnTo>
                <a:lnTo>
                  <a:pt x="1605" y="288"/>
                </a:lnTo>
                <a:lnTo>
                  <a:pt x="1596" y="302"/>
                </a:lnTo>
                <a:lnTo>
                  <a:pt x="1586" y="317"/>
                </a:lnTo>
                <a:lnTo>
                  <a:pt x="1576" y="332"/>
                </a:lnTo>
                <a:lnTo>
                  <a:pt x="1559" y="363"/>
                </a:lnTo>
                <a:lnTo>
                  <a:pt x="1543" y="395"/>
                </a:lnTo>
                <a:lnTo>
                  <a:pt x="1513" y="385"/>
                </a:lnTo>
                <a:lnTo>
                  <a:pt x="1485" y="377"/>
                </a:lnTo>
                <a:lnTo>
                  <a:pt x="1457" y="370"/>
                </a:lnTo>
                <a:lnTo>
                  <a:pt x="1428" y="365"/>
                </a:lnTo>
                <a:lnTo>
                  <a:pt x="1402" y="362"/>
                </a:lnTo>
                <a:lnTo>
                  <a:pt x="1376" y="359"/>
                </a:lnTo>
                <a:lnTo>
                  <a:pt x="1350" y="358"/>
                </a:lnTo>
                <a:lnTo>
                  <a:pt x="1325" y="358"/>
                </a:lnTo>
                <a:lnTo>
                  <a:pt x="1301" y="359"/>
                </a:lnTo>
                <a:lnTo>
                  <a:pt x="1277" y="363"/>
                </a:lnTo>
                <a:lnTo>
                  <a:pt x="1254" y="366"/>
                </a:lnTo>
                <a:lnTo>
                  <a:pt x="1232" y="372"/>
                </a:lnTo>
                <a:lnTo>
                  <a:pt x="1210" y="378"/>
                </a:lnTo>
                <a:lnTo>
                  <a:pt x="1189" y="385"/>
                </a:lnTo>
                <a:lnTo>
                  <a:pt x="1168" y="394"/>
                </a:lnTo>
                <a:lnTo>
                  <a:pt x="1148" y="403"/>
                </a:lnTo>
                <a:lnTo>
                  <a:pt x="1128" y="413"/>
                </a:lnTo>
                <a:lnTo>
                  <a:pt x="1111" y="425"/>
                </a:lnTo>
                <a:lnTo>
                  <a:pt x="1092" y="438"/>
                </a:lnTo>
                <a:lnTo>
                  <a:pt x="1074" y="451"/>
                </a:lnTo>
                <a:lnTo>
                  <a:pt x="1058" y="465"/>
                </a:lnTo>
                <a:lnTo>
                  <a:pt x="1042" y="480"/>
                </a:lnTo>
                <a:lnTo>
                  <a:pt x="1027" y="496"/>
                </a:lnTo>
                <a:lnTo>
                  <a:pt x="1012" y="512"/>
                </a:lnTo>
                <a:lnTo>
                  <a:pt x="998" y="530"/>
                </a:lnTo>
                <a:lnTo>
                  <a:pt x="984" y="549"/>
                </a:lnTo>
                <a:lnTo>
                  <a:pt x="972" y="567"/>
                </a:lnTo>
                <a:lnTo>
                  <a:pt x="960" y="587"/>
                </a:lnTo>
                <a:lnTo>
                  <a:pt x="948" y="607"/>
                </a:lnTo>
                <a:lnTo>
                  <a:pt x="938" y="628"/>
                </a:lnTo>
                <a:lnTo>
                  <a:pt x="927" y="649"/>
                </a:lnTo>
                <a:lnTo>
                  <a:pt x="918" y="671"/>
                </a:lnTo>
                <a:lnTo>
                  <a:pt x="874" y="677"/>
                </a:lnTo>
                <a:lnTo>
                  <a:pt x="833" y="684"/>
                </a:lnTo>
                <a:lnTo>
                  <a:pt x="815" y="688"/>
                </a:lnTo>
                <a:lnTo>
                  <a:pt x="796" y="693"/>
                </a:lnTo>
                <a:lnTo>
                  <a:pt x="778" y="698"/>
                </a:lnTo>
                <a:lnTo>
                  <a:pt x="761" y="704"/>
                </a:lnTo>
                <a:lnTo>
                  <a:pt x="744" y="710"/>
                </a:lnTo>
                <a:lnTo>
                  <a:pt x="729" y="717"/>
                </a:lnTo>
                <a:lnTo>
                  <a:pt x="714" y="723"/>
                </a:lnTo>
                <a:lnTo>
                  <a:pt x="699" y="731"/>
                </a:lnTo>
                <a:lnTo>
                  <a:pt x="686" y="740"/>
                </a:lnTo>
                <a:lnTo>
                  <a:pt x="673" y="749"/>
                </a:lnTo>
                <a:lnTo>
                  <a:pt x="661" y="759"/>
                </a:lnTo>
                <a:lnTo>
                  <a:pt x="649" y="769"/>
                </a:lnTo>
                <a:lnTo>
                  <a:pt x="639" y="780"/>
                </a:lnTo>
                <a:lnTo>
                  <a:pt x="628" y="792"/>
                </a:lnTo>
                <a:lnTo>
                  <a:pt x="619" y="804"/>
                </a:lnTo>
                <a:lnTo>
                  <a:pt x="610" y="817"/>
                </a:lnTo>
                <a:lnTo>
                  <a:pt x="603" y="830"/>
                </a:lnTo>
                <a:lnTo>
                  <a:pt x="595" y="846"/>
                </a:lnTo>
                <a:lnTo>
                  <a:pt x="588" y="861"/>
                </a:lnTo>
                <a:lnTo>
                  <a:pt x="582" y="877"/>
                </a:lnTo>
                <a:lnTo>
                  <a:pt x="577" y="894"/>
                </a:lnTo>
                <a:lnTo>
                  <a:pt x="573" y="911"/>
                </a:lnTo>
                <a:lnTo>
                  <a:pt x="568" y="931"/>
                </a:lnTo>
                <a:lnTo>
                  <a:pt x="565" y="951"/>
                </a:lnTo>
                <a:lnTo>
                  <a:pt x="563" y="971"/>
                </a:lnTo>
                <a:lnTo>
                  <a:pt x="561" y="993"/>
                </a:lnTo>
                <a:lnTo>
                  <a:pt x="560" y="1016"/>
                </a:lnTo>
                <a:lnTo>
                  <a:pt x="560" y="1039"/>
                </a:lnTo>
                <a:lnTo>
                  <a:pt x="540" y="1050"/>
                </a:lnTo>
                <a:lnTo>
                  <a:pt x="520" y="1061"/>
                </a:lnTo>
                <a:lnTo>
                  <a:pt x="500" y="1073"/>
                </a:lnTo>
                <a:lnTo>
                  <a:pt x="482" y="1085"/>
                </a:lnTo>
                <a:lnTo>
                  <a:pt x="463" y="1097"/>
                </a:lnTo>
                <a:lnTo>
                  <a:pt x="444" y="1111"/>
                </a:lnTo>
                <a:lnTo>
                  <a:pt x="427" y="1124"/>
                </a:lnTo>
                <a:lnTo>
                  <a:pt x="410" y="1138"/>
                </a:lnTo>
                <a:lnTo>
                  <a:pt x="394" y="1152"/>
                </a:lnTo>
                <a:lnTo>
                  <a:pt x="378" y="1167"/>
                </a:lnTo>
                <a:lnTo>
                  <a:pt x="364" y="1182"/>
                </a:lnTo>
                <a:lnTo>
                  <a:pt x="350" y="1199"/>
                </a:lnTo>
                <a:lnTo>
                  <a:pt x="337" y="1215"/>
                </a:lnTo>
                <a:lnTo>
                  <a:pt x="325" y="1233"/>
                </a:lnTo>
                <a:lnTo>
                  <a:pt x="314" y="1250"/>
                </a:lnTo>
                <a:lnTo>
                  <a:pt x="303" y="1269"/>
                </a:lnTo>
                <a:lnTo>
                  <a:pt x="295" y="1288"/>
                </a:lnTo>
                <a:lnTo>
                  <a:pt x="287" y="1306"/>
                </a:lnTo>
                <a:lnTo>
                  <a:pt x="280" y="1327"/>
                </a:lnTo>
                <a:lnTo>
                  <a:pt x="274" y="1348"/>
                </a:lnTo>
                <a:lnTo>
                  <a:pt x="269" y="1369"/>
                </a:lnTo>
                <a:lnTo>
                  <a:pt x="266" y="1391"/>
                </a:lnTo>
                <a:lnTo>
                  <a:pt x="265" y="1414"/>
                </a:lnTo>
                <a:lnTo>
                  <a:pt x="264" y="1437"/>
                </a:lnTo>
                <a:lnTo>
                  <a:pt x="265" y="1461"/>
                </a:lnTo>
                <a:lnTo>
                  <a:pt x="267" y="1486"/>
                </a:lnTo>
                <a:lnTo>
                  <a:pt x="271" y="1511"/>
                </a:lnTo>
                <a:lnTo>
                  <a:pt x="276" y="1537"/>
                </a:lnTo>
                <a:lnTo>
                  <a:pt x="284" y="1565"/>
                </a:lnTo>
                <a:lnTo>
                  <a:pt x="292" y="1592"/>
                </a:lnTo>
                <a:lnTo>
                  <a:pt x="302" y="1621"/>
                </a:lnTo>
                <a:lnTo>
                  <a:pt x="314" y="1649"/>
                </a:lnTo>
                <a:lnTo>
                  <a:pt x="308" y="1661"/>
                </a:lnTo>
                <a:lnTo>
                  <a:pt x="301" y="1672"/>
                </a:lnTo>
                <a:lnTo>
                  <a:pt x="293" y="1683"/>
                </a:lnTo>
                <a:lnTo>
                  <a:pt x="286" y="1693"/>
                </a:lnTo>
                <a:lnTo>
                  <a:pt x="270" y="1713"/>
                </a:lnTo>
                <a:lnTo>
                  <a:pt x="253" y="1732"/>
                </a:lnTo>
                <a:lnTo>
                  <a:pt x="236" y="1752"/>
                </a:lnTo>
                <a:lnTo>
                  <a:pt x="220" y="1771"/>
                </a:lnTo>
                <a:lnTo>
                  <a:pt x="202" y="1793"/>
                </a:lnTo>
                <a:lnTo>
                  <a:pt x="187" y="1818"/>
                </a:lnTo>
                <a:lnTo>
                  <a:pt x="163" y="1858"/>
                </a:lnTo>
                <a:lnTo>
                  <a:pt x="141" y="1901"/>
                </a:lnTo>
                <a:lnTo>
                  <a:pt x="120" y="1945"/>
                </a:lnTo>
                <a:lnTo>
                  <a:pt x="100" y="1991"/>
                </a:lnTo>
                <a:lnTo>
                  <a:pt x="82" y="2039"/>
                </a:lnTo>
                <a:lnTo>
                  <a:pt x="66" y="2087"/>
                </a:lnTo>
                <a:lnTo>
                  <a:pt x="52" y="2138"/>
                </a:lnTo>
                <a:lnTo>
                  <a:pt x="38" y="2188"/>
                </a:lnTo>
                <a:lnTo>
                  <a:pt x="27" y="2239"/>
                </a:lnTo>
                <a:lnTo>
                  <a:pt x="17" y="2291"/>
                </a:lnTo>
                <a:lnTo>
                  <a:pt x="11" y="2343"/>
                </a:lnTo>
                <a:lnTo>
                  <a:pt x="4" y="2396"/>
                </a:lnTo>
                <a:lnTo>
                  <a:pt x="1" y="2448"/>
                </a:lnTo>
                <a:lnTo>
                  <a:pt x="0" y="2501"/>
                </a:lnTo>
                <a:lnTo>
                  <a:pt x="0" y="2552"/>
                </a:lnTo>
                <a:lnTo>
                  <a:pt x="2" y="2604"/>
                </a:lnTo>
                <a:lnTo>
                  <a:pt x="6" y="2655"/>
                </a:lnTo>
                <a:lnTo>
                  <a:pt x="14" y="2704"/>
                </a:lnTo>
                <a:lnTo>
                  <a:pt x="23" y="2752"/>
                </a:lnTo>
                <a:lnTo>
                  <a:pt x="35" y="2801"/>
                </a:lnTo>
                <a:lnTo>
                  <a:pt x="48" y="2847"/>
                </a:lnTo>
                <a:lnTo>
                  <a:pt x="65" y="2891"/>
                </a:lnTo>
                <a:lnTo>
                  <a:pt x="83" y="2934"/>
                </a:lnTo>
                <a:lnTo>
                  <a:pt x="105" y="2975"/>
                </a:lnTo>
                <a:lnTo>
                  <a:pt x="129" y="3014"/>
                </a:lnTo>
                <a:lnTo>
                  <a:pt x="155" y="3050"/>
                </a:lnTo>
                <a:lnTo>
                  <a:pt x="185" y="3085"/>
                </a:lnTo>
                <a:lnTo>
                  <a:pt x="217" y="3116"/>
                </a:lnTo>
                <a:lnTo>
                  <a:pt x="252" y="3145"/>
                </a:lnTo>
                <a:lnTo>
                  <a:pt x="289" y="3170"/>
                </a:lnTo>
                <a:lnTo>
                  <a:pt x="330" y="3193"/>
                </a:lnTo>
                <a:lnTo>
                  <a:pt x="374" y="3213"/>
                </a:lnTo>
                <a:lnTo>
                  <a:pt x="372" y="3259"/>
                </a:lnTo>
                <a:lnTo>
                  <a:pt x="369" y="3304"/>
                </a:lnTo>
                <a:lnTo>
                  <a:pt x="368" y="3346"/>
                </a:lnTo>
                <a:lnTo>
                  <a:pt x="369" y="3386"/>
                </a:lnTo>
                <a:lnTo>
                  <a:pt x="370" y="3423"/>
                </a:lnTo>
                <a:lnTo>
                  <a:pt x="373" y="3460"/>
                </a:lnTo>
                <a:lnTo>
                  <a:pt x="377" y="3494"/>
                </a:lnTo>
                <a:lnTo>
                  <a:pt x="384" y="3527"/>
                </a:lnTo>
                <a:lnTo>
                  <a:pt x="387" y="3542"/>
                </a:lnTo>
                <a:lnTo>
                  <a:pt x="391" y="3557"/>
                </a:lnTo>
                <a:lnTo>
                  <a:pt x="397" y="3573"/>
                </a:lnTo>
                <a:lnTo>
                  <a:pt x="402" y="3588"/>
                </a:lnTo>
                <a:lnTo>
                  <a:pt x="408" y="3602"/>
                </a:lnTo>
                <a:lnTo>
                  <a:pt x="414" y="3617"/>
                </a:lnTo>
                <a:lnTo>
                  <a:pt x="422" y="3631"/>
                </a:lnTo>
                <a:lnTo>
                  <a:pt x="430" y="3644"/>
                </a:lnTo>
                <a:lnTo>
                  <a:pt x="439" y="3659"/>
                </a:lnTo>
                <a:lnTo>
                  <a:pt x="447" y="3672"/>
                </a:lnTo>
                <a:lnTo>
                  <a:pt x="457" y="3685"/>
                </a:lnTo>
                <a:lnTo>
                  <a:pt x="468" y="3698"/>
                </a:lnTo>
                <a:lnTo>
                  <a:pt x="480" y="3711"/>
                </a:lnTo>
                <a:lnTo>
                  <a:pt x="493" y="3725"/>
                </a:lnTo>
                <a:lnTo>
                  <a:pt x="506" y="3738"/>
                </a:lnTo>
                <a:lnTo>
                  <a:pt x="520" y="3750"/>
                </a:lnTo>
                <a:close/>
              </a:path>
            </a:pathLst>
          </a:custGeom>
          <a:solidFill>
            <a:srgbClr val="FEFEF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EF885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5 Gen AI Use Cases</a:t>
            </a:r>
          </a:p>
        </p:txBody>
      </p:sp>
      <p:sp>
        <p:nvSpPr>
          <p:cNvPr id="1423" name="Rectangle: Rounded Corners 1422">
            <a:extLst>
              <a:ext uri="{FF2B5EF4-FFF2-40B4-BE49-F238E27FC236}">
                <a16:creationId xmlns:a16="http://schemas.microsoft.com/office/drawing/2014/main" id="{07A06055-B656-71DE-4006-03A03534B5A4}"/>
              </a:ext>
            </a:extLst>
          </p:cNvPr>
          <p:cNvSpPr/>
          <p:nvPr/>
        </p:nvSpPr>
        <p:spPr>
          <a:xfrm>
            <a:off x="7201585" y="5365819"/>
            <a:ext cx="864000" cy="540000"/>
          </a:xfrm>
          <a:prstGeom prst="roundRect">
            <a:avLst/>
          </a:prstGeom>
          <a:solidFill>
            <a:srgbClr val="EF885F"/>
          </a:solidFill>
          <a:ln>
            <a:solidFill>
              <a:srgbClr val="EF88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 sz="600">
              <a:solidFill>
                <a:srgbClr val="FFFFFF"/>
              </a:solidFill>
              <a:latin typeface="Graphik"/>
            </a:endParaRPr>
          </a:p>
        </p:txBody>
      </p:sp>
      <p:sp>
        <p:nvSpPr>
          <p:cNvPr id="1424" name="TextBox 1423">
            <a:extLst>
              <a:ext uri="{FF2B5EF4-FFF2-40B4-BE49-F238E27FC236}">
                <a16:creationId xmlns:a16="http://schemas.microsoft.com/office/drawing/2014/main" id="{75C59698-C832-3EFD-A83D-1549E0A5EF3D}"/>
              </a:ext>
            </a:extLst>
          </p:cNvPr>
          <p:cNvSpPr txBox="1"/>
          <p:nvPr/>
        </p:nvSpPr>
        <p:spPr>
          <a:xfrm>
            <a:off x="7534221" y="5386175"/>
            <a:ext cx="469922" cy="507831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Instant Narrative generation and SAR filing</a:t>
            </a:r>
          </a:p>
        </p:txBody>
      </p:sp>
      <p:grpSp>
        <p:nvGrpSpPr>
          <p:cNvPr id="1425" name="Group 12">
            <a:extLst>
              <a:ext uri="{FF2B5EF4-FFF2-40B4-BE49-F238E27FC236}">
                <a16:creationId xmlns:a16="http://schemas.microsoft.com/office/drawing/2014/main" id="{84C9E6F4-7EDF-FF58-7A0E-B6298D70CE2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88409" y="5465169"/>
            <a:ext cx="220075" cy="303183"/>
            <a:chOff x="1371" y="443"/>
            <a:chExt cx="427" cy="418"/>
          </a:xfrm>
          <a:noFill/>
        </p:grpSpPr>
        <p:sp>
          <p:nvSpPr>
            <p:cNvPr id="1451" name="Freeform 13">
              <a:extLst>
                <a:ext uri="{FF2B5EF4-FFF2-40B4-BE49-F238E27FC236}">
                  <a16:creationId xmlns:a16="http://schemas.microsoft.com/office/drawing/2014/main" id="{ECDB36D5-F9F4-9BD7-8F10-2638451801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5" y="550"/>
              <a:ext cx="97" cy="18"/>
            </a:xfrm>
            <a:custGeom>
              <a:avLst/>
              <a:gdLst>
                <a:gd name="T0" fmla="*/ 60 w 66"/>
                <a:gd name="T1" fmla="*/ 12 h 12"/>
                <a:gd name="T2" fmla="*/ 6 w 66"/>
                <a:gd name="T3" fmla="*/ 12 h 12"/>
                <a:gd name="T4" fmla="*/ 0 w 66"/>
                <a:gd name="T5" fmla="*/ 6 h 12"/>
                <a:gd name="T6" fmla="*/ 6 w 66"/>
                <a:gd name="T7" fmla="*/ 0 h 12"/>
                <a:gd name="T8" fmla="*/ 60 w 66"/>
                <a:gd name="T9" fmla="*/ 0 h 12"/>
                <a:gd name="T10" fmla="*/ 66 w 66"/>
                <a:gd name="T11" fmla="*/ 6 h 12"/>
                <a:gd name="T12" fmla="*/ 60 w 6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2">
                  <a:moveTo>
                    <a:pt x="6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3" y="0"/>
                    <a:pt x="66" y="2"/>
                    <a:pt x="66" y="6"/>
                  </a:cubicBezTo>
                  <a:cubicBezTo>
                    <a:pt x="66" y="9"/>
                    <a:pt x="63" y="12"/>
                    <a:pt x="60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452" name="Freeform 14">
              <a:extLst>
                <a:ext uri="{FF2B5EF4-FFF2-40B4-BE49-F238E27FC236}">
                  <a16:creationId xmlns:a16="http://schemas.microsoft.com/office/drawing/2014/main" id="{53D6E0CE-C475-373E-C3F7-F02DAED92F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5" y="603"/>
              <a:ext cx="159" cy="18"/>
            </a:xfrm>
            <a:custGeom>
              <a:avLst/>
              <a:gdLst>
                <a:gd name="T0" fmla="*/ 102 w 108"/>
                <a:gd name="T1" fmla="*/ 12 h 12"/>
                <a:gd name="T2" fmla="*/ 6 w 108"/>
                <a:gd name="T3" fmla="*/ 12 h 12"/>
                <a:gd name="T4" fmla="*/ 0 w 108"/>
                <a:gd name="T5" fmla="*/ 6 h 12"/>
                <a:gd name="T6" fmla="*/ 6 w 108"/>
                <a:gd name="T7" fmla="*/ 0 h 12"/>
                <a:gd name="T8" fmla="*/ 102 w 108"/>
                <a:gd name="T9" fmla="*/ 0 h 12"/>
                <a:gd name="T10" fmla="*/ 108 w 108"/>
                <a:gd name="T11" fmla="*/ 6 h 12"/>
                <a:gd name="T12" fmla="*/ 102 w 10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12">
                  <a:moveTo>
                    <a:pt x="10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5" y="0"/>
                    <a:pt x="108" y="2"/>
                    <a:pt x="108" y="6"/>
                  </a:cubicBezTo>
                  <a:cubicBezTo>
                    <a:pt x="108" y="9"/>
                    <a:pt x="105" y="12"/>
                    <a:pt x="102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453" name="Freeform 15">
              <a:extLst>
                <a:ext uri="{FF2B5EF4-FFF2-40B4-BE49-F238E27FC236}">
                  <a16:creationId xmlns:a16="http://schemas.microsoft.com/office/drawing/2014/main" id="{3FB655EC-C683-45AA-B363-00DD54F344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5" y="656"/>
              <a:ext cx="124" cy="18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2"/>
                    <a:pt x="84" y="6"/>
                  </a:cubicBezTo>
                  <a:cubicBezTo>
                    <a:pt x="84" y="9"/>
                    <a:pt x="81" y="12"/>
                    <a:pt x="78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454" name="Freeform 16">
              <a:extLst>
                <a:ext uri="{FF2B5EF4-FFF2-40B4-BE49-F238E27FC236}">
                  <a16:creationId xmlns:a16="http://schemas.microsoft.com/office/drawing/2014/main" id="{BDB23337-E979-2B70-B17D-A60A0C924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5" y="710"/>
              <a:ext cx="106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455" name="Freeform 17">
              <a:extLst>
                <a:ext uri="{FF2B5EF4-FFF2-40B4-BE49-F238E27FC236}">
                  <a16:creationId xmlns:a16="http://schemas.microsoft.com/office/drawing/2014/main" id="{F8E9E6EB-4A45-2378-99C1-C8ED1C9FED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3" y="646"/>
              <a:ext cx="215" cy="215"/>
            </a:xfrm>
            <a:custGeom>
              <a:avLst/>
              <a:gdLst>
                <a:gd name="T0" fmla="*/ 7 w 145"/>
                <a:gd name="T1" fmla="*/ 145 h 145"/>
                <a:gd name="T2" fmla="*/ 3 w 145"/>
                <a:gd name="T3" fmla="*/ 143 h 145"/>
                <a:gd name="T4" fmla="*/ 1 w 145"/>
                <a:gd name="T5" fmla="*/ 137 h 145"/>
                <a:gd name="T6" fmla="*/ 13 w 145"/>
                <a:gd name="T7" fmla="*/ 95 h 145"/>
                <a:gd name="T8" fmla="*/ 15 w 145"/>
                <a:gd name="T9" fmla="*/ 92 h 145"/>
                <a:gd name="T10" fmla="*/ 105 w 145"/>
                <a:gd name="T11" fmla="*/ 2 h 145"/>
                <a:gd name="T12" fmla="*/ 113 w 145"/>
                <a:gd name="T13" fmla="*/ 2 h 145"/>
                <a:gd name="T14" fmla="*/ 143 w 145"/>
                <a:gd name="T15" fmla="*/ 32 h 145"/>
                <a:gd name="T16" fmla="*/ 143 w 145"/>
                <a:gd name="T17" fmla="*/ 41 h 145"/>
                <a:gd name="T18" fmla="*/ 53 w 145"/>
                <a:gd name="T19" fmla="*/ 131 h 145"/>
                <a:gd name="T20" fmla="*/ 50 w 145"/>
                <a:gd name="T21" fmla="*/ 132 h 145"/>
                <a:gd name="T22" fmla="*/ 8 w 145"/>
                <a:gd name="T23" fmla="*/ 144 h 145"/>
                <a:gd name="T24" fmla="*/ 7 w 145"/>
                <a:gd name="T25" fmla="*/ 145 h 145"/>
                <a:gd name="T26" fmla="*/ 24 w 145"/>
                <a:gd name="T27" fmla="*/ 100 h 145"/>
                <a:gd name="T28" fmla="*/ 16 w 145"/>
                <a:gd name="T29" fmla="*/ 130 h 145"/>
                <a:gd name="T30" fmla="*/ 46 w 145"/>
                <a:gd name="T31" fmla="*/ 121 h 145"/>
                <a:gd name="T32" fmla="*/ 130 w 145"/>
                <a:gd name="T33" fmla="*/ 37 h 145"/>
                <a:gd name="T34" fmla="*/ 109 w 145"/>
                <a:gd name="T35" fmla="*/ 15 h 145"/>
                <a:gd name="T36" fmla="*/ 24 w 145"/>
                <a:gd name="T37" fmla="*/ 100 h 145"/>
                <a:gd name="T38" fmla="*/ 49 w 145"/>
                <a:gd name="T39" fmla="*/ 127 h 145"/>
                <a:gd name="T40" fmla="*/ 49 w 145"/>
                <a:gd name="T41" fmla="*/ 127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5" h="145">
                  <a:moveTo>
                    <a:pt x="7" y="145"/>
                  </a:moveTo>
                  <a:cubicBezTo>
                    <a:pt x="5" y="145"/>
                    <a:pt x="4" y="144"/>
                    <a:pt x="3" y="143"/>
                  </a:cubicBezTo>
                  <a:cubicBezTo>
                    <a:pt x="1" y="141"/>
                    <a:pt x="0" y="139"/>
                    <a:pt x="1" y="137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4"/>
                    <a:pt x="14" y="93"/>
                    <a:pt x="15" y="92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7" y="0"/>
                    <a:pt x="111" y="0"/>
                    <a:pt x="113" y="2"/>
                  </a:cubicBezTo>
                  <a:cubicBezTo>
                    <a:pt x="143" y="32"/>
                    <a:pt x="143" y="32"/>
                    <a:pt x="143" y="32"/>
                  </a:cubicBezTo>
                  <a:cubicBezTo>
                    <a:pt x="145" y="35"/>
                    <a:pt x="145" y="39"/>
                    <a:pt x="143" y="41"/>
                  </a:cubicBezTo>
                  <a:cubicBezTo>
                    <a:pt x="53" y="131"/>
                    <a:pt x="53" y="131"/>
                    <a:pt x="53" y="131"/>
                  </a:cubicBezTo>
                  <a:cubicBezTo>
                    <a:pt x="52" y="132"/>
                    <a:pt x="51" y="132"/>
                    <a:pt x="50" y="132"/>
                  </a:cubicBezTo>
                  <a:cubicBezTo>
                    <a:pt x="8" y="144"/>
                    <a:pt x="8" y="144"/>
                    <a:pt x="8" y="144"/>
                  </a:cubicBezTo>
                  <a:cubicBezTo>
                    <a:pt x="8" y="145"/>
                    <a:pt x="7" y="145"/>
                    <a:pt x="7" y="145"/>
                  </a:cubicBezTo>
                  <a:close/>
                  <a:moveTo>
                    <a:pt x="24" y="100"/>
                  </a:moveTo>
                  <a:cubicBezTo>
                    <a:pt x="16" y="130"/>
                    <a:pt x="16" y="130"/>
                    <a:pt x="16" y="130"/>
                  </a:cubicBezTo>
                  <a:cubicBezTo>
                    <a:pt x="46" y="121"/>
                    <a:pt x="46" y="121"/>
                    <a:pt x="46" y="121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09" y="15"/>
                    <a:pt x="109" y="15"/>
                    <a:pt x="109" y="15"/>
                  </a:cubicBezTo>
                  <a:lnTo>
                    <a:pt x="24" y="100"/>
                  </a:lnTo>
                  <a:close/>
                  <a:moveTo>
                    <a:pt x="49" y="127"/>
                  </a:moveTo>
                  <a:cubicBezTo>
                    <a:pt x="49" y="127"/>
                    <a:pt x="49" y="127"/>
                    <a:pt x="49" y="127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456" name="Freeform 18">
              <a:extLst>
                <a:ext uri="{FF2B5EF4-FFF2-40B4-BE49-F238E27FC236}">
                  <a16:creationId xmlns:a16="http://schemas.microsoft.com/office/drawing/2014/main" id="{86F1C391-A87E-3CFE-EF08-3D553E56B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3" y="685"/>
              <a:ext cx="56" cy="57"/>
            </a:xfrm>
            <a:custGeom>
              <a:avLst/>
              <a:gdLst>
                <a:gd name="T0" fmla="*/ 44 w 56"/>
                <a:gd name="T1" fmla="*/ 57 h 57"/>
                <a:gd name="T2" fmla="*/ 0 w 56"/>
                <a:gd name="T3" fmla="*/ 13 h 57"/>
                <a:gd name="T4" fmla="*/ 12 w 56"/>
                <a:gd name="T5" fmla="*/ 0 h 57"/>
                <a:gd name="T6" fmla="*/ 56 w 56"/>
                <a:gd name="T7" fmla="*/ 44 h 57"/>
                <a:gd name="T8" fmla="*/ 44 w 56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7">
                  <a:moveTo>
                    <a:pt x="44" y="57"/>
                  </a:moveTo>
                  <a:lnTo>
                    <a:pt x="0" y="13"/>
                  </a:lnTo>
                  <a:lnTo>
                    <a:pt x="12" y="0"/>
                  </a:lnTo>
                  <a:lnTo>
                    <a:pt x="56" y="44"/>
                  </a:lnTo>
                  <a:lnTo>
                    <a:pt x="44" y="5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457" name="Freeform 19">
              <a:extLst>
                <a:ext uri="{FF2B5EF4-FFF2-40B4-BE49-F238E27FC236}">
                  <a16:creationId xmlns:a16="http://schemas.microsoft.com/office/drawing/2014/main" id="{5E38CEE6-C71C-17D2-0959-2491A2A29F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1" y="779"/>
              <a:ext cx="63" cy="64"/>
            </a:xfrm>
            <a:custGeom>
              <a:avLst/>
              <a:gdLst>
                <a:gd name="T0" fmla="*/ 37 w 43"/>
                <a:gd name="T1" fmla="*/ 43 h 43"/>
                <a:gd name="T2" fmla="*/ 33 w 43"/>
                <a:gd name="T3" fmla="*/ 41 h 43"/>
                <a:gd name="T4" fmla="*/ 3 w 43"/>
                <a:gd name="T5" fmla="*/ 11 h 43"/>
                <a:gd name="T6" fmla="*/ 3 w 43"/>
                <a:gd name="T7" fmla="*/ 2 h 43"/>
                <a:gd name="T8" fmla="*/ 11 w 43"/>
                <a:gd name="T9" fmla="*/ 2 h 43"/>
                <a:gd name="T10" fmla="*/ 41 w 43"/>
                <a:gd name="T11" fmla="*/ 32 h 43"/>
                <a:gd name="T12" fmla="*/ 41 w 43"/>
                <a:gd name="T13" fmla="*/ 41 h 43"/>
                <a:gd name="T14" fmla="*/ 37 w 43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43">
                  <a:moveTo>
                    <a:pt x="37" y="43"/>
                  </a:moveTo>
                  <a:cubicBezTo>
                    <a:pt x="35" y="43"/>
                    <a:pt x="34" y="42"/>
                    <a:pt x="33" y="4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3" y="35"/>
                    <a:pt x="43" y="39"/>
                    <a:pt x="41" y="41"/>
                  </a:cubicBezTo>
                  <a:cubicBezTo>
                    <a:pt x="40" y="42"/>
                    <a:pt x="38" y="43"/>
                    <a:pt x="37" y="43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458" name="Freeform 20">
              <a:extLst>
                <a:ext uri="{FF2B5EF4-FFF2-40B4-BE49-F238E27FC236}">
                  <a16:creationId xmlns:a16="http://schemas.microsoft.com/office/drawing/2014/main" id="{969DC788-4D0E-AFA8-F3DF-76003386FC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1" y="443"/>
              <a:ext cx="302" cy="391"/>
            </a:xfrm>
            <a:custGeom>
              <a:avLst/>
              <a:gdLst>
                <a:gd name="T0" fmla="*/ 132 w 204"/>
                <a:gd name="T1" fmla="*/ 264 h 264"/>
                <a:gd name="T2" fmla="*/ 6 w 204"/>
                <a:gd name="T3" fmla="*/ 264 h 264"/>
                <a:gd name="T4" fmla="*/ 0 w 204"/>
                <a:gd name="T5" fmla="*/ 258 h 264"/>
                <a:gd name="T6" fmla="*/ 0 w 204"/>
                <a:gd name="T7" fmla="*/ 6 h 264"/>
                <a:gd name="T8" fmla="*/ 6 w 204"/>
                <a:gd name="T9" fmla="*/ 0 h 264"/>
                <a:gd name="T10" fmla="*/ 138 w 204"/>
                <a:gd name="T11" fmla="*/ 0 h 264"/>
                <a:gd name="T12" fmla="*/ 142 w 204"/>
                <a:gd name="T13" fmla="*/ 1 h 264"/>
                <a:gd name="T14" fmla="*/ 202 w 204"/>
                <a:gd name="T15" fmla="*/ 61 h 264"/>
                <a:gd name="T16" fmla="*/ 204 w 204"/>
                <a:gd name="T17" fmla="*/ 66 h 264"/>
                <a:gd name="T18" fmla="*/ 204 w 204"/>
                <a:gd name="T19" fmla="*/ 144 h 264"/>
                <a:gd name="T20" fmla="*/ 192 w 204"/>
                <a:gd name="T21" fmla="*/ 144 h 264"/>
                <a:gd name="T22" fmla="*/ 192 w 204"/>
                <a:gd name="T23" fmla="*/ 68 h 264"/>
                <a:gd name="T24" fmla="*/ 135 w 204"/>
                <a:gd name="T25" fmla="*/ 12 h 264"/>
                <a:gd name="T26" fmla="*/ 12 w 204"/>
                <a:gd name="T27" fmla="*/ 12 h 264"/>
                <a:gd name="T28" fmla="*/ 12 w 204"/>
                <a:gd name="T29" fmla="*/ 252 h 264"/>
                <a:gd name="T30" fmla="*/ 132 w 204"/>
                <a:gd name="T31" fmla="*/ 252 h 264"/>
                <a:gd name="T32" fmla="*/ 132 w 204"/>
                <a:gd name="T33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4" h="264">
                  <a:moveTo>
                    <a:pt x="132" y="264"/>
                  </a:moveTo>
                  <a:cubicBezTo>
                    <a:pt x="6" y="264"/>
                    <a:pt x="6" y="264"/>
                    <a:pt x="6" y="264"/>
                  </a:cubicBezTo>
                  <a:cubicBezTo>
                    <a:pt x="3" y="264"/>
                    <a:pt x="0" y="261"/>
                    <a:pt x="0" y="25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39" y="0"/>
                    <a:pt x="141" y="0"/>
                    <a:pt x="142" y="1"/>
                  </a:cubicBezTo>
                  <a:cubicBezTo>
                    <a:pt x="202" y="61"/>
                    <a:pt x="202" y="61"/>
                    <a:pt x="202" y="61"/>
                  </a:cubicBezTo>
                  <a:cubicBezTo>
                    <a:pt x="203" y="63"/>
                    <a:pt x="204" y="64"/>
                    <a:pt x="204" y="66"/>
                  </a:cubicBezTo>
                  <a:cubicBezTo>
                    <a:pt x="204" y="144"/>
                    <a:pt x="204" y="144"/>
                    <a:pt x="204" y="144"/>
                  </a:cubicBezTo>
                  <a:cubicBezTo>
                    <a:pt x="192" y="144"/>
                    <a:pt x="192" y="144"/>
                    <a:pt x="192" y="144"/>
                  </a:cubicBezTo>
                  <a:cubicBezTo>
                    <a:pt x="192" y="68"/>
                    <a:pt x="192" y="68"/>
                    <a:pt x="192" y="68"/>
                  </a:cubicBezTo>
                  <a:cubicBezTo>
                    <a:pt x="135" y="12"/>
                    <a:pt x="135" y="12"/>
                    <a:pt x="135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52"/>
                    <a:pt x="12" y="252"/>
                    <a:pt x="12" y="252"/>
                  </a:cubicBezTo>
                  <a:cubicBezTo>
                    <a:pt x="132" y="252"/>
                    <a:pt x="132" y="252"/>
                    <a:pt x="132" y="252"/>
                  </a:cubicBezTo>
                  <a:lnTo>
                    <a:pt x="132" y="26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459" name="Freeform 21">
              <a:extLst>
                <a:ext uri="{FF2B5EF4-FFF2-40B4-BE49-F238E27FC236}">
                  <a16:creationId xmlns:a16="http://schemas.microsoft.com/office/drawing/2014/main" id="{6E29D585-E5CB-CE62-20FD-3A9E4E0A5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7" y="443"/>
              <a:ext cx="106" cy="107"/>
            </a:xfrm>
            <a:custGeom>
              <a:avLst/>
              <a:gdLst>
                <a:gd name="T0" fmla="*/ 66 w 72"/>
                <a:gd name="T1" fmla="*/ 72 h 72"/>
                <a:gd name="T2" fmla="*/ 6 w 72"/>
                <a:gd name="T3" fmla="*/ 72 h 72"/>
                <a:gd name="T4" fmla="*/ 0 w 72"/>
                <a:gd name="T5" fmla="*/ 66 h 72"/>
                <a:gd name="T6" fmla="*/ 0 w 72"/>
                <a:gd name="T7" fmla="*/ 6 h 72"/>
                <a:gd name="T8" fmla="*/ 6 w 72"/>
                <a:gd name="T9" fmla="*/ 0 h 72"/>
                <a:gd name="T10" fmla="*/ 12 w 72"/>
                <a:gd name="T11" fmla="*/ 6 h 72"/>
                <a:gd name="T12" fmla="*/ 12 w 72"/>
                <a:gd name="T13" fmla="*/ 60 h 72"/>
                <a:gd name="T14" fmla="*/ 66 w 72"/>
                <a:gd name="T15" fmla="*/ 60 h 72"/>
                <a:gd name="T16" fmla="*/ 72 w 72"/>
                <a:gd name="T17" fmla="*/ 66 h 72"/>
                <a:gd name="T18" fmla="*/ 66 w 72"/>
                <a:gd name="T1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66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9" y="60"/>
                    <a:pt x="72" y="62"/>
                    <a:pt x="72" y="66"/>
                  </a:cubicBezTo>
                  <a:cubicBezTo>
                    <a:pt x="72" y="69"/>
                    <a:pt x="69" y="72"/>
                    <a:pt x="66" y="7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  <p:sp>
        <p:nvSpPr>
          <p:cNvPr id="1426" name="Rectangle: Rounded Corners 1425">
            <a:extLst>
              <a:ext uri="{FF2B5EF4-FFF2-40B4-BE49-F238E27FC236}">
                <a16:creationId xmlns:a16="http://schemas.microsoft.com/office/drawing/2014/main" id="{29F0BFFD-6CA6-E882-4C30-2830B0117CEC}"/>
              </a:ext>
            </a:extLst>
          </p:cNvPr>
          <p:cNvSpPr/>
          <p:nvPr/>
        </p:nvSpPr>
        <p:spPr>
          <a:xfrm>
            <a:off x="8128961" y="5369863"/>
            <a:ext cx="864000" cy="540000"/>
          </a:xfrm>
          <a:prstGeom prst="roundRect">
            <a:avLst/>
          </a:prstGeom>
          <a:solidFill>
            <a:srgbClr val="EF885F"/>
          </a:solidFill>
          <a:ln>
            <a:solidFill>
              <a:srgbClr val="EF88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27" name="TextBox 1426">
            <a:extLst>
              <a:ext uri="{FF2B5EF4-FFF2-40B4-BE49-F238E27FC236}">
                <a16:creationId xmlns:a16="http://schemas.microsoft.com/office/drawing/2014/main" id="{01502C37-689F-D5B3-0CF4-3170FD28E8EE}"/>
              </a:ext>
            </a:extLst>
          </p:cNvPr>
          <p:cNvSpPr txBox="1"/>
          <p:nvPr/>
        </p:nvSpPr>
        <p:spPr>
          <a:xfrm>
            <a:off x="8487462" y="5395699"/>
            <a:ext cx="447975" cy="507831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utomated QA and QC of investigations</a:t>
            </a:r>
          </a:p>
        </p:txBody>
      </p:sp>
      <p:grpSp>
        <p:nvGrpSpPr>
          <p:cNvPr id="1428" name="Group 149">
            <a:extLst>
              <a:ext uri="{FF2B5EF4-FFF2-40B4-BE49-F238E27FC236}">
                <a16:creationId xmlns:a16="http://schemas.microsoft.com/office/drawing/2014/main" id="{70458526-07A2-0E14-DD58-E93AD6A1778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224757" y="5459697"/>
            <a:ext cx="263329" cy="332985"/>
            <a:chOff x="4654" y="3225"/>
            <a:chExt cx="422" cy="422"/>
          </a:xfrm>
          <a:solidFill>
            <a:schemeClr val="bg1"/>
          </a:solidFill>
        </p:grpSpPr>
        <p:sp>
          <p:nvSpPr>
            <p:cNvPr id="1445" name="Freeform 150">
              <a:extLst>
                <a:ext uri="{FF2B5EF4-FFF2-40B4-BE49-F238E27FC236}">
                  <a16:creationId xmlns:a16="http://schemas.microsoft.com/office/drawing/2014/main" id="{A4CD7E3B-D647-B86F-1880-590A134502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4" y="3225"/>
              <a:ext cx="337" cy="337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6" y="0"/>
                    <a:pt x="228" y="51"/>
                    <a:pt x="228" y="114"/>
                  </a:cubicBezTo>
                  <a:cubicBezTo>
                    <a:pt x="228" y="177"/>
                    <a:pt x="176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7" y="12"/>
                    <a:pt x="12" y="58"/>
                    <a:pt x="12" y="114"/>
                  </a:cubicBezTo>
                  <a:cubicBezTo>
                    <a:pt x="12" y="170"/>
                    <a:pt x="57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446" name="Freeform 151">
              <a:extLst>
                <a:ext uri="{FF2B5EF4-FFF2-40B4-BE49-F238E27FC236}">
                  <a16:creationId xmlns:a16="http://schemas.microsoft.com/office/drawing/2014/main" id="{2FB303DA-0E48-8FD6-9EDA-0F8CCD228CBA}"/>
                </a:ext>
              </a:extLst>
            </p:cNvPr>
            <p:cNvSpPr>
              <a:spLocks/>
            </p:cNvSpPr>
            <p:nvPr/>
          </p:nvSpPr>
          <p:spPr bwMode="auto">
            <a:xfrm rot="21288802">
              <a:off x="4925" y="3497"/>
              <a:ext cx="151" cy="150"/>
            </a:xfrm>
            <a:custGeom>
              <a:avLst/>
              <a:gdLst>
                <a:gd name="T0" fmla="*/ 99 w 105"/>
                <a:gd name="T1" fmla="*/ 104 h 104"/>
                <a:gd name="T2" fmla="*/ 94 w 105"/>
                <a:gd name="T3" fmla="*/ 102 h 104"/>
                <a:gd name="T4" fmla="*/ 3 w 105"/>
                <a:gd name="T5" fmla="*/ 11 h 104"/>
                <a:gd name="T6" fmla="*/ 3 w 105"/>
                <a:gd name="T7" fmla="*/ 2 h 104"/>
                <a:gd name="T8" fmla="*/ 11 w 105"/>
                <a:gd name="T9" fmla="*/ 2 h 104"/>
                <a:gd name="T10" fmla="*/ 103 w 105"/>
                <a:gd name="T11" fmla="*/ 94 h 104"/>
                <a:gd name="T12" fmla="*/ 103 w 105"/>
                <a:gd name="T13" fmla="*/ 102 h 104"/>
                <a:gd name="T14" fmla="*/ 99 w 105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104">
                  <a:moveTo>
                    <a:pt x="99" y="104"/>
                  </a:moveTo>
                  <a:cubicBezTo>
                    <a:pt x="97" y="104"/>
                    <a:pt x="96" y="104"/>
                    <a:pt x="94" y="10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8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103" y="94"/>
                    <a:pt x="103" y="94"/>
                    <a:pt x="103" y="94"/>
                  </a:cubicBezTo>
                  <a:cubicBezTo>
                    <a:pt x="105" y="96"/>
                    <a:pt x="105" y="100"/>
                    <a:pt x="103" y="102"/>
                  </a:cubicBezTo>
                  <a:cubicBezTo>
                    <a:pt x="102" y="104"/>
                    <a:pt x="100" y="104"/>
                    <a:pt x="99" y="104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447" name="Freeform 152">
              <a:extLst>
                <a:ext uri="{FF2B5EF4-FFF2-40B4-BE49-F238E27FC236}">
                  <a16:creationId xmlns:a16="http://schemas.microsoft.com/office/drawing/2014/main" id="{4F68DBD4-6E64-E43B-6FB1-F6922D2B18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0" y="3413"/>
              <a:ext cx="83" cy="68"/>
            </a:xfrm>
            <a:custGeom>
              <a:avLst/>
              <a:gdLst>
                <a:gd name="T0" fmla="*/ 51 w 56"/>
                <a:gd name="T1" fmla="*/ 46 h 46"/>
                <a:gd name="T2" fmla="*/ 3 w 56"/>
                <a:gd name="T3" fmla="*/ 26 h 46"/>
                <a:gd name="T4" fmla="*/ 0 w 56"/>
                <a:gd name="T5" fmla="*/ 21 h 46"/>
                <a:gd name="T6" fmla="*/ 0 w 56"/>
                <a:gd name="T7" fmla="*/ 0 h 46"/>
                <a:gd name="T8" fmla="*/ 12 w 56"/>
                <a:gd name="T9" fmla="*/ 0 h 46"/>
                <a:gd name="T10" fmla="*/ 12 w 56"/>
                <a:gd name="T11" fmla="*/ 17 h 46"/>
                <a:gd name="T12" fmla="*/ 56 w 56"/>
                <a:gd name="T13" fmla="*/ 35 h 46"/>
                <a:gd name="T14" fmla="*/ 51 w 56"/>
                <a:gd name="T1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46">
                  <a:moveTo>
                    <a:pt x="51" y="46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1" y="26"/>
                    <a:pt x="0" y="23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56" y="35"/>
                    <a:pt x="56" y="35"/>
                    <a:pt x="56" y="35"/>
                  </a:cubicBezTo>
                  <a:lnTo>
                    <a:pt x="51" y="4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448" name="Freeform 153">
              <a:extLst>
                <a:ext uri="{FF2B5EF4-FFF2-40B4-BE49-F238E27FC236}">
                  <a16:creationId xmlns:a16="http://schemas.microsoft.com/office/drawing/2014/main" id="{64D8534E-99C5-87DA-199B-E4407F03CC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1" y="3415"/>
              <a:ext cx="84" cy="66"/>
            </a:xfrm>
            <a:custGeom>
              <a:avLst/>
              <a:gdLst>
                <a:gd name="T0" fmla="*/ 5 w 57"/>
                <a:gd name="T1" fmla="*/ 45 h 45"/>
                <a:gd name="T2" fmla="*/ 0 w 57"/>
                <a:gd name="T3" fmla="*/ 34 h 45"/>
                <a:gd name="T4" fmla="*/ 45 w 57"/>
                <a:gd name="T5" fmla="*/ 16 h 45"/>
                <a:gd name="T6" fmla="*/ 45 w 57"/>
                <a:gd name="T7" fmla="*/ 0 h 45"/>
                <a:gd name="T8" fmla="*/ 57 w 57"/>
                <a:gd name="T9" fmla="*/ 0 h 45"/>
                <a:gd name="T10" fmla="*/ 57 w 57"/>
                <a:gd name="T11" fmla="*/ 20 h 45"/>
                <a:gd name="T12" fmla="*/ 53 w 57"/>
                <a:gd name="T13" fmla="*/ 26 h 45"/>
                <a:gd name="T14" fmla="*/ 5 w 57"/>
                <a:gd name="T1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45">
                  <a:moveTo>
                    <a:pt x="5" y="45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22"/>
                    <a:pt x="55" y="25"/>
                    <a:pt x="53" y="26"/>
                  </a:cubicBezTo>
                  <a:lnTo>
                    <a:pt x="5" y="4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449" name="Freeform 154">
              <a:extLst>
                <a:ext uri="{FF2B5EF4-FFF2-40B4-BE49-F238E27FC236}">
                  <a16:creationId xmlns:a16="http://schemas.microsoft.com/office/drawing/2014/main" id="{655E484F-C0DA-2BDB-1499-DA2E4C1B45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56" y="3277"/>
              <a:ext cx="130" cy="154"/>
            </a:xfrm>
            <a:custGeom>
              <a:avLst/>
              <a:gdLst>
                <a:gd name="T0" fmla="*/ 44 w 88"/>
                <a:gd name="T1" fmla="*/ 104 h 104"/>
                <a:gd name="T2" fmla="*/ 0 w 88"/>
                <a:gd name="T3" fmla="*/ 52 h 104"/>
                <a:gd name="T4" fmla="*/ 44 w 88"/>
                <a:gd name="T5" fmla="*/ 0 h 104"/>
                <a:gd name="T6" fmla="*/ 88 w 88"/>
                <a:gd name="T7" fmla="*/ 52 h 104"/>
                <a:gd name="T8" fmla="*/ 44 w 88"/>
                <a:gd name="T9" fmla="*/ 104 h 104"/>
                <a:gd name="T10" fmla="*/ 44 w 88"/>
                <a:gd name="T11" fmla="*/ 12 h 104"/>
                <a:gd name="T12" fmla="*/ 12 w 88"/>
                <a:gd name="T13" fmla="*/ 52 h 104"/>
                <a:gd name="T14" fmla="*/ 44 w 88"/>
                <a:gd name="T15" fmla="*/ 92 h 104"/>
                <a:gd name="T16" fmla="*/ 76 w 88"/>
                <a:gd name="T17" fmla="*/ 52 h 104"/>
                <a:gd name="T18" fmla="*/ 44 w 88"/>
                <a:gd name="T19" fmla="*/ 1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104">
                  <a:moveTo>
                    <a:pt x="44" y="104"/>
                  </a:moveTo>
                  <a:cubicBezTo>
                    <a:pt x="20" y="104"/>
                    <a:pt x="0" y="80"/>
                    <a:pt x="0" y="52"/>
                  </a:cubicBezTo>
                  <a:cubicBezTo>
                    <a:pt x="0" y="23"/>
                    <a:pt x="20" y="0"/>
                    <a:pt x="44" y="0"/>
                  </a:cubicBezTo>
                  <a:cubicBezTo>
                    <a:pt x="69" y="0"/>
                    <a:pt x="88" y="23"/>
                    <a:pt x="88" y="52"/>
                  </a:cubicBezTo>
                  <a:cubicBezTo>
                    <a:pt x="88" y="80"/>
                    <a:pt x="69" y="104"/>
                    <a:pt x="44" y="104"/>
                  </a:cubicBezTo>
                  <a:close/>
                  <a:moveTo>
                    <a:pt x="44" y="12"/>
                  </a:moveTo>
                  <a:cubicBezTo>
                    <a:pt x="26" y="12"/>
                    <a:pt x="12" y="29"/>
                    <a:pt x="12" y="52"/>
                  </a:cubicBezTo>
                  <a:cubicBezTo>
                    <a:pt x="12" y="74"/>
                    <a:pt x="26" y="92"/>
                    <a:pt x="44" y="92"/>
                  </a:cubicBezTo>
                  <a:cubicBezTo>
                    <a:pt x="62" y="92"/>
                    <a:pt x="76" y="74"/>
                    <a:pt x="76" y="52"/>
                  </a:cubicBezTo>
                  <a:cubicBezTo>
                    <a:pt x="76" y="29"/>
                    <a:pt x="62" y="12"/>
                    <a:pt x="44" y="12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450" name="Freeform 155">
              <a:extLst>
                <a:ext uri="{FF2B5EF4-FFF2-40B4-BE49-F238E27FC236}">
                  <a16:creationId xmlns:a16="http://schemas.microsoft.com/office/drawing/2014/main" id="{B0B71571-8303-790E-2151-24FE2B257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2" y="3315"/>
              <a:ext cx="117" cy="40"/>
            </a:xfrm>
            <a:custGeom>
              <a:avLst/>
              <a:gdLst>
                <a:gd name="T0" fmla="*/ 68 w 79"/>
                <a:gd name="T1" fmla="*/ 27 h 27"/>
                <a:gd name="T2" fmla="*/ 46 w 79"/>
                <a:gd name="T3" fmla="*/ 16 h 27"/>
                <a:gd name="T4" fmla="*/ 19 w 79"/>
                <a:gd name="T5" fmla="*/ 26 h 27"/>
                <a:gd name="T6" fmla="*/ 0 w 79"/>
                <a:gd name="T7" fmla="*/ 22 h 27"/>
                <a:gd name="T8" fmla="*/ 5 w 79"/>
                <a:gd name="T9" fmla="*/ 11 h 27"/>
                <a:gd name="T10" fmla="*/ 19 w 79"/>
                <a:gd name="T11" fmla="*/ 14 h 27"/>
                <a:gd name="T12" fmla="*/ 41 w 79"/>
                <a:gd name="T13" fmla="*/ 3 h 27"/>
                <a:gd name="T14" fmla="*/ 46 w 79"/>
                <a:gd name="T15" fmla="*/ 0 h 27"/>
                <a:gd name="T16" fmla="*/ 52 w 79"/>
                <a:gd name="T17" fmla="*/ 3 h 27"/>
                <a:gd name="T18" fmla="*/ 73 w 79"/>
                <a:gd name="T19" fmla="*/ 14 h 27"/>
                <a:gd name="T20" fmla="*/ 76 w 79"/>
                <a:gd name="T21" fmla="*/ 14 h 27"/>
                <a:gd name="T22" fmla="*/ 77 w 79"/>
                <a:gd name="T23" fmla="*/ 14 h 27"/>
                <a:gd name="T24" fmla="*/ 79 w 79"/>
                <a:gd name="T25" fmla="*/ 26 h 27"/>
                <a:gd name="T26" fmla="*/ 77 w 79"/>
                <a:gd name="T27" fmla="*/ 26 h 27"/>
                <a:gd name="T28" fmla="*/ 75 w 79"/>
                <a:gd name="T29" fmla="*/ 26 h 27"/>
                <a:gd name="T30" fmla="*/ 68 w 79"/>
                <a:gd name="T3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9" h="27">
                  <a:moveTo>
                    <a:pt x="68" y="27"/>
                  </a:moveTo>
                  <a:cubicBezTo>
                    <a:pt x="59" y="27"/>
                    <a:pt x="52" y="23"/>
                    <a:pt x="46" y="16"/>
                  </a:cubicBezTo>
                  <a:cubicBezTo>
                    <a:pt x="39" y="22"/>
                    <a:pt x="29" y="26"/>
                    <a:pt x="19" y="26"/>
                  </a:cubicBezTo>
                  <a:cubicBezTo>
                    <a:pt x="12" y="26"/>
                    <a:pt x="5" y="24"/>
                    <a:pt x="0" y="22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9" y="13"/>
                    <a:pt x="14" y="14"/>
                    <a:pt x="19" y="14"/>
                  </a:cubicBezTo>
                  <a:cubicBezTo>
                    <a:pt x="28" y="14"/>
                    <a:pt x="38" y="9"/>
                    <a:pt x="41" y="3"/>
                  </a:cubicBezTo>
                  <a:cubicBezTo>
                    <a:pt x="42" y="1"/>
                    <a:pt x="44" y="0"/>
                    <a:pt x="46" y="0"/>
                  </a:cubicBezTo>
                  <a:cubicBezTo>
                    <a:pt x="49" y="0"/>
                    <a:pt x="51" y="1"/>
                    <a:pt x="52" y="3"/>
                  </a:cubicBezTo>
                  <a:cubicBezTo>
                    <a:pt x="57" y="13"/>
                    <a:pt x="63" y="16"/>
                    <a:pt x="73" y="14"/>
                  </a:cubicBezTo>
                  <a:cubicBezTo>
                    <a:pt x="74" y="14"/>
                    <a:pt x="75" y="14"/>
                    <a:pt x="76" y="14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8" y="26"/>
                    <a:pt x="77" y="26"/>
                    <a:pt x="77" y="26"/>
                  </a:cubicBezTo>
                  <a:cubicBezTo>
                    <a:pt x="76" y="26"/>
                    <a:pt x="76" y="26"/>
                    <a:pt x="75" y="26"/>
                  </a:cubicBezTo>
                  <a:cubicBezTo>
                    <a:pt x="73" y="26"/>
                    <a:pt x="70" y="27"/>
                    <a:pt x="68" y="27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  <p:sp>
        <p:nvSpPr>
          <p:cNvPr id="1429" name="Rectangle: Rounded Corners 1428">
            <a:extLst>
              <a:ext uri="{FF2B5EF4-FFF2-40B4-BE49-F238E27FC236}">
                <a16:creationId xmlns:a16="http://schemas.microsoft.com/office/drawing/2014/main" id="{0CFC5FB8-214D-FF61-D6B1-ADA9A6F5F155}"/>
              </a:ext>
            </a:extLst>
          </p:cNvPr>
          <p:cNvSpPr/>
          <p:nvPr/>
        </p:nvSpPr>
        <p:spPr>
          <a:xfrm>
            <a:off x="10000395" y="5369863"/>
            <a:ext cx="864000" cy="540000"/>
          </a:xfrm>
          <a:prstGeom prst="roundRect">
            <a:avLst/>
          </a:prstGeom>
          <a:solidFill>
            <a:srgbClr val="EF885F"/>
          </a:solidFill>
          <a:ln>
            <a:solidFill>
              <a:srgbClr val="EF88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30" name="TextBox 1429">
            <a:extLst>
              <a:ext uri="{FF2B5EF4-FFF2-40B4-BE49-F238E27FC236}">
                <a16:creationId xmlns:a16="http://schemas.microsoft.com/office/drawing/2014/main" id="{F4D04B70-9FCE-DC57-13E5-2FF3E6FD894B}"/>
              </a:ext>
            </a:extLst>
          </p:cNvPr>
          <p:cNvSpPr txBox="1"/>
          <p:nvPr/>
        </p:nvSpPr>
        <p:spPr>
          <a:xfrm>
            <a:off x="10291788" y="5454975"/>
            <a:ext cx="542741" cy="41549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emantic Analysis of case output narrative</a:t>
            </a:r>
          </a:p>
        </p:txBody>
      </p:sp>
      <p:grpSp>
        <p:nvGrpSpPr>
          <p:cNvPr id="1431" name="Group 4">
            <a:extLst>
              <a:ext uri="{FF2B5EF4-FFF2-40B4-BE49-F238E27FC236}">
                <a16:creationId xmlns:a16="http://schemas.microsoft.com/office/drawing/2014/main" id="{FD5C4C10-8897-E72A-0D18-8E0BF284204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045299" y="5459393"/>
            <a:ext cx="268253" cy="347416"/>
            <a:chOff x="539" y="663"/>
            <a:chExt cx="400" cy="430"/>
          </a:xfrm>
          <a:solidFill>
            <a:schemeClr val="bg1"/>
          </a:solidFill>
        </p:grpSpPr>
        <p:sp>
          <p:nvSpPr>
            <p:cNvPr id="1443" name="Freeform 5">
              <a:extLst>
                <a:ext uri="{FF2B5EF4-FFF2-40B4-BE49-F238E27FC236}">
                  <a16:creationId xmlns:a16="http://schemas.microsoft.com/office/drawing/2014/main" id="{FCC2E238-16D9-7D7C-451F-C4E26E7537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" y="663"/>
              <a:ext cx="400" cy="430"/>
            </a:xfrm>
            <a:custGeom>
              <a:avLst/>
              <a:gdLst>
                <a:gd name="T0" fmla="*/ 174 w 261"/>
                <a:gd name="T1" fmla="*/ 288 h 288"/>
                <a:gd name="T2" fmla="*/ 54 w 261"/>
                <a:gd name="T3" fmla="*/ 288 h 288"/>
                <a:gd name="T4" fmla="*/ 48 w 261"/>
                <a:gd name="T5" fmla="*/ 282 h 288"/>
                <a:gd name="T6" fmla="*/ 48 w 261"/>
                <a:gd name="T7" fmla="*/ 216 h 288"/>
                <a:gd name="T8" fmla="*/ 0 w 261"/>
                <a:gd name="T9" fmla="*/ 120 h 288"/>
                <a:gd name="T10" fmla="*/ 120 w 261"/>
                <a:gd name="T11" fmla="*/ 0 h 288"/>
                <a:gd name="T12" fmla="*/ 235 w 261"/>
                <a:gd name="T13" fmla="*/ 100 h 288"/>
                <a:gd name="T14" fmla="*/ 243 w 261"/>
                <a:gd name="T15" fmla="*/ 118 h 288"/>
                <a:gd name="T16" fmla="*/ 260 w 261"/>
                <a:gd name="T17" fmla="*/ 163 h 288"/>
                <a:gd name="T18" fmla="*/ 260 w 261"/>
                <a:gd name="T19" fmla="*/ 164 h 288"/>
                <a:gd name="T20" fmla="*/ 258 w 261"/>
                <a:gd name="T21" fmla="*/ 173 h 288"/>
                <a:gd name="T22" fmla="*/ 247 w 261"/>
                <a:gd name="T23" fmla="*/ 180 h 288"/>
                <a:gd name="T24" fmla="*/ 234 w 261"/>
                <a:gd name="T25" fmla="*/ 180 h 288"/>
                <a:gd name="T26" fmla="*/ 223 w 261"/>
                <a:gd name="T27" fmla="*/ 234 h 288"/>
                <a:gd name="T28" fmla="*/ 180 w 261"/>
                <a:gd name="T29" fmla="*/ 246 h 288"/>
                <a:gd name="T30" fmla="*/ 180 w 261"/>
                <a:gd name="T31" fmla="*/ 282 h 288"/>
                <a:gd name="T32" fmla="*/ 174 w 261"/>
                <a:gd name="T33" fmla="*/ 288 h 288"/>
                <a:gd name="T34" fmla="*/ 60 w 261"/>
                <a:gd name="T35" fmla="*/ 276 h 288"/>
                <a:gd name="T36" fmla="*/ 168 w 261"/>
                <a:gd name="T37" fmla="*/ 276 h 288"/>
                <a:gd name="T38" fmla="*/ 168 w 261"/>
                <a:gd name="T39" fmla="*/ 240 h 288"/>
                <a:gd name="T40" fmla="*/ 170 w 261"/>
                <a:gd name="T41" fmla="*/ 236 h 288"/>
                <a:gd name="T42" fmla="*/ 174 w 261"/>
                <a:gd name="T43" fmla="*/ 234 h 288"/>
                <a:gd name="T44" fmla="*/ 214 w 261"/>
                <a:gd name="T45" fmla="*/ 226 h 288"/>
                <a:gd name="T46" fmla="*/ 222 w 261"/>
                <a:gd name="T47" fmla="*/ 174 h 288"/>
                <a:gd name="T48" fmla="*/ 224 w 261"/>
                <a:gd name="T49" fmla="*/ 169 h 288"/>
                <a:gd name="T50" fmla="*/ 229 w 261"/>
                <a:gd name="T51" fmla="*/ 168 h 288"/>
                <a:gd name="T52" fmla="*/ 246 w 261"/>
                <a:gd name="T53" fmla="*/ 168 h 288"/>
                <a:gd name="T54" fmla="*/ 248 w 261"/>
                <a:gd name="T55" fmla="*/ 167 h 288"/>
                <a:gd name="T56" fmla="*/ 248 w 261"/>
                <a:gd name="T57" fmla="*/ 164 h 288"/>
                <a:gd name="T58" fmla="*/ 248 w 261"/>
                <a:gd name="T59" fmla="*/ 162 h 288"/>
                <a:gd name="T60" fmla="*/ 233 w 261"/>
                <a:gd name="T61" fmla="*/ 124 h 288"/>
                <a:gd name="T62" fmla="*/ 223 w 261"/>
                <a:gd name="T63" fmla="*/ 101 h 288"/>
                <a:gd name="T64" fmla="*/ 120 w 261"/>
                <a:gd name="T65" fmla="*/ 12 h 288"/>
                <a:gd name="T66" fmla="*/ 12 w 261"/>
                <a:gd name="T67" fmla="*/ 120 h 288"/>
                <a:gd name="T68" fmla="*/ 57 w 261"/>
                <a:gd name="T69" fmla="*/ 207 h 288"/>
                <a:gd name="T70" fmla="*/ 60 w 261"/>
                <a:gd name="T71" fmla="*/ 213 h 288"/>
                <a:gd name="T72" fmla="*/ 60 w 261"/>
                <a:gd name="T73" fmla="*/ 27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1" h="288">
                  <a:moveTo>
                    <a:pt x="174" y="288"/>
                  </a:moveTo>
                  <a:cubicBezTo>
                    <a:pt x="54" y="288"/>
                    <a:pt x="54" y="288"/>
                    <a:pt x="54" y="288"/>
                  </a:cubicBezTo>
                  <a:cubicBezTo>
                    <a:pt x="51" y="288"/>
                    <a:pt x="48" y="285"/>
                    <a:pt x="48" y="282"/>
                  </a:cubicBezTo>
                  <a:cubicBezTo>
                    <a:pt x="48" y="216"/>
                    <a:pt x="48" y="216"/>
                    <a:pt x="48" y="216"/>
                  </a:cubicBezTo>
                  <a:cubicBezTo>
                    <a:pt x="16" y="196"/>
                    <a:pt x="0" y="164"/>
                    <a:pt x="0" y="120"/>
                  </a:cubicBezTo>
                  <a:cubicBezTo>
                    <a:pt x="0" y="53"/>
                    <a:pt x="53" y="0"/>
                    <a:pt x="120" y="0"/>
                  </a:cubicBezTo>
                  <a:cubicBezTo>
                    <a:pt x="176" y="0"/>
                    <a:pt x="235" y="37"/>
                    <a:pt x="235" y="100"/>
                  </a:cubicBezTo>
                  <a:cubicBezTo>
                    <a:pt x="235" y="103"/>
                    <a:pt x="240" y="112"/>
                    <a:pt x="243" y="118"/>
                  </a:cubicBezTo>
                  <a:cubicBezTo>
                    <a:pt x="252" y="133"/>
                    <a:pt x="261" y="149"/>
                    <a:pt x="260" y="163"/>
                  </a:cubicBezTo>
                  <a:cubicBezTo>
                    <a:pt x="260" y="163"/>
                    <a:pt x="260" y="164"/>
                    <a:pt x="260" y="164"/>
                  </a:cubicBezTo>
                  <a:cubicBezTo>
                    <a:pt x="260" y="167"/>
                    <a:pt x="260" y="170"/>
                    <a:pt x="258" y="173"/>
                  </a:cubicBezTo>
                  <a:cubicBezTo>
                    <a:pt x="256" y="177"/>
                    <a:pt x="251" y="179"/>
                    <a:pt x="247" y="180"/>
                  </a:cubicBezTo>
                  <a:cubicBezTo>
                    <a:pt x="243" y="180"/>
                    <a:pt x="238" y="180"/>
                    <a:pt x="234" y="180"/>
                  </a:cubicBezTo>
                  <a:cubicBezTo>
                    <a:pt x="234" y="194"/>
                    <a:pt x="233" y="224"/>
                    <a:pt x="223" y="234"/>
                  </a:cubicBezTo>
                  <a:cubicBezTo>
                    <a:pt x="214" y="243"/>
                    <a:pt x="201" y="246"/>
                    <a:pt x="180" y="246"/>
                  </a:cubicBezTo>
                  <a:cubicBezTo>
                    <a:pt x="180" y="282"/>
                    <a:pt x="180" y="282"/>
                    <a:pt x="180" y="282"/>
                  </a:cubicBezTo>
                  <a:cubicBezTo>
                    <a:pt x="180" y="285"/>
                    <a:pt x="177" y="288"/>
                    <a:pt x="174" y="288"/>
                  </a:cubicBezTo>
                  <a:close/>
                  <a:moveTo>
                    <a:pt x="60" y="276"/>
                  </a:moveTo>
                  <a:cubicBezTo>
                    <a:pt x="168" y="276"/>
                    <a:pt x="168" y="276"/>
                    <a:pt x="168" y="276"/>
                  </a:cubicBezTo>
                  <a:cubicBezTo>
                    <a:pt x="168" y="240"/>
                    <a:pt x="168" y="240"/>
                    <a:pt x="168" y="240"/>
                  </a:cubicBezTo>
                  <a:cubicBezTo>
                    <a:pt x="168" y="238"/>
                    <a:pt x="169" y="237"/>
                    <a:pt x="170" y="236"/>
                  </a:cubicBezTo>
                  <a:cubicBezTo>
                    <a:pt x="171" y="235"/>
                    <a:pt x="173" y="234"/>
                    <a:pt x="174" y="234"/>
                  </a:cubicBezTo>
                  <a:cubicBezTo>
                    <a:pt x="198" y="234"/>
                    <a:pt x="208" y="232"/>
                    <a:pt x="214" y="226"/>
                  </a:cubicBezTo>
                  <a:cubicBezTo>
                    <a:pt x="221" y="219"/>
                    <a:pt x="223" y="192"/>
                    <a:pt x="222" y="174"/>
                  </a:cubicBezTo>
                  <a:cubicBezTo>
                    <a:pt x="222" y="172"/>
                    <a:pt x="223" y="171"/>
                    <a:pt x="224" y="169"/>
                  </a:cubicBezTo>
                  <a:cubicBezTo>
                    <a:pt x="225" y="168"/>
                    <a:pt x="227" y="168"/>
                    <a:pt x="229" y="168"/>
                  </a:cubicBezTo>
                  <a:cubicBezTo>
                    <a:pt x="229" y="168"/>
                    <a:pt x="239" y="168"/>
                    <a:pt x="246" y="168"/>
                  </a:cubicBezTo>
                  <a:cubicBezTo>
                    <a:pt x="247" y="168"/>
                    <a:pt x="248" y="167"/>
                    <a:pt x="248" y="167"/>
                  </a:cubicBezTo>
                  <a:cubicBezTo>
                    <a:pt x="248" y="166"/>
                    <a:pt x="248" y="165"/>
                    <a:pt x="248" y="164"/>
                  </a:cubicBezTo>
                  <a:cubicBezTo>
                    <a:pt x="248" y="164"/>
                    <a:pt x="248" y="163"/>
                    <a:pt x="248" y="162"/>
                  </a:cubicBezTo>
                  <a:cubicBezTo>
                    <a:pt x="249" y="152"/>
                    <a:pt x="240" y="136"/>
                    <a:pt x="233" y="124"/>
                  </a:cubicBezTo>
                  <a:cubicBezTo>
                    <a:pt x="226" y="112"/>
                    <a:pt x="223" y="106"/>
                    <a:pt x="223" y="101"/>
                  </a:cubicBezTo>
                  <a:cubicBezTo>
                    <a:pt x="223" y="45"/>
                    <a:pt x="170" y="12"/>
                    <a:pt x="120" y="12"/>
                  </a:cubicBezTo>
                  <a:cubicBezTo>
                    <a:pt x="59" y="12"/>
                    <a:pt x="12" y="59"/>
                    <a:pt x="12" y="120"/>
                  </a:cubicBezTo>
                  <a:cubicBezTo>
                    <a:pt x="12" y="160"/>
                    <a:pt x="27" y="190"/>
                    <a:pt x="57" y="207"/>
                  </a:cubicBezTo>
                  <a:cubicBezTo>
                    <a:pt x="59" y="208"/>
                    <a:pt x="60" y="210"/>
                    <a:pt x="60" y="213"/>
                  </a:cubicBezTo>
                  <a:lnTo>
                    <a:pt x="60" y="27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444" name="Freeform 6">
              <a:extLst>
                <a:ext uri="{FF2B5EF4-FFF2-40B4-BE49-F238E27FC236}">
                  <a16:creationId xmlns:a16="http://schemas.microsoft.com/office/drawing/2014/main" id="{96272BBB-487D-42BC-9452-3FDE51C0C2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" y="717"/>
              <a:ext cx="155" cy="245"/>
            </a:xfrm>
            <a:custGeom>
              <a:avLst/>
              <a:gdLst>
                <a:gd name="T0" fmla="*/ 26 w 101"/>
                <a:gd name="T1" fmla="*/ 164 h 164"/>
                <a:gd name="T2" fmla="*/ 23 w 101"/>
                <a:gd name="T3" fmla="*/ 164 h 164"/>
                <a:gd name="T4" fmla="*/ 20 w 101"/>
                <a:gd name="T5" fmla="*/ 157 h 164"/>
                <a:gd name="T6" fmla="*/ 32 w 101"/>
                <a:gd name="T7" fmla="*/ 96 h 164"/>
                <a:gd name="T8" fmla="*/ 7 w 101"/>
                <a:gd name="T9" fmla="*/ 96 h 164"/>
                <a:gd name="T10" fmla="*/ 2 w 101"/>
                <a:gd name="T11" fmla="*/ 93 h 164"/>
                <a:gd name="T12" fmla="*/ 1 w 101"/>
                <a:gd name="T13" fmla="*/ 87 h 164"/>
                <a:gd name="T14" fmla="*/ 36 w 101"/>
                <a:gd name="T15" fmla="*/ 3 h 164"/>
                <a:gd name="T16" fmla="*/ 41 w 101"/>
                <a:gd name="T17" fmla="*/ 0 h 164"/>
                <a:gd name="T18" fmla="*/ 84 w 101"/>
                <a:gd name="T19" fmla="*/ 0 h 164"/>
                <a:gd name="T20" fmla="*/ 89 w 101"/>
                <a:gd name="T21" fmla="*/ 2 h 164"/>
                <a:gd name="T22" fmla="*/ 89 w 101"/>
                <a:gd name="T23" fmla="*/ 8 h 164"/>
                <a:gd name="T24" fmla="*/ 72 w 101"/>
                <a:gd name="T25" fmla="*/ 48 h 164"/>
                <a:gd name="T26" fmla="*/ 95 w 101"/>
                <a:gd name="T27" fmla="*/ 48 h 164"/>
                <a:gd name="T28" fmla="*/ 100 w 101"/>
                <a:gd name="T29" fmla="*/ 51 h 164"/>
                <a:gd name="T30" fmla="*/ 100 w 101"/>
                <a:gd name="T31" fmla="*/ 57 h 164"/>
                <a:gd name="T32" fmla="*/ 31 w 101"/>
                <a:gd name="T33" fmla="*/ 161 h 164"/>
                <a:gd name="T34" fmla="*/ 26 w 101"/>
                <a:gd name="T35" fmla="*/ 164 h 164"/>
                <a:gd name="T36" fmla="*/ 16 w 101"/>
                <a:gd name="T37" fmla="*/ 84 h 164"/>
                <a:gd name="T38" fmla="*/ 39 w 101"/>
                <a:gd name="T39" fmla="*/ 84 h 164"/>
                <a:gd name="T40" fmla="*/ 44 w 101"/>
                <a:gd name="T41" fmla="*/ 86 h 164"/>
                <a:gd name="T42" fmla="*/ 45 w 101"/>
                <a:gd name="T43" fmla="*/ 91 h 164"/>
                <a:gd name="T44" fmla="*/ 37 w 101"/>
                <a:gd name="T45" fmla="*/ 129 h 164"/>
                <a:gd name="T46" fmla="*/ 84 w 101"/>
                <a:gd name="T47" fmla="*/ 60 h 164"/>
                <a:gd name="T48" fmla="*/ 63 w 101"/>
                <a:gd name="T49" fmla="*/ 60 h 164"/>
                <a:gd name="T50" fmla="*/ 58 w 101"/>
                <a:gd name="T51" fmla="*/ 57 h 164"/>
                <a:gd name="T52" fmla="*/ 58 w 101"/>
                <a:gd name="T53" fmla="*/ 51 h 164"/>
                <a:gd name="T54" fmla="*/ 75 w 101"/>
                <a:gd name="T55" fmla="*/ 12 h 164"/>
                <a:gd name="T56" fmla="*/ 45 w 101"/>
                <a:gd name="T57" fmla="*/ 12 h 164"/>
                <a:gd name="T58" fmla="*/ 16 w 101"/>
                <a:gd name="T59" fmla="*/ 8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1" h="164">
                  <a:moveTo>
                    <a:pt x="26" y="164"/>
                  </a:moveTo>
                  <a:cubicBezTo>
                    <a:pt x="25" y="164"/>
                    <a:pt x="24" y="164"/>
                    <a:pt x="23" y="164"/>
                  </a:cubicBezTo>
                  <a:cubicBezTo>
                    <a:pt x="21" y="163"/>
                    <a:pt x="19" y="160"/>
                    <a:pt x="20" y="157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7" y="96"/>
                    <a:pt x="7" y="96"/>
                    <a:pt x="7" y="96"/>
                  </a:cubicBezTo>
                  <a:cubicBezTo>
                    <a:pt x="5" y="96"/>
                    <a:pt x="3" y="95"/>
                    <a:pt x="2" y="93"/>
                  </a:cubicBezTo>
                  <a:cubicBezTo>
                    <a:pt x="1" y="91"/>
                    <a:pt x="0" y="89"/>
                    <a:pt x="1" y="87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7" y="1"/>
                    <a:pt x="39" y="0"/>
                    <a:pt x="41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6" y="0"/>
                    <a:pt x="88" y="1"/>
                    <a:pt x="89" y="2"/>
                  </a:cubicBezTo>
                  <a:cubicBezTo>
                    <a:pt x="90" y="4"/>
                    <a:pt x="90" y="6"/>
                    <a:pt x="89" y="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97" y="48"/>
                    <a:pt x="99" y="49"/>
                    <a:pt x="100" y="51"/>
                  </a:cubicBezTo>
                  <a:cubicBezTo>
                    <a:pt x="101" y="53"/>
                    <a:pt x="101" y="55"/>
                    <a:pt x="100" y="57"/>
                  </a:cubicBezTo>
                  <a:cubicBezTo>
                    <a:pt x="31" y="161"/>
                    <a:pt x="31" y="161"/>
                    <a:pt x="31" y="161"/>
                  </a:cubicBezTo>
                  <a:cubicBezTo>
                    <a:pt x="30" y="163"/>
                    <a:pt x="28" y="164"/>
                    <a:pt x="26" y="164"/>
                  </a:cubicBezTo>
                  <a:close/>
                  <a:moveTo>
                    <a:pt x="16" y="84"/>
                  </a:moveTo>
                  <a:cubicBezTo>
                    <a:pt x="39" y="84"/>
                    <a:pt x="39" y="84"/>
                    <a:pt x="39" y="84"/>
                  </a:cubicBezTo>
                  <a:cubicBezTo>
                    <a:pt x="41" y="84"/>
                    <a:pt x="43" y="84"/>
                    <a:pt x="44" y="86"/>
                  </a:cubicBezTo>
                  <a:cubicBezTo>
                    <a:pt x="45" y="87"/>
                    <a:pt x="46" y="89"/>
                    <a:pt x="45" y="91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1" y="60"/>
                    <a:pt x="59" y="59"/>
                    <a:pt x="58" y="57"/>
                  </a:cubicBezTo>
                  <a:cubicBezTo>
                    <a:pt x="57" y="55"/>
                    <a:pt x="57" y="53"/>
                    <a:pt x="58" y="51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45" y="12"/>
                    <a:pt x="45" y="12"/>
                    <a:pt x="45" y="12"/>
                  </a:cubicBezTo>
                  <a:lnTo>
                    <a:pt x="16" y="8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  <p:sp>
        <p:nvSpPr>
          <p:cNvPr id="1432" name="Rectangle: Rounded Corners 1431">
            <a:extLst>
              <a:ext uri="{FF2B5EF4-FFF2-40B4-BE49-F238E27FC236}">
                <a16:creationId xmlns:a16="http://schemas.microsoft.com/office/drawing/2014/main" id="{EF4AEA5C-CECF-F97D-1ECD-2ED93D8812D9}"/>
              </a:ext>
            </a:extLst>
          </p:cNvPr>
          <p:cNvSpPr/>
          <p:nvPr/>
        </p:nvSpPr>
        <p:spPr>
          <a:xfrm>
            <a:off x="6274209" y="5379615"/>
            <a:ext cx="864000" cy="540000"/>
          </a:xfrm>
          <a:prstGeom prst="roundRect">
            <a:avLst/>
          </a:prstGeom>
          <a:solidFill>
            <a:srgbClr val="EF885F"/>
          </a:solidFill>
          <a:ln>
            <a:solidFill>
              <a:srgbClr val="EF88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33" name="TextBox 1432">
            <a:extLst>
              <a:ext uri="{FF2B5EF4-FFF2-40B4-BE49-F238E27FC236}">
                <a16:creationId xmlns:a16="http://schemas.microsoft.com/office/drawing/2014/main" id="{45DFF908-DF8A-E051-3FE2-923DA50EA5B5}"/>
              </a:ext>
            </a:extLst>
          </p:cNvPr>
          <p:cNvSpPr txBox="1"/>
          <p:nvPr/>
        </p:nvSpPr>
        <p:spPr>
          <a:xfrm>
            <a:off x="6593877" y="5420968"/>
            <a:ext cx="426542" cy="507831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ypology Detection and Thematic analysis</a:t>
            </a:r>
          </a:p>
        </p:txBody>
      </p:sp>
      <p:pic>
        <p:nvPicPr>
          <p:cNvPr id="1434" name="Graphic 1433" descr="Binoculars outline">
            <a:extLst>
              <a:ext uri="{FF2B5EF4-FFF2-40B4-BE49-F238E27FC236}">
                <a16:creationId xmlns:a16="http://schemas.microsoft.com/office/drawing/2014/main" id="{AFAD0A88-A924-CCCD-BC26-309A679D36A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298865" y="5471154"/>
            <a:ext cx="293871" cy="291215"/>
          </a:xfrm>
          <a:prstGeom prst="rect">
            <a:avLst/>
          </a:prstGeom>
        </p:spPr>
      </p:pic>
      <p:sp>
        <p:nvSpPr>
          <p:cNvPr id="1435" name="Rectangle: Rounded Corners 1434">
            <a:extLst>
              <a:ext uri="{FF2B5EF4-FFF2-40B4-BE49-F238E27FC236}">
                <a16:creationId xmlns:a16="http://schemas.microsoft.com/office/drawing/2014/main" id="{30C52ECB-2E3C-43C3-9615-4520799594FE}"/>
              </a:ext>
            </a:extLst>
          </p:cNvPr>
          <p:cNvSpPr/>
          <p:nvPr/>
        </p:nvSpPr>
        <p:spPr>
          <a:xfrm>
            <a:off x="9056337" y="5361107"/>
            <a:ext cx="864000" cy="540000"/>
          </a:xfrm>
          <a:prstGeom prst="roundRect">
            <a:avLst/>
          </a:prstGeom>
          <a:solidFill>
            <a:srgbClr val="EF885F"/>
          </a:solidFill>
          <a:ln>
            <a:solidFill>
              <a:srgbClr val="EF88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36" name="TextBox 1435">
            <a:extLst>
              <a:ext uri="{FF2B5EF4-FFF2-40B4-BE49-F238E27FC236}">
                <a16:creationId xmlns:a16="http://schemas.microsoft.com/office/drawing/2014/main" id="{7B767D56-F005-0853-49BC-FB3222192449}"/>
              </a:ext>
            </a:extLst>
          </p:cNvPr>
          <p:cNvSpPr txBox="1"/>
          <p:nvPr/>
        </p:nvSpPr>
        <p:spPr>
          <a:xfrm>
            <a:off x="9326301" y="5426208"/>
            <a:ext cx="632114" cy="41549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Investigator coaching, support and competency</a:t>
            </a:r>
          </a:p>
        </p:txBody>
      </p:sp>
      <p:pic>
        <p:nvPicPr>
          <p:cNvPr id="1437" name="Graphic 1436" descr="Customer review outline">
            <a:extLst>
              <a:ext uri="{FF2B5EF4-FFF2-40B4-BE49-F238E27FC236}">
                <a16:creationId xmlns:a16="http://schemas.microsoft.com/office/drawing/2014/main" id="{950AB9E7-A9AE-ADF9-CB73-F8D511C7D7E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154747" y="5426208"/>
            <a:ext cx="219352" cy="390872"/>
          </a:xfrm>
          <a:prstGeom prst="rect">
            <a:avLst/>
          </a:prstGeom>
        </p:spPr>
      </p:pic>
      <p:sp>
        <p:nvSpPr>
          <p:cNvPr id="1438" name="TextBox 1437">
            <a:extLst>
              <a:ext uri="{FF2B5EF4-FFF2-40B4-BE49-F238E27FC236}">
                <a16:creationId xmlns:a16="http://schemas.microsoft.com/office/drawing/2014/main" id="{8813D7C8-E7FF-72C9-4420-E3B89E15B69C}"/>
              </a:ext>
            </a:extLst>
          </p:cNvPr>
          <p:cNvSpPr txBox="1"/>
          <p:nvPr/>
        </p:nvSpPr>
        <p:spPr>
          <a:xfrm>
            <a:off x="6595220" y="5989672"/>
            <a:ext cx="221979" cy="230832"/>
          </a:xfrm>
          <a:prstGeom prst="rect">
            <a:avLst/>
          </a:prstGeom>
          <a:noFill/>
        </p:spPr>
        <p:txBody>
          <a:bodyPr wrap="square" lIns="0" tIns="0" rIns="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EF885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1</a:t>
            </a:r>
          </a:p>
        </p:txBody>
      </p:sp>
      <p:sp>
        <p:nvSpPr>
          <p:cNvPr id="1439" name="TextBox 1438">
            <a:extLst>
              <a:ext uri="{FF2B5EF4-FFF2-40B4-BE49-F238E27FC236}">
                <a16:creationId xmlns:a16="http://schemas.microsoft.com/office/drawing/2014/main" id="{A2F20B9B-8A55-B189-D772-3376EAE6D9D1}"/>
              </a:ext>
            </a:extLst>
          </p:cNvPr>
          <p:cNvSpPr txBox="1"/>
          <p:nvPr/>
        </p:nvSpPr>
        <p:spPr>
          <a:xfrm>
            <a:off x="7522596" y="5989672"/>
            <a:ext cx="221979" cy="230832"/>
          </a:xfrm>
          <a:prstGeom prst="rect">
            <a:avLst/>
          </a:prstGeom>
          <a:noFill/>
        </p:spPr>
        <p:txBody>
          <a:bodyPr wrap="square" lIns="0" tIns="0" rIns="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EF885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2</a:t>
            </a:r>
          </a:p>
        </p:txBody>
      </p:sp>
      <p:sp>
        <p:nvSpPr>
          <p:cNvPr id="1440" name="TextBox 1439">
            <a:extLst>
              <a:ext uri="{FF2B5EF4-FFF2-40B4-BE49-F238E27FC236}">
                <a16:creationId xmlns:a16="http://schemas.microsoft.com/office/drawing/2014/main" id="{A9F8BC78-7021-D90B-F451-98289DE339F2}"/>
              </a:ext>
            </a:extLst>
          </p:cNvPr>
          <p:cNvSpPr txBox="1"/>
          <p:nvPr/>
        </p:nvSpPr>
        <p:spPr>
          <a:xfrm>
            <a:off x="8449972" y="5989672"/>
            <a:ext cx="221979" cy="230832"/>
          </a:xfrm>
          <a:prstGeom prst="rect">
            <a:avLst/>
          </a:prstGeom>
          <a:noFill/>
        </p:spPr>
        <p:txBody>
          <a:bodyPr wrap="square" lIns="0" tIns="0" rIns="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EF885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3</a:t>
            </a:r>
          </a:p>
        </p:txBody>
      </p:sp>
      <p:sp>
        <p:nvSpPr>
          <p:cNvPr id="1441" name="TextBox 1440">
            <a:extLst>
              <a:ext uri="{FF2B5EF4-FFF2-40B4-BE49-F238E27FC236}">
                <a16:creationId xmlns:a16="http://schemas.microsoft.com/office/drawing/2014/main" id="{9E38D2FF-B76E-A1A9-653F-CA7128AE86E0}"/>
              </a:ext>
            </a:extLst>
          </p:cNvPr>
          <p:cNvSpPr txBox="1"/>
          <p:nvPr/>
        </p:nvSpPr>
        <p:spPr>
          <a:xfrm>
            <a:off x="9377348" y="5989672"/>
            <a:ext cx="221979" cy="230832"/>
          </a:xfrm>
          <a:prstGeom prst="rect">
            <a:avLst/>
          </a:prstGeom>
          <a:noFill/>
        </p:spPr>
        <p:txBody>
          <a:bodyPr wrap="square" lIns="0" tIns="0" rIns="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EF885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4</a:t>
            </a:r>
          </a:p>
        </p:txBody>
      </p:sp>
      <p:sp>
        <p:nvSpPr>
          <p:cNvPr id="1442" name="TextBox 1441">
            <a:extLst>
              <a:ext uri="{FF2B5EF4-FFF2-40B4-BE49-F238E27FC236}">
                <a16:creationId xmlns:a16="http://schemas.microsoft.com/office/drawing/2014/main" id="{8A551DD4-B338-5977-8E3E-2F336C22AC07}"/>
              </a:ext>
            </a:extLst>
          </p:cNvPr>
          <p:cNvSpPr txBox="1"/>
          <p:nvPr/>
        </p:nvSpPr>
        <p:spPr>
          <a:xfrm>
            <a:off x="10321406" y="5989672"/>
            <a:ext cx="221979" cy="230832"/>
          </a:xfrm>
          <a:prstGeom prst="rect">
            <a:avLst/>
          </a:prstGeom>
          <a:noFill/>
        </p:spPr>
        <p:txBody>
          <a:bodyPr wrap="square" lIns="0" tIns="0" rIns="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EF885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5</a:t>
            </a:r>
          </a:p>
        </p:txBody>
      </p:sp>
      <p:sp>
        <p:nvSpPr>
          <p:cNvPr id="1460" name="TextBox 1459">
            <a:extLst>
              <a:ext uri="{FF2B5EF4-FFF2-40B4-BE49-F238E27FC236}">
                <a16:creationId xmlns:a16="http://schemas.microsoft.com/office/drawing/2014/main" id="{6CD7B4CB-8F5B-9F4A-486A-9401C19F97F4}"/>
              </a:ext>
            </a:extLst>
          </p:cNvPr>
          <p:cNvSpPr txBox="1"/>
          <p:nvPr/>
        </p:nvSpPr>
        <p:spPr>
          <a:xfrm>
            <a:off x="206141" y="3775803"/>
            <a:ext cx="5529166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kumimoji="0" lang="pl-PL" sz="1600" b="1" i="0" u="none" strike="noStrike" kern="1200" cap="none" spc="0" normalizeH="0" baseline="0" noProof="0">
                <a:ln>
                  <a:noFill/>
                </a:ln>
                <a:solidFill>
                  <a:srgbClr val="9509B2"/>
                </a:solidFill>
                <a:effectLst/>
                <a:uLnTx/>
                <a:uFillTx/>
                <a:ea typeface="+mn-ea"/>
                <a:cs typeface="Arial"/>
              </a:rPr>
              <a:t>AML </a:t>
            </a:r>
            <a:r>
              <a:rPr kumimoji="0" lang="pl-PL" sz="1400" b="1" i="0" u="none" strike="noStrike" kern="1200" cap="none" spc="0" normalizeH="0" baseline="0" noProof="0">
                <a:ln>
                  <a:noFill/>
                </a:ln>
                <a:solidFill>
                  <a:srgbClr val="9509B2"/>
                </a:solidFill>
                <a:effectLst/>
                <a:uLnTx/>
                <a:uFillTx/>
                <a:ea typeface="+mn-ea"/>
                <a:cs typeface="Arial"/>
              </a:rPr>
              <a:t>– from </a:t>
            </a:r>
            <a:r>
              <a:rPr kumimoji="0" lang="pl-PL" sz="1400" b="1" i="0" u="none" strike="noStrike" kern="1200" cap="none" spc="0" normalizeH="0" baseline="0" noProof="0" err="1">
                <a:ln>
                  <a:noFill/>
                </a:ln>
                <a:solidFill>
                  <a:srgbClr val="9509B2"/>
                </a:solidFill>
                <a:effectLst/>
                <a:uLnTx/>
                <a:uFillTx/>
                <a:ea typeface="+mn-ea"/>
                <a:cs typeface="Arial"/>
              </a:rPr>
              <a:t>tradition</a:t>
            </a:r>
            <a:r>
              <a:rPr kumimoji="0" lang="pl-PL" sz="1400" b="1" i="0" u="none" strike="noStrike" kern="1200" cap="none" spc="0" normalizeH="0" baseline="0" noProof="0">
                <a:ln>
                  <a:noFill/>
                </a:ln>
                <a:solidFill>
                  <a:srgbClr val="9509B2"/>
                </a:solidFill>
                <a:effectLst/>
                <a:uLnTx/>
                <a:uFillTx/>
                <a:ea typeface="+mn-ea"/>
                <a:cs typeface="Arial"/>
              </a:rPr>
              <a:t> to Gen AI</a:t>
            </a:r>
            <a:r>
              <a:rPr lang="pl-PL" sz="1400" b="1">
                <a:solidFill>
                  <a:srgbClr val="9509B2"/>
                </a:solidFill>
                <a:cs typeface="Arial"/>
              </a:rPr>
              <a:t> </a:t>
            </a:r>
            <a:r>
              <a:rPr lang="pl-PL" sz="1400" b="1" err="1">
                <a:solidFill>
                  <a:srgbClr val="9509B2"/>
                </a:solidFill>
                <a:cs typeface="Arial"/>
              </a:rPr>
              <a:t>Capabilities</a:t>
            </a:r>
            <a:endParaRPr lang="pl-PL" sz="1400" b="1" err="1">
              <a:solidFill>
                <a:srgbClr val="9509B2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8220593-1ABD-152E-031A-43597744583B}"/>
              </a:ext>
            </a:extLst>
          </p:cNvPr>
          <p:cNvSpPr txBox="1"/>
          <p:nvPr/>
        </p:nvSpPr>
        <p:spPr>
          <a:xfrm>
            <a:off x="476389" y="1405699"/>
            <a:ext cx="898998" cy="4924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 defTabSz="228600">
              <a:spcAft>
                <a:spcPts val="1200"/>
              </a:spcAft>
            </a:pPr>
            <a:r>
              <a:rPr lang="en-US" sz="3200" b="1">
                <a:solidFill>
                  <a:srgbClr val="9509B2"/>
                </a:solidFill>
              </a:rPr>
              <a:t>20+</a:t>
            </a:r>
            <a:endParaRPr lang="en-US" sz="3200" b="1" noProof="0">
              <a:solidFill>
                <a:srgbClr val="9509B2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307377B-CF61-D173-CFEC-20FB096BEBC2}"/>
              </a:ext>
            </a:extLst>
          </p:cNvPr>
          <p:cNvGrpSpPr/>
          <p:nvPr/>
        </p:nvGrpSpPr>
        <p:grpSpPr>
          <a:xfrm>
            <a:off x="3280601" y="3195852"/>
            <a:ext cx="279608" cy="324532"/>
            <a:chOff x="3843917" y="2487381"/>
            <a:chExt cx="197685" cy="230800"/>
          </a:xfrm>
          <a:solidFill>
            <a:srgbClr val="D425C8"/>
          </a:solidFill>
        </p:grpSpPr>
        <p:sp>
          <p:nvSpPr>
            <p:cNvPr id="10" name="Arrow: Chevron 9">
              <a:extLst>
                <a:ext uri="{FF2B5EF4-FFF2-40B4-BE49-F238E27FC236}">
                  <a16:creationId xmlns:a16="http://schemas.microsoft.com/office/drawing/2014/main" id="{24422DE6-997D-1BB1-B7A7-D37D41566A9B}"/>
                </a:ext>
              </a:extLst>
            </p:cNvPr>
            <p:cNvSpPr/>
            <p:nvPr/>
          </p:nvSpPr>
          <p:spPr>
            <a:xfrm rot="16200000">
              <a:off x="3874170" y="2598043"/>
              <a:ext cx="141920" cy="98356"/>
            </a:xfrm>
            <a:prstGeom prst="chevron">
              <a:avLst>
                <a:gd name="adj" fmla="val 18695"/>
              </a:avLst>
            </a:prstGeom>
            <a:grpFill/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1" name="Star: 32 Points 10">
              <a:extLst>
                <a:ext uri="{FF2B5EF4-FFF2-40B4-BE49-F238E27FC236}">
                  <a16:creationId xmlns:a16="http://schemas.microsoft.com/office/drawing/2014/main" id="{584B420D-ED58-E848-4EE4-177CEA3F7735}"/>
                </a:ext>
              </a:extLst>
            </p:cNvPr>
            <p:cNvSpPr/>
            <p:nvPr/>
          </p:nvSpPr>
          <p:spPr>
            <a:xfrm>
              <a:off x="3843917" y="2487381"/>
              <a:ext cx="197685" cy="197684"/>
            </a:xfrm>
            <a:prstGeom prst="star32">
              <a:avLst>
                <a:gd name="adj" fmla="val 43754"/>
              </a:avLst>
            </a:prstGeom>
            <a:grpFill/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E5652562-D709-4E17-07A5-C63CB2134B66}"/>
                </a:ext>
              </a:extLst>
            </p:cNvPr>
            <p:cNvSpPr/>
            <p:nvPr/>
          </p:nvSpPr>
          <p:spPr>
            <a:xfrm>
              <a:off x="3870792" y="2514256"/>
              <a:ext cx="143935" cy="143935"/>
            </a:xfrm>
            <a:prstGeom prst="ellipse">
              <a:avLst/>
            </a:prstGeom>
            <a:grpFill/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2E7C6E65-B944-5F87-7220-7CD46636F08B}"/>
              </a:ext>
            </a:extLst>
          </p:cNvPr>
          <p:cNvSpPr txBox="1"/>
          <p:nvPr/>
        </p:nvSpPr>
        <p:spPr>
          <a:xfrm>
            <a:off x="3627121" y="3215342"/>
            <a:ext cx="822938" cy="286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pl-PL" sz="1100" b="1" err="1"/>
              <a:t>Actimize</a:t>
            </a:r>
            <a:endParaRPr lang="pl-PL" sz="1100" b="1" noProof="0" err="1"/>
          </a:p>
        </p:txBody>
      </p:sp>
    </p:spTree>
    <p:extLst>
      <p:ext uri="{BB962C8B-B14F-4D97-AF65-F5344CB8AC3E}">
        <p14:creationId xmlns:p14="http://schemas.microsoft.com/office/powerpoint/2010/main" val="155294907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E8A82B-C4D1-4A09-9EC8-5D93EACE1C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E8A82B-C4D1-4A09-9EC8-5D93EACE1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3" name="Title 1">
            <a:extLst>
              <a:ext uri="{FF2B5EF4-FFF2-40B4-BE49-F238E27FC236}">
                <a16:creationId xmlns:a16="http://schemas.microsoft.com/office/drawing/2014/main" id="{D59545F7-0203-C7F3-1C53-BE4FF3E604E7}"/>
              </a:ext>
            </a:extLst>
          </p:cNvPr>
          <p:cNvSpPr txBox="1">
            <a:spLocks/>
          </p:cNvSpPr>
          <p:nvPr/>
        </p:nvSpPr>
        <p:spPr>
          <a:xfrm>
            <a:off x="338546" y="207092"/>
            <a:ext cx="11641970" cy="77613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inden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79600" algn="l"/>
              </a:tabLst>
              <a:defRPr sz="3600" b="1" i="0">
                <a:solidFill>
                  <a:schemeClr val="accent2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pl-PL"/>
              <a:t>AI Industry Hub | </a:t>
            </a:r>
            <a:r>
              <a:rPr lang="pl-PL">
                <a:solidFill>
                  <a:schemeClr val="tx1"/>
                </a:solidFill>
              </a:rPr>
              <a:t>Gen AI</a:t>
            </a:r>
            <a:endParaRPr lang="en-GB">
              <a:solidFill>
                <a:schemeClr val="tx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1B17B7C-81E0-ED6E-1B34-694451469BDC}"/>
              </a:ext>
            </a:extLst>
          </p:cNvPr>
          <p:cNvGrpSpPr/>
          <p:nvPr/>
        </p:nvGrpSpPr>
        <p:grpSpPr>
          <a:xfrm>
            <a:off x="905266" y="3275603"/>
            <a:ext cx="759921" cy="878398"/>
            <a:chOff x="3476145" y="3257163"/>
            <a:chExt cx="1185728" cy="1518562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0FFE0E3C-8E69-61A1-F4EC-826E485F7146}"/>
                </a:ext>
              </a:extLst>
            </p:cNvPr>
            <p:cNvSpPr/>
            <p:nvPr/>
          </p:nvSpPr>
          <p:spPr>
            <a:xfrm>
              <a:off x="3476145" y="3589997"/>
              <a:ext cx="1185728" cy="1185728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scene3d>
              <a:camera prst="isometricTopUp"/>
              <a:lightRig rig="threePt" dir="t"/>
            </a:scene3d>
            <a:sp3d extrusionH="101600">
              <a:extrusionClr>
                <a:schemeClr val="bg1">
                  <a:lumMod val="65000"/>
                </a:schemeClr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F37FA213-6A1D-193C-6AD7-C4059C9BC928}"/>
                </a:ext>
              </a:extLst>
            </p:cNvPr>
            <p:cNvSpPr/>
            <p:nvPr/>
          </p:nvSpPr>
          <p:spPr>
            <a:xfrm>
              <a:off x="3635131" y="3257163"/>
              <a:ext cx="1026742" cy="1026742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127000" dist="342900" dir="4920000" sx="83000" sy="83000" rotWithShape="0">
                <a:schemeClr val="tx1">
                  <a:alpha val="40000"/>
                </a:schemeClr>
              </a:outerShdw>
            </a:effectLst>
            <a:scene3d>
              <a:camera prst="isometricRightUp"/>
              <a:lightRig rig="threePt" dir="t"/>
            </a:scene3d>
            <a:sp3d extrusionH="152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0D87915-332D-6670-DB6D-0A477DD76939}"/>
              </a:ext>
            </a:extLst>
          </p:cNvPr>
          <p:cNvGrpSpPr/>
          <p:nvPr/>
        </p:nvGrpSpPr>
        <p:grpSpPr>
          <a:xfrm>
            <a:off x="787370" y="5068644"/>
            <a:ext cx="757897" cy="879448"/>
            <a:chOff x="4584429" y="4266426"/>
            <a:chExt cx="1185728" cy="1548817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9452B1C4-5C34-8DFD-3B1D-B11B42E696BD}"/>
                </a:ext>
              </a:extLst>
            </p:cNvPr>
            <p:cNvSpPr/>
            <p:nvPr/>
          </p:nvSpPr>
          <p:spPr>
            <a:xfrm>
              <a:off x="4584429" y="4629515"/>
              <a:ext cx="1185728" cy="1185728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scene3d>
              <a:camera prst="isometricTopUp"/>
              <a:lightRig rig="threePt" dir="t"/>
            </a:scene3d>
            <a:sp3d extrusionH="101600">
              <a:extrusionClr>
                <a:schemeClr val="bg1">
                  <a:lumMod val="65000"/>
                </a:schemeClr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8A32A631-A89B-72BC-BE65-11D9B0D9B8ED}"/>
                </a:ext>
              </a:extLst>
            </p:cNvPr>
            <p:cNvSpPr/>
            <p:nvPr/>
          </p:nvSpPr>
          <p:spPr>
            <a:xfrm>
              <a:off x="4699242" y="4266426"/>
              <a:ext cx="1026742" cy="1026742"/>
            </a:xfrm>
            <a:prstGeom prst="round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>
              <a:outerShdw blurRad="127000" dist="342900" dir="4920000" sx="83000" sy="83000" rotWithShape="0">
                <a:schemeClr val="tx1">
                  <a:alpha val="40000"/>
                </a:schemeClr>
              </a:outerShdw>
            </a:effectLst>
            <a:scene3d>
              <a:camera prst="isometricRightUp"/>
              <a:lightRig rig="threePt" dir="t"/>
            </a:scene3d>
            <a:sp3d extrusionH="152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" name="Graphic 19" descr="User network">
              <a:extLst>
                <a:ext uri="{FF2B5EF4-FFF2-40B4-BE49-F238E27FC236}">
                  <a16:creationId xmlns:a16="http://schemas.microsoft.com/office/drawing/2014/main" id="{52606959-2BC6-AB1B-62E4-989EA0703F8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846140" y="4396697"/>
              <a:ext cx="756000" cy="756000"/>
            </a:xfrm>
            <a:prstGeom prst="rect">
              <a:avLst/>
            </a:prstGeom>
            <a:scene3d>
              <a:camera prst="isometricRightUp"/>
              <a:lightRig rig="threePt" dir="t"/>
            </a:scene3d>
          </p:spPr>
        </p:pic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56732F36-619F-DF5D-38F8-0D7B0465E06B}"/>
              </a:ext>
            </a:extLst>
          </p:cNvPr>
          <p:cNvSpPr/>
          <p:nvPr/>
        </p:nvSpPr>
        <p:spPr>
          <a:xfrm>
            <a:off x="484851" y="5996993"/>
            <a:ext cx="1290500" cy="26248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ctr" defTabSz="914217" fontAlgn="base">
              <a:lnSpc>
                <a:spcPct val="110000"/>
              </a:lnSpc>
              <a:spcBef>
                <a:spcPts val="800"/>
              </a:spcBef>
            </a:pPr>
            <a:r>
              <a:rPr lang="pl-PL" sz="1200" b="1">
                <a:latin typeface="Arial" charset="0"/>
                <a:cs typeface="Arial" charset="0"/>
              </a:rPr>
              <a:t>Chatbot</a:t>
            </a:r>
            <a:br>
              <a:rPr lang="pl-PL" sz="1200" b="1">
                <a:latin typeface="Arial" charset="0"/>
                <a:cs typeface="Arial" charset="0"/>
              </a:rPr>
            </a:br>
            <a:r>
              <a:rPr lang="pl-PL" sz="1200" b="1">
                <a:latin typeface="Arial" charset="0"/>
                <a:cs typeface="Arial" charset="0"/>
              </a:rPr>
              <a:t>for CMT</a:t>
            </a:r>
            <a:endParaRPr lang="nn-NO" sz="1200" b="1">
              <a:latin typeface="Arial" charset="0"/>
              <a:cs typeface="Arial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4162844-FEF9-B0D3-D208-5AEF380D6FA6}"/>
              </a:ext>
            </a:extLst>
          </p:cNvPr>
          <p:cNvSpPr/>
          <p:nvPr/>
        </p:nvSpPr>
        <p:spPr>
          <a:xfrm>
            <a:off x="484849" y="4160215"/>
            <a:ext cx="1362937" cy="370395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ctr" defTabSz="914217" fontAlgn="base">
              <a:lnSpc>
                <a:spcPct val="110000"/>
              </a:lnSpc>
              <a:spcBef>
                <a:spcPts val="800"/>
              </a:spcBef>
            </a:pPr>
            <a:r>
              <a:rPr lang="pl-PL" sz="1200" b="1">
                <a:latin typeface="Arial" charset="0"/>
                <a:cs typeface="Arial" charset="0"/>
              </a:rPr>
              <a:t>Product Classifier</a:t>
            </a:r>
            <a:br>
              <a:rPr lang="pl-PL" sz="1200" b="1">
                <a:latin typeface="Arial" charset="0"/>
                <a:cs typeface="Arial" charset="0"/>
              </a:rPr>
            </a:br>
            <a:r>
              <a:rPr lang="pl-PL" sz="1200" b="1">
                <a:latin typeface="Arial" charset="0"/>
                <a:cs typeface="Arial" charset="0"/>
              </a:rPr>
              <a:t>for EcoScoring</a:t>
            </a:r>
            <a:endParaRPr lang="nn-NO" sz="1200" b="1">
              <a:latin typeface="Arial" charset="0"/>
              <a:cs typeface="Arial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5D957B5-74E2-AD1A-416C-2B133B769C7B}"/>
              </a:ext>
            </a:extLst>
          </p:cNvPr>
          <p:cNvSpPr/>
          <p:nvPr/>
        </p:nvSpPr>
        <p:spPr>
          <a:xfrm>
            <a:off x="484850" y="2991676"/>
            <a:ext cx="5311699" cy="1530000"/>
          </a:xfrm>
          <a:prstGeom prst="rect">
            <a:avLst/>
          </a:prstGeom>
          <a:noFill/>
          <a:ln w="19050">
            <a:solidFill>
              <a:schemeClr val="accent1">
                <a:lumMod val="40000"/>
                <a:lumOff val="60000"/>
              </a:schemeClr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856862C-0406-3C60-C2D4-690805471C6E}"/>
              </a:ext>
            </a:extLst>
          </p:cNvPr>
          <p:cNvSpPr/>
          <p:nvPr/>
        </p:nvSpPr>
        <p:spPr>
          <a:xfrm>
            <a:off x="484850" y="4850220"/>
            <a:ext cx="11050852" cy="1530000"/>
          </a:xfrm>
          <a:prstGeom prst="rect">
            <a:avLst/>
          </a:prstGeom>
          <a:noFill/>
          <a:ln w="19050">
            <a:solidFill>
              <a:schemeClr val="accent3"/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B11D90F-9F68-F099-6551-EA4B975FF193}"/>
              </a:ext>
            </a:extLst>
          </p:cNvPr>
          <p:cNvSpPr/>
          <p:nvPr/>
        </p:nvSpPr>
        <p:spPr>
          <a:xfrm>
            <a:off x="6185208" y="2984819"/>
            <a:ext cx="5313600" cy="1530000"/>
          </a:xfrm>
          <a:prstGeom prst="rect">
            <a:avLst/>
          </a:prstGeom>
          <a:noFill/>
          <a:ln w="19050">
            <a:solidFill>
              <a:schemeClr val="accent6"/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4F48C182-4691-F35D-4102-AFA155CBF93D}"/>
              </a:ext>
            </a:extLst>
          </p:cNvPr>
          <p:cNvSpPr/>
          <p:nvPr/>
        </p:nvSpPr>
        <p:spPr>
          <a:xfrm>
            <a:off x="447956" y="1158123"/>
            <a:ext cx="11050852" cy="1530000"/>
          </a:xfrm>
          <a:prstGeom prst="rect">
            <a:avLst/>
          </a:prstGeom>
          <a:noFill/>
          <a:ln w="19050">
            <a:solidFill>
              <a:schemeClr val="accent3"/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E5A2D5B9-A0E6-8FDC-5B73-D4E322B5D6BE}"/>
              </a:ext>
            </a:extLst>
          </p:cNvPr>
          <p:cNvGrpSpPr/>
          <p:nvPr/>
        </p:nvGrpSpPr>
        <p:grpSpPr>
          <a:xfrm>
            <a:off x="733699" y="1412200"/>
            <a:ext cx="757897" cy="879448"/>
            <a:chOff x="4584429" y="4266426"/>
            <a:chExt cx="1185728" cy="1548817"/>
          </a:xfrm>
        </p:grpSpPr>
        <p:sp>
          <p:nvSpPr>
            <p:cNvPr id="81" name="Rectangle: Rounded Corners 80">
              <a:extLst>
                <a:ext uri="{FF2B5EF4-FFF2-40B4-BE49-F238E27FC236}">
                  <a16:creationId xmlns:a16="http://schemas.microsoft.com/office/drawing/2014/main" id="{23F17474-0D20-8F28-9F84-9FBEBCF6AB03}"/>
                </a:ext>
              </a:extLst>
            </p:cNvPr>
            <p:cNvSpPr/>
            <p:nvPr/>
          </p:nvSpPr>
          <p:spPr>
            <a:xfrm>
              <a:off x="4584429" y="4629515"/>
              <a:ext cx="1185728" cy="1185728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scene3d>
              <a:camera prst="isometricTopUp"/>
              <a:lightRig rig="threePt" dir="t"/>
            </a:scene3d>
            <a:sp3d extrusionH="101600">
              <a:extrusionClr>
                <a:schemeClr val="bg1">
                  <a:lumMod val="65000"/>
                </a:schemeClr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A199F1BA-794C-2B1F-F0DF-B48253031D08}"/>
                </a:ext>
              </a:extLst>
            </p:cNvPr>
            <p:cNvSpPr/>
            <p:nvPr/>
          </p:nvSpPr>
          <p:spPr>
            <a:xfrm>
              <a:off x="4699242" y="4266426"/>
              <a:ext cx="1026742" cy="1026742"/>
            </a:xfrm>
            <a:prstGeom prst="roundRect">
              <a:avLst/>
            </a:prstGeom>
            <a:solidFill>
              <a:schemeClr val="accent6">
                <a:lumMod val="25000"/>
              </a:schemeClr>
            </a:solidFill>
            <a:ln>
              <a:noFill/>
            </a:ln>
            <a:effectLst>
              <a:outerShdw blurRad="127000" dist="342900" dir="4920000" sx="83000" sy="83000" rotWithShape="0">
                <a:schemeClr val="tx1">
                  <a:alpha val="40000"/>
                </a:schemeClr>
              </a:outerShdw>
            </a:effectLst>
            <a:scene3d>
              <a:camera prst="isometricRightUp"/>
              <a:lightRig rig="threePt" dir="t"/>
            </a:scene3d>
            <a:sp3d extrusionH="152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3" name="Rectangle 82">
            <a:extLst>
              <a:ext uri="{FF2B5EF4-FFF2-40B4-BE49-F238E27FC236}">
                <a16:creationId xmlns:a16="http://schemas.microsoft.com/office/drawing/2014/main" id="{88C83C1A-25E6-46E1-E476-CE216C838E82}"/>
              </a:ext>
            </a:extLst>
          </p:cNvPr>
          <p:cNvSpPr/>
          <p:nvPr/>
        </p:nvSpPr>
        <p:spPr>
          <a:xfrm>
            <a:off x="484851" y="2309004"/>
            <a:ext cx="1290500" cy="330075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ctr" defTabSz="914217" fontAlgn="base">
              <a:lnSpc>
                <a:spcPct val="110000"/>
              </a:lnSpc>
              <a:spcBef>
                <a:spcPts val="800"/>
              </a:spcBef>
            </a:pPr>
            <a:r>
              <a:rPr lang="pl-PL" sz="1200" b="1">
                <a:latin typeface="Arial" charset="0"/>
                <a:cs typeface="Arial" charset="0"/>
              </a:rPr>
              <a:t>GenCraft</a:t>
            </a:r>
            <a:br>
              <a:rPr lang="pl-PL" sz="1200" b="1">
                <a:latin typeface="Arial" charset="0"/>
                <a:cs typeface="Arial" charset="0"/>
              </a:rPr>
            </a:br>
            <a:r>
              <a:rPr lang="pl-PL" sz="1200" b="1">
                <a:latin typeface="Arial" charset="0"/>
                <a:cs typeface="Arial" charset="0"/>
              </a:rPr>
              <a:t>for FMCG</a:t>
            </a:r>
            <a:endParaRPr lang="nn-NO" sz="1200" b="1">
              <a:latin typeface="Arial" charset="0"/>
              <a:cs typeface="Arial" charset="0"/>
            </a:endParaRPr>
          </a:p>
        </p:txBody>
      </p:sp>
      <p:pic>
        <p:nvPicPr>
          <p:cNvPr id="89" name="Picture 88">
            <a:extLst>
              <a:ext uri="{FF2B5EF4-FFF2-40B4-BE49-F238E27FC236}">
                <a16:creationId xmlns:a16="http://schemas.microsoft.com/office/drawing/2014/main" id="{6DC2E240-344A-BAA0-450F-D8497D34DC0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rcRect r="73044" b="17228"/>
          <a:stretch/>
        </p:blipFill>
        <p:spPr>
          <a:xfrm>
            <a:off x="790461" y="1457098"/>
            <a:ext cx="704221" cy="533091"/>
          </a:xfrm>
          <a:prstGeom prst="rect">
            <a:avLst/>
          </a:prstGeom>
          <a:scene3d>
            <a:camera prst="isometricRightUp">
              <a:rot lat="2100000" lon="18899996" rev="0"/>
            </a:camera>
            <a:lightRig rig="threePt" dir="t"/>
          </a:scene3d>
        </p:spPr>
      </p:pic>
      <p:pic>
        <p:nvPicPr>
          <p:cNvPr id="96" name="Picture 95" descr="A screenshot of a computer&#10;&#10;Description automatically generated">
            <a:extLst>
              <a:ext uri="{FF2B5EF4-FFF2-40B4-BE49-F238E27FC236}">
                <a16:creationId xmlns:a16="http://schemas.microsoft.com/office/drawing/2014/main" id="{7C216570-433D-98B8-37A9-4C1E6463276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60052" t="35423" r="34715" b="45395"/>
          <a:stretch/>
        </p:blipFill>
        <p:spPr>
          <a:xfrm>
            <a:off x="8958529" y="1322407"/>
            <a:ext cx="643607" cy="1316672"/>
          </a:xfrm>
          <a:prstGeom prst="rect">
            <a:avLst/>
          </a:prstGeom>
        </p:spPr>
      </p:pic>
      <p:pic>
        <p:nvPicPr>
          <p:cNvPr id="97" name="Picture 96" descr="A screenshot of a computer&#10;&#10;Description automatically generated">
            <a:extLst>
              <a:ext uri="{FF2B5EF4-FFF2-40B4-BE49-F238E27FC236}">
                <a16:creationId xmlns:a16="http://schemas.microsoft.com/office/drawing/2014/main" id="{C0F6956E-55FC-C674-D686-43925D2A025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204" t="68989" r="4792" b="3108"/>
          <a:stretch/>
        </p:blipFill>
        <p:spPr>
          <a:xfrm>
            <a:off x="1775350" y="1337397"/>
            <a:ext cx="7094400" cy="1187920"/>
          </a:xfrm>
          <a:prstGeom prst="rect">
            <a:avLst/>
          </a:prstGeom>
        </p:spPr>
      </p:pic>
      <p:pic>
        <p:nvPicPr>
          <p:cNvPr id="98" name="Picture 97" descr="A screenshot of a computer&#10;&#10;Description automatically generated">
            <a:extLst>
              <a:ext uri="{FF2B5EF4-FFF2-40B4-BE49-F238E27FC236}">
                <a16:creationId xmlns:a16="http://schemas.microsoft.com/office/drawing/2014/main" id="{29805283-42DA-4B12-D438-BA9A33102BB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65379" t="38134" r="19914" b="51478"/>
          <a:stretch/>
        </p:blipFill>
        <p:spPr>
          <a:xfrm>
            <a:off x="9649445" y="1184601"/>
            <a:ext cx="1808856" cy="713128"/>
          </a:xfrm>
          <a:prstGeom prst="rect">
            <a:avLst/>
          </a:prstGeom>
        </p:spPr>
      </p:pic>
      <p:pic>
        <p:nvPicPr>
          <p:cNvPr id="99" name="Picture 98" descr="A screenshot of a computer&#10;&#10;Description automatically generated">
            <a:extLst>
              <a:ext uri="{FF2B5EF4-FFF2-40B4-BE49-F238E27FC236}">
                <a16:creationId xmlns:a16="http://schemas.microsoft.com/office/drawing/2014/main" id="{D5FD126D-F7F7-B4A7-AD36-9B4DE2785BE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82286" t="38307" r="3982" b="51304"/>
          <a:stretch/>
        </p:blipFill>
        <p:spPr>
          <a:xfrm>
            <a:off x="9561068" y="1875237"/>
            <a:ext cx="1688936" cy="713128"/>
          </a:xfrm>
          <a:prstGeom prst="rect">
            <a:avLst/>
          </a:prstGeom>
        </p:spPr>
      </p:pic>
      <p:sp>
        <p:nvSpPr>
          <p:cNvPr id="100" name="Freeform 25">
            <a:extLst>
              <a:ext uri="{FF2B5EF4-FFF2-40B4-BE49-F238E27FC236}">
                <a16:creationId xmlns:a16="http://schemas.microsoft.com/office/drawing/2014/main" id="{9B6188F5-AB95-E802-F8E8-FD284DA62F1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906368" y="5437246"/>
            <a:ext cx="414486" cy="396000"/>
          </a:xfrm>
          <a:custGeom>
            <a:avLst/>
            <a:gdLst>
              <a:gd name="T0" fmla="*/ 151 w 288"/>
              <a:gd name="T1" fmla="*/ 275 h 275"/>
              <a:gd name="T2" fmla="*/ 151 w 288"/>
              <a:gd name="T3" fmla="*/ 275 h 275"/>
              <a:gd name="T4" fmla="*/ 147 w 288"/>
              <a:gd name="T5" fmla="*/ 273 h 275"/>
              <a:gd name="T6" fmla="*/ 106 w 288"/>
              <a:gd name="T7" fmla="*/ 232 h 275"/>
              <a:gd name="T8" fmla="*/ 106 w 288"/>
              <a:gd name="T9" fmla="*/ 223 h 275"/>
              <a:gd name="T10" fmla="*/ 151 w 288"/>
              <a:gd name="T11" fmla="*/ 174 h 275"/>
              <a:gd name="T12" fmla="*/ 6 w 288"/>
              <a:gd name="T13" fmla="*/ 174 h 275"/>
              <a:gd name="T14" fmla="*/ 0 w 288"/>
              <a:gd name="T15" fmla="*/ 168 h 275"/>
              <a:gd name="T16" fmla="*/ 0 w 288"/>
              <a:gd name="T17" fmla="*/ 108 h 275"/>
              <a:gd name="T18" fmla="*/ 2 w 288"/>
              <a:gd name="T19" fmla="*/ 104 h 275"/>
              <a:gd name="T20" fmla="*/ 6 w 288"/>
              <a:gd name="T21" fmla="*/ 102 h 275"/>
              <a:gd name="T22" fmla="*/ 6 w 288"/>
              <a:gd name="T23" fmla="*/ 102 h 275"/>
              <a:gd name="T24" fmla="*/ 152 w 288"/>
              <a:gd name="T25" fmla="*/ 102 h 275"/>
              <a:gd name="T26" fmla="*/ 106 w 288"/>
              <a:gd name="T27" fmla="*/ 52 h 275"/>
              <a:gd name="T28" fmla="*/ 106 w 288"/>
              <a:gd name="T29" fmla="*/ 44 h 275"/>
              <a:gd name="T30" fmla="*/ 147 w 288"/>
              <a:gd name="T31" fmla="*/ 2 h 275"/>
              <a:gd name="T32" fmla="*/ 156 w 288"/>
              <a:gd name="T33" fmla="*/ 2 h 275"/>
              <a:gd name="T34" fmla="*/ 287 w 288"/>
              <a:gd name="T35" fmla="*/ 134 h 275"/>
              <a:gd name="T36" fmla="*/ 288 w 288"/>
              <a:gd name="T37" fmla="*/ 138 h 275"/>
              <a:gd name="T38" fmla="*/ 287 w 288"/>
              <a:gd name="T39" fmla="*/ 142 h 275"/>
              <a:gd name="T40" fmla="*/ 156 w 288"/>
              <a:gd name="T41" fmla="*/ 273 h 275"/>
              <a:gd name="T42" fmla="*/ 151 w 288"/>
              <a:gd name="T43" fmla="*/ 275 h 275"/>
              <a:gd name="T44" fmla="*/ 118 w 288"/>
              <a:gd name="T45" fmla="*/ 227 h 275"/>
              <a:gd name="T46" fmla="*/ 151 w 288"/>
              <a:gd name="T47" fmla="*/ 260 h 275"/>
              <a:gd name="T48" fmla="*/ 274 w 288"/>
              <a:gd name="T49" fmla="*/ 138 h 275"/>
              <a:gd name="T50" fmla="*/ 151 w 288"/>
              <a:gd name="T51" fmla="*/ 15 h 275"/>
              <a:gd name="T52" fmla="*/ 118 w 288"/>
              <a:gd name="T53" fmla="*/ 48 h 275"/>
              <a:gd name="T54" fmla="*/ 170 w 288"/>
              <a:gd name="T55" fmla="*/ 104 h 275"/>
              <a:gd name="T56" fmla="*/ 171 w 288"/>
              <a:gd name="T57" fmla="*/ 110 h 275"/>
              <a:gd name="T58" fmla="*/ 166 w 288"/>
              <a:gd name="T59" fmla="*/ 114 h 275"/>
              <a:gd name="T60" fmla="*/ 166 w 288"/>
              <a:gd name="T61" fmla="*/ 114 h 275"/>
              <a:gd name="T62" fmla="*/ 12 w 288"/>
              <a:gd name="T63" fmla="*/ 114 h 275"/>
              <a:gd name="T64" fmla="*/ 12 w 288"/>
              <a:gd name="T65" fmla="*/ 162 h 275"/>
              <a:gd name="T66" fmla="*/ 165 w 288"/>
              <a:gd name="T67" fmla="*/ 162 h 275"/>
              <a:gd name="T68" fmla="*/ 171 w 288"/>
              <a:gd name="T69" fmla="*/ 165 h 275"/>
              <a:gd name="T70" fmla="*/ 170 w 288"/>
              <a:gd name="T71" fmla="*/ 172 h 275"/>
              <a:gd name="T72" fmla="*/ 118 w 288"/>
              <a:gd name="T73" fmla="*/ 227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88" h="275">
                <a:moveTo>
                  <a:pt x="151" y="275"/>
                </a:moveTo>
                <a:cubicBezTo>
                  <a:pt x="151" y="275"/>
                  <a:pt x="151" y="275"/>
                  <a:pt x="151" y="275"/>
                </a:cubicBezTo>
                <a:cubicBezTo>
                  <a:pt x="150" y="275"/>
                  <a:pt x="148" y="274"/>
                  <a:pt x="147" y="273"/>
                </a:cubicBezTo>
                <a:cubicBezTo>
                  <a:pt x="106" y="232"/>
                  <a:pt x="106" y="232"/>
                  <a:pt x="106" y="232"/>
                </a:cubicBezTo>
                <a:cubicBezTo>
                  <a:pt x="103" y="229"/>
                  <a:pt x="103" y="226"/>
                  <a:pt x="106" y="223"/>
                </a:cubicBezTo>
                <a:cubicBezTo>
                  <a:pt x="151" y="174"/>
                  <a:pt x="151" y="174"/>
                  <a:pt x="151" y="174"/>
                </a:cubicBezTo>
                <a:cubicBezTo>
                  <a:pt x="6" y="174"/>
                  <a:pt x="6" y="174"/>
                  <a:pt x="6" y="174"/>
                </a:cubicBezTo>
                <a:cubicBezTo>
                  <a:pt x="3" y="174"/>
                  <a:pt x="0" y="171"/>
                  <a:pt x="0" y="168"/>
                </a:cubicBezTo>
                <a:cubicBezTo>
                  <a:pt x="0" y="108"/>
                  <a:pt x="0" y="108"/>
                  <a:pt x="0" y="108"/>
                </a:cubicBezTo>
                <a:cubicBezTo>
                  <a:pt x="0" y="106"/>
                  <a:pt x="1" y="105"/>
                  <a:pt x="2" y="104"/>
                </a:cubicBezTo>
                <a:cubicBezTo>
                  <a:pt x="3" y="102"/>
                  <a:pt x="5" y="102"/>
                  <a:pt x="6" y="102"/>
                </a:cubicBezTo>
                <a:cubicBezTo>
                  <a:pt x="6" y="102"/>
                  <a:pt x="6" y="102"/>
                  <a:pt x="6" y="102"/>
                </a:cubicBezTo>
                <a:cubicBezTo>
                  <a:pt x="152" y="102"/>
                  <a:pt x="152" y="102"/>
                  <a:pt x="152" y="102"/>
                </a:cubicBezTo>
                <a:cubicBezTo>
                  <a:pt x="106" y="52"/>
                  <a:pt x="106" y="52"/>
                  <a:pt x="106" y="52"/>
                </a:cubicBezTo>
                <a:cubicBezTo>
                  <a:pt x="103" y="50"/>
                  <a:pt x="103" y="46"/>
                  <a:pt x="106" y="44"/>
                </a:cubicBezTo>
                <a:cubicBezTo>
                  <a:pt x="147" y="2"/>
                  <a:pt x="147" y="2"/>
                  <a:pt x="147" y="2"/>
                </a:cubicBezTo>
                <a:cubicBezTo>
                  <a:pt x="149" y="0"/>
                  <a:pt x="153" y="0"/>
                  <a:pt x="156" y="2"/>
                </a:cubicBezTo>
                <a:cubicBezTo>
                  <a:pt x="287" y="134"/>
                  <a:pt x="287" y="134"/>
                  <a:pt x="287" y="134"/>
                </a:cubicBezTo>
                <a:cubicBezTo>
                  <a:pt x="288" y="135"/>
                  <a:pt x="288" y="136"/>
                  <a:pt x="288" y="138"/>
                </a:cubicBezTo>
                <a:cubicBezTo>
                  <a:pt x="288" y="139"/>
                  <a:pt x="288" y="141"/>
                  <a:pt x="287" y="142"/>
                </a:cubicBezTo>
                <a:cubicBezTo>
                  <a:pt x="156" y="273"/>
                  <a:pt x="156" y="273"/>
                  <a:pt x="156" y="273"/>
                </a:cubicBezTo>
                <a:cubicBezTo>
                  <a:pt x="154" y="274"/>
                  <a:pt x="153" y="275"/>
                  <a:pt x="151" y="275"/>
                </a:cubicBezTo>
                <a:close/>
                <a:moveTo>
                  <a:pt x="118" y="227"/>
                </a:moveTo>
                <a:cubicBezTo>
                  <a:pt x="151" y="260"/>
                  <a:pt x="151" y="260"/>
                  <a:pt x="151" y="260"/>
                </a:cubicBezTo>
                <a:cubicBezTo>
                  <a:pt x="274" y="138"/>
                  <a:pt x="274" y="138"/>
                  <a:pt x="274" y="138"/>
                </a:cubicBezTo>
                <a:cubicBezTo>
                  <a:pt x="151" y="15"/>
                  <a:pt x="151" y="15"/>
                  <a:pt x="151" y="15"/>
                </a:cubicBezTo>
                <a:cubicBezTo>
                  <a:pt x="118" y="48"/>
                  <a:pt x="118" y="48"/>
                  <a:pt x="118" y="48"/>
                </a:cubicBezTo>
                <a:cubicBezTo>
                  <a:pt x="170" y="104"/>
                  <a:pt x="170" y="104"/>
                  <a:pt x="170" y="104"/>
                </a:cubicBezTo>
                <a:cubicBezTo>
                  <a:pt x="172" y="106"/>
                  <a:pt x="172" y="108"/>
                  <a:pt x="171" y="110"/>
                </a:cubicBezTo>
                <a:cubicBezTo>
                  <a:pt x="170" y="113"/>
                  <a:pt x="168" y="114"/>
                  <a:pt x="166" y="114"/>
                </a:cubicBezTo>
                <a:cubicBezTo>
                  <a:pt x="166" y="114"/>
                  <a:pt x="166" y="114"/>
                  <a:pt x="166" y="114"/>
                </a:cubicBezTo>
                <a:cubicBezTo>
                  <a:pt x="12" y="114"/>
                  <a:pt x="12" y="114"/>
                  <a:pt x="12" y="114"/>
                </a:cubicBezTo>
                <a:cubicBezTo>
                  <a:pt x="12" y="162"/>
                  <a:pt x="12" y="162"/>
                  <a:pt x="12" y="162"/>
                </a:cubicBezTo>
                <a:cubicBezTo>
                  <a:pt x="165" y="162"/>
                  <a:pt x="165" y="162"/>
                  <a:pt x="165" y="162"/>
                </a:cubicBezTo>
                <a:cubicBezTo>
                  <a:pt x="168" y="162"/>
                  <a:pt x="170" y="163"/>
                  <a:pt x="171" y="165"/>
                </a:cubicBezTo>
                <a:cubicBezTo>
                  <a:pt x="172" y="168"/>
                  <a:pt x="171" y="170"/>
                  <a:pt x="170" y="172"/>
                </a:cubicBezTo>
                <a:lnTo>
                  <a:pt x="118" y="227"/>
                </a:lnTo>
                <a:close/>
              </a:path>
            </a:pathLst>
          </a:custGeom>
          <a:solidFill>
            <a:srgbClr val="000000"/>
          </a:solidFill>
          <a:ln>
            <a:solidFill>
              <a:schemeClr val="bg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charset="0"/>
            </a:endParaRPr>
          </a:p>
        </p:txBody>
      </p:sp>
      <p:sp>
        <p:nvSpPr>
          <p:cNvPr id="101" name="Freeform 25">
            <a:extLst>
              <a:ext uri="{FF2B5EF4-FFF2-40B4-BE49-F238E27FC236}">
                <a16:creationId xmlns:a16="http://schemas.microsoft.com/office/drawing/2014/main" id="{B21E52A1-1FF7-AB90-3A1C-125E224BCC29}"/>
              </a:ext>
            </a:extLst>
          </p:cNvPr>
          <p:cNvSpPr>
            <a:spLocks noChangeAspect="1" noEditPoints="1"/>
          </p:cNvSpPr>
          <p:nvPr/>
        </p:nvSpPr>
        <p:spPr bwMode="auto">
          <a:xfrm rot="10800000">
            <a:off x="2903480" y="5883484"/>
            <a:ext cx="414486" cy="396000"/>
          </a:xfrm>
          <a:custGeom>
            <a:avLst/>
            <a:gdLst>
              <a:gd name="T0" fmla="*/ 151 w 288"/>
              <a:gd name="T1" fmla="*/ 275 h 275"/>
              <a:gd name="T2" fmla="*/ 151 w 288"/>
              <a:gd name="T3" fmla="*/ 275 h 275"/>
              <a:gd name="T4" fmla="*/ 147 w 288"/>
              <a:gd name="T5" fmla="*/ 273 h 275"/>
              <a:gd name="T6" fmla="*/ 106 w 288"/>
              <a:gd name="T7" fmla="*/ 232 h 275"/>
              <a:gd name="T8" fmla="*/ 106 w 288"/>
              <a:gd name="T9" fmla="*/ 223 h 275"/>
              <a:gd name="T10" fmla="*/ 151 w 288"/>
              <a:gd name="T11" fmla="*/ 174 h 275"/>
              <a:gd name="T12" fmla="*/ 6 w 288"/>
              <a:gd name="T13" fmla="*/ 174 h 275"/>
              <a:gd name="T14" fmla="*/ 0 w 288"/>
              <a:gd name="T15" fmla="*/ 168 h 275"/>
              <a:gd name="T16" fmla="*/ 0 w 288"/>
              <a:gd name="T17" fmla="*/ 108 h 275"/>
              <a:gd name="T18" fmla="*/ 2 w 288"/>
              <a:gd name="T19" fmla="*/ 104 h 275"/>
              <a:gd name="T20" fmla="*/ 6 w 288"/>
              <a:gd name="T21" fmla="*/ 102 h 275"/>
              <a:gd name="T22" fmla="*/ 6 w 288"/>
              <a:gd name="T23" fmla="*/ 102 h 275"/>
              <a:gd name="T24" fmla="*/ 152 w 288"/>
              <a:gd name="T25" fmla="*/ 102 h 275"/>
              <a:gd name="T26" fmla="*/ 106 w 288"/>
              <a:gd name="T27" fmla="*/ 52 h 275"/>
              <a:gd name="T28" fmla="*/ 106 w 288"/>
              <a:gd name="T29" fmla="*/ 44 h 275"/>
              <a:gd name="T30" fmla="*/ 147 w 288"/>
              <a:gd name="T31" fmla="*/ 2 h 275"/>
              <a:gd name="T32" fmla="*/ 156 w 288"/>
              <a:gd name="T33" fmla="*/ 2 h 275"/>
              <a:gd name="T34" fmla="*/ 287 w 288"/>
              <a:gd name="T35" fmla="*/ 134 h 275"/>
              <a:gd name="T36" fmla="*/ 288 w 288"/>
              <a:gd name="T37" fmla="*/ 138 h 275"/>
              <a:gd name="T38" fmla="*/ 287 w 288"/>
              <a:gd name="T39" fmla="*/ 142 h 275"/>
              <a:gd name="T40" fmla="*/ 156 w 288"/>
              <a:gd name="T41" fmla="*/ 273 h 275"/>
              <a:gd name="T42" fmla="*/ 151 w 288"/>
              <a:gd name="T43" fmla="*/ 275 h 275"/>
              <a:gd name="T44" fmla="*/ 118 w 288"/>
              <a:gd name="T45" fmla="*/ 227 h 275"/>
              <a:gd name="T46" fmla="*/ 151 w 288"/>
              <a:gd name="T47" fmla="*/ 260 h 275"/>
              <a:gd name="T48" fmla="*/ 274 w 288"/>
              <a:gd name="T49" fmla="*/ 138 h 275"/>
              <a:gd name="T50" fmla="*/ 151 w 288"/>
              <a:gd name="T51" fmla="*/ 15 h 275"/>
              <a:gd name="T52" fmla="*/ 118 w 288"/>
              <a:gd name="T53" fmla="*/ 48 h 275"/>
              <a:gd name="T54" fmla="*/ 170 w 288"/>
              <a:gd name="T55" fmla="*/ 104 h 275"/>
              <a:gd name="T56" fmla="*/ 171 w 288"/>
              <a:gd name="T57" fmla="*/ 110 h 275"/>
              <a:gd name="T58" fmla="*/ 166 w 288"/>
              <a:gd name="T59" fmla="*/ 114 h 275"/>
              <a:gd name="T60" fmla="*/ 166 w 288"/>
              <a:gd name="T61" fmla="*/ 114 h 275"/>
              <a:gd name="T62" fmla="*/ 12 w 288"/>
              <a:gd name="T63" fmla="*/ 114 h 275"/>
              <a:gd name="T64" fmla="*/ 12 w 288"/>
              <a:gd name="T65" fmla="*/ 162 h 275"/>
              <a:gd name="T66" fmla="*/ 165 w 288"/>
              <a:gd name="T67" fmla="*/ 162 h 275"/>
              <a:gd name="T68" fmla="*/ 171 w 288"/>
              <a:gd name="T69" fmla="*/ 165 h 275"/>
              <a:gd name="T70" fmla="*/ 170 w 288"/>
              <a:gd name="T71" fmla="*/ 172 h 275"/>
              <a:gd name="T72" fmla="*/ 118 w 288"/>
              <a:gd name="T73" fmla="*/ 227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88" h="275">
                <a:moveTo>
                  <a:pt x="151" y="275"/>
                </a:moveTo>
                <a:cubicBezTo>
                  <a:pt x="151" y="275"/>
                  <a:pt x="151" y="275"/>
                  <a:pt x="151" y="275"/>
                </a:cubicBezTo>
                <a:cubicBezTo>
                  <a:pt x="150" y="275"/>
                  <a:pt x="148" y="274"/>
                  <a:pt x="147" y="273"/>
                </a:cubicBezTo>
                <a:cubicBezTo>
                  <a:pt x="106" y="232"/>
                  <a:pt x="106" y="232"/>
                  <a:pt x="106" y="232"/>
                </a:cubicBezTo>
                <a:cubicBezTo>
                  <a:pt x="103" y="229"/>
                  <a:pt x="103" y="226"/>
                  <a:pt x="106" y="223"/>
                </a:cubicBezTo>
                <a:cubicBezTo>
                  <a:pt x="151" y="174"/>
                  <a:pt x="151" y="174"/>
                  <a:pt x="151" y="174"/>
                </a:cubicBezTo>
                <a:cubicBezTo>
                  <a:pt x="6" y="174"/>
                  <a:pt x="6" y="174"/>
                  <a:pt x="6" y="174"/>
                </a:cubicBezTo>
                <a:cubicBezTo>
                  <a:pt x="3" y="174"/>
                  <a:pt x="0" y="171"/>
                  <a:pt x="0" y="168"/>
                </a:cubicBezTo>
                <a:cubicBezTo>
                  <a:pt x="0" y="108"/>
                  <a:pt x="0" y="108"/>
                  <a:pt x="0" y="108"/>
                </a:cubicBezTo>
                <a:cubicBezTo>
                  <a:pt x="0" y="106"/>
                  <a:pt x="1" y="105"/>
                  <a:pt x="2" y="104"/>
                </a:cubicBezTo>
                <a:cubicBezTo>
                  <a:pt x="3" y="102"/>
                  <a:pt x="5" y="102"/>
                  <a:pt x="6" y="102"/>
                </a:cubicBezTo>
                <a:cubicBezTo>
                  <a:pt x="6" y="102"/>
                  <a:pt x="6" y="102"/>
                  <a:pt x="6" y="102"/>
                </a:cubicBezTo>
                <a:cubicBezTo>
                  <a:pt x="152" y="102"/>
                  <a:pt x="152" y="102"/>
                  <a:pt x="152" y="102"/>
                </a:cubicBezTo>
                <a:cubicBezTo>
                  <a:pt x="106" y="52"/>
                  <a:pt x="106" y="52"/>
                  <a:pt x="106" y="52"/>
                </a:cubicBezTo>
                <a:cubicBezTo>
                  <a:pt x="103" y="50"/>
                  <a:pt x="103" y="46"/>
                  <a:pt x="106" y="44"/>
                </a:cubicBezTo>
                <a:cubicBezTo>
                  <a:pt x="147" y="2"/>
                  <a:pt x="147" y="2"/>
                  <a:pt x="147" y="2"/>
                </a:cubicBezTo>
                <a:cubicBezTo>
                  <a:pt x="149" y="0"/>
                  <a:pt x="153" y="0"/>
                  <a:pt x="156" y="2"/>
                </a:cubicBezTo>
                <a:cubicBezTo>
                  <a:pt x="287" y="134"/>
                  <a:pt x="287" y="134"/>
                  <a:pt x="287" y="134"/>
                </a:cubicBezTo>
                <a:cubicBezTo>
                  <a:pt x="288" y="135"/>
                  <a:pt x="288" y="136"/>
                  <a:pt x="288" y="138"/>
                </a:cubicBezTo>
                <a:cubicBezTo>
                  <a:pt x="288" y="139"/>
                  <a:pt x="288" y="141"/>
                  <a:pt x="287" y="142"/>
                </a:cubicBezTo>
                <a:cubicBezTo>
                  <a:pt x="156" y="273"/>
                  <a:pt x="156" y="273"/>
                  <a:pt x="156" y="273"/>
                </a:cubicBezTo>
                <a:cubicBezTo>
                  <a:pt x="154" y="274"/>
                  <a:pt x="153" y="275"/>
                  <a:pt x="151" y="275"/>
                </a:cubicBezTo>
                <a:close/>
                <a:moveTo>
                  <a:pt x="118" y="227"/>
                </a:moveTo>
                <a:cubicBezTo>
                  <a:pt x="151" y="260"/>
                  <a:pt x="151" y="260"/>
                  <a:pt x="151" y="260"/>
                </a:cubicBezTo>
                <a:cubicBezTo>
                  <a:pt x="274" y="138"/>
                  <a:pt x="274" y="138"/>
                  <a:pt x="274" y="138"/>
                </a:cubicBezTo>
                <a:cubicBezTo>
                  <a:pt x="151" y="15"/>
                  <a:pt x="151" y="15"/>
                  <a:pt x="151" y="15"/>
                </a:cubicBezTo>
                <a:cubicBezTo>
                  <a:pt x="118" y="48"/>
                  <a:pt x="118" y="48"/>
                  <a:pt x="118" y="48"/>
                </a:cubicBezTo>
                <a:cubicBezTo>
                  <a:pt x="170" y="104"/>
                  <a:pt x="170" y="104"/>
                  <a:pt x="170" y="104"/>
                </a:cubicBezTo>
                <a:cubicBezTo>
                  <a:pt x="172" y="106"/>
                  <a:pt x="172" y="108"/>
                  <a:pt x="171" y="110"/>
                </a:cubicBezTo>
                <a:cubicBezTo>
                  <a:pt x="170" y="113"/>
                  <a:pt x="168" y="114"/>
                  <a:pt x="166" y="114"/>
                </a:cubicBezTo>
                <a:cubicBezTo>
                  <a:pt x="166" y="114"/>
                  <a:pt x="166" y="114"/>
                  <a:pt x="166" y="114"/>
                </a:cubicBezTo>
                <a:cubicBezTo>
                  <a:pt x="12" y="114"/>
                  <a:pt x="12" y="114"/>
                  <a:pt x="12" y="114"/>
                </a:cubicBezTo>
                <a:cubicBezTo>
                  <a:pt x="12" y="162"/>
                  <a:pt x="12" y="162"/>
                  <a:pt x="12" y="162"/>
                </a:cubicBezTo>
                <a:cubicBezTo>
                  <a:pt x="165" y="162"/>
                  <a:pt x="165" y="162"/>
                  <a:pt x="165" y="162"/>
                </a:cubicBezTo>
                <a:cubicBezTo>
                  <a:pt x="168" y="162"/>
                  <a:pt x="170" y="163"/>
                  <a:pt x="171" y="165"/>
                </a:cubicBezTo>
                <a:cubicBezTo>
                  <a:pt x="172" y="168"/>
                  <a:pt x="171" y="170"/>
                  <a:pt x="170" y="172"/>
                </a:cubicBezTo>
                <a:lnTo>
                  <a:pt x="118" y="227"/>
                </a:lnTo>
                <a:close/>
              </a:path>
            </a:pathLst>
          </a:custGeom>
          <a:solidFill>
            <a:srgbClr val="A100FF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charset="0"/>
            </a:endParaRPr>
          </a:p>
        </p:txBody>
      </p:sp>
      <p:sp>
        <p:nvSpPr>
          <p:cNvPr id="113" name="Freeform 25">
            <a:extLst>
              <a:ext uri="{FF2B5EF4-FFF2-40B4-BE49-F238E27FC236}">
                <a16:creationId xmlns:a16="http://schemas.microsoft.com/office/drawing/2014/main" id="{4C0C744A-4A5F-B815-C802-F1044DBCA31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175691" y="5442958"/>
            <a:ext cx="414486" cy="396000"/>
          </a:xfrm>
          <a:custGeom>
            <a:avLst/>
            <a:gdLst>
              <a:gd name="T0" fmla="*/ 151 w 288"/>
              <a:gd name="T1" fmla="*/ 275 h 275"/>
              <a:gd name="T2" fmla="*/ 151 w 288"/>
              <a:gd name="T3" fmla="*/ 275 h 275"/>
              <a:gd name="T4" fmla="*/ 147 w 288"/>
              <a:gd name="T5" fmla="*/ 273 h 275"/>
              <a:gd name="T6" fmla="*/ 106 w 288"/>
              <a:gd name="T7" fmla="*/ 232 h 275"/>
              <a:gd name="T8" fmla="*/ 106 w 288"/>
              <a:gd name="T9" fmla="*/ 223 h 275"/>
              <a:gd name="T10" fmla="*/ 151 w 288"/>
              <a:gd name="T11" fmla="*/ 174 h 275"/>
              <a:gd name="T12" fmla="*/ 6 w 288"/>
              <a:gd name="T13" fmla="*/ 174 h 275"/>
              <a:gd name="T14" fmla="*/ 0 w 288"/>
              <a:gd name="T15" fmla="*/ 168 h 275"/>
              <a:gd name="T16" fmla="*/ 0 w 288"/>
              <a:gd name="T17" fmla="*/ 108 h 275"/>
              <a:gd name="T18" fmla="*/ 2 w 288"/>
              <a:gd name="T19" fmla="*/ 104 h 275"/>
              <a:gd name="T20" fmla="*/ 6 w 288"/>
              <a:gd name="T21" fmla="*/ 102 h 275"/>
              <a:gd name="T22" fmla="*/ 6 w 288"/>
              <a:gd name="T23" fmla="*/ 102 h 275"/>
              <a:gd name="T24" fmla="*/ 152 w 288"/>
              <a:gd name="T25" fmla="*/ 102 h 275"/>
              <a:gd name="T26" fmla="*/ 106 w 288"/>
              <a:gd name="T27" fmla="*/ 52 h 275"/>
              <a:gd name="T28" fmla="*/ 106 w 288"/>
              <a:gd name="T29" fmla="*/ 44 h 275"/>
              <a:gd name="T30" fmla="*/ 147 w 288"/>
              <a:gd name="T31" fmla="*/ 2 h 275"/>
              <a:gd name="T32" fmla="*/ 156 w 288"/>
              <a:gd name="T33" fmla="*/ 2 h 275"/>
              <a:gd name="T34" fmla="*/ 287 w 288"/>
              <a:gd name="T35" fmla="*/ 134 h 275"/>
              <a:gd name="T36" fmla="*/ 288 w 288"/>
              <a:gd name="T37" fmla="*/ 138 h 275"/>
              <a:gd name="T38" fmla="*/ 287 w 288"/>
              <a:gd name="T39" fmla="*/ 142 h 275"/>
              <a:gd name="T40" fmla="*/ 156 w 288"/>
              <a:gd name="T41" fmla="*/ 273 h 275"/>
              <a:gd name="T42" fmla="*/ 151 w 288"/>
              <a:gd name="T43" fmla="*/ 275 h 275"/>
              <a:gd name="T44" fmla="*/ 118 w 288"/>
              <a:gd name="T45" fmla="*/ 227 h 275"/>
              <a:gd name="T46" fmla="*/ 151 w 288"/>
              <a:gd name="T47" fmla="*/ 260 h 275"/>
              <a:gd name="T48" fmla="*/ 274 w 288"/>
              <a:gd name="T49" fmla="*/ 138 h 275"/>
              <a:gd name="T50" fmla="*/ 151 w 288"/>
              <a:gd name="T51" fmla="*/ 15 h 275"/>
              <a:gd name="T52" fmla="*/ 118 w 288"/>
              <a:gd name="T53" fmla="*/ 48 h 275"/>
              <a:gd name="T54" fmla="*/ 170 w 288"/>
              <a:gd name="T55" fmla="*/ 104 h 275"/>
              <a:gd name="T56" fmla="*/ 171 w 288"/>
              <a:gd name="T57" fmla="*/ 110 h 275"/>
              <a:gd name="T58" fmla="*/ 166 w 288"/>
              <a:gd name="T59" fmla="*/ 114 h 275"/>
              <a:gd name="T60" fmla="*/ 166 w 288"/>
              <a:gd name="T61" fmla="*/ 114 h 275"/>
              <a:gd name="T62" fmla="*/ 12 w 288"/>
              <a:gd name="T63" fmla="*/ 114 h 275"/>
              <a:gd name="T64" fmla="*/ 12 w 288"/>
              <a:gd name="T65" fmla="*/ 162 h 275"/>
              <a:gd name="T66" fmla="*/ 165 w 288"/>
              <a:gd name="T67" fmla="*/ 162 h 275"/>
              <a:gd name="T68" fmla="*/ 171 w 288"/>
              <a:gd name="T69" fmla="*/ 165 h 275"/>
              <a:gd name="T70" fmla="*/ 170 w 288"/>
              <a:gd name="T71" fmla="*/ 172 h 275"/>
              <a:gd name="T72" fmla="*/ 118 w 288"/>
              <a:gd name="T73" fmla="*/ 227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88" h="275">
                <a:moveTo>
                  <a:pt x="151" y="275"/>
                </a:moveTo>
                <a:cubicBezTo>
                  <a:pt x="151" y="275"/>
                  <a:pt x="151" y="275"/>
                  <a:pt x="151" y="275"/>
                </a:cubicBezTo>
                <a:cubicBezTo>
                  <a:pt x="150" y="275"/>
                  <a:pt x="148" y="274"/>
                  <a:pt x="147" y="273"/>
                </a:cubicBezTo>
                <a:cubicBezTo>
                  <a:pt x="106" y="232"/>
                  <a:pt x="106" y="232"/>
                  <a:pt x="106" y="232"/>
                </a:cubicBezTo>
                <a:cubicBezTo>
                  <a:pt x="103" y="229"/>
                  <a:pt x="103" y="226"/>
                  <a:pt x="106" y="223"/>
                </a:cubicBezTo>
                <a:cubicBezTo>
                  <a:pt x="151" y="174"/>
                  <a:pt x="151" y="174"/>
                  <a:pt x="151" y="174"/>
                </a:cubicBezTo>
                <a:cubicBezTo>
                  <a:pt x="6" y="174"/>
                  <a:pt x="6" y="174"/>
                  <a:pt x="6" y="174"/>
                </a:cubicBezTo>
                <a:cubicBezTo>
                  <a:pt x="3" y="174"/>
                  <a:pt x="0" y="171"/>
                  <a:pt x="0" y="168"/>
                </a:cubicBezTo>
                <a:cubicBezTo>
                  <a:pt x="0" y="108"/>
                  <a:pt x="0" y="108"/>
                  <a:pt x="0" y="108"/>
                </a:cubicBezTo>
                <a:cubicBezTo>
                  <a:pt x="0" y="106"/>
                  <a:pt x="1" y="105"/>
                  <a:pt x="2" y="104"/>
                </a:cubicBezTo>
                <a:cubicBezTo>
                  <a:pt x="3" y="102"/>
                  <a:pt x="5" y="102"/>
                  <a:pt x="6" y="102"/>
                </a:cubicBezTo>
                <a:cubicBezTo>
                  <a:pt x="6" y="102"/>
                  <a:pt x="6" y="102"/>
                  <a:pt x="6" y="102"/>
                </a:cubicBezTo>
                <a:cubicBezTo>
                  <a:pt x="152" y="102"/>
                  <a:pt x="152" y="102"/>
                  <a:pt x="152" y="102"/>
                </a:cubicBezTo>
                <a:cubicBezTo>
                  <a:pt x="106" y="52"/>
                  <a:pt x="106" y="52"/>
                  <a:pt x="106" y="52"/>
                </a:cubicBezTo>
                <a:cubicBezTo>
                  <a:pt x="103" y="50"/>
                  <a:pt x="103" y="46"/>
                  <a:pt x="106" y="44"/>
                </a:cubicBezTo>
                <a:cubicBezTo>
                  <a:pt x="147" y="2"/>
                  <a:pt x="147" y="2"/>
                  <a:pt x="147" y="2"/>
                </a:cubicBezTo>
                <a:cubicBezTo>
                  <a:pt x="149" y="0"/>
                  <a:pt x="153" y="0"/>
                  <a:pt x="156" y="2"/>
                </a:cubicBezTo>
                <a:cubicBezTo>
                  <a:pt x="287" y="134"/>
                  <a:pt x="287" y="134"/>
                  <a:pt x="287" y="134"/>
                </a:cubicBezTo>
                <a:cubicBezTo>
                  <a:pt x="288" y="135"/>
                  <a:pt x="288" y="136"/>
                  <a:pt x="288" y="138"/>
                </a:cubicBezTo>
                <a:cubicBezTo>
                  <a:pt x="288" y="139"/>
                  <a:pt x="288" y="141"/>
                  <a:pt x="287" y="142"/>
                </a:cubicBezTo>
                <a:cubicBezTo>
                  <a:pt x="156" y="273"/>
                  <a:pt x="156" y="273"/>
                  <a:pt x="156" y="273"/>
                </a:cubicBezTo>
                <a:cubicBezTo>
                  <a:pt x="154" y="274"/>
                  <a:pt x="153" y="275"/>
                  <a:pt x="151" y="275"/>
                </a:cubicBezTo>
                <a:close/>
                <a:moveTo>
                  <a:pt x="118" y="227"/>
                </a:moveTo>
                <a:cubicBezTo>
                  <a:pt x="151" y="260"/>
                  <a:pt x="151" y="260"/>
                  <a:pt x="151" y="260"/>
                </a:cubicBezTo>
                <a:cubicBezTo>
                  <a:pt x="274" y="138"/>
                  <a:pt x="274" y="138"/>
                  <a:pt x="274" y="138"/>
                </a:cubicBezTo>
                <a:cubicBezTo>
                  <a:pt x="151" y="15"/>
                  <a:pt x="151" y="15"/>
                  <a:pt x="151" y="15"/>
                </a:cubicBezTo>
                <a:cubicBezTo>
                  <a:pt x="118" y="48"/>
                  <a:pt x="118" y="48"/>
                  <a:pt x="118" y="48"/>
                </a:cubicBezTo>
                <a:cubicBezTo>
                  <a:pt x="170" y="104"/>
                  <a:pt x="170" y="104"/>
                  <a:pt x="170" y="104"/>
                </a:cubicBezTo>
                <a:cubicBezTo>
                  <a:pt x="172" y="106"/>
                  <a:pt x="172" y="108"/>
                  <a:pt x="171" y="110"/>
                </a:cubicBezTo>
                <a:cubicBezTo>
                  <a:pt x="170" y="113"/>
                  <a:pt x="168" y="114"/>
                  <a:pt x="166" y="114"/>
                </a:cubicBezTo>
                <a:cubicBezTo>
                  <a:pt x="166" y="114"/>
                  <a:pt x="166" y="114"/>
                  <a:pt x="166" y="114"/>
                </a:cubicBezTo>
                <a:cubicBezTo>
                  <a:pt x="12" y="114"/>
                  <a:pt x="12" y="114"/>
                  <a:pt x="12" y="114"/>
                </a:cubicBezTo>
                <a:cubicBezTo>
                  <a:pt x="12" y="162"/>
                  <a:pt x="12" y="162"/>
                  <a:pt x="12" y="162"/>
                </a:cubicBezTo>
                <a:cubicBezTo>
                  <a:pt x="165" y="162"/>
                  <a:pt x="165" y="162"/>
                  <a:pt x="165" y="162"/>
                </a:cubicBezTo>
                <a:cubicBezTo>
                  <a:pt x="168" y="162"/>
                  <a:pt x="170" y="163"/>
                  <a:pt x="171" y="165"/>
                </a:cubicBezTo>
                <a:cubicBezTo>
                  <a:pt x="172" y="168"/>
                  <a:pt x="171" y="170"/>
                  <a:pt x="170" y="172"/>
                </a:cubicBezTo>
                <a:lnTo>
                  <a:pt x="118" y="227"/>
                </a:lnTo>
                <a:close/>
              </a:path>
            </a:pathLst>
          </a:custGeom>
          <a:solidFill>
            <a:srgbClr val="000000"/>
          </a:solidFill>
          <a:ln>
            <a:solidFill>
              <a:schemeClr val="bg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charset="0"/>
            </a:endParaRPr>
          </a:p>
        </p:txBody>
      </p:sp>
      <p:sp>
        <p:nvSpPr>
          <p:cNvPr id="114" name="Freeform 25">
            <a:extLst>
              <a:ext uri="{FF2B5EF4-FFF2-40B4-BE49-F238E27FC236}">
                <a16:creationId xmlns:a16="http://schemas.microsoft.com/office/drawing/2014/main" id="{9CE68CFB-4264-7128-8F68-2185E61BF7FB}"/>
              </a:ext>
            </a:extLst>
          </p:cNvPr>
          <p:cNvSpPr>
            <a:spLocks noChangeAspect="1" noEditPoints="1"/>
          </p:cNvSpPr>
          <p:nvPr/>
        </p:nvSpPr>
        <p:spPr bwMode="auto">
          <a:xfrm rot="10800000">
            <a:off x="4172274" y="5888933"/>
            <a:ext cx="414486" cy="396000"/>
          </a:xfrm>
          <a:custGeom>
            <a:avLst/>
            <a:gdLst>
              <a:gd name="T0" fmla="*/ 151 w 288"/>
              <a:gd name="T1" fmla="*/ 275 h 275"/>
              <a:gd name="T2" fmla="*/ 151 w 288"/>
              <a:gd name="T3" fmla="*/ 275 h 275"/>
              <a:gd name="T4" fmla="*/ 147 w 288"/>
              <a:gd name="T5" fmla="*/ 273 h 275"/>
              <a:gd name="T6" fmla="*/ 106 w 288"/>
              <a:gd name="T7" fmla="*/ 232 h 275"/>
              <a:gd name="T8" fmla="*/ 106 w 288"/>
              <a:gd name="T9" fmla="*/ 223 h 275"/>
              <a:gd name="T10" fmla="*/ 151 w 288"/>
              <a:gd name="T11" fmla="*/ 174 h 275"/>
              <a:gd name="T12" fmla="*/ 6 w 288"/>
              <a:gd name="T13" fmla="*/ 174 h 275"/>
              <a:gd name="T14" fmla="*/ 0 w 288"/>
              <a:gd name="T15" fmla="*/ 168 h 275"/>
              <a:gd name="T16" fmla="*/ 0 w 288"/>
              <a:gd name="T17" fmla="*/ 108 h 275"/>
              <a:gd name="T18" fmla="*/ 2 w 288"/>
              <a:gd name="T19" fmla="*/ 104 h 275"/>
              <a:gd name="T20" fmla="*/ 6 w 288"/>
              <a:gd name="T21" fmla="*/ 102 h 275"/>
              <a:gd name="T22" fmla="*/ 6 w 288"/>
              <a:gd name="T23" fmla="*/ 102 h 275"/>
              <a:gd name="T24" fmla="*/ 152 w 288"/>
              <a:gd name="T25" fmla="*/ 102 h 275"/>
              <a:gd name="T26" fmla="*/ 106 w 288"/>
              <a:gd name="T27" fmla="*/ 52 h 275"/>
              <a:gd name="T28" fmla="*/ 106 w 288"/>
              <a:gd name="T29" fmla="*/ 44 h 275"/>
              <a:gd name="T30" fmla="*/ 147 w 288"/>
              <a:gd name="T31" fmla="*/ 2 h 275"/>
              <a:gd name="T32" fmla="*/ 156 w 288"/>
              <a:gd name="T33" fmla="*/ 2 h 275"/>
              <a:gd name="T34" fmla="*/ 287 w 288"/>
              <a:gd name="T35" fmla="*/ 134 h 275"/>
              <a:gd name="T36" fmla="*/ 288 w 288"/>
              <a:gd name="T37" fmla="*/ 138 h 275"/>
              <a:gd name="T38" fmla="*/ 287 w 288"/>
              <a:gd name="T39" fmla="*/ 142 h 275"/>
              <a:gd name="T40" fmla="*/ 156 w 288"/>
              <a:gd name="T41" fmla="*/ 273 h 275"/>
              <a:gd name="T42" fmla="*/ 151 w 288"/>
              <a:gd name="T43" fmla="*/ 275 h 275"/>
              <a:gd name="T44" fmla="*/ 118 w 288"/>
              <a:gd name="T45" fmla="*/ 227 h 275"/>
              <a:gd name="T46" fmla="*/ 151 w 288"/>
              <a:gd name="T47" fmla="*/ 260 h 275"/>
              <a:gd name="T48" fmla="*/ 274 w 288"/>
              <a:gd name="T49" fmla="*/ 138 h 275"/>
              <a:gd name="T50" fmla="*/ 151 w 288"/>
              <a:gd name="T51" fmla="*/ 15 h 275"/>
              <a:gd name="T52" fmla="*/ 118 w 288"/>
              <a:gd name="T53" fmla="*/ 48 h 275"/>
              <a:gd name="T54" fmla="*/ 170 w 288"/>
              <a:gd name="T55" fmla="*/ 104 h 275"/>
              <a:gd name="T56" fmla="*/ 171 w 288"/>
              <a:gd name="T57" fmla="*/ 110 h 275"/>
              <a:gd name="T58" fmla="*/ 166 w 288"/>
              <a:gd name="T59" fmla="*/ 114 h 275"/>
              <a:gd name="T60" fmla="*/ 166 w 288"/>
              <a:gd name="T61" fmla="*/ 114 h 275"/>
              <a:gd name="T62" fmla="*/ 12 w 288"/>
              <a:gd name="T63" fmla="*/ 114 h 275"/>
              <a:gd name="T64" fmla="*/ 12 w 288"/>
              <a:gd name="T65" fmla="*/ 162 h 275"/>
              <a:gd name="T66" fmla="*/ 165 w 288"/>
              <a:gd name="T67" fmla="*/ 162 h 275"/>
              <a:gd name="T68" fmla="*/ 171 w 288"/>
              <a:gd name="T69" fmla="*/ 165 h 275"/>
              <a:gd name="T70" fmla="*/ 170 w 288"/>
              <a:gd name="T71" fmla="*/ 172 h 275"/>
              <a:gd name="T72" fmla="*/ 118 w 288"/>
              <a:gd name="T73" fmla="*/ 227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88" h="275">
                <a:moveTo>
                  <a:pt x="151" y="275"/>
                </a:moveTo>
                <a:cubicBezTo>
                  <a:pt x="151" y="275"/>
                  <a:pt x="151" y="275"/>
                  <a:pt x="151" y="275"/>
                </a:cubicBezTo>
                <a:cubicBezTo>
                  <a:pt x="150" y="275"/>
                  <a:pt x="148" y="274"/>
                  <a:pt x="147" y="273"/>
                </a:cubicBezTo>
                <a:cubicBezTo>
                  <a:pt x="106" y="232"/>
                  <a:pt x="106" y="232"/>
                  <a:pt x="106" y="232"/>
                </a:cubicBezTo>
                <a:cubicBezTo>
                  <a:pt x="103" y="229"/>
                  <a:pt x="103" y="226"/>
                  <a:pt x="106" y="223"/>
                </a:cubicBezTo>
                <a:cubicBezTo>
                  <a:pt x="151" y="174"/>
                  <a:pt x="151" y="174"/>
                  <a:pt x="151" y="174"/>
                </a:cubicBezTo>
                <a:cubicBezTo>
                  <a:pt x="6" y="174"/>
                  <a:pt x="6" y="174"/>
                  <a:pt x="6" y="174"/>
                </a:cubicBezTo>
                <a:cubicBezTo>
                  <a:pt x="3" y="174"/>
                  <a:pt x="0" y="171"/>
                  <a:pt x="0" y="168"/>
                </a:cubicBezTo>
                <a:cubicBezTo>
                  <a:pt x="0" y="108"/>
                  <a:pt x="0" y="108"/>
                  <a:pt x="0" y="108"/>
                </a:cubicBezTo>
                <a:cubicBezTo>
                  <a:pt x="0" y="106"/>
                  <a:pt x="1" y="105"/>
                  <a:pt x="2" y="104"/>
                </a:cubicBezTo>
                <a:cubicBezTo>
                  <a:pt x="3" y="102"/>
                  <a:pt x="5" y="102"/>
                  <a:pt x="6" y="102"/>
                </a:cubicBezTo>
                <a:cubicBezTo>
                  <a:pt x="6" y="102"/>
                  <a:pt x="6" y="102"/>
                  <a:pt x="6" y="102"/>
                </a:cubicBezTo>
                <a:cubicBezTo>
                  <a:pt x="152" y="102"/>
                  <a:pt x="152" y="102"/>
                  <a:pt x="152" y="102"/>
                </a:cubicBezTo>
                <a:cubicBezTo>
                  <a:pt x="106" y="52"/>
                  <a:pt x="106" y="52"/>
                  <a:pt x="106" y="52"/>
                </a:cubicBezTo>
                <a:cubicBezTo>
                  <a:pt x="103" y="50"/>
                  <a:pt x="103" y="46"/>
                  <a:pt x="106" y="44"/>
                </a:cubicBezTo>
                <a:cubicBezTo>
                  <a:pt x="147" y="2"/>
                  <a:pt x="147" y="2"/>
                  <a:pt x="147" y="2"/>
                </a:cubicBezTo>
                <a:cubicBezTo>
                  <a:pt x="149" y="0"/>
                  <a:pt x="153" y="0"/>
                  <a:pt x="156" y="2"/>
                </a:cubicBezTo>
                <a:cubicBezTo>
                  <a:pt x="287" y="134"/>
                  <a:pt x="287" y="134"/>
                  <a:pt x="287" y="134"/>
                </a:cubicBezTo>
                <a:cubicBezTo>
                  <a:pt x="288" y="135"/>
                  <a:pt x="288" y="136"/>
                  <a:pt x="288" y="138"/>
                </a:cubicBezTo>
                <a:cubicBezTo>
                  <a:pt x="288" y="139"/>
                  <a:pt x="288" y="141"/>
                  <a:pt x="287" y="142"/>
                </a:cubicBezTo>
                <a:cubicBezTo>
                  <a:pt x="156" y="273"/>
                  <a:pt x="156" y="273"/>
                  <a:pt x="156" y="273"/>
                </a:cubicBezTo>
                <a:cubicBezTo>
                  <a:pt x="154" y="274"/>
                  <a:pt x="153" y="275"/>
                  <a:pt x="151" y="275"/>
                </a:cubicBezTo>
                <a:close/>
                <a:moveTo>
                  <a:pt x="118" y="227"/>
                </a:moveTo>
                <a:cubicBezTo>
                  <a:pt x="151" y="260"/>
                  <a:pt x="151" y="260"/>
                  <a:pt x="151" y="260"/>
                </a:cubicBezTo>
                <a:cubicBezTo>
                  <a:pt x="274" y="138"/>
                  <a:pt x="274" y="138"/>
                  <a:pt x="274" y="138"/>
                </a:cubicBezTo>
                <a:cubicBezTo>
                  <a:pt x="151" y="15"/>
                  <a:pt x="151" y="15"/>
                  <a:pt x="151" y="15"/>
                </a:cubicBezTo>
                <a:cubicBezTo>
                  <a:pt x="118" y="48"/>
                  <a:pt x="118" y="48"/>
                  <a:pt x="118" y="48"/>
                </a:cubicBezTo>
                <a:cubicBezTo>
                  <a:pt x="170" y="104"/>
                  <a:pt x="170" y="104"/>
                  <a:pt x="170" y="104"/>
                </a:cubicBezTo>
                <a:cubicBezTo>
                  <a:pt x="172" y="106"/>
                  <a:pt x="172" y="108"/>
                  <a:pt x="171" y="110"/>
                </a:cubicBezTo>
                <a:cubicBezTo>
                  <a:pt x="170" y="113"/>
                  <a:pt x="168" y="114"/>
                  <a:pt x="166" y="114"/>
                </a:cubicBezTo>
                <a:cubicBezTo>
                  <a:pt x="166" y="114"/>
                  <a:pt x="166" y="114"/>
                  <a:pt x="166" y="114"/>
                </a:cubicBezTo>
                <a:cubicBezTo>
                  <a:pt x="12" y="114"/>
                  <a:pt x="12" y="114"/>
                  <a:pt x="12" y="114"/>
                </a:cubicBezTo>
                <a:cubicBezTo>
                  <a:pt x="12" y="162"/>
                  <a:pt x="12" y="162"/>
                  <a:pt x="12" y="162"/>
                </a:cubicBezTo>
                <a:cubicBezTo>
                  <a:pt x="165" y="162"/>
                  <a:pt x="165" y="162"/>
                  <a:pt x="165" y="162"/>
                </a:cubicBezTo>
                <a:cubicBezTo>
                  <a:pt x="168" y="162"/>
                  <a:pt x="170" y="163"/>
                  <a:pt x="171" y="165"/>
                </a:cubicBezTo>
                <a:cubicBezTo>
                  <a:pt x="172" y="168"/>
                  <a:pt x="171" y="170"/>
                  <a:pt x="170" y="172"/>
                </a:cubicBezTo>
                <a:lnTo>
                  <a:pt x="118" y="227"/>
                </a:lnTo>
                <a:close/>
              </a:path>
            </a:pathLst>
          </a:custGeom>
          <a:solidFill>
            <a:srgbClr val="A100FF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charset="0"/>
            </a:endParaRPr>
          </a:p>
        </p:txBody>
      </p:sp>
      <p:sp>
        <p:nvSpPr>
          <p:cNvPr id="115" name="Freeform 134">
            <a:extLst>
              <a:ext uri="{FF2B5EF4-FFF2-40B4-BE49-F238E27FC236}">
                <a16:creationId xmlns:a16="http://schemas.microsoft.com/office/drawing/2014/main" id="{B775CC36-B760-635C-3918-5D799700A27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57619" y="5484282"/>
            <a:ext cx="582992" cy="572231"/>
          </a:xfrm>
          <a:custGeom>
            <a:avLst/>
            <a:gdLst>
              <a:gd name="T0" fmla="*/ 99 w 132"/>
              <a:gd name="T1" fmla="*/ 55 h 127"/>
              <a:gd name="T2" fmla="*/ 110 w 132"/>
              <a:gd name="T3" fmla="*/ 11 h 127"/>
              <a:gd name="T4" fmla="*/ 33 w 132"/>
              <a:gd name="T5" fmla="*/ 0 h 127"/>
              <a:gd name="T6" fmla="*/ 22 w 132"/>
              <a:gd name="T7" fmla="*/ 44 h 127"/>
              <a:gd name="T8" fmla="*/ 27 w 132"/>
              <a:gd name="T9" fmla="*/ 11 h 127"/>
              <a:gd name="T10" fmla="*/ 99 w 132"/>
              <a:gd name="T11" fmla="*/ 6 h 127"/>
              <a:gd name="T12" fmla="*/ 105 w 132"/>
              <a:gd name="T13" fmla="*/ 44 h 127"/>
              <a:gd name="T14" fmla="*/ 33 w 132"/>
              <a:gd name="T15" fmla="*/ 50 h 127"/>
              <a:gd name="T16" fmla="*/ 27 w 132"/>
              <a:gd name="T17" fmla="*/ 11 h 127"/>
              <a:gd name="T18" fmla="*/ 55 w 132"/>
              <a:gd name="T19" fmla="*/ 28 h 127"/>
              <a:gd name="T20" fmla="*/ 33 w 132"/>
              <a:gd name="T21" fmla="*/ 28 h 127"/>
              <a:gd name="T22" fmla="*/ 44 w 132"/>
              <a:gd name="T23" fmla="*/ 22 h 127"/>
              <a:gd name="T24" fmla="*/ 44 w 132"/>
              <a:gd name="T25" fmla="*/ 33 h 127"/>
              <a:gd name="T26" fmla="*/ 44 w 132"/>
              <a:gd name="T27" fmla="*/ 22 h 127"/>
              <a:gd name="T28" fmla="*/ 99 w 132"/>
              <a:gd name="T29" fmla="*/ 28 h 127"/>
              <a:gd name="T30" fmla="*/ 77 w 132"/>
              <a:gd name="T31" fmla="*/ 28 h 127"/>
              <a:gd name="T32" fmla="*/ 88 w 132"/>
              <a:gd name="T33" fmla="*/ 22 h 127"/>
              <a:gd name="T34" fmla="*/ 88 w 132"/>
              <a:gd name="T35" fmla="*/ 33 h 127"/>
              <a:gd name="T36" fmla="*/ 88 w 132"/>
              <a:gd name="T37" fmla="*/ 22 h 127"/>
              <a:gd name="T38" fmla="*/ 74 w 132"/>
              <a:gd name="T39" fmla="*/ 66 h 127"/>
              <a:gd name="T40" fmla="*/ 55 w 132"/>
              <a:gd name="T41" fmla="*/ 64 h 127"/>
              <a:gd name="T42" fmla="*/ 74 w 132"/>
              <a:gd name="T43" fmla="*/ 61 h 127"/>
              <a:gd name="T44" fmla="*/ 77 w 132"/>
              <a:gd name="T45" fmla="*/ 75 h 127"/>
              <a:gd name="T46" fmla="*/ 58 w 132"/>
              <a:gd name="T47" fmla="*/ 77 h 127"/>
              <a:gd name="T48" fmla="*/ 58 w 132"/>
              <a:gd name="T49" fmla="*/ 72 h 127"/>
              <a:gd name="T50" fmla="*/ 77 w 132"/>
              <a:gd name="T51" fmla="*/ 75 h 127"/>
              <a:gd name="T52" fmla="*/ 129 w 132"/>
              <a:gd name="T53" fmla="*/ 51 h 127"/>
              <a:gd name="T54" fmla="*/ 124 w 132"/>
              <a:gd name="T55" fmla="*/ 54 h 127"/>
              <a:gd name="T56" fmla="*/ 116 w 132"/>
              <a:gd name="T57" fmla="*/ 72 h 127"/>
              <a:gd name="T58" fmla="*/ 103 w 132"/>
              <a:gd name="T59" fmla="*/ 67 h 127"/>
              <a:gd name="T60" fmla="*/ 116 w 132"/>
              <a:gd name="T61" fmla="*/ 77 h 127"/>
              <a:gd name="T62" fmla="*/ 121 w 132"/>
              <a:gd name="T63" fmla="*/ 86 h 127"/>
              <a:gd name="T64" fmla="*/ 110 w 132"/>
              <a:gd name="T65" fmla="*/ 86 h 127"/>
              <a:gd name="T66" fmla="*/ 107 w 132"/>
              <a:gd name="T67" fmla="*/ 83 h 127"/>
              <a:gd name="T68" fmla="*/ 23 w 132"/>
              <a:gd name="T69" fmla="*/ 84 h 127"/>
              <a:gd name="T70" fmla="*/ 24 w 132"/>
              <a:gd name="T71" fmla="*/ 96 h 127"/>
              <a:gd name="T72" fmla="*/ 13 w 132"/>
              <a:gd name="T73" fmla="*/ 77 h 127"/>
              <a:gd name="T74" fmla="*/ 30 w 132"/>
              <a:gd name="T75" fmla="*/ 71 h 127"/>
              <a:gd name="T76" fmla="*/ 25 w 132"/>
              <a:gd name="T77" fmla="*/ 68 h 127"/>
              <a:gd name="T78" fmla="*/ 5 w 132"/>
              <a:gd name="T79" fmla="*/ 61 h 127"/>
              <a:gd name="T80" fmla="*/ 7 w 132"/>
              <a:gd name="T81" fmla="*/ 50 h 127"/>
              <a:gd name="T82" fmla="*/ 0 w 132"/>
              <a:gd name="T83" fmla="*/ 61 h 127"/>
              <a:gd name="T84" fmla="*/ 5 w 132"/>
              <a:gd name="T85" fmla="*/ 87 h 127"/>
              <a:gd name="T86" fmla="*/ 26 w 132"/>
              <a:gd name="T87" fmla="*/ 104 h 127"/>
              <a:gd name="T88" fmla="*/ 30 w 132"/>
              <a:gd name="T89" fmla="*/ 125 h 127"/>
              <a:gd name="T90" fmla="*/ 47 w 132"/>
              <a:gd name="T91" fmla="*/ 127 h 127"/>
              <a:gd name="T92" fmla="*/ 99 w 132"/>
              <a:gd name="T93" fmla="*/ 127 h 127"/>
              <a:gd name="T94" fmla="*/ 106 w 132"/>
              <a:gd name="T95" fmla="*/ 104 h 127"/>
              <a:gd name="T96" fmla="*/ 126 w 132"/>
              <a:gd name="T97" fmla="*/ 89 h 127"/>
              <a:gd name="T98" fmla="*/ 124 w 132"/>
              <a:gd name="T99" fmla="*/ 75 h 127"/>
              <a:gd name="T100" fmla="*/ 49 w 132"/>
              <a:gd name="T101" fmla="*/ 122 h 127"/>
              <a:gd name="T102" fmla="*/ 83 w 132"/>
              <a:gd name="T103" fmla="*/ 105 h 127"/>
              <a:gd name="T104" fmla="*/ 49 w 132"/>
              <a:gd name="T105" fmla="*/ 122 h 127"/>
              <a:gd name="T106" fmla="*/ 88 w 132"/>
              <a:gd name="T107" fmla="*/ 122 h 127"/>
              <a:gd name="T108" fmla="*/ 85 w 132"/>
              <a:gd name="T109" fmla="*/ 100 h 127"/>
              <a:gd name="T110" fmla="*/ 44 w 132"/>
              <a:gd name="T111" fmla="*/ 102 h 127"/>
              <a:gd name="T112" fmla="*/ 35 w 132"/>
              <a:gd name="T113" fmla="*/ 122 h 127"/>
              <a:gd name="T114" fmla="*/ 104 w 132"/>
              <a:gd name="T115" fmla="*/ 88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32" h="127">
                <a:moveTo>
                  <a:pt x="33" y="55"/>
                </a:moveTo>
                <a:cubicBezTo>
                  <a:pt x="99" y="55"/>
                  <a:pt x="99" y="55"/>
                  <a:pt x="99" y="55"/>
                </a:cubicBezTo>
                <a:cubicBezTo>
                  <a:pt x="105" y="55"/>
                  <a:pt x="110" y="51"/>
                  <a:pt x="110" y="44"/>
                </a:cubicBezTo>
                <a:cubicBezTo>
                  <a:pt x="110" y="11"/>
                  <a:pt x="110" y="11"/>
                  <a:pt x="110" y="11"/>
                </a:cubicBezTo>
                <a:cubicBezTo>
                  <a:pt x="110" y="5"/>
                  <a:pt x="105" y="0"/>
                  <a:pt x="99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27" y="0"/>
                  <a:pt x="22" y="5"/>
                  <a:pt x="22" y="11"/>
                </a:cubicBezTo>
                <a:cubicBezTo>
                  <a:pt x="22" y="44"/>
                  <a:pt x="22" y="44"/>
                  <a:pt x="22" y="44"/>
                </a:cubicBezTo>
                <a:cubicBezTo>
                  <a:pt x="22" y="51"/>
                  <a:pt x="27" y="55"/>
                  <a:pt x="33" y="55"/>
                </a:cubicBezTo>
                <a:close/>
                <a:moveTo>
                  <a:pt x="27" y="11"/>
                </a:moveTo>
                <a:cubicBezTo>
                  <a:pt x="27" y="8"/>
                  <a:pt x="30" y="6"/>
                  <a:pt x="33" y="6"/>
                </a:cubicBezTo>
                <a:cubicBezTo>
                  <a:pt x="99" y="6"/>
                  <a:pt x="99" y="6"/>
                  <a:pt x="99" y="6"/>
                </a:cubicBezTo>
                <a:cubicBezTo>
                  <a:pt x="102" y="6"/>
                  <a:pt x="105" y="8"/>
                  <a:pt x="105" y="11"/>
                </a:cubicBezTo>
                <a:cubicBezTo>
                  <a:pt x="105" y="44"/>
                  <a:pt x="105" y="44"/>
                  <a:pt x="105" y="44"/>
                </a:cubicBezTo>
                <a:cubicBezTo>
                  <a:pt x="105" y="47"/>
                  <a:pt x="102" y="50"/>
                  <a:pt x="99" y="50"/>
                </a:cubicBezTo>
                <a:cubicBezTo>
                  <a:pt x="33" y="50"/>
                  <a:pt x="33" y="50"/>
                  <a:pt x="33" y="50"/>
                </a:cubicBezTo>
                <a:cubicBezTo>
                  <a:pt x="30" y="50"/>
                  <a:pt x="27" y="47"/>
                  <a:pt x="27" y="44"/>
                </a:cubicBezTo>
                <a:lnTo>
                  <a:pt x="27" y="11"/>
                </a:lnTo>
                <a:close/>
                <a:moveTo>
                  <a:pt x="44" y="39"/>
                </a:moveTo>
                <a:cubicBezTo>
                  <a:pt x="50" y="39"/>
                  <a:pt x="55" y="34"/>
                  <a:pt x="55" y="28"/>
                </a:cubicBezTo>
                <a:cubicBezTo>
                  <a:pt x="55" y="22"/>
                  <a:pt x="50" y="17"/>
                  <a:pt x="44" y="17"/>
                </a:cubicBezTo>
                <a:cubicBezTo>
                  <a:pt x="38" y="17"/>
                  <a:pt x="33" y="22"/>
                  <a:pt x="33" y="28"/>
                </a:cubicBezTo>
                <a:cubicBezTo>
                  <a:pt x="33" y="34"/>
                  <a:pt x="38" y="39"/>
                  <a:pt x="44" y="39"/>
                </a:cubicBezTo>
                <a:close/>
                <a:moveTo>
                  <a:pt x="44" y="22"/>
                </a:moveTo>
                <a:cubicBezTo>
                  <a:pt x="47" y="22"/>
                  <a:pt x="49" y="25"/>
                  <a:pt x="49" y="28"/>
                </a:cubicBezTo>
                <a:cubicBezTo>
                  <a:pt x="49" y="31"/>
                  <a:pt x="47" y="33"/>
                  <a:pt x="44" y="33"/>
                </a:cubicBezTo>
                <a:cubicBezTo>
                  <a:pt x="41" y="33"/>
                  <a:pt x="38" y="31"/>
                  <a:pt x="38" y="28"/>
                </a:cubicBezTo>
                <a:cubicBezTo>
                  <a:pt x="38" y="25"/>
                  <a:pt x="41" y="22"/>
                  <a:pt x="44" y="22"/>
                </a:cubicBezTo>
                <a:close/>
                <a:moveTo>
                  <a:pt x="88" y="39"/>
                </a:moveTo>
                <a:cubicBezTo>
                  <a:pt x="94" y="39"/>
                  <a:pt x="99" y="34"/>
                  <a:pt x="99" y="28"/>
                </a:cubicBezTo>
                <a:cubicBezTo>
                  <a:pt x="99" y="22"/>
                  <a:pt x="94" y="17"/>
                  <a:pt x="88" y="17"/>
                </a:cubicBezTo>
                <a:cubicBezTo>
                  <a:pt x="82" y="17"/>
                  <a:pt x="77" y="22"/>
                  <a:pt x="77" y="28"/>
                </a:cubicBezTo>
                <a:cubicBezTo>
                  <a:pt x="77" y="34"/>
                  <a:pt x="82" y="39"/>
                  <a:pt x="88" y="39"/>
                </a:cubicBezTo>
                <a:close/>
                <a:moveTo>
                  <a:pt x="88" y="22"/>
                </a:moveTo>
                <a:cubicBezTo>
                  <a:pt x="91" y="22"/>
                  <a:pt x="94" y="25"/>
                  <a:pt x="94" y="28"/>
                </a:cubicBezTo>
                <a:cubicBezTo>
                  <a:pt x="94" y="31"/>
                  <a:pt x="91" y="33"/>
                  <a:pt x="88" y="33"/>
                </a:cubicBezTo>
                <a:cubicBezTo>
                  <a:pt x="85" y="33"/>
                  <a:pt x="83" y="31"/>
                  <a:pt x="83" y="28"/>
                </a:cubicBezTo>
                <a:cubicBezTo>
                  <a:pt x="83" y="25"/>
                  <a:pt x="85" y="22"/>
                  <a:pt x="88" y="22"/>
                </a:cubicBezTo>
                <a:close/>
                <a:moveTo>
                  <a:pt x="77" y="64"/>
                </a:moveTo>
                <a:cubicBezTo>
                  <a:pt x="77" y="65"/>
                  <a:pt x="76" y="66"/>
                  <a:pt x="74" y="66"/>
                </a:cubicBezTo>
                <a:cubicBezTo>
                  <a:pt x="58" y="66"/>
                  <a:pt x="58" y="66"/>
                  <a:pt x="58" y="66"/>
                </a:cubicBezTo>
                <a:cubicBezTo>
                  <a:pt x="56" y="66"/>
                  <a:pt x="55" y="65"/>
                  <a:pt x="55" y="64"/>
                </a:cubicBezTo>
                <a:cubicBezTo>
                  <a:pt x="55" y="62"/>
                  <a:pt x="56" y="61"/>
                  <a:pt x="58" y="61"/>
                </a:cubicBezTo>
                <a:cubicBezTo>
                  <a:pt x="74" y="61"/>
                  <a:pt x="74" y="61"/>
                  <a:pt x="74" y="61"/>
                </a:cubicBezTo>
                <a:cubicBezTo>
                  <a:pt x="76" y="61"/>
                  <a:pt x="77" y="62"/>
                  <a:pt x="77" y="64"/>
                </a:cubicBezTo>
                <a:close/>
                <a:moveTo>
                  <a:pt x="77" y="75"/>
                </a:moveTo>
                <a:cubicBezTo>
                  <a:pt x="77" y="76"/>
                  <a:pt x="76" y="77"/>
                  <a:pt x="74" y="77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7"/>
                  <a:pt x="55" y="76"/>
                  <a:pt x="55" y="75"/>
                </a:cubicBezTo>
                <a:cubicBezTo>
                  <a:pt x="55" y="73"/>
                  <a:pt x="56" y="72"/>
                  <a:pt x="58" y="72"/>
                </a:cubicBezTo>
                <a:cubicBezTo>
                  <a:pt x="74" y="72"/>
                  <a:pt x="74" y="72"/>
                  <a:pt x="74" y="72"/>
                </a:cubicBezTo>
                <a:cubicBezTo>
                  <a:pt x="76" y="72"/>
                  <a:pt x="77" y="73"/>
                  <a:pt x="77" y="75"/>
                </a:cubicBezTo>
                <a:close/>
                <a:moveTo>
                  <a:pt x="132" y="61"/>
                </a:moveTo>
                <a:cubicBezTo>
                  <a:pt x="132" y="57"/>
                  <a:pt x="131" y="54"/>
                  <a:pt x="129" y="51"/>
                </a:cubicBezTo>
                <a:cubicBezTo>
                  <a:pt x="128" y="50"/>
                  <a:pt x="126" y="50"/>
                  <a:pt x="125" y="50"/>
                </a:cubicBezTo>
                <a:cubicBezTo>
                  <a:pt x="124" y="51"/>
                  <a:pt x="123" y="53"/>
                  <a:pt x="124" y="54"/>
                </a:cubicBezTo>
                <a:cubicBezTo>
                  <a:pt x="126" y="56"/>
                  <a:pt x="127" y="59"/>
                  <a:pt x="127" y="61"/>
                </a:cubicBezTo>
                <a:cubicBezTo>
                  <a:pt x="127" y="67"/>
                  <a:pt x="122" y="72"/>
                  <a:pt x="116" y="72"/>
                </a:cubicBezTo>
                <a:cubicBezTo>
                  <a:pt x="112" y="72"/>
                  <a:pt x="109" y="70"/>
                  <a:pt x="107" y="68"/>
                </a:cubicBezTo>
                <a:cubicBezTo>
                  <a:pt x="106" y="66"/>
                  <a:pt x="104" y="66"/>
                  <a:pt x="103" y="67"/>
                </a:cubicBezTo>
                <a:cubicBezTo>
                  <a:pt x="102" y="68"/>
                  <a:pt x="101" y="70"/>
                  <a:pt x="102" y="71"/>
                </a:cubicBezTo>
                <a:cubicBezTo>
                  <a:pt x="106" y="75"/>
                  <a:pt x="110" y="77"/>
                  <a:pt x="116" y="77"/>
                </a:cubicBezTo>
                <a:cubicBezTo>
                  <a:pt x="117" y="77"/>
                  <a:pt x="118" y="77"/>
                  <a:pt x="119" y="77"/>
                </a:cubicBezTo>
                <a:cubicBezTo>
                  <a:pt x="121" y="86"/>
                  <a:pt x="121" y="86"/>
                  <a:pt x="121" y="86"/>
                </a:cubicBezTo>
                <a:cubicBezTo>
                  <a:pt x="108" y="96"/>
                  <a:pt x="108" y="96"/>
                  <a:pt x="108" y="96"/>
                </a:cubicBezTo>
                <a:cubicBezTo>
                  <a:pt x="110" y="86"/>
                  <a:pt x="110" y="86"/>
                  <a:pt x="110" y="86"/>
                </a:cubicBezTo>
                <a:cubicBezTo>
                  <a:pt x="110" y="86"/>
                  <a:pt x="110" y="85"/>
                  <a:pt x="109" y="84"/>
                </a:cubicBezTo>
                <a:cubicBezTo>
                  <a:pt x="109" y="83"/>
                  <a:pt x="108" y="83"/>
                  <a:pt x="107" y="83"/>
                </a:cubicBezTo>
                <a:cubicBezTo>
                  <a:pt x="25" y="83"/>
                  <a:pt x="25" y="83"/>
                  <a:pt x="25" y="83"/>
                </a:cubicBezTo>
                <a:cubicBezTo>
                  <a:pt x="24" y="83"/>
                  <a:pt x="23" y="83"/>
                  <a:pt x="23" y="84"/>
                </a:cubicBezTo>
                <a:cubicBezTo>
                  <a:pt x="22" y="85"/>
                  <a:pt x="22" y="86"/>
                  <a:pt x="22" y="86"/>
                </a:cubicBezTo>
                <a:cubicBezTo>
                  <a:pt x="24" y="96"/>
                  <a:pt x="24" y="96"/>
                  <a:pt x="24" y="96"/>
                </a:cubicBezTo>
                <a:cubicBezTo>
                  <a:pt x="11" y="86"/>
                  <a:pt x="11" y="86"/>
                  <a:pt x="11" y="86"/>
                </a:cubicBezTo>
                <a:cubicBezTo>
                  <a:pt x="13" y="77"/>
                  <a:pt x="13" y="77"/>
                  <a:pt x="13" y="77"/>
                </a:cubicBezTo>
                <a:cubicBezTo>
                  <a:pt x="14" y="77"/>
                  <a:pt x="15" y="77"/>
                  <a:pt x="16" y="77"/>
                </a:cubicBezTo>
                <a:cubicBezTo>
                  <a:pt x="22" y="77"/>
                  <a:pt x="26" y="75"/>
                  <a:pt x="30" y="71"/>
                </a:cubicBezTo>
                <a:cubicBezTo>
                  <a:pt x="31" y="70"/>
                  <a:pt x="30" y="68"/>
                  <a:pt x="29" y="67"/>
                </a:cubicBezTo>
                <a:cubicBezTo>
                  <a:pt x="28" y="66"/>
                  <a:pt x="26" y="66"/>
                  <a:pt x="25" y="68"/>
                </a:cubicBezTo>
                <a:cubicBezTo>
                  <a:pt x="23" y="70"/>
                  <a:pt x="20" y="72"/>
                  <a:pt x="16" y="72"/>
                </a:cubicBezTo>
                <a:cubicBezTo>
                  <a:pt x="10" y="72"/>
                  <a:pt x="5" y="67"/>
                  <a:pt x="5" y="61"/>
                </a:cubicBezTo>
                <a:cubicBezTo>
                  <a:pt x="5" y="59"/>
                  <a:pt x="6" y="56"/>
                  <a:pt x="8" y="54"/>
                </a:cubicBezTo>
                <a:cubicBezTo>
                  <a:pt x="9" y="53"/>
                  <a:pt x="8" y="51"/>
                  <a:pt x="7" y="50"/>
                </a:cubicBezTo>
                <a:cubicBezTo>
                  <a:pt x="6" y="50"/>
                  <a:pt x="4" y="50"/>
                  <a:pt x="3" y="51"/>
                </a:cubicBezTo>
                <a:cubicBezTo>
                  <a:pt x="1" y="54"/>
                  <a:pt x="0" y="57"/>
                  <a:pt x="0" y="61"/>
                </a:cubicBezTo>
                <a:cubicBezTo>
                  <a:pt x="0" y="67"/>
                  <a:pt x="3" y="72"/>
                  <a:pt x="8" y="75"/>
                </a:cubicBezTo>
                <a:cubicBezTo>
                  <a:pt x="5" y="87"/>
                  <a:pt x="5" y="87"/>
                  <a:pt x="5" y="87"/>
                </a:cubicBezTo>
                <a:cubicBezTo>
                  <a:pt x="5" y="88"/>
                  <a:pt x="6" y="89"/>
                  <a:pt x="6" y="89"/>
                </a:cubicBezTo>
                <a:cubicBezTo>
                  <a:pt x="26" y="104"/>
                  <a:pt x="26" y="104"/>
                  <a:pt x="26" y="104"/>
                </a:cubicBezTo>
                <a:cubicBezTo>
                  <a:pt x="26" y="104"/>
                  <a:pt x="26" y="104"/>
                  <a:pt x="26" y="104"/>
                </a:cubicBezTo>
                <a:cubicBezTo>
                  <a:pt x="30" y="125"/>
                  <a:pt x="30" y="125"/>
                  <a:pt x="30" y="125"/>
                </a:cubicBezTo>
                <a:cubicBezTo>
                  <a:pt x="31" y="126"/>
                  <a:pt x="32" y="127"/>
                  <a:pt x="33" y="127"/>
                </a:cubicBezTo>
                <a:cubicBezTo>
                  <a:pt x="47" y="127"/>
                  <a:pt x="47" y="127"/>
                  <a:pt x="47" y="127"/>
                </a:cubicBezTo>
                <a:cubicBezTo>
                  <a:pt x="85" y="127"/>
                  <a:pt x="85" y="127"/>
                  <a:pt x="85" y="127"/>
                </a:cubicBezTo>
                <a:cubicBezTo>
                  <a:pt x="99" y="127"/>
                  <a:pt x="99" y="127"/>
                  <a:pt x="99" y="127"/>
                </a:cubicBezTo>
                <a:cubicBezTo>
                  <a:pt x="100" y="127"/>
                  <a:pt x="101" y="126"/>
                  <a:pt x="102" y="125"/>
                </a:cubicBezTo>
                <a:cubicBezTo>
                  <a:pt x="106" y="104"/>
                  <a:pt x="106" y="104"/>
                  <a:pt x="106" y="104"/>
                </a:cubicBezTo>
                <a:cubicBezTo>
                  <a:pt x="106" y="104"/>
                  <a:pt x="106" y="104"/>
                  <a:pt x="106" y="104"/>
                </a:cubicBezTo>
                <a:cubicBezTo>
                  <a:pt x="126" y="89"/>
                  <a:pt x="126" y="89"/>
                  <a:pt x="126" y="89"/>
                </a:cubicBezTo>
                <a:cubicBezTo>
                  <a:pt x="126" y="89"/>
                  <a:pt x="127" y="88"/>
                  <a:pt x="127" y="87"/>
                </a:cubicBezTo>
                <a:cubicBezTo>
                  <a:pt x="124" y="75"/>
                  <a:pt x="124" y="75"/>
                  <a:pt x="124" y="75"/>
                </a:cubicBezTo>
                <a:cubicBezTo>
                  <a:pt x="129" y="72"/>
                  <a:pt x="132" y="67"/>
                  <a:pt x="132" y="61"/>
                </a:cubicBezTo>
                <a:close/>
                <a:moveTo>
                  <a:pt x="49" y="122"/>
                </a:moveTo>
                <a:cubicBezTo>
                  <a:pt x="49" y="105"/>
                  <a:pt x="49" y="105"/>
                  <a:pt x="49" y="105"/>
                </a:cubicBezTo>
                <a:cubicBezTo>
                  <a:pt x="83" y="105"/>
                  <a:pt x="83" y="105"/>
                  <a:pt x="83" y="105"/>
                </a:cubicBezTo>
                <a:cubicBezTo>
                  <a:pt x="83" y="122"/>
                  <a:pt x="83" y="122"/>
                  <a:pt x="83" y="122"/>
                </a:cubicBezTo>
                <a:lnTo>
                  <a:pt x="49" y="122"/>
                </a:lnTo>
                <a:close/>
                <a:moveTo>
                  <a:pt x="97" y="122"/>
                </a:moveTo>
                <a:cubicBezTo>
                  <a:pt x="88" y="122"/>
                  <a:pt x="88" y="122"/>
                  <a:pt x="88" y="122"/>
                </a:cubicBezTo>
                <a:cubicBezTo>
                  <a:pt x="88" y="102"/>
                  <a:pt x="88" y="102"/>
                  <a:pt x="88" y="102"/>
                </a:cubicBezTo>
                <a:cubicBezTo>
                  <a:pt x="88" y="101"/>
                  <a:pt x="87" y="100"/>
                  <a:pt x="85" y="100"/>
                </a:cubicBezTo>
                <a:cubicBezTo>
                  <a:pt x="47" y="100"/>
                  <a:pt x="47" y="100"/>
                  <a:pt x="47" y="100"/>
                </a:cubicBezTo>
                <a:cubicBezTo>
                  <a:pt x="45" y="100"/>
                  <a:pt x="44" y="101"/>
                  <a:pt x="44" y="102"/>
                </a:cubicBezTo>
                <a:cubicBezTo>
                  <a:pt x="44" y="122"/>
                  <a:pt x="44" y="122"/>
                  <a:pt x="44" y="122"/>
                </a:cubicBezTo>
                <a:cubicBezTo>
                  <a:pt x="35" y="122"/>
                  <a:pt x="35" y="122"/>
                  <a:pt x="35" y="122"/>
                </a:cubicBezTo>
                <a:cubicBezTo>
                  <a:pt x="28" y="88"/>
                  <a:pt x="28" y="88"/>
                  <a:pt x="28" y="88"/>
                </a:cubicBezTo>
                <a:cubicBezTo>
                  <a:pt x="104" y="88"/>
                  <a:pt x="104" y="88"/>
                  <a:pt x="104" y="88"/>
                </a:cubicBezTo>
                <a:lnTo>
                  <a:pt x="97" y="122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solidFill>
                  <a:schemeClr val="bg2"/>
                </a:solidFill>
              </a:ln>
              <a:solidFill>
                <a:schemeClr val="tx2"/>
              </a:solidFill>
              <a:effectLst/>
              <a:uLnTx/>
              <a:uFillTx/>
              <a:cs typeface="Arial" charset="0"/>
            </a:endParaRPr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C930904C-BCD9-BBE0-7449-F1B513966346}"/>
              </a:ext>
            </a:extLst>
          </p:cNvPr>
          <p:cNvGrpSpPr/>
          <p:nvPr/>
        </p:nvGrpSpPr>
        <p:grpSpPr>
          <a:xfrm>
            <a:off x="1955034" y="5444513"/>
            <a:ext cx="987557" cy="917336"/>
            <a:chOff x="63603" y="2371907"/>
            <a:chExt cx="987557" cy="917336"/>
          </a:xfrm>
        </p:grpSpPr>
        <p:sp>
          <p:nvSpPr>
            <p:cNvPr id="117" name="Freeform 25">
              <a:extLst>
                <a:ext uri="{FF2B5EF4-FFF2-40B4-BE49-F238E27FC236}">
                  <a16:creationId xmlns:a16="http://schemas.microsoft.com/office/drawing/2014/main" id="{F1A0358B-F9BD-F9E5-75F5-7F83904F5AD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99070" y="2371907"/>
              <a:ext cx="617916" cy="612000"/>
            </a:xfrm>
            <a:custGeom>
              <a:avLst/>
              <a:gdLst>
                <a:gd name="T0" fmla="*/ 139 w 652"/>
                <a:gd name="T1" fmla="*/ 486 h 645"/>
                <a:gd name="T2" fmla="*/ 243 w 652"/>
                <a:gd name="T3" fmla="*/ 474 h 645"/>
                <a:gd name="T4" fmla="*/ 346 w 652"/>
                <a:gd name="T5" fmla="*/ 486 h 645"/>
                <a:gd name="T6" fmla="*/ 23 w 652"/>
                <a:gd name="T7" fmla="*/ 623 h 645"/>
                <a:gd name="T8" fmla="*/ 243 w 652"/>
                <a:gd name="T9" fmla="*/ 249 h 645"/>
                <a:gd name="T10" fmla="*/ 243 w 652"/>
                <a:gd name="T11" fmla="*/ 452 h 645"/>
                <a:gd name="T12" fmla="*/ 354 w 652"/>
                <a:gd name="T13" fmla="*/ 465 h 645"/>
                <a:gd name="T14" fmla="*/ 367 w 652"/>
                <a:gd name="T15" fmla="*/ 350 h 645"/>
                <a:gd name="T16" fmla="*/ 119 w 652"/>
                <a:gd name="T17" fmla="*/ 350 h 645"/>
                <a:gd name="T18" fmla="*/ 131 w 652"/>
                <a:gd name="T19" fmla="*/ 465 h 645"/>
                <a:gd name="T20" fmla="*/ 11 w 652"/>
                <a:gd name="T21" fmla="*/ 645 h 645"/>
                <a:gd name="T22" fmla="*/ 485 w 652"/>
                <a:gd name="T23" fmla="*/ 634 h 645"/>
                <a:gd name="T24" fmla="*/ 652 w 652"/>
                <a:gd name="T25" fmla="*/ 138 h 645"/>
                <a:gd name="T26" fmla="*/ 410 w 652"/>
                <a:gd name="T27" fmla="*/ 336 h 645"/>
                <a:gd name="T28" fmla="*/ 396 w 652"/>
                <a:gd name="T29" fmla="*/ 328 h 645"/>
                <a:gd name="T30" fmla="*/ 464 w 652"/>
                <a:gd name="T31" fmla="*/ 258 h 645"/>
                <a:gd name="T32" fmla="*/ 629 w 652"/>
                <a:gd name="T33" fmla="*/ 138 h 645"/>
                <a:gd name="T34" fmla="*/ 404 w 652"/>
                <a:gd name="T35" fmla="*/ 70 h 645"/>
                <a:gd name="T36" fmla="*/ 318 w 652"/>
                <a:gd name="T37" fmla="*/ 49 h 645"/>
                <a:gd name="T38" fmla="*/ 212 w 652"/>
                <a:gd name="T39" fmla="*/ 189 h 645"/>
                <a:gd name="T40" fmla="*/ 191 w 652"/>
                <a:gd name="T41" fmla="*/ 197 h 645"/>
                <a:gd name="T42" fmla="*/ 318 w 652"/>
                <a:gd name="T43" fmla="*/ 27 h 645"/>
                <a:gd name="T44" fmla="*/ 504 w 652"/>
                <a:gd name="T45" fmla="*/ 0 h 645"/>
                <a:gd name="T46" fmla="*/ 504 w 652"/>
                <a:gd name="T47" fmla="*/ 158 h 645"/>
                <a:gd name="T48" fmla="*/ 533 w 652"/>
                <a:gd name="T49" fmla="*/ 158 h 645"/>
                <a:gd name="T50" fmla="*/ 504 w 652"/>
                <a:gd name="T51" fmla="*/ 158 h 645"/>
                <a:gd name="T52" fmla="*/ 519 w 652"/>
                <a:gd name="T53" fmla="*/ 121 h 645"/>
                <a:gd name="T54" fmla="*/ 519 w 652"/>
                <a:gd name="T55" fmla="*/ 195 h 645"/>
                <a:gd name="T56" fmla="*/ 425 w 652"/>
                <a:gd name="T57" fmla="*/ 144 h 645"/>
                <a:gd name="T58" fmla="*/ 425 w 652"/>
                <a:gd name="T59" fmla="*/ 173 h 645"/>
                <a:gd name="T60" fmla="*/ 425 w 652"/>
                <a:gd name="T61" fmla="*/ 144 h 645"/>
                <a:gd name="T62" fmla="*/ 462 w 652"/>
                <a:gd name="T63" fmla="*/ 158 h 645"/>
                <a:gd name="T64" fmla="*/ 388 w 652"/>
                <a:gd name="T65" fmla="*/ 158 h 645"/>
                <a:gd name="T66" fmla="*/ 317 w 652"/>
                <a:gd name="T67" fmla="*/ 158 h 645"/>
                <a:gd name="T68" fmla="*/ 346 w 652"/>
                <a:gd name="T69" fmla="*/ 158 h 645"/>
                <a:gd name="T70" fmla="*/ 317 w 652"/>
                <a:gd name="T71" fmla="*/ 158 h 645"/>
                <a:gd name="T72" fmla="*/ 332 w 652"/>
                <a:gd name="T73" fmla="*/ 121 h 645"/>
                <a:gd name="T74" fmla="*/ 332 w 652"/>
                <a:gd name="T75" fmla="*/ 195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52" h="645">
                  <a:moveTo>
                    <a:pt x="23" y="623"/>
                  </a:moveTo>
                  <a:cubicBezTo>
                    <a:pt x="27" y="526"/>
                    <a:pt x="89" y="504"/>
                    <a:pt x="139" y="486"/>
                  </a:cubicBezTo>
                  <a:cubicBezTo>
                    <a:pt x="159" y="479"/>
                    <a:pt x="177" y="472"/>
                    <a:pt x="188" y="461"/>
                  </a:cubicBezTo>
                  <a:cubicBezTo>
                    <a:pt x="205" y="470"/>
                    <a:pt x="223" y="474"/>
                    <a:pt x="243" y="474"/>
                  </a:cubicBezTo>
                  <a:cubicBezTo>
                    <a:pt x="262" y="474"/>
                    <a:pt x="281" y="470"/>
                    <a:pt x="297" y="461"/>
                  </a:cubicBezTo>
                  <a:cubicBezTo>
                    <a:pt x="308" y="472"/>
                    <a:pt x="326" y="479"/>
                    <a:pt x="346" y="486"/>
                  </a:cubicBezTo>
                  <a:cubicBezTo>
                    <a:pt x="396" y="504"/>
                    <a:pt x="458" y="526"/>
                    <a:pt x="463" y="623"/>
                  </a:cubicBezTo>
                  <a:lnTo>
                    <a:pt x="23" y="623"/>
                  </a:lnTo>
                  <a:close/>
                  <a:moveTo>
                    <a:pt x="141" y="350"/>
                  </a:moveTo>
                  <a:cubicBezTo>
                    <a:pt x="141" y="295"/>
                    <a:pt x="187" y="249"/>
                    <a:pt x="243" y="249"/>
                  </a:cubicBezTo>
                  <a:cubicBezTo>
                    <a:pt x="299" y="249"/>
                    <a:pt x="344" y="295"/>
                    <a:pt x="344" y="350"/>
                  </a:cubicBezTo>
                  <a:cubicBezTo>
                    <a:pt x="344" y="406"/>
                    <a:pt x="299" y="452"/>
                    <a:pt x="243" y="452"/>
                  </a:cubicBezTo>
                  <a:cubicBezTo>
                    <a:pt x="187" y="452"/>
                    <a:pt x="141" y="406"/>
                    <a:pt x="141" y="350"/>
                  </a:cubicBezTo>
                  <a:moveTo>
                    <a:pt x="354" y="465"/>
                  </a:moveTo>
                  <a:cubicBezTo>
                    <a:pt x="340" y="460"/>
                    <a:pt x="326" y="455"/>
                    <a:pt x="317" y="449"/>
                  </a:cubicBezTo>
                  <a:cubicBezTo>
                    <a:pt x="347" y="426"/>
                    <a:pt x="367" y="391"/>
                    <a:pt x="367" y="350"/>
                  </a:cubicBezTo>
                  <a:cubicBezTo>
                    <a:pt x="367" y="282"/>
                    <a:pt x="311" y="227"/>
                    <a:pt x="243" y="227"/>
                  </a:cubicBezTo>
                  <a:cubicBezTo>
                    <a:pt x="174" y="227"/>
                    <a:pt x="119" y="282"/>
                    <a:pt x="119" y="350"/>
                  </a:cubicBezTo>
                  <a:cubicBezTo>
                    <a:pt x="119" y="391"/>
                    <a:pt x="138" y="426"/>
                    <a:pt x="168" y="449"/>
                  </a:cubicBezTo>
                  <a:cubicBezTo>
                    <a:pt x="159" y="455"/>
                    <a:pt x="146" y="460"/>
                    <a:pt x="131" y="465"/>
                  </a:cubicBezTo>
                  <a:cubicBezTo>
                    <a:pt x="79" y="484"/>
                    <a:pt x="0" y="512"/>
                    <a:pt x="0" y="634"/>
                  </a:cubicBezTo>
                  <a:cubicBezTo>
                    <a:pt x="0" y="640"/>
                    <a:pt x="5" y="645"/>
                    <a:pt x="11" y="645"/>
                  </a:cubicBezTo>
                  <a:lnTo>
                    <a:pt x="474" y="645"/>
                  </a:lnTo>
                  <a:cubicBezTo>
                    <a:pt x="480" y="645"/>
                    <a:pt x="485" y="640"/>
                    <a:pt x="485" y="634"/>
                  </a:cubicBezTo>
                  <a:cubicBezTo>
                    <a:pt x="485" y="512"/>
                    <a:pt x="406" y="484"/>
                    <a:pt x="354" y="465"/>
                  </a:cubicBezTo>
                  <a:close/>
                  <a:moveTo>
                    <a:pt x="652" y="138"/>
                  </a:moveTo>
                  <a:cubicBezTo>
                    <a:pt x="652" y="221"/>
                    <a:pt x="572" y="287"/>
                    <a:pt x="482" y="275"/>
                  </a:cubicBezTo>
                  <a:cubicBezTo>
                    <a:pt x="469" y="305"/>
                    <a:pt x="443" y="328"/>
                    <a:pt x="410" y="336"/>
                  </a:cubicBezTo>
                  <a:cubicBezTo>
                    <a:pt x="409" y="336"/>
                    <a:pt x="408" y="336"/>
                    <a:pt x="407" y="336"/>
                  </a:cubicBezTo>
                  <a:cubicBezTo>
                    <a:pt x="402" y="336"/>
                    <a:pt x="398" y="333"/>
                    <a:pt x="396" y="328"/>
                  </a:cubicBezTo>
                  <a:cubicBezTo>
                    <a:pt x="395" y="321"/>
                    <a:pt x="399" y="315"/>
                    <a:pt x="405" y="314"/>
                  </a:cubicBezTo>
                  <a:cubicBezTo>
                    <a:pt x="433" y="307"/>
                    <a:pt x="456" y="286"/>
                    <a:pt x="464" y="258"/>
                  </a:cubicBezTo>
                  <a:cubicBezTo>
                    <a:pt x="466" y="253"/>
                    <a:pt x="472" y="250"/>
                    <a:pt x="477" y="251"/>
                  </a:cubicBezTo>
                  <a:cubicBezTo>
                    <a:pt x="557" y="267"/>
                    <a:pt x="629" y="210"/>
                    <a:pt x="629" y="138"/>
                  </a:cubicBezTo>
                  <a:cubicBezTo>
                    <a:pt x="629" y="75"/>
                    <a:pt x="573" y="23"/>
                    <a:pt x="504" y="23"/>
                  </a:cubicBezTo>
                  <a:cubicBezTo>
                    <a:pt x="464" y="23"/>
                    <a:pt x="428" y="40"/>
                    <a:pt x="404" y="70"/>
                  </a:cubicBezTo>
                  <a:cubicBezTo>
                    <a:pt x="400" y="75"/>
                    <a:pt x="393" y="76"/>
                    <a:pt x="388" y="72"/>
                  </a:cubicBezTo>
                  <a:cubicBezTo>
                    <a:pt x="368" y="57"/>
                    <a:pt x="344" y="49"/>
                    <a:pt x="318" y="49"/>
                  </a:cubicBezTo>
                  <a:cubicBezTo>
                    <a:pt x="256" y="49"/>
                    <a:pt x="206" y="96"/>
                    <a:pt x="206" y="153"/>
                  </a:cubicBezTo>
                  <a:cubicBezTo>
                    <a:pt x="206" y="165"/>
                    <a:pt x="208" y="177"/>
                    <a:pt x="212" y="189"/>
                  </a:cubicBezTo>
                  <a:cubicBezTo>
                    <a:pt x="215" y="194"/>
                    <a:pt x="212" y="201"/>
                    <a:pt x="206" y="203"/>
                  </a:cubicBezTo>
                  <a:cubicBezTo>
                    <a:pt x="200" y="206"/>
                    <a:pt x="194" y="203"/>
                    <a:pt x="191" y="197"/>
                  </a:cubicBezTo>
                  <a:cubicBezTo>
                    <a:pt x="186" y="183"/>
                    <a:pt x="183" y="168"/>
                    <a:pt x="183" y="153"/>
                  </a:cubicBezTo>
                  <a:cubicBezTo>
                    <a:pt x="183" y="84"/>
                    <a:pt x="244" y="27"/>
                    <a:pt x="318" y="27"/>
                  </a:cubicBezTo>
                  <a:cubicBezTo>
                    <a:pt x="345" y="27"/>
                    <a:pt x="371" y="34"/>
                    <a:pt x="393" y="48"/>
                  </a:cubicBezTo>
                  <a:cubicBezTo>
                    <a:pt x="421" y="18"/>
                    <a:pt x="461" y="0"/>
                    <a:pt x="504" y="0"/>
                  </a:cubicBezTo>
                  <a:cubicBezTo>
                    <a:pt x="586" y="0"/>
                    <a:pt x="652" y="62"/>
                    <a:pt x="652" y="138"/>
                  </a:cubicBezTo>
                  <a:close/>
                  <a:moveTo>
                    <a:pt x="504" y="158"/>
                  </a:moveTo>
                  <a:cubicBezTo>
                    <a:pt x="504" y="150"/>
                    <a:pt x="511" y="144"/>
                    <a:pt x="519" y="144"/>
                  </a:cubicBezTo>
                  <a:cubicBezTo>
                    <a:pt x="527" y="144"/>
                    <a:pt x="533" y="150"/>
                    <a:pt x="533" y="158"/>
                  </a:cubicBezTo>
                  <a:cubicBezTo>
                    <a:pt x="533" y="166"/>
                    <a:pt x="527" y="173"/>
                    <a:pt x="519" y="173"/>
                  </a:cubicBezTo>
                  <a:cubicBezTo>
                    <a:pt x="511" y="173"/>
                    <a:pt x="504" y="166"/>
                    <a:pt x="504" y="158"/>
                  </a:cubicBezTo>
                  <a:close/>
                  <a:moveTo>
                    <a:pt x="556" y="158"/>
                  </a:moveTo>
                  <a:cubicBezTo>
                    <a:pt x="556" y="138"/>
                    <a:pt x="539" y="121"/>
                    <a:pt x="519" y="121"/>
                  </a:cubicBezTo>
                  <a:cubicBezTo>
                    <a:pt x="498" y="121"/>
                    <a:pt x="482" y="138"/>
                    <a:pt x="482" y="158"/>
                  </a:cubicBezTo>
                  <a:cubicBezTo>
                    <a:pt x="482" y="179"/>
                    <a:pt x="498" y="195"/>
                    <a:pt x="519" y="195"/>
                  </a:cubicBezTo>
                  <a:cubicBezTo>
                    <a:pt x="539" y="195"/>
                    <a:pt x="556" y="179"/>
                    <a:pt x="556" y="158"/>
                  </a:cubicBezTo>
                  <a:close/>
                  <a:moveTo>
                    <a:pt x="425" y="144"/>
                  </a:moveTo>
                  <a:cubicBezTo>
                    <a:pt x="433" y="144"/>
                    <a:pt x="440" y="150"/>
                    <a:pt x="440" y="158"/>
                  </a:cubicBezTo>
                  <a:cubicBezTo>
                    <a:pt x="440" y="166"/>
                    <a:pt x="433" y="173"/>
                    <a:pt x="425" y="173"/>
                  </a:cubicBezTo>
                  <a:cubicBezTo>
                    <a:pt x="417" y="173"/>
                    <a:pt x="411" y="166"/>
                    <a:pt x="411" y="158"/>
                  </a:cubicBezTo>
                  <a:cubicBezTo>
                    <a:pt x="411" y="150"/>
                    <a:pt x="417" y="144"/>
                    <a:pt x="425" y="144"/>
                  </a:cubicBezTo>
                  <a:close/>
                  <a:moveTo>
                    <a:pt x="425" y="195"/>
                  </a:moveTo>
                  <a:cubicBezTo>
                    <a:pt x="446" y="195"/>
                    <a:pt x="462" y="179"/>
                    <a:pt x="462" y="158"/>
                  </a:cubicBezTo>
                  <a:cubicBezTo>
                    <a:pt x="462" y="138"/>
                    <a:pt x="446" y="121"/>
                    <a:pt x="425" y="121"/>
                  </a:cubicBezTo>
                  <a:cubicBezTo>
                    <a:pt x="405" y="121"/>
                    <a:pt x="388" y="138"/>
                    <a:pt x="388" y="158"/>
                  </a:cubicBezTo>
                  <a:cubicBezTo>
                    <a:pt x="388" y="179"/>
                    <a:pt x="405" y="195"/>
                    <a:pt x="425" y="195"/>
                  </a:cubicBezTo>
                  <a:close/>
                  <a:moveTo>
                    <a:pt x="317" y="158"/>
                  </a:moveTo>
                  <a:cubicBezTo>
                    <a:pt x="317" y="150"/>
                    <a:pt x="324" y="144"/>
                    <a:pt x="332" y="144"/>
                  </a:cubicBezTo>
                  <a:cubicBezTo>
                    <a:pt x="340" y="144"/>
                    <a:pt x="346" y="150"/>
                    <a:pt x="346" y="158"/>
                  </a:cubicBezTo>
                  <a:cubicBezTo>
                    <a:pt x="346" y="166"/>
                    <a:pt x="340" y="173"/>
                    <a:pt x="332" y="173"/>
                  </a:cubicBezTo>
                  <a:cubicBezTo>
                    <a:pt x="324" y="173"/>
                    <a:pt x="317" y="166"/>
                    <a:pt x="317" y="158"/>
                  </a:cubicBezTo>
                  <a:close/>
                  <a:moveTo>
                    <a:pt x="369" y="158"/>
                  </a:moveTo>
                  <a:cubicBezTo>
                    <a:pt x="369" y="138"/>
                    <a:pt x="352" y="121"/>
                    <a:pt x="332" y="121"/>
                  </a:cubicBezTo>
                  <a:cubicBezTo>
                    <a:pt x="311" y="121"/>
                    <a:pt x="295" y="138"/>
                    <a:pt x="295" y="158"/>
                  </a:cubicBezTo>
                  <a:cubicBezTo>
                    <a:pt x="295" y="179"/>
                    <a:pt x="311" y="195"/>
                    <a:pt x="332" y="195"/>
                  </a:cubicBezTo>
                  <a:cubicBezTo>
                    <a:pt x="352" y="195"/>
                    <a:pt x="369" y="179"/>
                    <a:pt x="369" y="158"/>
                  </a:cubicBezTo>
                  <a:close/>
                </a:path>
              </a:pathLst>
            </a:custGeom>
            <a:solidFill>
              <a:srgbClr val="000000"/>
            </a:solidFill>
            <a:ln>
              <a:solidFill>
                <a:schemeClr val="bg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129E82F5-BFBE-0ED8-FCC1-939683532422}"/>
                </a:ext>
              </a:extLst>
            </p:cNvPr>
            <p:cNvSpPr txBox="1"/>
            <p:nvPr/>
          </p:nvSpPr>
          <p:spPr>
            <a:xfrm>
              <a:off x="63603" y="3012244"/>
              <a:ext cx="98755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+mn-cs"/>
                </a:rPr>
                <a:t>Client</a:t>
              </a: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F7BAD3E1-0437-D826-0834-C2D34C6A35D8}"/>
              </a:ext>
            </a:extLst>
          </p:cNvPr>
          <p:cNvGrpSpPr/>
          <p:nvPr/>
        </p:nvGrpSpPr>
        <p:grpSpPr>
          <a:xfrm>
            <a:off x="3177365" y="5519885"/>
            <a:ext cx="1162305" cy="841964"/>
            <a:chOff x="1560977" y="2372027"/>
            <a:chExt cx="1162305" cy="841964"/>
          </a:xfrm>
        </p:grpSpPr>
        <p:sp>
          <p:nvSpPr>
            <p:cNvPr id="120" name="Freeform 15">
              <a:extLst>
                <a:ext uri="{FF2B5EF4-FFF2-40B4-BE49-F238E27FC236}">
                  <a16:creationId xmlns:a16="http://schemas.microsoft.com/office/drawing/2014/main" id="{620DD090-83CF-F3A4-9AAB-09075E5DF44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900670" y="2372027"/>
              <a:ext cx="484032" cy="432000"/>
            </a:xfrm>
            <a:custGeom>
              <a:avLst/>
              <a:gdLst>
                <a:gd name="T0" fmla="*/ 164 w 639"/>
                <a:gd name="T1" fmla="*/ 365 h 571"/>
                <a:gd name="T2" fmla="*/ 143 w 639"/>
                <a:gd name="T3" fmla="*/ 442 h 571"/>
                <a:gd name="T4" fmla="*/ 249 w 639"/>
                <a:gd name="T5" fmla="*/ 459 h 571"/>
                <a:gd name="T6" fmla="*/ 308 w 639"/>
                <a:gd name="T7" fmla="*/ 506 h 571"/>
                <a:gd name="T8" fmla="*/ 330 w 639"/>
                <a:gd name="T9" fmla="*/ 506 h 571"/>
                <a:gd name="T10" fmla="*/ 389 w 639"/>
                <a:gd name="T11" fmla="*/ 459 h 571"/>
                <a:gd name="T12" fmla="*/ 496 w 639"/>
                <a:gd name="T13" fmla="*/ 442 h 571"/>
                <a:gd name="T14" fmla="*/ 474 w 639"/>
                <a:gd name="T15" fmla="*/ 365 h 571"/>
                <a:gd name="T16" fmla="*/ 22 w 639"/>
                <a:gd name="T17" fmla="*/ 548 h 571"/>
                <a:gd name="T18" fmla="*/ 340 w 639"/>
                <a:gd name="T19" fmla="*/ 262 h 571"/>
                <a:gd name="T20" fmla="*/ 284 w 639"/>
                <a:gd name="T21" fmla="*/ 249 h 571"/>
                <a:gd name="T22" fmla="*/ 340 w 639"/>
                <a:gd name="T23" fmla="*/ 235 h 571"/>
                <a:gd name="T24" fmla="*/ 319 w 639"/>
                <a:gd name="T25" fmla="*/ 23 h 571"/>
                <a:gd name="T26" fmla="*/ 443 w 639"/>
                <a:gd name="T27" fmla="*/ 237 h 571"/>
                <a:gd name="T28" fmla="*/ 340 w 639"/>
                <a:gd name="T29" fmla="*/ 212 h 571"/>
                <a:gd name="T30" fmla="*/ 262 w 639"/>
                <a:gd name="T31" fmla="*/ 249 h 571"/>
                <a:gd name="T32" fmla="*/ 340 w 639"/>
                <a:gd name="T33" fmla="*/ 285 h 571"/>
                <a:gd name="T34" fmla="*/ 436 w 639"/>
                <a:gd name="T35" fmla="*/ 260 h 571"/>
                <a:gd name="T36" fmla="*/ 189 w 639"/>
                <a:gd name="T37" fmla="*/ 186 h 571"/>
                <a:gd name="T38" fmla="*/ 486 w 639"/>
                <a:gd name="T39" fmla="*/ 113 h 571"/>
                <a:gd name="T40" fmla="*/ 500 w 639"/>
                <a:gd name="T41" fmla="*/ 175 h 571"/>
                <a:gd name="T42" fmla="*/ 472 w 639"/>
                <a:gd name="T43" fmla="*/ 189 h 571"/>
                <a:gd name="T44" fmla="*/ 460 w 639"/>
                <a:gd name="T45" fmla="*/ 113 h 571"/>
                <a:gd name="T46" fmla="*/ 529 w 639"/>
                <a:gd name="T47" fmla="*/ 162 h 571"/>
                <a:gd name="T48" fmla="*/ 551 w 639"/>
                <a:gd name="T49" fmla="*/ 215 h 571"/>
                <a:gd name="T50" fmla="*/ 466 w 639"/>
                <a:gd name="T51" fmla="*/ 237 h 571"/>
                <a:gd name="T52" fmla="*/ 486 w 639"/>
                <a:gd name="T53" fmla="*/ 211 h 571"/>
                <a:gd name="T54" fmla="*/ 522 w 639"/>
                <a:gd name="T55" fmla="*/ 162 h 571"/>
                <a:gd name="T56" fmla="*/ 425 w 639"/>
                <a:gd name="T57" fmla="*/ 345 h 571"/>
                <a:gd name="T58" fmla="*/ 471 w 639"/>
                <a:gd name="T59" fmla="*/ 428 h 571"/>
                <a:gd name="T60" fmla="*/ 425 w 639"/>
                <a:gd name="T61" fmla="*/ 345 h 571"/>
                <a:gd name="T62" fmla="*/ 319 w 639"/>
                <a:gd name="T63" fmla="*/ 425 h 571"/>
                <a:gd name="T64" fmla="*/ 319 w 639"/>
                <a:gd name="T65" fmla="*/ 373 h 571"/>
                <a:gd name="T66" fmla="*/ 191 w 639"/>
                <a:gd name="T67" fmla="*/ 354 h 571"/>
                <a:gd name="T68" fmla="*/ 284 w 639"/>
                <a:gd name="T69" fmla="*/ 434 h 571"/>
                <a:gd name="T70" fmla="*/ 191 w 639"/>
                <a:gd name="T71" fmla="*/ 354 h 571"/>
                <a:gd name="T72" fmla="*/ 425 w 639"/>
                <a:gd name="T73" fmla="*/ 320 h 571"/>
                <a:gd name="T74" fmla="*/ 529 w 639"/>
                <a:gd name="T75" fmla="*/ 260 h 571"/>
                <a:gd name="T76" fmla="*/ 573 w 639"/>
                <a:gd name="T77" fmla="*/ 184 h 571"/>
                <a:gd name="T78" fmla="*/ 522 w 639"/>
                <a:gd name="T79" fmla="*/ 140 h 571"/>
                <a:gd name="T80" fmla="*/ 486 w 639"/>
                <a:gd name="T81" fmla="*/ 91 h 571"/>
                <a:gd name="T82" fmla="*/ 319 w 639"/>
                <a:gd name="T83" fmla="*/ 0 h 571"/>
                <a:gd name="T84" fmla="*/ 213 w 639"/>
                <a:gd name="T85" fmla="*/ 320 h 571"/>
                <a:gd name="T86" fmla="*/ 0 w 639"/>
                <a:gd name="T87" fmla="*/ 560 h 571"/>
                <a:gd name="T88" fmla="*/ 627 w 639"/>
                <a:gd name="T89" fmla="*/ 571 h 571"/>
                <a:gd name="T90" fmla="*/ 469 w 639"/>
                <a:gd name="T91" fmla="*/ 339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39" h="571">
                  <a:moveTo>
                    <a:pt x="22" y="548"/>
                  </a:moveTo>
                  <a:cubicBezTo>
                    <a:pt x="26" y="425"/>
                    <a:pt x="99" y="389"/>
                    <a:pt x="164" y="365"/>
                  </a:cubicBezTo>
                  <a:lnTo>
                    <a:pt x="142" y="433"/>
                  </a:lnTo>
                  <a:cubicBezTo>
                    <a:pt x="141" y="436"/>
                    <a:pt x="141" y="440"/>
                    <a:pt x="143" y="442"/>
                  </a:cubicBezTo>
                  <a:cubicBezTo>
                    <a:pt x="144" y="445"/>
                    <a:pt x="147" y="447"/>
                    <a:pt x="150" y="448"/>
                  </a:cubicBezTo>
                  <a:cubicBezTo>
                    <a:pt x="153" y="448"/>
                    <a:pt x="199" y="459"/>
                    <a:pt x="249" y="459"/>
                  </a:cubicBezTo>
                  <a:cubicBezTo>
                    <a:pt x="269" y="459"/>
                    <a:pt x="289" y="457"/>
                    <a:pt x="308" y="452"/>
                  </a:cubicBezTo>
                  <a:lnTo>
                    <a:pt x="308" y="506"/>
                  </a:lnTo>
                  <a:cubicBezTo>
                    <a:pt x="308" y="512"/>
                    <a:pt x="313" y="517"/>
                    <a:pt x="319" y="517"/>
                  </a:cubicBezTo>
                  <a:cubicBezTo>
                    <a:pt x="325" y="517"/>
                    <a:pt x="330" y="512"/>
                    <a:pt x="330" y="506"/>
                  </a:cubicBezTo>
                  <a:lnTo>
                    <a:pt x="330" y="452"/>
                  </a:lnTo>
                  <a:cubicBezTo>
                    <a:pt x="349" y="457"/>
                    <a:pt x="369" y="459"/>
                    <a:pt x="389" y="459"/>
                  </a:cubicBezTo>
                  <a:cubicBezTo>
                    <a:pt x="439" y="459"/>
                    <a:pt x="485" y="448"/>
                    <a:pt x="488" y="448"/>
                  </a:cubicBezTo>
                  <a:cubicBezTo>
                    <a:pt x="491" y="447"/>
                    <a:pt x="494" y="445"/>
                    <a:pt x="496" y="442"/>
                  </a:cubicBezTo>
                  <a:cubicBezTo>
                    <a:pt x="497" y="440"/>
                    <a:pt x="497" y="436"/>
                    <a:pt x="496" y="433"/>
                  </a:cubicBezTo>
                  <a:lnTo>
                    <a:pt x="474" y="365"/>
                  </a:lnTo>
                  <a:cubicBezTo>
                    <a:pt x="539" y="389"/>
                    <a:pt x="612" y="425"/>
                    <a:pt x="616" y="548"/>
                  </a:cubicBezTo>
                  <a:lnTo>
                    <a:pt x="22" y="548"/>
                  </a:lnTo>
                  <a:close/>
                  <a:moveTo>
                    <a:pt x="354" y="249"/>
                  </a:moveTo>
                  <a:cubicBezTo>
                    <a:pt x="354" y="256"/>
                    <a:pt x="348" y="262"/>
                    <a:pt x="340" y="262"/>
                  </a:cubicBezTo>
                  <a:lnTo>
                    <a:pt x="298" y="262"/>
                  </a:lnTo>
                  <a:cubicBezTo>
                    <a:pt x="290" y="262"/>
                    <a:pt x="284" y="256"/>
                    <a:pt x="284" y="249"/>
                  </a:cubicBezTo>
                  <a:cubicBezTo>
                    <a:pt x="284" y="241"/>
                    <a:pt x="290" y="235"/>
                    <a:pt x="298" y="235"/>
                  </a:cubicBezTo>
                  <a:lnTo>
                    <a:pt x="340" y="235"/>
                  </a:lnTo>
                  <a:cubicBezTo>
                    <a:pt x="348" y="235"/>
                    <a:pt x="354" y="241"/>
                    <a:pt x="354" y="249"/>
                  </a:cubicBezTo>
                  <a:close/>
                  <a:moveTo>
                    <a:pt x="319" y="23"/>
                  </a:moveTo>
                  <a:cubicBezTo>
                    <a:pt x="391" y="23"/>
                    <a:pt x="450" y="96"/>
                    <a:pt x="450" y="186"/>
                  </a:cubicBezTo>
                  <a:cubicBezTo>
                    <a:pt x="450" y="204"/>
                    <a:pt x="447" y="221"/>
                    <a:pt x="443" y="237"/>
                  </a:cubicBezTo>
                  <a:lnTo>
                    <a:pt x="375" y="237"/>
                  </a:lnTo>
                  <a:cubicBezTo>
                    <a:pt x="370" y="223"/>
                    <a:pt x="356" y="212"/>
                    <a:pt x="340" y="212"/>
                  </a:cubicBezTo>
                  <a:lnTo>
                    <a:pt x="298" y="212"/>
                  </a:lnTo>
                  <a:cubicBezTo>
                    <a:pt x="278" y="212"/>
                    <a:pt x="262" y="229"/>
                    <a:pt x="262" y="249"/>
                  </a:cubicBezTo>
                  <a:cubicBezTo>
                    <a:pt x="262" y="269"/>
                    <a:pt x="278" y="285"/>
                    <a:pt x="298" y="285"/>
                  </a:cubicBezTo>
                  <a:lnTo>
                    <a:pt x="340" y="285"/>
                  </a:lnTo>
                  <a:cubicBezTo>
                    <a:pt x="356" y="285"/>
                    <a:pt x="370" y="274"/>
                    <a:pt x="375" y="260"/>
                  </a:cubicBezTo>
                  <a:lnTo>
                    <a:pt x="436" y="260"/>
                  </a:lnTo>
                  <a:cubicBezTo>
                    <a:pt x="414" y="313"/>
                    <a:pt x="370" y="350"/>
                    <a:pt x="319" y="350"/>
                  </a:cubicBezTo>
                  <a:cubicBezTo>
                    <a:pt x="247" y="350"/>
                    <a:pt x="189" y="277"/>
                    <a:pt x="189" y="186"/>
                  </a:cubicBezTo>
                  <a:cubicBezTo>
                    <a:pt x="189" y="96"/>
                    <a:pt x="247" y="23"/>
                    <a:pt x="319" y="23"/>
                  </a:cubicBezTo>
                  <a:close/>
                  <a:moveTo>
                    <a:pt x="486" y="113"/>
                  </a:moveTo>
                  <a:cubicBezTo>
                    <a:pt x="493" y="113"/>
                    <a:pt x="500" y="120"/>
                    <a:pt x="500" y="127"/>
                  </a:cubicBezTo>
                  <a:lnTo>
                    <a:pt x="500" y="175"/>
                  </a:lnTo>
                  <a:cubicBezTo>
                    <a:pt x="500" y="183"/>
                    <a:pt x="493" y="189"/>
                    <a:pt x="486" y="189"/>
                  </a:cubicBezTo>
                  <a:lnTo>
                    <a:pt x="472" y="189"/>
                  </a:lnTo>
                  <a:cubicBezTo>
                    <a:pt x="472" y="188"/>
                    <a:pt x="472" y="187"/>
                    <a:pt x="472" y="186"/>
                  </a:cubicBezTo>
                  <a:cubicBezTo>
                    <a:pt x="472" y="160"/>
                    <a:pt x="468" y="136"/>
                    <a:pt x="460" y="113"/>
                  </a:cubicBezTo>
                  <a:lnTo>
                    <a:pt x="486" y="113"/>
                  </a:lnTo>
                  <a:close/>
                  <a:moveTo>
                    <a:pt x="529" y="162"/>
                  </a:moveTo>
                  <a:cubicBezTo>
                    <a:pt x="541" y="162"/>
                    <a:pt x="551" y="172"/>
                    <a:pt x="551" y="184"/>
                  </a:cubicBezTo>
                  <a:lnTo>
                    <a:pt x="551" y="215"/>
                  </a:lnTo>
                  <a:cubicBezTo>
                    <a:pt x="551" y="227"/>
                    <a:pt x="541" y="237"/>
                    <a:pt x="529" y="237"/>
                  </a:cubicBezTo>
                  <a:lnTo>
                    <a:pt x="466" y="237"/>
                  </a:lnTo>
                  <a:cubicBezTo>
                    <a:pt x="468" y="229"/>
                    <a:pt x="470" y="220"/>
                    <a:pt x="470" y="211"/>
                  </a:cubicBezTo>
                  <a:lnTo>
                    <a:pt x="486" y="211"/>
                  </a:lnTo>
                  <a:cubicBezTo>
                    <a:pt x="506" y="211"/>
                    <a:pt x="522" y="195"/>
                    <a:pt x="522" y="175"/>
                  </a:cubicBezTo>
                  <a:lnTo>
                    <a:pt x="522" y="162"/>
                  </a:lnTo>
                  <a:lnTo>
                    <a:pt x="529" y="162"/>
                  </a:lnTo>
                  <a:close/>
                  <a:moveTo>
                    <a:pt x="425" y="345"/>
                  </a:moveTo>
                  <a:cubicBezTo>
                    <a:pt x="432" y="348"/>
                    <a:pt x="440" y="351"/>
                    <a:pt x="448" y="354"/>
                  </a:cubicBezTo>
                  <a:lnTo>
                    <a:pt x="471" y="428"/>
                  </a:lnTo>
                  <a:cubicBezTo>
                    <a:pt x="448" y="432"/>
                    <a:pt x="398" y="440"/>
                    <a:pt x="354" y="434"/>
                  </a:cubicBezTo>
                  <a:cubicBezTo>
                    <a:pt x="387" y="415"/>
                    <a:pt x="410" y="385"/>
                    <a:pt x="425" y="345"/>
                  </a:cubicBezTo>
                  <a:close/>
                  <a:moveTo>
                    <a:pt x="402" y="343"/>
                  </a:moveTo>
                  <a:cubicBezTo>
                    <a:pt x="386" y="384"/>
                    <a:pt x="359" y="411"/>
                    <a:pt x="319" y="425"/>
                  </a:cubicBezTo>
                  <a:cubicBezTo>
                    <a:pt x="280" y="411"/>
                    <a:pt x="252" y="384"/>
                    <a:pt x="236" y="343"/>
                  </a:cubicBezTo>
                  <a:cubicBezTo>
                    <a:pt x="260" y="362"/>
                    <a:pt x="288" y="373"/>
                    <a:pt x="319" y="373"/>
                  </a:cubicBezTo>
                  <a:cubicBezTo>
                    <a:pt x="350" y="373"/>
                    <a:pt x="378" y="362"/>
                    <a:pt x="402" y="343"/>
                  </a:cubicBezTo>
                  <a:close/>
                  <a:moveTo>
                    <a:pt x="191" y="354"/>
                  </a:moveTo>
                  <a:cubicBezTo>
                    <a:pt x="199" y="351"/>
                    <a:pt x="206" y="348"/>
                    <a:pt x="213" y="345"/>
                  </a:cubicBezTo>
                  <a:cubicBezTo>
                    <a:pt x="228" y="385"/>
                    <a:pt x="251" y="415"/>
                    <a:pt x="284" y="434"/>
                  </a:cubicBezTo>
                  <a:cubicBezTo>
                    <a:pt x="240" y="440"/>
                    <a:pt x="190" y="432"/>
                    <a:pt x="167" y="428"/>
                  </a:cubicBezTo>
                  <a:lnTo>
                    <a:pt x="191" y="354"/>
                  </a:lnTo>
                  <a:close/>
                  <a:moveTo>
                    <a:pt x="469" y="339"/>
                  </a:moveTo>
                  <a:cubicBezTo>
                    <a:pt x="452" y="332"/>
                    <a:pt x="437" y="327"/>
                    <a:pt x="425" y="320"/>
                  </a:cubicBezTo>
                  <a:cubicBezTo>
                    <a:pt x="440" y="303"/>
                    <a:pt x="452" y="283"/>
                    <a:pt x="460" y="260"/>
                  </a:cubicBezTo>
                  <a:lnTo>
                    <a:pt x="529" y="260"/>
                  </a:lnTo>
                  <a:cubicBezTo>
                    <a:pt x="553" y="260"/>
                    <a:pt x="573" y="240"/>
                    <a:pt x="573" y="215"/>
                  </a:cubicBezTo>
                  <a:lnTo>
                    <a:pt x="573" y="184"/>
                  </a:lnTo>
                  <a:cubicBezTo>
                    <a:pt x="573" y="160"/>
                    <a:pt x="553" y="140"/>
                    <a:pt x="529" y="140"/>
                  </a:cubicBezTo>
                  <a:lnTo>
                    <a:pt x="522" y="140"/>
                  </a:lnTo>
                  <a:lnTo>
                    <a:pt x="522" y="127"/>
                  </a:lnTo>
                  <a:cubicBezTo>
                    <a:pt x="522" y="107"/>
                    <a:pt x="506" y="91"/>
                    <a:pt x="486" y="91"/>
                  </a:cubicBezTo>
                  <a:lnTo>
                    <a:pt x="450" y="91"/>
                  </a:lnTo>
                  <a:cubicBezTo>
                    <a:pt x="423" y="37"/>
                    <a:pt x="375" y="0"/>
                    <a:pt x="319" y="0"/>
                  </a:cubicBezTo>
                  <a:cubicBezTo>
                    <a:pt x="235" y="0"/>
                    <a:pt x="166" y="84"/>
                    <a:pt x="166" y="186"/>
                  </a:cubicBezTo>
                  <a:cubicBezTo>
                    <a:pt x="166" y="239"/>
                    <a:pt x="184" y="286"/>
                    <a:pt x="213" y="320"/>
                  </a:cubicBezTo>
                  <a:cubicBezTo>
                    <a:pt x="201" y="327"/>
                    <a:pt x="186" y="332"/>
                    <a:pt x="169" y="339"/>
                  </a:cubicBezTo>
                  <a:cubicBezTo>
                    <a:pt x="97" y="365"/>
                    <a:pt x="0" y="402"/>
                    <a:pt x="0" y="560"/>
                  </a:cubicBezTo>
                  <a:cubicBezTo>
                    <a:pt x="0" y="566"/>
                    <a:pt x="5" y="571"/>
                    <a:pt x="11" y="571"/>
                  </a:cubicBezTo>
                  <a:lnTo>
                    <a:pt x="627" y="571"/>
                  </a:lnTo>
                  <a:cubicBezTo>
                    <a:pt x="634" y="571"/>
                    <a:pt x="639" y="566"/>
                    <a:pt x="639" y="560"/>
                  </a:cubicBezTo>
                  <a:cubicBezTo>
                    <a:pt x="639" y="402"/>
                    <a:pt x="541" y="365"/>
                    <a:pt x="469" y="339"/>
                  </a:cubicBezTo>
                  <a:close/>
                </a:path>
              </a:pathLst>
            </a:custGeom>
            <a:solidFill>
              <a:srgbClr val="000000"/>
            </a:solidFill>
            <a:ln>
              <a:solidFill>
                <a:schemeClr val="bg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50BC4724-9B19-B54E-D05B-760093E5DA11}"/>
                </a:ext>
              </a:extLst>
            </p:cNvPr>
            <p:cNvSpPr txBox="1"/>
            <p:nvPr/>
          </p:nvSpPr>
          <p:spPr>
            <a:xfrm>
              <a:off x="1560977" y="2936992"/>
              <a:ext cx="116230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+mn-cs"/>
                </a:rPr>
                <a:t>Advisor</a:t>
              </a:r>
            </a:p>
          </p:txBody>
        </p: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EC9BBD85-4013-C6CC-495C-44AFD212D65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30636" y="5555105"/>
            <a:ext cx="505177" cy="503999"/>
            <a:chOff x="5508" y="437"/>
            <a:chExt cx="428" cy="427"/>
          </a:xfrm>
          <a:solidFill>
            <a:schemeClr val="accent2"/>
          </a:solidFill>
        </p:grpSpPr>
        <p:sp>
          <p:nvSpPr>
            <p:cNvPr id="123" name="Freeform 47">
              <a:extLst>
                <a:ext uri="{FF2B5EF4-FFF2-40B4-BE49-F238E27FC236}">
                  <a16:creationId xmlns:a16="http://schemas.microsoft.com/office/drawing/2014/main" id="{8F68513F-6AB8-CE02-6D1A-F5D3A72642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39" y="668"/>
              <a:ext cx="154" cy="153"/>
            </a:xfrm>
            <a:custGeom>
              <a:avLst/>
              <a:gdLst>
                <a:gd name="T0" fmla="*/ 52 w 104"/>
                <a:gd name="T1" fmla="*/ 103 h 103"/>
                <a:gd name="T2" fmla="*/ 0 w 104"/>
                <a:gd name="T3" fmla="*/ 52 h 103"/>
                <a:gd name="T4" fmla="*/ 52 w 104"/>
                <a:gd name="T5" fmla="*/ 0 h 103"/>
                <a:gd name="T6" fmla="*/ 104 w 104"/>
                <a:gd name="T7" fmla="*/ 52 h 103"/>
                <a:gd name="T8" fmla="*/ 52 w 104"/>
                <a:gd name="T9" fmla="*/ 103 h 103"/>
                <a:gd name="T10" fmla="*/ 52 w 104"/>
                <a:gd name="T11" fmla="*/ 12 h 103"/>
                <a:gd name="T12" fmla="*/ 12 w 104"/>
                <a:gd name="T13" fmla="*/ 52 h 103"/>
                <a:gd name="T14" fmla="*/ 52 w 104"/>
                <a:gd name="T15" fmla="*/ 91 h 103"/>
                <a:gd name="T16" fmla="*/ 92 w 104"/>
                <a:gd name="T17" fmla="*/ 52 h 103"/>
                <a:gd name="T18" fmla="*/ 52 w 104"/>
                <a:gd name="T19" fmla="*/ 1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3">
                  <a:moveTo>
                    <a:pt x="52" y="103"/>
                  </a:moveTo>
                  <a:cubicBezTo>
                    <a:pt x="24" y="103"/>
                    <a:pt x="0" y="80"/>
                    <a:pt x="0" y="52"/>
                  </a:cubicBezTo>
                  <a:cubicBezTo>
                    <a:pt x="0" y="23"/>
                    <a:pt x="24" y="0"/>
                    <a:pt x="52" y="0"/>
                  </a:cubicBezTo>
                  <a:cubicBezTo>
                    <a:pt x="81" y="0"/>
                    <a:pt x="104" y="23"/>
                    <a:pt x="104" y="52"/>
                  </a:cubicBezTo>
                  <a:cubicBezTo>
                    <a:pt x="104" y="80"/>
                    <a:pt x="81" y="103"/>
                    <a:pt x="52" y="103"/>
                  </a:cubicBezTo>
                  <a:close/>
                  <a:moveTo>
                    <a:pt x="52" y="12"/>
                  </a:moveTo>
                  <a:cubicBezTo>
                    <a:pt x="30" y="12"/>
                    <a:pt x="12" y="30"/>
                    <a:pt x="12" y="52"/>
                  </a:cubicBezTo>
                  <a:cubicBezTo>
                    <a:pt x="12" y="74"/>
                    <a:pt x="30" y="91"/>
                    <a:pt x="52" y="91"/>
                  </a:cubicBezTo>
                  <a:cubicBezTo>
                    <a:pt x="74" y="91"/>
                    <a:pt x="92" y="74"/>
                    <a:pt x="92" y="52"/>
                  </a:cubicBezTo>
                  <a:cubicBezTo>
                    <a:pt x="92" y="30"/>
                    <a:pt x="74" y="12"/>
                    <a:pt x="52" y="12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AU" kern="0">
                <a:solidFill>
                  <a:srgbClr val="455F5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Freeform 48">
              <a:extLst>
                <a:ext uri="{FF2B5EF4-FFF2-40B4-BE49-F238E27FC236}">
                  <a16:creationId xmlns:a16="http://schemas.microsoft.com/office/drawing/2014/main" id="{DDDF7A8C-BD03-DD9A-CE30-68DC268D4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4" y="782"/>
              <a:ext cx="82" cy="82"/>
            </a:xfrm>
            <a:custGeom>
              <a:avLst/>
              <a:gdLst>
                <a:gd name="T0" fmla="*/ 48 w 55"/>
                <a:gd name="T1" fmla="*/ 55 h 55"/>
                <a:gd name="T2" fmla="*/ 44 w 55"/>
                <a:gd name="T3" fmla="*/ 53 h 55"/>
                <a:gd name="T4" fmla="*/ 2 w 55"/>
                <a:gd name="T5" fmla="*/ 11 h 55"/>
                <a:gd name="T6" fmla="*/ 2 w 55"/>
                <a:gd name="T7" fmla="*/ 3 h 55"/>
                <a:gd name="T8" fmla="*/ 11 w 55"/>
                <a:gd name="T9" fmla="*/ 3 h 55"/>
                <a:gd name="T10" fmla="*/ 53 w 55"/>
                <a:gd name="T11" fmla="*/ 45 h 55"/>
                <a:gd name="T12" fmla="*/ 53 w 55"/>
                <a:gd name="T13" fmla="*/ 53 h 55"/>
                <a:gd name="T14" fmla="*/ 48 w 55"/>
                <a:gd name="T15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" h="55">
                  <a:moveTo>
                    <a:pt x="48" y="55"/>
                  </a:moveTo>
                  <a:cubicBezTo>
                    <a:pt x="47" y="55"/>
                    <a:pt x="45" y="54"/>
                    <a:pt x="44" y="5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5" y="0"/>
                    <a:pt x="8" y="0"/>
                    <a:pt x="11" y="3"/>
                  </a:cubicBezTo>
                  <a:cubicBezTo>
                    <a:pt x="53" y="45"/>
                    <a:pt x="53" y="45"/>
                    <a:pt x="53" y="45"/>
                  </a:cubicBezTo>
                  <a:cubicBezTo>
                    <a:pt x="55" y="47"/>
                    <a:pt x="55" y="51"/>
                    <a:pt x="53" y="53"/>
                  </a:cubicBezTo>
                  <a:cubicBezTo>
                    <a:pt x="52" y="54"/>
                    <a:pt x="50" y="55"/>
                    <a:pt x="48" y="55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AU" kern="0">
                <a:solidFill>
                  <a:srgbClr val="455F5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Freeform 49">
              <a:extLst>
                <a:ext uri="{FF2B5EF4-FFF2-40B4-BE49-F238E27FC236}">
                  <a16:creationId xmlns:a16="http://schemas.microsoft.com/office/drawing/2014/main" id="{6788089D-8C4D-3808-2DC4-7B789771CE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8" y="437"/>
              <a:ext cx="355" cy="160"/>
            </a:xfrm>
            <a:custGeom>
              <a:avLst/>
              <a:gdLst>
                <a:gd name="T0" fmla="*/ 120 w 240"/>
                <a:gd name="T1" fmla="*/ 108 h 108"/>
                <a:gd name="T2" fmla="*/ 0 w 240"/>
                <a:gd name="T3" fmla="*/ 54 h 108"/>
                <a:gd name="T4" fmla="*/ 120 w 240"/>
                <a:gd name="T5" fmla="*/ 0 h 108"/>
                <a:gd name="T6" fmla="*/ 240 w 240"/>
                <a:gd name="T7" fmla="*/ 54 h 108"/>
                <a:gd name="T8" fmla="*/ 120 w 240"/>
                <a:gd name="T9" fmla="*/ 108 h 108"/>
                <a:gd name="T10" fmla="*/ 120 w 240"/>
                <a:gd name="T11" fmla="*/ 12 h 108"/>
                <a:gd name="T12" fmla="*/ 12 w 240"/>
                <a:gd name="T13" fmla="*/ 54 h 108"/>
                <a:gd name="T14" fmla="*/ 120 w 240"/>
                <a:gd name="T15" fmla="*/ 96 h 108"/>
                <a:gd name="T16" fmla="*/ 228 w 240"/>
                <a:gd name="T17" fmla="*/ 54 h 108"/>
                <a:gd name="T18" fmla="*/ 120 w 240"/>
                <a:gd name="T19" fmla="*/ 1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0" h="108">
                  <a:moveTo>
                    <a:pt x="120" y="108"/>
                  </a:moveTo>
                  <a:cubicBezTo>
                    <a:pt x="53" y="108"/>
                    <a:pt x="0" y="84"/>
                    <a:pt x="0" y="54"/>
                  </a:cubicBezTo>
                  <a:cubicBezTo>
                    <a:pt x="0" y="24"/>
                    <a:pt x="53" y="0"/>
                    <a:pt x="120" y="0"/>
                  </a:cubicBezTo>
                  <a:cubicBezTo>
                    <a:pt x="188" y="0"/>
                    <a:pt x="240" y="24"/>
                    <a:pt x="240" y="54"/>
                  </a:cubicBezTo>
                  <a:cubicBezTo>
                    <a:pt x="240" y="84"/>
                    <a:pt x="188" y="108"/>
                    <a:pt x="120" y="108"/>
                  </a:cubicBezTo>
                  <a:close/>
                  <a:moveTo>
                    <a:pt x="120" y="12"/>
                  </a:moveTo>
                  <a:cubicBezTo>
                    <a:pt x="57" y="12"/>
                    <a:pt x="12" y="34"/>
                    <a:pt x="12" y="54"/>
                  </a:cubicBezTo>
                  <a:cubicBezTo>
                    <a:pt x="12" y="74"/>
                    <a:pt x="57" y="96"/>
                    <a:pt x="120" y="96"/>
                  </a:cubicBezTo>
                  <a:cubicBezTo>
                    <a:pt x="184" y="96"/>
                    <a:pt x="228" y="74"/>
                    <a:pt x="228" y="54"/>
                  </a:cubicBezTo>
                  <a:cubicBezTo>
                    <a:pt x="228" y="34"/>
                    <a:pt x="184" y="12"/>
                    <a:pt x="120" y="12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AU" kern="0">
                <a:solidFill>
                  <a:srgbClr val="455F5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Freeform 50">
              <a:extLst>
                <a:ext uri="{FF2B5EF4-FFF2-40B4-BE49-F238E27FC236}">
                  <a16:creationId xmlns:a16="http://schemas.microsoft.com/office/drawing/2014/main" id="{8E005C1A-D0AD-7AB2-BF95-EE21E755A9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8" y="579"/>
              <a:ext cx="215" cy="89"/>
            </a:xfrm>
            <a:custGeom>
              <a:avLst/>
              <a:gdLst>
                <a:gd name="T0" fmla="*/ 120 w 145"/>
                <a:gd name="T1" fmla="*/ 60 h 60"/>
                <a:gd name="T2" fmla="*/ 0 w 145"/>
                <a:gd name="T3" fmla="*/ 6 h 60"/>
                <a:gd name="T4" fmla="*/ 6 w 145"/>
                <a:gd name="T5" fmla="*/ 0 h 60"/>
                <a:gd name="T6" fmla="*/ 12 w 145"/>
                <a:gd name="T7" fmla="*/ 6 h 60"/>
                <a:gd name="T8" fmla="*/ 120 w 145"/>
                <a:gd name="T9" fmla="*/ 48 h 60"/>
                <a:gd name="T10" fmla="*/ 138 w 145"/>
                <a:gd name="T11" fmla="*/ 47 h 60"/>
                <a:gd name="T12" fmla="*/ 144 w 145"/>
                <a:gd name="T13" fmla="*/ 53 h 60"/>
                <a:gd name="T14" fmla="*/ 139 w 145"/>
                <a:gd name="T15" fmla="*/ 59 h 60"/>
                <a:gd name="T16" fmla="*/ 120 w 145"/>
                <a:gd name="T1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" h="60">
                  <a:moveTo>
                    <a:pt x="120" y="60"/>
                  </a:moveTo>
                  <a:cubicBezTo>
                    <a:pt x="53" y="60"/>
                    <a:pt x="0" y="3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26"/>
                    <a:pt x="57" y="48"/>
                    <a:pt x="120" y="48"/>
                  </a:cubicBezTo>
                  <a:cubicBezTo>
                    <a:pt x="126" y="48"/>
                    <a:pt x="132" y="48"/>
                    <a:pt x="138" y="47"/>
                  </a:cubicBezTo>
                  <a:cubicBezTo>
                    <a:pt x="141" y="47"/>
                    <a:pt x="144" y="50"/>
                    <a:pt x="144" y="53"/>
                  </a:cubicBezTo>
                  <a:cubicBezTo>
                    <a:pt x="145" y="56"/>
                    <a:pt x="142" y="59"/>
                    <a:pt x="139" y="59"/>
                  </a:cubicBezTo>
                  <a:cubicBezTo>
                    <a:pt x="133" y="60"/>
                    <a:pt x="126" y="60"/>
                    <a:pt x="120" y="60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AU" kern="0">
                <a:solidFill>
                  <a:srgbClr val="455F5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Freeform 51">
              <a:extLst>
                <a:ext uri="{FF2B5EF4-FFF2-40B4-BE49-F238E27FC236}">
                  <a16:creationId xmlns:a16="http://schemas.microsoft.com/office/drawing/2014/main" id="{11DEADC4-89AE-00E0-4249-665A2C55D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8" y="659"/>
              <a:ext cx="187" cy="89"/>
            </a:xfrm>
            <a:custGeom>
              <a:avLst/>
              <a:gdLst>
                <a:gd name="T0" fmla="*/ 120 w 126"/>
                <a:gd name="T1" fmla="*/ 60 h 60"/>
                <a:gd name="T2" fmla="*/ 0 w 126"/>
                <a:gd name="T3" fmla="*/ 6 h 60"/>
                <a:gd name="T4" fmla="*/ 6 w 126"/>
                <a:gd name="T5" fmla="*/ 0 h 60"/>
                <a:gd name="T6" fmla="*/ 12 w 126"/>
                <a:gd name="T7" fmla="*/ 6 h 60"/>
                <a:gd name="T8" fmla="*/ 120 w 126"/>
                <a:gd name="T9" fmla="*/ 48 h 60"/>
                <a:gd name="T10" fmla="*/ 126 w 126"/>
                <a:gd name="T11" fmla="*/ 54 h 60"/>
                <a:gd name="T12" fmla="*/ 120 w 126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60">
                  <a:moveTo>
                    <a:pt x="120" y="60"/>
                  </a:moveTo>
                  <a:cubicBezTo>
                    <a:pt x="53" y="60"/>
                    <a:pt x="0" y="3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26"/>
                    <a:pt x="57" y="48"/>
                    <a:pt x="120" y="48"/>
                  </a:cubicBezTo>
                  <a:cubicBezTo>
                    <a:pt x="124" y="48"/>
                    <a:pt x="126" y="51"/>
                    <a:pt x="126" y="54"/>
                  </a:cubicBezTo>
                  <a:cubicBezTo>
                    <a:pt x="126" y="57"/>
                    <a:pt x="124" y="60"/>
                    <a:pt x="120" y="60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AU" kern="0">
                <a:solidFill>
                  <a:srgbClr val="455F5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2" name="Freeform 52">
              <a:extLst>
                <a:ext uri="{FF2B5EF4-FFF2-40B4-BE49-F238E27FC236}">
                  <a16:creationId xmlns:a16="http://schemas.microsoft.com/office/drawing/2014/main" id="{6F4763BF-963C-88C9-3009-D9B54FC945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8" y="508"/>
              <a:ext cx="187" cy="320"/>
            </a:xfrm>
            <a:custGeom>
              <a:avLst/>
              <a:gdLst>
                <a:gd name="T0" fmla="*/ 120 w 126"/>
                <a:gd name="T1" fmla="*/ 216 h 216"/>
                <a:gd name="T2" fmla="*/ 0 w 126"/>
                <a:gd name="T3" fmla="*/ 162 h 216"/>
                <a:gd name="T4" fmla="*/ 0 w 126"/>
                <a:gd name="T5" fmla="*/ 6 h 216"/>
                <a:gd name="T6" fmla="*/ 6 w 126"/>
                <a:gd name="T7" fmla="*/ 0 h 216"/>
                <a:gd name="T8" fmla="*/ 12 w 126"/>
                <a:gd name="T9" fmla="*/ 6 h 216"/>
                <a:gd name="T10" fmla="*/ 12 w 126"/>
                <a:gd name="T11" fmla="*/ 162 h 216"/>
                <a:gd name="T12" fmla="*/ 120 w 126"/>
                <a:gd name="T13" fmla="*/ 204 h 216"/>
                <a:gd name="T14" fmla="*/ 126 w 126"/>
                <a:gd name="T15" fmla="*/ 210 h 216"/>
                <a:gd name="T16" fmla="*/ 120 w 126"/>
                <a:gd name="T17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" h="216">
                  <a:moveTo>
                    <a:pt x="120" y="216"/>
                  </a:moveTo>
                  <a:cubicBezTo>
                    <a:pt x="53" y="216"/>
                    <a:pt x="0" y="192"/>
                    <a:pt x="0" y="16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162"/>
                    <a:pt x="12" y="162"/>
                    <a:pt x="12" y="162"/>
                  </a:cubicBezTo>
                  <a:cubicBezTo>
                    <a:pt x="12" y="182"/>
                    <a:pt x="57" y="204"/>
                    <a:pt x="120" y="204"/>
                  </a:cubicBezTo>
                  <a:cubicBezTo>
                    <a:pt x="124" y="204"/>
                    <a:pt x="126" y="207"/>
                    <a:pt x="126" y="210"/>
                  </a:cubicBezTo>
                  <a:cubicBezTo>
                    <a:pt x="126" y="213"/>
                    <a:pt x="124" y="216"/>
                    <a:pt x="120" y="216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AU" kern="0">
                <a:solidFill>
                  <a:srgbClr val="455F5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3" name="Freeform 53">
              <a:extLst>
                <a:ext uri="{FF2B5EF4-FFF2-40B4-BE49-F238E27FC236}">
                  <a16:creationId xmlns:a16="http://schemas.microsoft.com/office/drawing/2014/main" id="{AD9997D2-3325-D08B-16DC-981C3CCBE2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" y="508"/>
              <a:ext cx="18" cy="116"/>
            </a:xfrm>
            <a:custGeom>
              <a:avLst/>
              <a:gdLst>
                <a:gd name="T0" fmla="*/ 6 w 12"/>
                <a:gd name="T1" fmla="*/ 78 h 78"/>
                <a:gd name="T2" fmla="*/ 0 w 12"/>
                <a:gd name="T3" fmla="*/ 72 h 78"/>
                <a:gd name="T4" fmla="*/ 0 w 12"/>
                <a:gd name="T5" fmla="*/ 6 h 78"/>
                <a:gd name="T6" fmla="*/ 6 w 12"/>
                <a:gd name="T7" fmla="*/ 0 h 78"/>
                <a:gd name="T8" fmla="*/ 12 w 12"/>
                <a:gd name="T9" fmla="*/ 6 h 78"/>
                <a:gd name="T10" fmla="*/ 12 w 12"/>
                <a:gd name="T11" fmla="*/ 72 h 78"/>
                <a:gd name="T12" fmla="*/ 6 w 12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8">
                  <a:moveTo>
                    <a:pt x="6" y="78"/>
                  </a:moveTo>
                  <a:cubicBezTo>
                    <a:pt x="3" y="78"/>
                    <a:pt x="0" y="75"/>
                    <a:pt x="0" y="7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5"/>
                    <a:pt x="10" y="78"/>
                    <a:pt x="6" y="78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AU" kern="0">
                <a:solidFill>
                  <a:srgbClr val="455F51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94" name="TextBox 193">
            <a:extLst>
              <a:ext uri="{FF2B5EF4-FFF2-40B4-BE49-F238E27FC236}">
                <a16:creationId xmlns:a16="http://schemas.microsoft.com/office/drawing/2014/main" id="{D1140B9C-D964-612F-48CC-8D0A3E21374A}"/>
              </a:ext>
            </a:extLst>
          </p:cNvPr>
          <p:cNvSpPr txBox="1"/>
          <p:nvPr/>
        </p:nvSpPr>
        <p:spPr>
          <a:xfrm>
            <a:off x="7675101" y="6084851"/>
            <a:ext cx="14620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-18"/>
              </a:rPr>
              <a:t>Knowledge Base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BAC282A6-DCBF-EA1C-7A1E-201DCE2ACCA8}"/>
              </a:ext>
            </a:extLst>
          </p:cNvPr>
          <p:cNvSpPr txBox="1"/>
          <p:nvPr/>
        </p:nvSpPr>
        <p:spPr>
          <a:xfrm>
            <a:off x="4443718" y="6103221"/>
            <a:ext cx="12505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Chatbot</a:t>
            </a:r>
          </a:p>
        </p:txBody>
      </p:sp>
      <p:sp>
        <p:nvSpPr>
          <p:cNvPr id="196" name="Freeform 25">
            <a:extLst>
              <a:ext uri="{FF2B5EF4-FFF2-40B4-BE49-F238E27FC236}">
                <a16:creationId xmlns:a16="http://schemas.microsoft.com/office/drawing/2014/main" id="{C8132E9F-A634-A99F-0116-02A584CE8A0F}"/>
              </a:ext>
            </a:extLst>
          </p:cNvPr>
          <p:cNvSpPr>
            <a:spLocks noChangeAspect="1" noEditPoints="1"/>
          </p:cNvSpPr>
          <p:nvPr/>
        </p:nvSpPr>
        <p:spPr bwMode="auto">
          <a:xfrm flipH="1">
            <a:off x="7365975" y="5678819"/>
            <a:ext cx="414486" cy="396000"/>
          </a:xfrm>
          <a:custGeom>
            <a:avLst/>
            <a:gdLst>
              <a:gd name="T0" fmla="*/ 151 w 288"/>
              <a:gd name="T1" fmla="*/ 275 h 275"/>
              <a:gd name="T2" fmla="*/ 151 w 288"/>
              <a:gd name="T3" fmla="*/ 275 h 275"/>
              <a:gd name="T4" fmla="*/ 147 w 288"/>
              <a:gd name="T5" fmla="*/ 273 h 275"/>
              <a:gd name="T6" fmla="*/ 106 w 288"/>
              <a:gd name="T7" fmla="*/ 232 h 275"/>
              <a:gd name="T8" fmla="*/ 106 w 288"/>
              <a:gd name="T9" fmla="*/ 223 h 275"/>
              <a:gd name="T10" fmla="*/ 151 w 288"/>
              <a:gd name="T11" fmla="*/ 174 h 275"/>
              <a:gd name="T12" fmla="*/ 6 w 288"/>
              <a:gd name="T13" fmla="*/ 174 h 275"/>
              <a:gd name="T14" fmla="*/ 0 w 288"/>
              <a:gd name="T15" fmla="*/ 168 h 275"/>
              <a:gd name="T16" fmla="*/ 0 w 288"/>
              <a:gd name="T17" fmla="*/ 108 h 275"/>
              <a:gd name="T18" fmla="*/ 2 w 288"/>
              <a:gd name="T19" fmla="*/ 104 h 275"/>
              <a:gd name="T20" fmla="*/ 6 w 288"/>
              <a:gd name="T21" fmla="*/ 102 h 275"/>
              <a:gd name="T22" fmla="*/ 6 w 288"/>
              <a:gd name="T23" fmla="*/ 102 h 275"/>
              <a:gd name="T24" fmla="*/ 152 w 288"/>
              <a:gd name="T25" fmla="*/ 102 h 275"/>
              <a:gd name="T26" fmla="*/ 106 w 288"/>
              <a:gd name="T27" fmla="*/ 52 h 275"/>
              <a:gd name="T28" fmla="*/ 106 w 288"/>
              <a:gd name="T29" fmla="*/ 44 h 275"/>
              <a:gd name="T30" fmla="*/ 147 w 288"/>
              <a:gd name="T31" fmla="*/ 2 h 275"/>
              <a:gd name="T32" fmla="*/ 156 w 288"/>
              <a:gd name="T33" fmla="*/ 2 h 275"/>
              <a:gd name="T34" fmla="*/ 287 w 288"/>
              <a:gd name="T35" fmla="*/ 134 h 275"/>
              <a:gd name="T36" fmla="*/ 288 w 288"/>
              <a:gd name="T37" fmla="*/ 138 h 275"/>
              <a:gd name="T38" fmla="*/ 287 w 288"/>
              <a:gd name="T39" fmla="*/ 142 h 275"/>
              <a:gd name="T40" fmla="*/ 156 w 288"/>
              <a:gd name="T41" fmla="*/ 273 h 275"/>
              <a:gd name="T42" fmla="*/ 151 w 288"/>
              <a:gd name="T43" fmla="*/ 275 h 275"/>
              <a:gd name="T44" fmla="*/ 118 w 288"/>
              <a:gd name="T45" fmla="*/ 227 h 275"/>
              <a:gd name="T46" fmla="*/ 151 w 288"/>
              <a:gd name="T47" fmla="*/ 260 h 275"/>
              <a:gd name="T48" fmla="*/ 274 w 288"/>
              <a:gd name="T49" fmla="*/ 138 h 275"/>
              <a:gd name="T50" fmla="*/ 151 w 288"/>
              <a:gd name="T51" fmla="*/ 15 h 275"/>
              <a:gd name="T52" fmla="*/ 118 w 288"/>
              <a:gd name="T53" fmla="*/ 48 h 275"/>
              <a:gd name="T54" fmla="*/ 170 w 288"/>
              <a:gd name="T55" fmla="*/ 104 h 275"/>
              <a:gd name="T56" fmla="*/ 171 w 288"/>
              <a:gd name="T57" fmla="*/ 110 h 275"/>
              <a:gd name="T58" fmla="*/ 166 w 288"/>
              <a:gd name="T59" fmla="*/ 114 h 275"/>
              <a:gd name="T60" fmla="*/ 166 w 288"/>
              <a:gd name="T61" fmla="*/ 114 h 275"/>
              <a:gd name="T62" fmla="*/ 12 w 288"/>
              <a:gd name="T63" fmla="*/ 114 h 275"/>
              <a:gd name="T64" fmla="*/ 12 w 288"/>
              <a:gd name="T65" fmla="*/ 162 h 275"/>
              <a:gd name="T66" fmla="*/ 165 w 288"/>
              <a:gd name="T67" fmla="*/ 162 h 275"/>
              <a:gd name="T68" fmla="*/ 171 w 288"/>
              <a:gd name="T69" fmla="*/ 165 h 275"/>
              <a:gd name="T70" fmla="*/ 170 w 288"/>
              <a:gd name="T71" fmla="*/ 172 h 275"/>
              <a:gd name="T72" fmla="*/ 118 w 288"/>
              <a:gd name="T73" fmla="*/ 227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88" h="275">
                <a:moveTo>
                  <a:pt x="151" y="275"/>
                </a:moveTo>
                <a:cubicBezTo>
                  <a:pt x="151" y="275"/>
                  <a:pt x="151" y="275"/>
                  <a:pt x="151" y="275"/>
                </a:cubicBezTo>
                <a:cubicBezTo>
                  <a:pt x="150" y="275"/>
                  <a:pt x="148" y="274"/>
                  <a:pt x="147" y="273"/>
                </a:cubicBezTo>
                <a:cubicBezTo>
                  <a:pt x="106" y="232"/>
                  <a:pt x="106" y="232"/>
                  <a:pt x="106" y="232"/>
                </a:cubicBezTo>
                <a:cubicBezTo>
                  <a:pt x="103" y="229"/>
                  <a:pt x="103" y="226"/>
                  <a:pt x="106" y="223"/>
                </a:cubicBezTo>
                <a:cubicBezTo>
                  <a:pt x="151" y="174"/>
                  <a:pt x="151" y="174"/>
                  <a:pt x="151" y="174"/>
                </a:cubicBezTo>
                <a:cubicBezTo>
                  <a:pt x="6" y="174"/>
                  <a:pt x="6" y="174"/>
                  <a:pt x="6" y="174"/>
                </a:cubicBezTo>
                <a:cubicBezTo>
                  <a:pt x="3" y="174"/>
                  <a:pt x="0" y="171"/>
                  <a:pt x="0" y="168"/>
                </a:cubicBezTo>
                <a:cubicBezTo>
                  <a:pt x="0" y="108"/>
                  <a:pt x="0" y="108"/>
                  <a:pt x="0" y="108"/>
                </a:cubicBezTo>
                <a:cubicBezTo>
                  <a:pt x="0" y="106"/>
                  <a:pt x="1" y="105"/>
                  <a:pt x="2" y="104"/>
                </a:cubicBezTo>
                <a:cubicBezTo>
                  <a:pt x="3" y="102"/>
                  <a:pt x="5" y="102"/>
                  <a:pt x="6" y="102"/>
                </a:cubicBezTo>
                <a:cubicBezTo>
                  <a:pt x="6" y="102"/>
                  <a:pt x="6" y="102"/>
                  <a:pt x="6" y="102"/>
                </a:cubicBezTo>
                <a:cubicBezTo>
                  <a:pt x="152" y="102"/>
                  <a:pt x="152" y="102"/>
                  <a:pt x="152" y="102"/>
                </a:cubicBezTo>
                <a:cubicBezTo>
                  <a:pt x="106" y="52"/>
                  <a:pt x="106" y="52"/>
                  <a:pt x="106" y="52"/>
                </a:cubicBezTo>
                <a:cubicBezTo>
                  <a:pt x="103" y="50"/>
                  <a:pt x="103" y="46"/>
                  <a:pt x="106" y="44"/>
                </a:cubicBezTo>
                <a:cubicBezTo>
                  <a:pt x="147" y="2"/>
                  <a:pt x="147" y="2"/>
                  <a:pt x="147" y="2"/>
                </a:cubicBezTo>
                <a:cubicBezTo>
                  <a:pt x="149" y="0"/>
                  <a:pt x="153" y="0"/>
                  <a:pt x="156" y="2"/>
                </a:cubicBezTo>
                <a:cubicBezTo>
                  <a:pt x="287" y="134"/>
                  <a:pt x="287" y="134"/>
                  <a:pt x="287" y="134"/>
                </a:cubicBezTo>
                <a:cubicBezTo>
                  <a:pt x="288" y="135"/>
                  <a:pt x="288" y="136"/>
                  <a:pt x="288" y="138"/>
                </a:cubicBezTo>
                <a:cubicBezTo>
                  <a:pt x="288" y="139"/>
                  <a:pt x="288" y="141"/>
                  <a:pt x="287" y="142"/>
                </a:cubicBezTo>
                <a:cubicBezTo>
                  <a:pt x="156" y="273"/>
                  <a:pt x="156" y="273"/>
                  <a:pt x="156" y="273"/>
                </a:cubicBezTo>
                <a:cubicBezTo>
                  <a:pt x="154" y="274"/>
                  <a:pt x="153" y="275"/>
                  <a:pt x="151" y="275"/>
                </a:cubicBezTo>
                <a:close/>
                <a:moveTo>
                  <a:pt x="118" y="227"/>
                </a:moveTo>
                <a:cubicBezTo>
                  <a:pt x="151" y="260"/>
                  <a:pt x="151" y="260"/>
                  <a:pt x="151" y="260"/>
                </a:cubicBezTo>
                <a:cubicBezTo>
                  <a:pt x="274" y="138"/>
                  <a:pt x="274" y="138"/>
                  <a:pt x="274" y="138"/>
                </a:cubicBezTo>
                <a:cubicBezTo>
                  <a:pt x="151" y="15"/>
                  <a:pt x="151" y="15"/>
                  <a:pt x="151" y="15"/>
                </a:cubicBezTo>
                <a:cubicBezTo>
                  <a:pt x="118" y="48"/>
                  <a:pt x="118" y="48"/>
                  <a:pt x="118" y="48"/>
                </a:cubicBezTo>
                <a:cubicBezTo>
                  <a:pt x="170" y="104"/>
                  <a:pt x="170" y="104"/>
                  <a:pt x="170" y="104"/>
                </a:cubicBezTo>
                <a:cubicBezTo>
                  <a:pt x="172" y="106"/>
                  <a:pt x="172" y="108"/>
                  <a:pt x="171" y="110"/>
                </a:cubicBezTo>
                <a:cubicBezTo>
                  <a:pt x="170" y="113"/>
                  <a:pt x="168" y="114"/>
                  <a:pt x="166" y="114"/>
                </a:cubicBezTo>
                <a:cubicBezTo>
                  <a:pt x="166" y="114"/>
                  <a:pt x="166" y="114"/>
                  <a:pt x="166" y="114"/>
                </a:cubicBezTo>
                <a:cubicBezTo>
                  <a:pt x="12" y="114"/>
                  <a:pt x="12" y="114"/>
                  <a:pt x="12" y="114"/>
                </a:cubicBezTo>
                <a:cubicBezTo>
                  <a:pt x="12" y="162"/>
                  <a:pt x="12" y="162"/>
                  <a:pt x="12" y="162"/>
                </a:cubicBezTo>
                <a:cubicBezTo>
                  <a:pt x="165" y="162"/>
                  <a:pt x="165" y="162"/>
                  <a:pt x="165" y="162"/>
                </a:cubicBezTo>
                <a:cubicBezTo>
                  <a:pt x="168" y="162"/>
                  <a:pt x="170" y="163"/>
                  <a:pt x="171" y="165"/>
                </a:cubicBezTo>
                <a:cubicBezTo>
                  <a:pt x="172" y="168"/>
                  <a:pt x="171" y="170"/>
                  <a:pt x="170" y="172"/>
                </a:cubicBezTo>
                <a:lnTo>
                  <a:pt x="118" y="227"/>
                </a:lnTo>
                <a:close/>
              </a:path>
            </a:pathLst>
          </a:custGeom>
          <a:solidFill>
            <a:srgbClr val="000000"/>
          </a:solidFill>
          <a:ln>
            <a:solidFill>
              <a:schemeClr val="bg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charset="0"/>
            </a:endParaRPr>
          </a:p>
        </p:txBody>
      </p:sp>
      <p:sp>
        <p:nvSpPr>
          <p:cNvPr id="197" name="Freeform 25">
            <a:extLst>
              <a:ext uri="{FF2B5EF4-FFF2-40B4-BE49-F238E27FC236}">
                <a16:creationId xmlns:a16="http://schemas.microsoft.com/office/drawing/2014/main" id="{F2A6F4C5-976E-AFF2-7A0E-0FEBDCDB1350}"/>
              </a:ext>
            </a:extLst>
          </p:cNvPr>
          <p:cNvSpPr>
            <a:spLocks noChangeAspect="1" noEditPoints="1"/>
          </p:cNvSpPr>
          <p:nvPr/>
        </p:nvSpPr>
        <p:spPr bwMode="auto">
          <a:xfrm rot="10800000" flipH="1">
            <a:off x="5526577" y="5432790"/>
            <a:ext cx="414486" cy="396000"/>
          </a:xfrm>
          <a:custGeom>
            <a:avLst/>
            <a:gdLst>
              <a:gd name="T0" fmla="*/ 151 w 288"/>
              <a:gd name="T1" fmla="*/ 275 h 275"/>
              <a:gd name="T2" fmla="*/ 151 w 288"/>
              <a:gd name="T3" fmla="*/ 275 h 275"/>
              <a:gd name="T4" fmla="*/ 147 w 288"/>
              <a:gd name="T5" fmla="*/ 273 h 275"/>
              <a:gd name="T6" fmla="*/ 106 w 288"/>
              <a:gd name="T7" fmla="*/ 232 h 275"/>
              <a:gd name="T8" fmla="*/ 106 w 288"/>
              <a:gd name="T9" fmla="*/ 223 h 275"/>
              <a:gd name="T10" fmla="*/ 151 w 288"/>
              <a:gd name="T11" fmla="*/ 174 h 275"/>
              <a:gd name="T12" fmla="*/ 6 w 288"/>
              <a:gd name="T13" fmla="*/ 174 h 275"/>
              <a:gd name="T14" fmla="*/ 0 w 288"/>
              <a:gd name="T15" fmla="*/ 168 h 275"/>
              <a:gd name="T16" fmla="*/ 0 w 288"/>
              <a:gd name="T17" fmla="*/ 108 h 275"/>
              <a:gd name="T18" fmla="*/ 2 w 288"/>
              <a:gd name="T19" fmla="*/ 104 h 275"/>
              <a:gd name="T20" fmla="*/ 6 w 288"/>
              <a:gd name="T21" fmla="*/ 102 h 275"/>
              <a:gd name="T22" fmla="*/ 6 w 288"/>
              <a:gd name="T23" fmla="*/ 102 h 275"/>
              <a:gd name="T24" fmla="*/ 152 w 288"/>
              <a:gd name="T25" fmla="*/ 102 h 275"/>
              <a:gd name="T26" fmla="*/ 106 w 288"/>
              <a:gd name="T27" fmla="*/ 52 h 275"/>
              <a:gd name="T28" fmla="*/ 106 w 288"/>
              <a:gd name="T29" fmla="*/ 44 h 275"/>
              <a:gd name="T30" fmla="*/ 147 w 288"/>
              <a:gd name="T31" fmla="*/ 2 h 275"/>
              <a:gd name="T32" fmla="*/ 156 w 288"/>
              <a:gd name="T33" fmla="*/ 2 h 275"/>
              <a:gd name="T34" fmla="*/ 287 w 288"/>
              <a:gd name="T35" fmla="*/ 134 h 275"/>
              <a:gd name="T36" fmla="*/ 288 w 288"/>
              <a:gd name="T37" fmla="*/ 138 h 275"/>
              <a:gd name="T38" fmla="*/ 287 w 288"/>
              <a:gd name="T39" fmla="*/ 142 h 275"/>
              <a:gd name="T40" fmla="*/ 156 w 288"/>
              <a:gd name="T41" fmla="*/ 273 h 275"/>
              <a:gd name="T42" fmla="*/ 151 w 288"/>
              <a:gd name="T43" fmla="*/ 275 h 275"/>
              <a:gd name="T44" fmla="*/ 118 w 288"/>
              <a:gd name="T45" fmla="*/ 227 h 275"/>
              <a:gd name="T46" fmla="*/ 151 w 288"/>
              <a:gd name="T47" fmla="*/ 260 h 275"/>
              <a:gd name="T48" fmla="*/ 274 w 288"/>
              <a:gd name="T49" fmla="*/ 138 h 275"/>
              <a:gd name="T50" fmla="*/ 151 w 288"/>
              <a:gd name="T51" fmla="*/ 15 h 275"/>
              <a:gd name="T52" fmla="*/ 118 w 288"/>
              <a:gd name="T53" fmla="*/ 48 h 275"/>
              <a:gd name="T54" fmla="*/ 170 w 288"/>
              <a:gd name="T55" fmla="*/ 104 h 275"/>
              <a:gd name="T56" fmla="*/ 171 w 288"/>
              <a:gd name="T57" fmla="*/ 110 h 275"/>
              <a:gd name="T58" fmla="*/ 166 w 288"/>
              <a:gd name="T59" fmla="*/ 114 h 275"/>
              <a:gd name="T60" fmla="*/ 166 w 288"/>
              <a:gd name="T61" fmla="*/ 114 h 275"/>
              <a:gd name="T62" fmla="*/ 12 w 288"/>
              <a:gd name="T63" fmla="*/ 114 h 275"/>
              <a:gd name="T64" fmla="*/ 12 w 288"/>
              <a:gd name="T65" fmla="*/ 162 h 275"/>
              <a:gd name="T66" fmla="*/ 165 w 288"/>
              <a:gd name="T67" fmla="*/ 162 h 275"/>
              <a:gd name="T68" fmla="*/ 171 w 288"/>
              <a:gd name="T69" fmla="*/ 165 h 275"/>
              <a:gd name="T70" fmla="*/ 170 w 288"/>
              <a:gd name="T71" fmla="*/ 172 h 275"/>
              <a:gd name="T72" fmla="*/ 118 w 288"/>
              <a:gd name="T73" fmla="*/ 227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88" h="275">
                <a:moveTo>
                  <a:pt x="151" y="275"/>
                </a:moveTo>
                <a:cubicBezTo>
                  <a:pt x="151" y="275"/>
                  <a:pt x="151" y="275"/>
                  <a:pt x="151" y="275"/>
                </a:cubicBezTo>
                <a:cubicBezTo>
                  <a:pt x="150" y="275"/>
                  <a:pt x="148" y="274"/>
                  <a:pt x="147" y="273"/>
                </a:cubicBezTo>
                <a:cubicBezTo>
                  <a:pt x="106" y="232"/>
                  <a:pt x="106" y="232"/>
                  <a:pt x="106" y="232"/>
                </a:cubicBezTo>
                <a:cubicBezTo>
                  <a:pt x="103" y="229"/>
                  <a:pt x="103" y="226"/>
                  <a:pt x="106" y="223"/>
                </a:cubicBezTo>
                <a:cubicBezTo>
                  <a:pt x="151" y="174"/>
                  <a:pt x="151" y="174"/>
                  <a:pt x="151" y="174"/>
                </a:cubicBezTo>
                <a:cubicBezTo>
                  <a:pt x="6" y="174"/>
                  <a:pt x="6" y="174"/>
                  <a:pt x="6" y="174"/>
                </a:cubicBezTo>
                <a:cubicBezTo>
                  <a:pt x="3" y="174"/>
                  <a:pt x="0" y="171"/>
                  <a:pt x="0" y="168"/>
                </a:cubicBezTo>
                <a:cubicBezTo>
                  <a:pt x="0" y="108"/>
                  <a:pt x="0" y="108"/>
                  <a:pt x="0" y="108"/>
                </a:cubicBezTo>
                <a:cubicBezTo>
                  <a:pt x="0" y="106"/>
                  <a:pt x="1" y="105"/>
                  <a:pt x="2" y="104"/>
                </a:cubicBezTo>
                <a:cubicBezTo>
                  <a:pt x="3" y="102"/>
                  <a:pt x="5" y="102"/>
                  <a:pt x="6" y="102"/>
                </a:cubicBezTo>
                <a:cubicBezTo>
                  <a:pt x="6" y="102"/>
                  <a:pt x="6" y="102"/>
                  <a:pt x="6" y="102"/>
                </a:cubicBezTo>
                <a:cubicBezTo>
                  <a:pt x="152" y="102"/>
                  <a:pt x="152" y="102"/>
                  <a:pt x="152" y="102"/>
                </a:cubicBezTo>
                <a:cubicBezTo>
                  <a:pt x="106" y="52"/>
                  <a:pt x="106" y="52"/>
                  <a:pt x="106" y="52"/>
                </a:cubicBezTo>
                <a:cubicBezTo>
                  <a:pt x="103" y="50"/>
                  <a:pt x="103" y="46"/>
                  <a:pt x="106" y="44"/>
                </a:cubicBezTo>
                <a:cubicBezTo>
                  <a:pt x="147" y="2"/>
                  <a:pt x="147" y="2"/>
                  <a:pt x="147" y="2"/>
                </a:cubicBezTo>
                <a:cubicBezTo>
                  <a:pt x="149" y="0"/>
                  <a:pt x="153" y="0"/>
                  <a:pt x="156" y="2"/>
                </a:cubicBezTo>
                <a:cubicBezTo>
                  <a:pt x="287" y="134"/>
                  <a:pt x="287" y="134"/>
                  <a:pt x="287" y="134"/>
                </a:cubicBezTo>
                <a:cubicBezTo>
                  <a:pt x="288" y="135"/>
                  <a:pt x="288" y="136"/>
                  <a:pt x="288" y="138"/>
                </a:cubicBezTo>
                <a:cubicBezTo>
                  <a:pt x="288" y="139"/>
                  <a:pt x="288" y="141"/>
                  <a:pt x="287" y="142"/>
                </a:cubicBezTo>
                <a:cubicBezTo>
                  <a:pt x="156" y="273"/>
                  <a:pt x="156" y="273"/>
                  <a:pt x="156" y="273"/>
                </a:cubicBezTo>
                <a:cubicBezTo>
                  <a:pt x="154" y="274"/>
                  <a:pt x="153" y="275"/>
                  <a:pt x="151" y="275"/>
                </a:cubicBezTo>
                <a:close/>
                <a:moveTo>
                  <a:pt x="118" y="227"/>
                </a:moveTo>
                <a:cubicBezTo>
                  <a:pt x="151" y="260"/>
                  <a:pt x="151" y="260"/>
                  <a:pt x="151" y="260"/>
                </a:cubicBezTo>
                <a:cubicBezTo>
                  <a:pt x="274" y="138"/>
                  <a:pt x="274" y="138"/>
                  <a:pt x="274" y="138"/>
                </a:cubicBezTo>
                <a:cubicBezTo>
                  <a:pt x="151" y="15"/>
                  <a:pt x="151" y="15"/>
                  <a:pt x="151" y="15"/>
                </a:cubicBezTo>
                <a:cubicBezTo>
                  <a:pt x="118" y="48"/>
                  <a:pt x="118" y="48"/>
                  <a:pt x="118" y="48"/>
                </a:cubicBezTo>
                <a:cubicBezTo>
                  <a:pt x="170" y="104"/>
                  <a:pt x="170" y="104"/>
                  <a:pt x="170" y="104"/>
                </a:cubicBezTo>
                <a:cubicBezTo>
                  <a:pt x="172" y="106"/>
                  <a:pt x="172" y="108"/>
                  <a:pt x="171" y="110"/>
                </a:cubicBezTo>
                <a:cubicBezTo>
                  <a:pt x="170" y="113"/>
                  <a:pt x="168" y="114"/>
                  <a:pt x="166" y="114"/>
                </a:cubicBezTo>
                <a:cubicBezTo>
                  <a:pt x="166" y="114"/>
                  <a:pt x="166" y="114"/>
                  <a:pt x="166" y="114"/>
                </a:cubicBezTo>
                <a:cubicBezTo>
                  <a:pt x="12" y="114"/>
                  <a:pt x="12" y="114"/>
                  <a:pt x="12" y="114"/>
                </a:cubicBezTo>
                <a:cubicBezTo>
                  <a:pt x="12" y="162"/>
                  <a:pt x="12" y="162"/>
                  <a:pt x="12" y="162"/>
                </a:cubicBezTo>
                <a:cubicBezTo>
                  <a:pt x="165" y="162"/>
                  <a:pt x="165" y="162"/>
                  <a:pt x="165" y="162"/>
                </a:cubicBezTo>
                <a:cubicBezTo>
                  <a:pt x="168" y="162"/>
                  <a:pt x="170" y="163"/>
                  <a:pt x="171" y="165"/>
                </a:cubicBezTo>
                <a:cubicBezTo>
                  <a:pt x="172" y="168"/>
                  <a:pt x="171" y="170"/>
                  <a:pt x="170" y="172"/>
                </a:cubicBezTo>
                <a:lnTo>
                  <a:pt x="118" y="227"/>
                </a:lnTo>
                <a:close/>
              </a:path>
            </a:pathLst>
          </a:custGeom>
          <a:solidFill>
            <a:srgbClr val="A100FF"/>
          </a:solidFill>
          <a:ln>
            <a:solidFill>
              <a:schemeClr val="accent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charset="0"/>
            </a:endParaRPr>
          </a:p>
        </p:txBody>
      </p:sp>
      <p:grpSp>
        <p:nvGrpSpPr>
          <p:cNvPr id="198" name="Group 72">
            <a:extLst>
              <a:ext uri="{FF2B5EF4-FFF2-40B4-BE49-F238E27FC236}">
                <a16:creationId xmlns:a16="http://schemas.microsoft.com/office/drawing/2014/main" id="{9505B50A-0B4F-66C5-68D0-EBB1C4E73D5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53609" y="5390256"/>
            <a:ext cx="511005" cy="684000"/>
            <a:chOff x="3489" y="1716"/>
            <a:chExt cx="319" cy="427"/>
          </a:xfrm>
          <a:solidFill>
            <a:srgbClr val="000000"/>
          </a:solidFill>
        </p:grpSpPr>
        <p:sp>
          <p:nvSpPr>
            <p:cNvPr id="199" name="Freeform 73">
              <a:extLst>
                <a:ext uri="{FF2B5EF4-FFF2-40B4-BE49-F238E27FC236}">
                  <a16:creationId xmlns:a16="http://schemas.microsoft.com/office/drawing/2014/main" id="{93CA03EF-DADD-23A9-A05E-89BCACA0F6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716"/>
              <a:ext cx="319" cy="196"/>
            </a:xfrm>
            <a:custGeom>
              <a:avLst/>
              <a:gdLst>
                <a:gd name="T0" fmla="*/ 41 w 216"/>
                <a:gd name="T1" fmla="*/ 132 h 132"/>
                <a:gd name="T2" fmla="*/ 10 w 216"/>
                <a:gd name="T3" fmla="*/ 120 h 132"/>
                <a:gd name="T4" fmla="*/ 0 w 216"/>
                <a:gd name="T5" fmla="*/ 94 h 132"/>
                <a:gd name="T6" fmla="*/ 14 w 216"/>
                <a:gd name="T7" fmla="*/ 65 h 132"/>
                <a:gd name="T8" fmla="*/ 41 w 216"/>
                <a:gd name="T9" fmla="*/ 56 h 132"/>
                <a:gd name="T10" fmla="*/ 108 w 216"/>
                <a:gd name="T11" fmla="*/ 0 h 132"/>
                <a:gd name="T12" fmla="*/ 168 w 216"/>
                <a:gd name="T13" fmla="*/ 34 h 132"/>
                <a:gd name="T14" fmla="*/ 201 w 216"/>
                <a:gd name="T15" fmla="*/ 49 h 132"/>
                <a:gd name="T16" fmla="*/ 216 w 216"/>
                <a:gd name="T17" fmla="*/ 83 h 132"/>
                <a:gd name="T18" fmla="*/ 171 w 216"/>
                <a:gd name="T19" fmla="*/ 132 h 132"/>
                <a:gd name="T20" fmla="*/ 170 w 216"/>
                <a:gd name="T21" fmla="*/ 132 h 132"/>
                <a:gd name="T22" fmla="*/ 41 w 216"/>
                <a:gd name="T23" fmla="*/ 132 h 132"/>
                <a:gd name="T24" fmla="*/ 41 w 216"/>
                <a:gd name="T25" fmla="*/ 132 h 132"/>
                <a:gd name="T26" fmla="*/ 39 w 216"/>
                <a:gd name="T27" fmla="*/ 68 h 132"/>
                <a:gd name="T28" fmla="*/ 21 w 216"/>
                <a:gd name="T29" fmla="*/ 74 h 132"/>
                <a:gd name="T30" fmla="*/ 12 w 216"/>
                <a:gd name="T31" fmla="*/ 94 h 132"/>
                <a:gd name="T32" fmla="*/ 18 w 216"/>
                <a:gd name="T33" fmla="*/ 112 h 132"/>
                <a:gd name="T34" fmla="*/ 41 w 216"/>
                <a:gd name="T35" fmla="*/ 120 h 132"/>
                <a:gd name="T36" fmla="*/ 170 w 216"/>
                <a:gd name="T37" fmla="*/ 120 h 132"/>
                <a:gd name="T38" fmla="*/ 204 w 216"/>
                <a:gd name="T39" fmla="*/ 83 h 132"/>
                <a:gd name="T40" fmla="*/ 193 w 216"/>
                <a:gd name="T41" fmla="*/ 57 h 132"/>
                <a:gd name="T42" fmla="*/ 164 w 216"/>
                <a:gd name="T43" fmla="*/ 46 h 132"/>
                <a:gd name="T44" fmla="*/ 159 w 216"/>
                <a:gd name="T45" fmla="*/ 43 h 132"/>
                <a:gd name="T46" fmla="*/ 108 w 216"/>
                <a:gd name="T47" fmla="*/ 12 h 132"/>
                <a:gd name="T48" fmla="*/ 52 w 216"/>
                <a:gd name="T49" fmla="*/ 63 h 132"/>
                <a:gd name="T50" fmla="*/ 50 w 216"/>
                <a:gd name="T51" fmla="*/ 67 h 132"/>
                <a:gd name="T52" fmla="*/ 45 w 216"/>
                <a:gd name="T53" fmla="*/ 68 h 132"/>
                <a:gd name="T54" fmla="*/ 39 w 216"/>
                <a:gd name="T55" fmla="*/ 6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16" h="132">
                  <a:moveTo>
                    <a:pt x="41" y="132"/>
                  </a:moveTo>
                  <a:cubicBezTo>
                    <a:pt x="39" y="132"/>
                    <a:pt x="22" y="132"/>
                    <a:pt x="10" y="120"/>
                  </a:cubicBezTo>
                  <a:cubicBezTo>
                    <a:pt x="3" y="114"/>
                    <a:pt x="0" y="105"/>
                    <a:pt x="0" y="94"/>
                  </a:cubicBezTo>
                  <a:cubicBezTo>
                    <a:pt x="0" y="83"/>
                    <a:pt x="5" y="72"/>
                    <a:pt x="14" y="65"/>
                  </a:cubicBezTo>
                  <a:cubicBezTo>
                    <a:pt x="21" y="59"/>
                    <a:pt x="31" y="55"/>
                    <a:pt x="41" y="56"/>
                  </a:cubicBezTo>
                  <a:cubicBezTo>
                    <a:pt x="46" y="24"/>
                    <a:pt x="74" y="0"/>
                    <a:pt x="108" y="0"/>
                  </a:cubicBezTo>
                  <a:cubicBezTo>
                    <a:pt x="133" y="0"/>
                    <a:pt x="156" y="13"/>
                    <a:pt x="168" y="34"/>
                  </a:cubicBezTo>
                  <a:cubicBezTo>
                    <a:pt x="180" y="35"/>
                    <a:pt x="192" y="40"/>
                    <a:pt x="201" y="49"/>
                  </a:cubicBezTo>
                  <a:cubicBezTo>
                    <a:pt x="211" y="58"/>
                    <a:pt x="216" y="70"/>
                    <a:pt x="216" y="83"/>
                  </a:cubicBezTo>
                  <a:cubicBezTo>
                    <a:pt x="216" y="117"/>
                    <a:pt x="186" y="130"/>
                    <a:pt x="171" y="132"/>
                  </a:cubicBezTo>
                  <a:cubicBezTo>
                    <a:pt x="170" y="132"/>
                    <a:pt x="170" y="132"/>
                    <a:pt x="170" y="132"/>
                  </a:cubicBezTo>
                  <a:cubicBezTo>
                    <a:pt x="41" y="132"/>
                    <a:pt x="41" y="132"/>
                    <a:pt x="41" y="132"/>
                  </a:cubicBezTo>
                  <a:cubicBezTo>
                    <a:pt x="41" y="132"/>
                    <a:pt x="41" y="132"/>
                    <a:pt x="41" y="132"/>
                  </a:cubicBezTo>
                  <a:close/>
                  <a:moveTo>
                    <a:pt x="39" y="68"/>
                  </a:moveTo>
                  <a:cubicBezTo>
                    <a:pt x="33" y="68"/>
                    <a:pt x="26" y="70"/>
                    <a:pt x="21" y="74"/>
                  </a:cubicBezTo>
                  <a:cubicBezTo>
                    <a:pt x="15" y="79"/>
                    <a:pt x="12" y="86"/>
                    <a:pt x="12" y="94"/>
                  </a:cubicBezTo>
                  <a:cubicBezTo>
                    <a:pt x="12" y="101"/>
                    <a:pt x="14" y="107"/>
                    <a:pt x="18" y="112"/>
                  </a:cubicBezTo>
                  <a:cubicBezTo>
                    <a:pt x="27" y="120"/>
                    <a:pt x="41" y="120"/>
                    <a:pt x="41" y="120"/>
                  </a:cubicBezTo>
                  <a:cubicBezTo>
                    <a:pt x="170" y="120"/>
                    <a:pt x="170" y="120"/>
                    <a:pt x="170" y="120"/>
                  </a:cubicBezTo>
                  <a:cubicBezTo>
                    <a:pt x="173" y="119"/>
                    <a:pt x="204" y="114"/>
                    <a:pt x="204" y="83"/>
                  </a:cubicBezTo>
                  <a:cubicBezTo>
                    <a:pt x="204" y="73"/>
                    <a:pt x="200" y="64"/>
                    <a:pt x="193" y="57"/>
                  </a:cubicBezTo>
                  <a:cubicBezTo>
                    <a:pt x="185" y="50"/>
                    <a:pt x="175" y="46"/>
                    <a:pt x="164" y="46"/>
                  </a:cubicBezTo>
                  <a:cubicBezTo>
                    <a:pt x="162" y="46"/>
                    <a:pt x="160" y="45"/>
                    <a:pt x="159" y="43"/>
                  </a:cubicBezTo>
                  <a:cubicBezTo>
                    <a:pt x="149" y="24"/>
                    <a:pt x="129" y="12"/>
                    <a:pt x="108" y="12"/>
                  </a:cubicBezTo>
                  <a:cubicBezTo>
                    <a:pt x="78" y="12"/>
                    <a:pt x="54" y="34"/>
                    <a:pt x="52" y="63"/>
                  </a:cubicBezTo>
                  <a:cubicBezTo>
                    <a:pt x="52" y="65"/>
                    <a:pt x="51" y="66"/>
                    <a:pt x="50" y="67"/>
                  </a:cubicBezTo>
                  <a:cubicBezTo>
                    <a:pt x="48" y="68"/>
                    <a:pt x="46" y="69"/>
                    <a:pt x="45" y="68"/>
                  </a:cubicBezTo>
                  <a:cubicBezTo>
                    <a:pt x="43" y="68"/>
                    <a:pt x="41" y="68"/>
                    <a:pt x="39" y="68"/>
                  </a:cubicBez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455F51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  <p:sp>
          <p:nvSpPr>
            <p:cNvPr id="200" name="Freeform 74">
              <a:extLst>
                <a:ext uri="{FF2B5EF4-FFF2-40B4-BE49-F238E27FC236}">
                  <a16:creationId xmlns:a16="http://schemas.microsoft.com/office/drawing/2014/main" id="{EE5563A8-64B3-21BB-8FAE-0B234E8E4A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947"/>
              <a:ext cx="319" cy="107"/>
            </a:xfrm>
            <a:custGeom>
              <a:avLst/>
              <a:gdLst>
                <a:gd name="T0" fmla="*/ 210 w 216"/>
                <a:gd name="T1" fmla="*/ 72 h 72"/>
                <a:gd name="T2" fmla="*/ 6 w 216"/>
                <a:gd name="T3" fmla="*/ 72 h 72"/>
                <a:gd name="T4" fmla="*/ 0 w 216"/>
                <a:gd name="T5" fmla="*/ 66 h 72"/>
                <a:gd name="T6" fmla="*/ 0 w 216"/>
                <a:gd name="T7" fmla="*/ 6 h 72"/>
                <a:gd name="T8" fmla="*/ 6 w 216"/>
                <a:gd name="T9" fmla="*/ 0 h 72"/>
                <a:gd name="T10" fmla="*/ 210 w 216"/>
                <a:gd name="T11" fmla="*/ 0 h 72"/>
                <a:gd name="T12" fmla="*/ 216 w 216"/>
                <a:gd name="T13" fmla="*/ 6 h 72"/>
                <a:gd name="T14" fmla="*/ 216 w 216"/>
                <a:gd name="T15" fmla="*/ 66 h 72"/>
                <a:gd name="T16" fmla="*/ 210 w 216"/>
                <a:gd name="T17" fmla="*/ 72 h 72"/>
                <a:gd name="T18" fmla="*/ 12 w 216"/>
                <a:gd name="T19" fmla="*/ 60 h 72"/>
                <a:gd name="T20" fmla="*/ 204 w 216"/>
                <a:gd name="T21" fmla="*/ 60 h 72"/>
                <a:gd name="T22" fmla="*/ 204 w 216"/>
                <a:gd name="T23" fmla="*/ 12 h 72"/>
                <a:gd name="T24" fmla="*/ 12 w 216"/>
                <a:gd name="T25" fmla="*/ 12 h 72"/>
                <a:gd name="T26" fmla="*/ 12 w 216"/>
                <a:gd name="T2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6" h="72">
                  <a:moveTo>
                    <a:pt x="210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3" y="0"/>
                    <a:pt x="216" y="3"/>
                    <a:pt x="216" y="6"/>
                  </a:cubicBezTo>
                  <a:cubicBezTo>
                    <a:pt x="216" y="66"/>
                    <a:pt x="216" y="66"/>
                    <a:pt x="216" y="66"/>
                  </a:cubicBezTo>
                  <a:cubicBezTo>
                    <a:pt x="216" y="69"/>
                    <a:pt x="213" y="72"/>
                    <a:pt x="210" y="72"/>
                  </a:cubicBezTo>
                  <a:close/>
                  <a:moveTo>
                    <a:pt x="12" y="60"/>
                  </a:moveTo>
                  <a:cubicBezTo>
                    <a:pt x="204" y="60"/>
                    <a:pt x="204" y="60"/>
                    <a:pt x="204" y="60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455F51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  <p:sp>
          <p:nvSpPr>
            <p:cNvPr id="201" name="Freeform 75">
              <a:extLst>
                <a:ext uri="{FF2B5EF4-FFF2-40B4-BE49-F238E27FC236}">
                  <a16:creationId xmlns:a16="http://schemas.microsoft.com/office/drawing/2014/main" id="{3040EFFF-F2B1-B4A9-D835-548A4150DA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2036"/>
              <a:ext cx="319" cy="107"/>
            </a:xfrm>
            <a:custGeom>
              <a:avLst/>
              <a:gdLst>
                <a:gd name="T0" fmla="*/ 210 w 216"/>
                <a:gd name="T1" fmla="*/ 72 h 72"/>
                <a:gd name="T2" fmla="*/ 6 w 216"/>
                <a:gd name="T3" fmla="*/ 72 h 72"/>
                <a:gd name="T4" fmla="*/ 0 w 216"/>
                <a:gd name="T5" fmla="*/ 66 h 72"/>
                <a:gd name="T6" fmla="*/ 0 w 216"/>
                <a:gd name="T7" fmla="*/ 6 h 72"/>
                <a:gd name="T8" fmla="*/ 6 w 216"/>
                <a:gd name="T9" fmla="*/ 0 h 72"/>
                <a:gd name="T10" fmla="*/ 210 w 216"/>
                <a:gd name="T11" fmla="*/ 0 h 72"/>
                <a:gd name="T12" fmla="*/ 216 w 216"/>
                <a:gd name="T13" fmla="*/ 6 h 72"/>
                <a:gd name="T14" fmla="*/ 216 w 216"/>
                <a:gd name="T15" fmla="*/ 66 h 72"/>
                <a:gd name="T16" fmla="*/ 210 w 216"/>
                <a:gd name="T17" fmla="*/ 72 h 72"/>
                <a:gd name="T18" fmla="*/ 12 w 216"/>
                <a:gd name="T19" fmla="*/ 60 h 72"/>
                <a:gd name="T20" fmla="*/ 204 w 216"/>
                <a:gd name="T21" fmla="*/ 60 h 72"/>
                <a:gd name="T22" fmla="*/ 204 w 216"/>
                <a:gd name="T23" fmla="*/ 12 h 72"/>
                <a:gd name="T24" fmla="*/ 12 w 216"/>
                <a:gd name="T25" fmla="*/ 12 h 72"/>
                <a:gd name="T26" fmla="*/ 12 w 216"/>
                <a:gd name="T2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6" h="72">
                  <a:moveTo>
                    <a:pt x="210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3" y="0"/>
                    <a:pt x="216" y="3"/>
                    <a:pt x="216" y="6"/>
                  </a:cubicBezTo>
                  <a:cubicBezTo>
                    <a:pt x="216" y="66"/>
                    <a:pt x="216" y="66"/>
                    <a:pt x="216" y="66"/>
                  </a:cubicBezTo>
                  <a:cubicBezTo>
                    <a:pt x="216" y="69"/>
                    <a:pt x="213" y="72"/>
                    <a:pt x="210" y="72"/>
                  </a:cubicBezTo>
                  <a:close/>
                  <a:moveTo>
                    <a:pt x="12" y="60"/>
                  </a:moveTo>
                  <a:cubicBezTo>
                    <a:pt x="204" y="60"/>
                    <a:pt x="204" y="60"/>
                    <a:pt x="204" y="60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455F51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  <p:sp>
          <p:nvSpPr>
            <p:cNvPr id="202" name="Freeform 76">
              <a:extLst>
                <a:ext uri="{FF2B5EF4-FFF2-40B4-BE49-F238E27FC236}">
                  <a16:creationId xmlns:a16="http://schemas.microsoft.com/office/drawing/2014/main" id="{DCFAB434-75C6-CFCE-9280-AE45653D84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3" y="1974"/>
              <a:ext cx="53" cy="53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21"/>
                    <a:pt x="15" y="24"/>
                    <a:pt x="18" y="24"/>
                  </a:cubicBezTo>
                  <a:cubicBezTo>
                    <a:pt x="21" y="24"/>
                    <a:pt x="24" y="21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455F51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  <p:sp>
          <p:nvSpPr>
            <p:cNvPr id="203" name="Oval 77">
              <a:extLst>
                <a:ext uri="{FF2B5EF4-FFF2-40B4-BE49-F238E27FC236}">
                  <a16:creationId xmlns:a16="http://schemas.microsoft.com/office/drawing/2014/main" id="{D593D1DE-D721-EE5B-CE42-079290C09E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0" y="1983"/>
              <a:ext cx="35" cy="35"/>
            </a:xfrm>
            <a:prstGeom prst="ellipse">
              <a:avLst/>
            </a:pr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455F51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  <p:sp>
          <p:nvSpPr>
            <p:cNvPr id="204" name="Oval 78">
              <a:extLst>
                <a:ext uri="{FF2B5EF4-FFF2-40B4-BE49-F238E27FC236}">
                  <a16:creationId xmlns:a16="http://schemas.microsoft.com/office/drawing/2014/main" id="{8CFA41E7-57AC-3211-D049-DD6C56C205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6" y="1983"/>
              <a:ext cx="36" cy="35"/>
            </a:xfrm>
            <a:prstGeom prst="ellipse">
              <a:avLst/>
            </a:pr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455F51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  <p:sp>
          <p:nvSpPr>
            <p:cNvPr id="205" name="Freeform 79">
              <a:extLst>
                <a:ext uri="{FF2B5EF4-FFF2-40B4-BE49-F238E27FC236}">
                  <a16:creationId xmlns:a16="http://schemas.microsoft.com/office/drawing/2014/main" id="{3DEBB881-3B48-0787-E446-3B82F17A82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3" y="2063"/>
              <a:ext cx="53" cy="53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21"/>
                    <a:pt x="15" y="24"/>
                    <a:pt x="18" y="24"/>
                  </a:cubicBezTo>
                  <a:cubicBezTo>
                    <a:pt x="21" y="24"/>
                    <a:pt x="24" y="21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455F51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  <p:sp>
          <p:nvSpPr>
            <p:cNvPr id="206" name="Oval 80">
              <a:extLst>
                <a:ext uri="{FF2B5EF4-FFF2-40B4-BE49-F238E27FC236}">
                  <a16:creationId xmlns:a16="http://schemas.microsoft.com/office/drawing/2014/main" id="{6D041BA8-11BB-1E28-9C7D-74EF2B6E2A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0" y="2072"/>
              <a:ext cx="35" cy="35"/>
            </a:xfrm>
            <a:prstGeom prst="ellipse">
              <a:avLst/>
            </a:pr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455F51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  <p:sp>
          <p:nvSpPr>
            <p:cNvPr id="207" name="Oval 81">
              <a:extLst>
                <a:ext uri="{FF2B5EF4-FFF2-40B4-BE49-F238E27FC236}">
                  <a16:creationId xmlns:a16="http://schemas.microsoft.com/office/drawing/2014/main" id="{061E1D39-9CC2-37B5-0068-8CE11B6DD3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6" y="2072"/>
              <a:ext cx="36" cy="35"/>
            </a:xfrm>
            <a:prstGeom prst="ellipse">
              <a:avLst/>
            </a:pr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455F51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</p:grpSp>
      <p:sp>
        <p:nvSpPr>
          <p:cNvPr id="208" name="TextBox 207">
            <a:extLst>
              <a:ext uri="{FF2B5EF4-FFF2-40B4-BE49-F238E27FC236}">
                <a16:creationId xmlns:a16="http://schemas.microsoft.com/office/drawing/2014/main" id="{B54DD548-493C-0403-FA56-1C4048910FEB}"/>
              </a:ext>
            </a:extLst>
          </p:cNvPr>
          <p:cNvSpPr txBox="1"/>
          <p:nvPr/>
        </p:nvSpPr>
        <p:spPr>
          <a:xfrm>
            <a:off x="5961701" y="6088494"/>
            <a:ext cx="19619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 panose="020B0503030202060203" pitchFamily="34" charset="0"/>
              </a:rPr>
              <a:t>GPT-4</a:t>
            </a: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 panose="020B0503030202060203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 panose="020B0503030202060203" pitchFamily="34" charset="0"/>
              </a:rPr>
              <a:t>Azure</a:t>
            </a: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 panose="020B0503030202060203" pitchFamily="34" charset="0"/>
              </a:rPr>
              <a:t> OpenAI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Graphik" panose="020B0503030202060203" pitchFamily="34" charset="0"/>
            </a:endParaRPr>
          </a:p>
        </p:txBody>
      </p:sp>
      <p:sp>
        <p:nvSpPr>
          <p:cNvPr id="209" name="Freeform 25">
            <a:extLst>
              <a:ext uri="{FF2B5EF4-FFF2-40B4-BE49-F238E27FC236}">
                <a16:creationId xmlns:a16="http://schemas.microsoft.com/office/drawing/2014/main" id="{49280A3A-653F-360A-872F-19E0AE3AEB3C}"/>
              </a:ext>
            </a:extLst>
          </p:cNvPr>
          <p:cNvSpPr>
            <a:spLocks noChangeAspect="1" noEditPoints="1"/>
          </p:cNvSpPr>
          <p:nvPr/>
        </p:nvSpPr>
        <p:spPr bwMode="auto">
          <a:xfrm rot="10800000">
            <a:off x="5509567" y="5892828"/>
            <a:ext cx="414486" cy="396000"/>
          </a:xfrm>
          <a:custGeom>
            <a:avLst/>
            <a:gdLst>
              <a:gd name="T0" fmla="*/ 151 w 288"/>
              <a:gd name="T1" fmla="*/ 275 h 275"/>
              <a:gd name="T2" fmla="*/ 151 w 288"/>
              <a:gd name="T3" fmla="*/ 275 h 275"/>
              <a:gd name="T4" fmla="*/ 147 w 288"/>
              <a:gd name="T5" fmla="*/ 273 h 275"/>
              <a:gd name="T6" fmla="*/ 106 w 288"/>
              <a:gd name="T7" fmla="*/ 232 h 275"/>
              <a:gd name="T8" fmla="*/ 106 w 288"/>
              <a:gd name="T9" fmla="*/ 223 h 275"/>
              <a:gd name="T10" fmla="*/ 151 w 288"/>
              <a:gd name="T11" fmla="*/ 174 h 275"/>
              <a:gd name="T12" fmla="*/ 6 w 288"/>
              <a:gd name="T13" fmla="*/ 174 h 275"/>
              <a:gd name="T14" fmla="*/ 0 w 288"/>
              <a:gd name="T15" fmla="*/ 168 h 275"/>
              <a:gd name="T16" fmla="*/ 0 w 288"/>
              <a:gd name="T17" fmla="*/ 108 h 275"/>
              <a:gd name="T18" fmla="*/ 2 w 288"/>
              <a:gd name="T19" fmla="*/ 104 h 275"/>
              <a:gd name="T20" fmla="*/ 6 w 288"/>
              <a:gd name="T21" fmla="*/ 102 h 275"/>
              <a:gd name="T22" fmla="*/ 6 w 288"/>
              <a:gd name="T23" fmla="*/ 102 h 275"/>
              <a:gd name="T24" fmla="*/ 152 w 288"/>
              <a:gd name="T25" fmla="*/ 102 h 275"/>
              <a:gd name="T26" fmla="*/ 106 w 288"/>
              <a:gd name="T27" fmla="*/ 52 h 275"/>
              <a:gd name="T28" fmla="*/ 106 w 288"/>
              <a:gd name="T29" fmla="*/ 44 h 275"/>
              <a:gd name="T30" fmla="*/ 147 w 288"/>
              <a:gd name="T31" fmla="*/ 2 h 275"/>
              <a:gd name="T32" fmla="*/ 156 w 288"/>
              <a:gd name="T33" fmla="*/ 2 h 275"/>
              <a:gd name="T34" fmla="*/ 287 w 288"/>
              <a:gd name="T35" fmla="*/ 134 h 275"/>
              <a:gd name="T36" fmla="*/ 288 w 288"/>
              <a:gd name="T37" fmla="*/ 138 h 275"/>
              <a:gd name="T38" fmla="*/ 287 w 288"/>
              <a:gd name="T39" fmla="*/ 142 h 275"/>
              <a:gd name="T40" fmla="*/ 156 w 288"/>
              <a:gd name="T41" fmla="*/ 273 h 275"/>
              <a:gd name="T42" fmla="*/ 151 w 288"/>
              <a:gd name="T43" fmla="*/ 275 h 275"/>
              <a:gd name="T44" fmla="*/ 118 w 288"/>
              <a:gd name="T45" fmla="*/ 227 h 275"/>
              <a:gd name="T46" fmla="*/ 151 w 288"/>
              <a:gd name="T47" fmla="*/ 260 h 275"/>
              <a:gd name="T48" fmla="*/ 274 w 288"/>
              <a:gd name="T49" fmla="*/ 138 h 275"/>
              <a:gd name="T50" fmla="*/ 151 w 288"/>
              <a:gd name="T51" fmla="*/ 15 h 275"/>
              <a:gd name="T52" fmla="*/ 118 w 288"/>
              <a:gd name="T53" fmla="*/ 48 h 275"/>
              <a:gd name="T54" fmla="*/ 170 w 288"/>
              <a:gd name="T55" fmla="*/ 104 h 275"/>
              <a:gd name="T56" fmla="*/ 171 w 288"/>
              <a:gd name="T57" fmla="*/ 110 h 275"/>
              <a:gd name="T58" fmla="*/ 166 w 288"/>
              <a:gd name="T59" fmla="*/ 114 h 275"/>
              <a:gd name="T60" fmla="*/ 166 w 288"/>
              <a:gd name="T61" fmla="*/ 114 h 275"/>
              <a:gd name="T62" fmla="*/ 12 w 288"/>
              <a:gd name="T63" fmla="*/ 114 h 275"/>
              <a:gd name="T64" fmla="*/ 12 w 288"/>
              <a:gd name="T65" fmla="*/ 162 h 275"/>
              <a:gd name="T66" fmla="*/ 165 w 288"/>
              <a:gd name="T67" fmla="*/ 162 h 275"/>
              <a:gd name="T68" fmla="*/ 171 w 288"/>
              <a:gd name="T69" fmla="*/ 165 h 275"/>
              <a:gd name="T70" fmla="*/ 170 w 288"/>
              <a:gd name="T71" fmla="*/ 172 h 275"/>
              <a:gd name="T72" fmla="*/ 118 w 288"/>
              <a:gd name="T73" fmla="*/ 227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88" h="275">
                <a:moveTo>
                  <a:pt x="151" y="275"/>
                </a:moveTo>
                <a:cubicBezTo>
                  <a:pt x="151" y="275"/>
                  <a:pt x="151" y="275"/>
                  <a:pt x="151" y="275"/>
                </a:cubicBezTo>
                <a:cubicBezTo>
                  <a:pt x="150" y="275"/>
                  <a:pt x="148" y="274"/>
                  <a:pt x="147" y="273"/>
                </a:cubicBezTo>
                <a:cubicBezTo>
                  <a:pt x="106" y="232"/>
                  <a:pt x="106" y="232"/>
                  <a:pt x="106" y="232"/>
                </a:cubicBezTo>
                <a:cubicBezTo>
                  <a:pt x="103" y="229"/>
                  <a:pt x="103" y="226"/>
                  <a:pt x="106" y="223"/>
                </a:cubicBezTo>
                <a:cubicBezTo>
                  <a:pt x="151" y="174"/>
                  <a:pt x="151" y="174"/>
                  <a:pt x="151" y="174"/>
                </a:cubicBezTo>
                <a:cubicBezTo>
                  <a:pt x="6" y="174"/>
                  <a:pt x="6" y="174"/>
                  <a:pt x="6" y="174"/>
                </a:cubicBezTo>
                <a:cubicBezTo>
                  <a:pt x="3" y="174"/>
                  <a:pt x="0" y="171"/>
                  <a:pt x="0" y="168"/>
                </a:cubicBezTo>
                <a:cubicBezTo>
                  <a:pt x="0" y="108"/>
                  <a:pt x="0" y="108"/>
                  <a:pt x="0" y="108"/>
                </a:cubicBezTo>
                <a:cubicBezTo>
                  <a:pt x="0" y="106"/>
                  <a:pt x="1" y="105"/>
                  <a:pt x="2" y="104"/>
                </a:cubicBezTo>
                <a:cubicBezTo>
                  <a:pt x="3" y="102"/>
                  <a:pt x="5" y="102"/>
                  <a:pt x="6" y="102"/>
                </a:cubicBezTo>
                <a:cubicBezTo>
                  <a:pt x="6" y="102"/>
                  <a:pt x="6" y="102"/>
                  <a:pt x="6" y="102"/>
                </a:cubicBezTo>
                <a:cubicBezTo>
                  <a:pt x="152" y="102"/>
                  <a:pt x="152" y="102"/>
                  <a:pt x="152" y="102"/>
                </a:cubicBezTo>
                <a:cubicBezTo>
                  <a:pt x="106" y="52"/>
                  <a:pt x="106" y="52"/>
                  <a:pt x="106" y="52"/>
                </a:cubicBezTo>
                <a:cubicBezTo>
                  <a:pt x="103" y="50"/>
                  <a:pt x="103" y="46"/>
                  <a:pt x="106" y="44"/>
                </a:cubicBezTo>
                <a:cubicBezTo>
                  <a:pt x="147" y="2"/>
                  <a:pt x="147" y="2"/>
                  <a:pt x="147" y="2"/>
                </a:cubicBezTo>
                <a:cubicBezTo>
                  <a:pt x="149" y="0"/>
                  <a:pt x="153" y="0"/>
                  <a:pt x="156" y="2"/>
                </a:cubicBezTo>
                <a:cubicBezTo>
                  <a:pt x="287" y="134"/>
                  <a:pt x="287" y="134"/>
                  <a:pt x="287" y="134"/>
                </a:cubicBezTo>
                <a:cubicBezTo>
                  <a:pt x="288" y="135"/>
                  <a:pt x="288" y="136"/>
                  <a:pt x="288" y="138"/>
                </a:cubicBezTo>
                <a:cubicBezTo>
                  <a:pt x="288" y="139"/>
                  <a:pt x="288" y="141"/>
                  <a:pt x="287" y="142"/>
                </a:cubicBezTo>
                <a:cubicBezTo>
                  <a:pt x="156" y="273"/>
                  <a:pt x="156" y="273"/>
                  <a:pt x="156" y="273"/>
                </a:cubicBezTo>
                <a:cubicBezTo>
                  <a:pt x="154" y="274"/>
                  <a:pt x="153" y="275"/>
                  <a:pt x="151" y="275"/>
                </a:cubicBezTo>
                <a:close/>
                <a:moveTo>
                  <a:pt x="118" y="227"/>
                </a:moveTo>
                <a:cubicBezTo>
                  <a:pt x="151" y="260"/>
                  <a:pt x="151" y="260"/>
                  <a:pt x="151" y="260"/>
                </a:cubicBezTo>
                <a:cubicBezTo>
                  <a:pt x="274" y="138"/>
                  <a:pt x="274" y="138"/>
                  <a:pt x="274" y="138"/>
                </a:cubicBezTo>
                <a:cubicBezTo>
                  <a:pt x="151" y="15"/>
                  <a:pt x="151" y="15"/>
                  <a:pt x="151" y="15"/>
                </a:cubicBezTo>
                <a:cubicBezTo>
                  <a:pt x="118" y="48"/>
                  <a:pt x="118" y="48"/>
                  <a:pt x="118" y="48"/>
                </a:cubicBezTo>
                <a:cubicBezTo>
                  <a:pt x="170" y="104"/>
                  <a:pt x="170" y="104"/>
                  <a:pt x="170" y="104"/>
                </a:cubicBezTo>
                <a:cubicBezTo>
                  <a:pt x="172" y="106"/>
                  <a:pt x="172" y="108"/>
                  <a:pt x="171" y="110"/>
                </a:cubicBezTo>
                <a:cubicBezTo>
                  <a:pt x="170" y="113"/>
                  <a:pt x="168" y="114"/>
                  <a:pt x="166" y="114"/>
                </a:cubicBezTo>
                <a:cubicBezTo>
                  <a:pt x="166" y="114"/>
                  <a:pt x="166" y="114"/>
                  <a:pt x="166" y="114"/>
                </a:cubicBezTo>
                <a:cubicBezTo>
                  <a:pt x="12" y="114"/>
                  <a:pt x="12" y="114"/>
                  <a:pt x="12" y="114"/>
                </a:cubicBezTo>
                <a:cubicBezTo>
                  <a:pt x="12" y="162"/>
                  <a:pt x="12" y="162"/>
                  <a:pt x="12" y="162"/>
                </a:cubicBezTo>
                <a:cubicBezTo>
                  <a:pt x="165" y="162"/>
                  <a:pt x="165" y="162"/>
                  <a:pt x="165" y="162"/>
                </a:cubicBezTo>
                <a:cubicBezTo>
                  <a:pt x="168" y="162"/>
                  <a:pt x="170" y="163"/>
                  <a:pt x="171" y="165"/>
                </a:cubicBezTo>
                <a:cubicBezTo>
                  <a:pt x="172" y="168"/>
                  <a:pt x="171" y="170"/>
                  <a:pt x="170" y="172"/>
                </a:cubicBezTo>
                <a:lnTo>
                  <a:pt x="118" y="227"/>
                </a:lnTo>
                <a:close/>
              </a:path>
            </a:pathLst>
          </a:custGeom>
          <a:solidFill>
            <a:srgbClr val="A100FF"/>
          </a:solidFill>
          <a:ln>
            <a:solidFill>
              <a:schemeClr val="accent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charset="0"/>
            </a:endParaRPr>
          </a:p>
        </p:txBody>
      </p:sp>
      <p:sp>
        <p:nvSpPr>
          <p:cNvPr id="210" name="Arrow: Pentagon 209">
            <a:extLst>
              <a:ext uri="{FF2B5EF4-FFF2-40B4-BE49-F238E27FC236}">
                <a16:creationId xmlns:a16="http://schemas.microsoft.com/office/drawing/2014/main" id="{1A3A24AA-452D-D637-0F7D-08644B10DC09}"/>
              </a:ext>
            </a:extLst>
          </p:cNvPr>
          <p:cNvSpPr/>
          <p:nvPr/>
        </p:nvSpPr>
        <p:spPr>
          <a:xfrm>
            <a:off x="1847787" y="4880636"/>
            <a:ext cx="1889814" cy="423215"/>
          </a:xfrm>
          <a:prstGeom prst="homePlate">
            <a:avLst>
              <a:gd name="adj" fmla="val 33847"/>
            </a:avLst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200" b="1">
                <a:solidFill>
                  <a:schemeClr val="accent1"/>
                </a:solidFill>
                <a:latin typeface="Graphik" panose="020B0503030202060203" pitchFamily="34" charset="-18"/>
              </a:rPr>
              <a:t>Mobilization</a:t>
            </a:r>
          </a:p>
        </p:txBody>
      </p:sp>
      <p:sp>
        <p:nvSpPr>
          <p:cNvPr id="211" name="Arrow: Chevron 210">
            <a:extLst>
              <a:ext uri="{FF2B5EF4-FFF2-40B4-BE49-F238E27FC236}">
                <a16:creationId xmlns:a16="http://schemas.microsoft.com/office/drawing/2014/main" id="{3C3AE2F1-9809-C1EF-1DCE-1B5B7B3C7187}"/>
              </a:ext>
            </a:extLst>
          </p:cNvPr>
          <p:cNvSpPr/>
          <p:nvPr/>
        </p:nvSpPr>
        <p:spPr>
          <a:xfrm>
            <a:off x="3637138" y="4880636"/>
            <a:ext cx="1902778" cy="423215"/>
          </a:xfrm>
          <a:prstGeom prst="chevron">
            <a:avLst>
              <a:gd name="adj" fmla="val 33847"/>
            </a:avLst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200" b="1">
                <a:solidFill>
                  <a:schemeClr val="accent1"/>
                </a:solidFill>
                <a:latin typeface="Graphik" panose="020B0503030202060203" pitchFamily="34" charset="-18"/>
              </a:rPr>
              <a:t>Sprint 1</a:t>
            </a:r>
          </a:p>
          <a:p>
            <a:pPr algn="ctr"/>
            <a:r>
              <a:rPr lang="pl-PL" sz="1200">
                <a:solidFill>
                  <a:schemeClr val="accent1"/>
                </a:solidFill>
                <a:latin typeface="Graphik" panose="020B0503030202060203" pitchFamily="34" charset="-18"/>
              </a:rPr>
              <a:t>C</a:t>
            </a:r>
            <a:r>
              <a:rPr lang="en-US" sz="1200" err="1">
                <a:solidFill>
                  <a:schemeClr val="accent1"/>
                </a:solidFill>
                <a:latin typeface="Graphik" panose="020B0503030202060203" pitchFamily="34" charset="-18"/>
              </a:rPr>
              <a:t>onfiguration</a:t>
            </a:r>
            <a:endParaRPr lang="en-US" sz="1200">
              <a:solidFill>
                <a:schemeClr val="accent1"/>
              </a:solidFill>
              <a:latin typeface="Graphik" panose="020B0503030202060203" pitchFamily="34" charset="-18"/>
            </a:endParaRPr>
          </a:p>
        </p:txBody>
      </p:sp>
      <p:sp>
        <p:nvSpPr>
          <p:cNvPr id="212" name="Arrow: Chevron 211">
            <a:extLst>
              <a:ext uri="{FF2B5EF4-FFF2-40B4-BE49-F238E27FC236}">
                <a16:creationId xmlns:a16="http://schemas.microsoft.com/office/drawing/2014/main" id="{C973D321-6A2C-1898-03D9-7EA3714946B3}"/>
              </a:ext>
            </a:extLst>
          </p:cNvPr>
          <p:cNvSpPr/>
          <p:nvPr/>
        </p:nvSpPr>
        <p:spPr>
          <a:xfrm>
            <a:off x="5457492" y="4880636"/>
            <a:ext cx="1939605" cy="423215"/>
          </a:xfrm>
          <a:prstGeom prst="chevron">
            <a:avLst>
              <a:gd name="adj" fmla="val 33847"/>
            </a:avLst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200" b="1">
                <a:solidFill>
                  <a:schemeClr val="accent1"/>
                </a:solidFill>
                <a:latin typeface="Graphik" panose="020B0503030202060203" pitchFamily="34" charset="-18"/>
              </a:rPr>
              <a:t>Sprint 2</a:t>
            </a:r>
          </a:p>
          <a:p>
            <a:pPr algn="ctr"/>
            <a:r>
              <a:rPr lang="en-US" sz="1200">
                <a:solidFill>
                  <a:schemeClr val="accent1"/>
                </a:solidFill>
                <a:latin typeface="Graphik" panose="020B0503030202060203" pitchFamily="34" charset="-18"/>
              </a:rPr>
              <a:t>Customization</a:t>
            </a:r>
          </a:p>
        </p:txBody>
      </p:sp>
      <p:sp>
        <p:nvSpPr>
          <p:cNvPr id="213" name="Arrow: Chevron 212">
            <a:extLst>
              <a:ext uri="{FF2B5EF4-FFF2-40B4-BE49-F238E27FC236}">
                <a16:creationId xmlns:a16="http://schemas.microsoft.com/office/drawing/2014/main" id="{51BFEE97-52C0-6789-A066-2336AECC946D}"/>
              </a:ext>
            </a:extLst>
          </p:cNvPr>
          <p:cNvSpPr/>
          <p:nvPr/>
        </p:nvSpPr>
        <p:spPr>
          <a:xfrm>
            <a:off x="7295014" y="4880636"/>
            <a:ext cx="1902778" cy="423215"/>
          </a:xfrm>
          <a:prstGeom prst="chevron">
            <a:avLst>
              <a:gd name="adj" fmla="val 33847"/>
            </a:avLst>
          </a:prstGeom>
          <a:solidFill>
            <a:schemeClr val="accent5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200" b="1">
                <a:latin typeface="Graphik" panose="020B0503030202060203" pitchFamily="34" charset="-18"/>
              </a:rPr>
              <a:t>Sprint 3:</a:t>
            </a:r>
          </a:p>
          <a:p>
            <a:pPr algn="ctr"/>
            <a:r>
              <a:rPr lang="en-US" sz="1200">
                <a:latin typeface="Graphik" panose="020B0503030202060203" pitchFamily="34" charset="-18"/>
              </a:rPr>
              <a:t>Acceptance tests</a:t>
            </a:r>
          </a:p>
        </p:txBody>
      </p:sp>
      <p:sp>
        <p:nvSpPr>
          <p:cNvPr id="214" name="Arrow: Chevron 213">
            <a:extLst>
              <a:ext uri="{FF2B5EF4-FFF2-40B4-BE49-F238E27FC236}">
                <a16:creationId xmlns:a16="http://schemas.microsoft.com/office/drawing/2014/main" id="{83358312-F089-E1D1-A3F3-01C9C340E67B}"/>
              </a:ext>
            </a:extLst>
          </p:cNvPr>
          <p:cNvSpPr/>
          <p:nvPr/>
        </p:nvSpPr>
        <p:spPr>
          <a:xfrm>
            <a:off x="9102931" y="4892155"/>
            <a:ext cx="1921889" cy="423215"/>
          </a:xfrm>
          <a:prstGeom prst="chevron">
            <a:avLst>
              <a:gd name="adj" fmla="val 33847"/>
            </a:avLst>
          </a:prstGeom>
          <a:solidFill>
            <a:schemeClr val="accent5">
              <a:lumMod val="5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200" b="1">
                <a:latin typeface="Graphik" panose="020B0503030202060203" pitchFamily="34" charset="-18"/>
              </a:rPr>
              <a:t>Sprint 4</a:t>
            </a:r>
          </a:p>
          <a:p>
            <a:pPr algn="ctr"/>
            <a:r>
              <a:rPr lang="en-US" sz="1200">
                <a:solidFill>
                  <a:schemeClr val="lt1"/>
                </a:solidFill>
                <a:latin typeface="Graphik" panose="020B0503030202060203" pitchFamily="34" charset="-18"/>
              </a:rPr>
              <a:t>Implementation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37420F44-EBD0-070D-098A-964BCC19CBFC}"/>
              </a:ext>
            </a:extLst>
          </p:cNvPr>
          <p:cNvSpPr txBox="1"/>
          <p:nvPr/>
        </p:nvSpPr>
        <p:spPr>
          <a:xfrm>
            <a:off x="9019183" y="5382255"/>
            <a:ext cx="2757694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200">
                <a:solidFill>
                  <a:prstClr val="black"/>
                </a:solidFill>
                <a:latin typeface="Graphik" panose="020B0503030202060203" pitchFamily="34" charset="0"/>
                <a:ea typeface="+mn-lt"/>
                <a:cs typeface="+mn-lt"/>
              </a:rPr>
              <a:t>The </a:t>
            </a:r>
            <a:r>
              <a:rPr lang="en-US" sz="1200" b="1">
                <a:solidFill>
                  <a:prstClr val="black"/>
                </a:solidFill>
                <a:latin typeface="Graphik" panose="020B0503030202060203" pitchFamily="34" charset="0"/>
                <a:ea typeface="+mn-lt"/>
                <a:cs typeface="+mn-lt"/>
              </a:rPr>
              <a:t>LLM </a:t>
            </a:r>
            <a:r>
              <a:rPr kumimoji="0" lang="en-US" sz="1200" b="1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lt"/>
                <a:cs typeface="+mn-lt"/>
              </a:rPr>
              <a:t>GPT-4 </a:t>
            </a:r>
            <a:r>
              <a:rPr lang="en-US" sz="1200">
                <a:solidFill>
                  <a:prstClr val="black"/>
                </a:solidFill>
                <a:latin typeface="Graphik" panose="020B0503030202060203" pitchFamily="34" charset="0"/>
                <a:ea typeface="+mn-lt"/>
                <a:cs typeface="+mn-lt"/>
              </a:rPr>
              <a:t>capabilities in</a:t>
            </a:r>
            <a:r>
              <a:rPr kumimoji="0" lang="en-US" sz="1200" b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lt"/>
                <a:cs typeface="+mn-lt"/>
              </a:rPr>
              <a:t>:</a:t>
            </a:r>
            <a:endParaRPr lang="en-US" sz="1200">
              <a:solidFill>
                <a:prstClr val="black"/>
              </a:solidFill>
              <a:latin typeface="Graphik" panose="020B0503030202060203" pitchFamily="34" charset="0"/>
              <a:ea typeface="+mn-lt"/>
              <a:cs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prstClr val="black"/>
                </a:solidFill>
                <a:latin typeface="Graphik" panose="020B0503030202060203" pitchFamily="34" charset="0"/>
                <a:ea typeface="+mn-lt"/>
                <a:cs typeface="+mn-lt"/>
              </a:rPr>
              <a:t>Natural language </a:t>
            </a:r>
            <a:r>
              <a:rPr lang="pl-PL" sz="1200">
                <a:solidFill>
                  <a:prstClr val="black"/>
                </a:solidFill>
                <a:latin typeface="Graphik" panose="020B0503030202060203" pitchFamily="34" charset="0"/>
                <a:ea typeface="+mn-lt"/>
                <a:cs typeface="+mn-lt"/>
              </a:rPr>
              <a:t>interpreting</a:t>
            </a:r>
            <a:endParaRPr lang="en-US" sz="1200">
              <a:solidFill>
                <a:prstClr val="black"/>
              </a:solidFill>
              <a:latin typeface="Graphik" panose="020B0503030202060203" pitchFamily="34" charset="0"/>
              <a:ea typeface="+mn-lt"/>
              <a:cs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prstClr val="black"/>
                </a:solidFill>
                <a:latin typeface="Graphik" panose="020B0503030202060203" pitchFamily="34" charset="0"/>
                <a:ea typeface="+mn-lt"/>
                <a:cs typeface="+mn-lt"/>
              </a:rPr>
              <a:t>Content analysis</a:t>
            </a:r>
            <a:r>
              <a:rPr kumimoji="0" lang="en-US" sz="1200" b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lt"/>
                <a:cs typeface="+mn-lt"/>
              </a:rPr>
              <a:t>,</a:t>
            </a:r>
            <a:endParaRPr lang="en-US" sz="1200">
              <a:solidFill>
                <a:prstClr val="black"/>
              </a:solidFill>
              <a:latin typeface="Graphik" panose="020B0503030202060203" pitchFamily="34" charset="0"/>
              <a:ea typeface="+mn-lt"/>
              <a:cs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prstClr val="black"/>
                </a:solidFill>
                <a:latin typeface="Graphik" panose="020B0503030202060203" pitchFamily="34" charset="0"/>
                <a:ea typeface="+mn-lt"/>
                <a:cs typeface="+mn-lt"/>
              </a:rPr>
              <a:t>Reasoning</a:t>
            </a:r>
            <a:r>
              <a:rPr kumimoji="0" lang="en-US" sz="1200" b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lt"/>
                <a:cs typeface="+mn-lt"/>
              </a:rPr>
              <a:t>,</a:t>
            </a:r>
            <a:endParaRPr lang="en-US" sz="1200">
              <a:solidFill>
                <a:prstClr val="black"/>
              </a:solidFill>
              <a:latin typeface="Graphik" panose="020B0503030202060203" pitchFamily="34" charset="0"/>
              <a:ea typeface="+mn-lt"/>
              <a:cs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prstClr val="black"/>
                </a:solidFill>
                <a:latin typeface="Graphik" panose="020B0503030202060203" pitchFamily="34" charset="0"/>
                <a:ea typeface="+mn-lt"/>
                <a:cs typeface="+mn-lt"/>
              </a:rPr>
              <a:t>Summarization</a:t>
            </a:r>
            <a:r>
              <a:rPr kumimoji="0" lang="en-US" sz="1200" b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lt"/>
                <a:cs typeface="+mn-lt"/>
              </a:rPr>
              <a:t>,</a:t>
            </a:r>
            <a:endParaRPr lang="en-US" sz="1200">
              <a:solidFill>
                <a:prstClr val="black"/>
              </a:solidFill>
              <a:latin typeface="Graphik" panose="020B0503030202060203" pitchFamily="34" charset="0"/>
              <a:ea typeface="+mn-lt"/>
              <a:cs typeface="+mn-lt"/>
            </a:endParaRPr>
          </a:p>
        </p:txBody>
      </p:sp>
      <p:grpSp>
        <p:nvGrpSpPr>
          <p:cNvPr id="218" name="Group 4">
            <a:extLst>
              <a:ext uri="{FF2B5EF4-FFF2-40B4-BE49-F238E27FC236}">
                <a16:creationId xmlns:a16="http://schemas.microsoft.com/office/drawing/2014/main" id="{3A009654-7C0B-BDD8-3FDA-36CC4B8701B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39251" y="3405397"/>
            <a:ext cx="406015" cy="423884"/>
            <a:chOff x="527" y="1927"/>
            <a:chExt cx="409" cy="427"/>
          </a:xfrm>
          <a:solidFill>
            <a:srgbClr val="FFFFFF"/>
          </a:solidFill>
          <a:scene3d>
            <a:camera prst="orthographicFront">
              <a:rot lat="2100000" lon="18900000" rev="0"/>
            </a:camera>
            <a:lightRig rig="threePt" dir="t"/>
          </a:scene3d>
        </p:grpSpPr>
        <p:sp>
          <p:nvSpPr>
            <p:cNvPr id="219" name="Freeform 5">
              <a:extLst>
                <a:ext uri="{FF2B5EF4-FFF2-40B4-BE49-F238E27FC236}">
                  <a16:creationId xmlns:a16="http://schemas.microsoft.com/office/drawing/2014/main" id="{48E0C48F-7236-5E55-521B-A43838EB2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" y="1927"/>
              <a:ext cx="409" cy="71"/>
            </a:xfrm>
            <a:custGeom>
              <a:avLst/>
              <a:gdLst>
                <a:gd name="T0" fmla="*/ 270 w 276"/>
                <a:gd name="T1" fmla="*/ 48 h 48"/>
                <a:gd name="T2" fmla="*/ 6 w 276"/>
                <a:gd name="T3" fmla="*/ 48 h 48"/>
                <a:gd name="T4" fmla="*/ 0 w 276"/>
                <a:gd name="T5" fmla="*/ 42 h 48"/>
                <a:gd name="T6" fmla="*/ 0 w 276"/>
                <a:gd name="T7" fmla="*/ 6 h 48"/>
                <a:gd name="T8" fmla="*/ 6 w 276"/>
                <a:gd name="T9" fmla="*/ 0 h 48"/>
                <a:gd name="T10" fmla="*/ 270 w 276"/>
                <a:gd name="T11" fmla="*/ 0 h 48"/>
                <a:gd name="T12" fmla="*/ 276 w 276"/>
                <a:gd name="T13" fmla="*/ 6 h 48"/>
                <a:gd name="T14" fmla="*/ 276 w 276"/>
                <a:gd name="T15" fmla="*/ 42 h 48"/>
                <a:gd name="T16" fmla="*/ 270 w 276"/>
                <a:gd name="T17" fmla="*/ 48 h 48"/>
                <a:gd name="T18" fmla="*/ 12 w 276"/>
                <a:gd name="T19" fmla="*/ 36 h 48"/>
                <a:gd name="T20" fmla="*/ 264 w 276"/>
                <a:gd name="T21" fmla="*/ 36 h 48"/>
                <a:gd name="T22" fmla="*/ 264 w 276"/>
                <a:gd name="T23" fmla="*/ 12 h 48"/>
                <a:gd name="T24" fmla="*/ 12 w 276"/>
                <a:gd name="T25" fmla="*/ 12 h 48"/>
                <a:gd name="T26" fmla="*/ 12 w 276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6" h="48">
                  <a:moveTo>
                    <a:pt x="270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73" y="0"/>
                    <a:pt x="276" y="3"/>
                    <a:pt x="276" y="6"/>
                  </a:cubicBezTo>
                  <a:cubicBezTo>
                    <a:pt x="276" y="42"/>
                    <a:pt x="276" y="42"/>
                    <a:pt x="276" y="42"/>
                  </a:cubicBezTo>
                  <a:cubicBezTo>
                    <a:pt x="276" y="45"/>
                    <a:pt x="273" y="48"/>
                    <a:pt x="270" y="48"/>
                  </a:cubicBezTo>
                  <a:close/>
                  <a:moveTo>
                    <a:pt x="12" y="36"/>
                  </a:moveTo>
                  <a:cubicBezTo>
                    <a:pt x="264" y="36"/>
                    <a:pt x="264" y="36"/>
                    <a:pt x="264" y="36"/>
                  </a:cubicBezTo>
                  <a:cubicBezTo>
                    <a:pt x="264" y="12"/>
                    <a:pt x="264" y="12"/>
                    <a:pt x="26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20" name="Freeform 6">
              <a:extLst>
                <a:ext uri="{FF2B5EF4-FFF2-40B4-BE49-F238E27FC236}">
                  <a16:creationId xmlns:a16="http://schemas.microsoft.com/office/drawing/2014/main" id="{394759F4-5EC6-6F31-801E-DF59FB0CA7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" y="2229"/>
              <a:ext cx="409" cy="18"/>
            </a:xfrm>
            <a:custGeom>
              <a:avLst/>
              <a:gdLst>
                <a:gd name="T0" fmla="*/ 270 w 276"/>
                <a:gd name="T1" fmla="*/ 12 h 12"/>
                <a:gd name="T2" fmla="*/ 6 w 276"/>
                <a:gd name="T3" fmla="*/ 12 h 12"/>
                <a:gd name="T4" fmla="*/ 0 w 276"/>
                <a:gd name="T5" fmla="*/ 6 h 12"/>
                <a:gd name="T6" fmla="*/ 6 w 276"/>
                <a:gd name="T7" fmla="*/ 0 h 12"/>
                <a:gd name="T8" fmla="*/ 270 w 276"/>
                <a:gd name="T9" fmla="*/ 0 h 12"/>
                <a:gd name="T10" fmla="*/ 276 w 276"/>
                <a:gd name="T11" fmla="*/ 6 h 12"/>
                <a:gd name="T12" fmla="*/ 270 w 27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6" h="12">
                  <a:moveTo>
                    <a:pt x="27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73" y="0"/>
                    <a:pt x="276" y="3"/>
                    <a:pt x="276" y="6"/>
                  </a:cubicBezTo>
                  <a:cubicBezTo>
                    <a:pt x="276" y="9"/>
                    <a:pt x="273" y="12"/>
                    <a:pt x="27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21" name="Freeform 7">
              <a:extLst>
                <a:ext uri="{FF2B5EF4-FFF2-40B4-BE49-F238E27FC236}">
                  <a16:creationId xmlns:a16="http://schemas.microsoft.com/office/drawing/2014/main" id="{321E1F49-5CA2-F5BE-5852-88F46268CB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" y="1981"/>
              <a:ext cx="337" cy="266"/>
            </a:xfrm>
            <a:custGeom>
              <a:avLst/>
              <a:gdLst>
                <a:gd name="T0" fmla="*/ 222 w 228"/>
                <a:gd name="T1" fmla="*/ 180 h 180"/>
                <a:gd name="T2" fmla="*/ 6 w 228"/>
                <a:gd name="T3" fmla="*/ 180 h 180"/>
                <a:gd name="T4" fmla="*/ 0 w 228"/>
                <a:gd name="T5" fmla="*/ 174 h 180"/>
                <a:gd name="T6" fmla="*/ 0 w 228"/>
                <a:gd name="T7" fmla="*/ 6 h 180"/>
                <a:gd name="T8" fmla="*/ 6 w 228"/>
                <a:gd name="T9" fmla="*/ 0 h 180"/>
                <a:gd name="T10" fmla="*/ 222 w 228"/>
                <a:gd name="T11" fmla="*/ 0 h 180"/>
                <a:gd name="T12" fmla="*/ 228 w 228"/>
                <a:gd name="T13" fmla="*/ 6 h 180"/>
                <a:gd name="T14" fmla="*/ 228 w 228"/>
                <a:gd name="T15" fmla="*/ 174 h 180"/>
                <a:gd name="T16" fmla="*/ 222 w 228"/>
                <a:gd name="T17" fmla="*/ 180 h 180"/>
                <a:gd name="T18" fmla="*/ 12 w 228"/>
                <a:gd name="T19" fmla="*/ 168 h 180"/>
                <a:gd name="T20" fmla="*/ 216 w 228"/>
                <a:gd name="T21" fmla="*/ 168 h 180"/>
                <a:gd name="T22" fmla="*/ 216 w 228"/>
                <a:gd name="T23" fmla="*/ 12 h 180"/>
                <a:gd name="T24" fmla="*/ 12 w 228"/>
                <a:gd name="T25" fmla="*/ 12 h 180"/>
                <a:gd name="T26" fmla="*/ 12 w 228"/>
                <a:gd name="T27" fmla="*/ 16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8" h="180">
                  <a:moveTo>
                    <a:pt x="222" y="180"/>
                  </a:moveTo>
                  <a:cubicBezTo>
                    <a:pt x="6" y="180"/>
                    <a:pt x="6" y="180"/>
                    <a:pt x="6" y="180"/>
                  </a:cubicBezTo>
                  <a:cubicBezTo>
                    <a:pt x="3" y="180"/>
                    <a:pt x="0" y="177"/>
                    <a:pt x="0" y="17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25" y="0"/>
                    <a:pt x="228" y="3"/>
                    <a:pt x="228" y="6"/>
                  </a:cubicBezTo>
                  <a:cubicBezTo>
                    <a:pt x="228" y="174"/>
                    <a:pt x="228" y="174"/>
                    <a:pt x="228" y="174"/>
                  </a:cubicBezTo>
                  <a:cubicBezTo>
                    <a:pt x="228" y="177"/>
                    <a:pt x="225" y="180"/>
                    <a:pt x="222" y="180"/>
                  </a:cubicBezTo>
                  <a:close/>
                  <a:moveTo>
                    <a:pt x="12" y="168"/>
                  </a:moveTo>
                  <a:cubicBezTo>
                    <a:pt x="216" y="168"/>
                    <a:pt x="216" y="168"/>
                    <a:pt x="216" y="168"/>
                  </a:cubicBezTo>
                  <a:cubicBezTo>
                    <a:pt x="216" y="12"/>
                    <a:pt x="216" y="12"/>
                    <a:pt x="21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22" name="Rectangle 8">
              <a:extLst>
                <a:ext uri="{FF2B5EF4-FFF2-40B4-BE49-F238E27FC236}">
                  <a16:creationId xmlns:a16="http://schemas.microsoft.com/office/drawing/2014/main" id="{68EC6FFF-4AD9-6A56-899A-CA8C9FA00D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3" y="2238"/>
              <a:ext cx="17" cy="5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24" name="Freeform 9">
              <a:extLst>
                <a:ext uri="{FF2B5EF4-FFF2-40B4-BE49-F238E27FC236}">
                  <a16:creationId xmlns:a16="http://schemas.microsoft.com/office/drawing/2014/main" id="{F189308E-ABF4-5791-8F6D-7A75C069F4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6" y="2283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7"/>
                    <a:pt x="12" y="24"/>
                  </a:cubicBezTo>
                  <a:cubicBezTo>
                    <a:pt x="12" y="30"/>
                    <a:pt x="17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25" name="Freeform 10">
              <a:extLst>
                <a:ext uri="{FF2B5EF4-FFF2-40B4-BE49-F238E27FC236}">
                  <a16:creationId xmlns:a16="http://schemas.microsoft.com/office/drawing/2014/main" id="{A6029F7F-366B-0C70-CC0F-0B196D1903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7" y="2016"/>
              <a:ext cx="89" cy="71"/>
            </a:xfrm>
            <a:custGeom>
              <a:avLst/>
              <a:gdLst>
                <a:gd name="T0" fmla="*/ 54 w 60"/>
                <a:gd name="T1" fmla="*/ 48 h 48"/>
                <a:gd name="T2" fmla="*/ 6 w 60"/>
                <a:gd name="T3" fmla="*/ 48 h 48"/>
                <a:gd name="T4" fmla="*/ 0 w 60"/>
                <a:gd name="T5" fmla="*/ 42 h 48"/>
                <a:gd name="T6" fmla="*/ 0 w 60"/>
                <a:gd name="T7" fmla="*/ 6 h 48"/>
                <a:gd name="T8" fmla="*/ 6 w 60"/>
                <a:gd name="T9" fmla="*/ 0 h 48"/>
                <a:gd name="T10" fmla="*/ 54 w 60"/>
                <a:gd name="T11" fmla="*/ 0 h 48"/>
                <a:gd name="T12" fmla="*/ 60 w 60"/>
                <a:gd name="T13" fmla="*/ 6 h 48"/>
                <a:gd name="T14" fmla="*/ 60 w 60"/>
                <a:gd name="T15" fmla="*/ 42 h 48"/>
                <a:gd name="T16" fmla="*/ 54 w 60"/>
                <a:gd name="T17" fmla="*/ 48 h 48"/>
                <a:gd name="T18" fmla="*/ 12 w 60"/>
                <a:gd name="T19" fmla="*/ 36 h 48"/>
                <a:gd name="T20" fmla="*/ 48 w 60"/>
                <a:gd name="T21" fmla="*/ 36 h 48"/>
                <a:gd name="T22" fmla="*/ 48 w 60"/>
                <a:gd name="T23" fmla="*/ 12 h 48"/>
                <a:gd name="T24" fmla="*/ 12 w 60"/>
                <a:gd name="T25" fmla="*/ 12 h 48"/>
                <a:gd name="T26" fmla="*/ 12 w 60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48">
                  <a:moveTo>
                    <a:pt x="54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42"/>
                    <a:pt x="60" y="42"/>
                    <a:pt x="60" y="42"/>
                  </a:cubicBezTo>
                  <a:cubicBezTo>
                    <a:pt x="60" y="45"/>
                    <a:pt x="57" y="48"/>
                    <a:pt x="54" y="48"/>
                  </a:cubicBezTo>
                  <a:close/>
                  <a:moveTo>
                    <a:pt x="12" y="36"/>
                  </a:moveTo>
                  <a:cubicBezTo>
                    <a:pt x="48" y="36"/>
                    <a:pt x="48" y="36"/>
                    <a:pt x="48" y="36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26" name="Freeform 11">
              <a:extLst>
                <a:ext uri="{FF2B5EF4-FFF2-40B4-BE49-F238E27FC236}">
                  <a16:creationId xmlns:a16="http://schemas.microsoft.com/office/drawing/2014/main" id="{AC913DAD-A2E3-A4C9-B597-64A876E15C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6" y="2123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27" name="Freeform 12">
              <a:extLst>
                <a:ext uri="{FF2B5EF4-FFF2-40B4-BE49-F238E27FC236}">
                  <a16:creationId xmlns:a16="http://schemas.microsoft.com/office/drawing/2014/main" id="{D6FB050F-625F-8088-84DD-BBF987A90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4" y="2123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28" name="Freeform 13">
              <a:extLst>
                <a:ext uri="{FF2B5EF4-FFF2-40B4-BE49-F238E27FC236}">
                  <a16:creationId xmlns:a16="http://schemas.microsoft.com/office/drawing/2014/main" id="{EE01103B-30CB-E793-D365-2F2A2ABA25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" y="2123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29" name="Freeform 14">
              <a:extLst>
                <a:ext uri="{FF2B5EF4-FFF2-40B4-BE49-F238E27FC236}">
                  <a16:creationId xmlns:a16="http://schemas.microsoft.com/office/drawing/2014/main" id="{FB04699C-B90F-B599-1A3A-AB284CEC07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" y="2052"/>
              <a:ext cx="71" cy="88"/>
            </a:xfrm>
            <a:custGeom>
              <a:avLst/>
              <a:gdLst>
                <a:gd name="T0" fmla="*/ 42 w 48"/>
                <a:gd name="T1" fmla="*/ 60 h 60"/>
                <a:gd name="T2" fmla="*/ 36 w 48"/>
                <a:gd name="T3" fmla="*/ 54 h 60"/>
                <a:gd name="T4" fmla="*/ 36 w 48"/>
                <a:gd name="T5" fmla="*/ 12 h 60"/>
                <a:gd name="T6" fmla="*/ 6 w 48"/>
                <a:gd name="T7" fmla="*/ 12 h 60"/>
                <a:gd name="T8" fmla="*/ 0 w 48"/>
                <a:gd name="T9" fmla="*/ 6 h 60"/>
                <a:gd name="T10" fmla="*/ 6 w 48"/>
                <a:gd name="T11" fmla="*/ 0 h 60"/>
                <a:gd name="T12" fmla="*/ 42 w 48"/>
                <a:gd name="T13" fmla="*/ 0 h 60"/>
                <a:gd name="T14" fmla="*/ 48 w 48"/>
                <a:gd name="T15" fmla="*/ 6 h 60"/>
                <a:gd name="T16" fmla="*/ 48 w 48"/>
                <a:gd name="T17" fmla="*/ 54 h 60"/>
                <a:gd name="T18" fmla="*/ 42 w 48"/>
                <a:gd name="T1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60">
                  <a:moveTo>
                    <a:pt x="42" y="60"/>
                  </a:moveTo>
                  <a:cubicBezTo>
                    <a:pt x="39" y="60"/>
                    <a:pt x="36" y="57"/>
                    <a:pt x="36" y="54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8" y="57"/>
                    <a:pt x="45" y="60"/>
                    <a:pt x="4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30" name="Freeform 15">
              <a:extLst>
                <a:ext uri="{FF2B5EF4-FFF2-40B4-BE49-F238E27FC236}">
                  <a16:creationId xmlns:a16="http://schemas.microsoft.com/office/drawing/2014/main" id="{89759084-07EB-9A69-7294-589A8EDC7A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" y="2052"/>
              <a:ext cx="71" cy="88"/>
            </a:xfrm>
            <a:custGeom>
              <a:avLst/>
              <a:gdLst>
                <a:gd name="T0" fmla="*/ 6 w 48"/>
                <a:gd name="T1" fmla="*/ 60 h 60"/>
                <a:gd name="T2" fmla="*/ 0 w 48"/>
                <a:gd name="T3" fmla="*/ 54 h 60"/>
                <a:gd name="T4" fmla="*/ 0 w 48"/>
                <a:gd name="T5" fmla="*/ 6 h 60"/>
                <a:gd name="T6" fmla="*/ 6 w 48"/>
                <a:gd name="T7" fmla="*/ 0 h 60"/>
                <a:gd name="T8" fmla="*/ 42 w 48"/>
                <a:gd name="T9" fmla="*/ 0 h 60"/>
                <a:gd name="T10" fmla="*/ 48 w 48"/>
                <a:gd name="T11" fmla="*/ 6 h 60"/>
                <a:gd name="T12" fmla="*/ 42 w 48"/>
                <a:gd name="T13" fmla="*/ 12 h 60"/>
                <a:gd name="T14" fmla="*/ 12 w 48"/>
                <a:gd name="T15" fmla="*/ 12 h 60"/>
                <a:gd name="T16" fmla="*/ 12 w 48"/>
                <a:gd name="T17" fmla="*/ 54 h 60"/>
                <a:gd name="T18" fmla="*/ 6 w 48"/>
                <a:gd name="T1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60">
                  <a:moveTo>
                    <a:pt x="6" y="60"/>
                  </a:move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7"/>
                    <a:pt x="9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31" name="Rectangle 16">
              <a:extLst>
                <a:ext uri="{FF2B5EF4-FFF2-40B4-BE49-F238E27FC236}">
                  <a16:creationId xmlns:a16="http://schemas.microsoft.com/office/drawing/2014/main" id="{67B22125-5850-7BE1-C681-E213C8A660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3" y="2078"/>
              <a:ext cx="17" cy="5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</p:grpSp>
      <p:pic>
        <p:nvPicPr>
          <p:cNvPr id="233" name="Picture 232">
            <a:extLst>
              <a:ext uri="{FF2B5EF4-FFF2-40B4-BE49-F238E27FC236}">
                <a16:creationId xmlns:a16="http://schemas.microsoft.com/office/drawing/2014/main" id="{9D0F6A3E-AC57-3FB6-9621-B430BD27724F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E1E1E1"/>
              </a:clrFrom>
              <a:clrTo>
                <a:srgbClr val="E1E1E1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921727" y="3037407"/>
            <a:ext cx="2739190" cy="1388529"/>
          </a:xfrm>
          <a:prstGeom prst="rect">
            <a:avLst/>
          </a:prstGeom>
        </p:spPr>
      </p:pic>
      <p:pic>
        <p:nvPicPr>
          <p:cNvPr id="234" name="Picture 233">
            <a:extLst>
              <a:ext uri="{FF2B5EF4-FFF2-40B4-BE49-F238E27FC236}">
                <a16:creationId xmlns:a16="http://schemas.microsoft.com/office/drawing/2014/main" id="{D00F4D30-E935-4169-E479-E46451D233CB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43500" t="40987" r="37511" b="-1745"/>
          <a:stretch/>
        </p:blipFill>
        <p:spPr>
          <a:xfrm>
            <a:off x="4827517" y="3054462"/>
            <a:ext cx="744677" cy="14716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36" name="Picture 235" descr="A purple and black logo&#10;&#10;Description automatically generated">
            <a:extLst>
              <a:ext uri="{FF2B5EF4-FFF2-40B4-BE49-F238E27FC236}">
                <a16:creationId xmlns:a16="http://schemas.microsoft.com/office/drawing/2014/main" id="{AC59E532-12BD-ADB7-3433-740274A54AB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55382" y="3028394"/>
            <a:ext cx="2061302" cy="1693406"/>
          </a:xfrm>
          <a:prstGeom prst="rect">
            <a:avLst/>
          </a:prstGeom>
          <a:effectLst/>
        </p:spPr>
      </p:pic>
      <p:sp>
        <p:nvSpPr>
          <p:cNvPr id="237" name="TextBox 236">
            <a:extLst>
              <a:ext uri="{FF2B5EF4-FFF2-40B4-BE49-F238E27FC236}">
                <a16:creationId xmlns:a16="http://schemas.microsoft.com/office/drawing/2014/main" id="{78928C00-E28E-BB1B-98C9-AC33D27BFE15}"/>
              </a:ext>
            </a:extLst>
          </p:cNvPr>
          <p:cNvSpPr txBox="1"/>
          <p:nvPr/>
        </p:nvSpPr>
        <p:spPr>
          <a:xfrm>
            <a:off x="7714534" y="3086979"/>
            <a:ext cx="3693068" cy="523220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0">
                <a:effectLst/>
              </a:rPr>
              <a:t>Gen AI</a:t>
            </a:r>
            <a:r>
              <a:rPr lang="pl-PL" sz="1400" b="1" i="0">
                <a:effectLst/>
              </a:rPr>
              <a:t> </a:t>
            </a:r>
            <a:r>
              <a:rPr lang="en-US" sz="1400" i="0">
                <a:effectLst/>
              </a:rPr>
              <a:t>applied to </a:t>
            </a:r>
            <a:r>
              <a:rPr lang="pl-PL" sz="1400" i="0">
                <a:effectLst/>
              </a:rPr>
              <a:t>make </a:t>
            </a:r>
            <a:r>
              <a:rPr lang="en-US" sz="1400" i="0">
                <a:effectLst/>
              </a:rPr>
              <a:t>data accessible to all </a:t>
            </a:r>
            <a:r>
              <a:rPr lang="en-US" sz="1400" b="1" i="0">
                <a:effectLst/>
              </a:rPr>
              <a:t>Users</a:t>
            </a:r>
            <a:r>
              <a:rPr lang="en-US" sz="1400" i="0">
                <a:effectLst/>
              </a:rPr>
              <a:t> </a:t>
            </a:r>
            <a:r>
              <a:rPr lang="pl-PL" sz="1400" i="0">
                <a:effectLst/>
              </a:rPr>
              <a:t>for </a:t>
            </a:r>
            <a:r>
              <a:rPr lang="en-US" sz="1400" b="1"/>
              <a:t>D</a:t>
            </a:r>
            <a:r>
              <a:rPr lang="en-US" sz="1400" b="1" i="0">
                <a:effectLst/>
              </a:rPr>
              <a:t>ata </a:t>
            </a:r>
            <a:r>
              <a:rPr lang="en-US" sz="1400" b="1"/>
              <a:t>I</a:t>
            </a:r>
            <a:r>
              <a:rPr lang="en-US" sz="1400" b="1" i="0">
                <a:effectLst/>
              </a:rPr>
              <a:t>nsight</a:t>
            </a:r>
            <a:r>
              <a:rPr lang="en-US" sz="1400" i="0">
                <a:effectLst/>
              </a:rPr>
              <a:t> generation.</a:t>
            </a:r>
          </a:p>
        </p:txBody>
      </p:sp>
      <p:pic>
        <p:nvPicPr>
          <p:cNvPr id="239" name="Picture 238">
            <a:extLst>
              <a:ext uri="{FF2B5EF4-FFF2-40B4-BE49-F238E27FC236}">
                <a16:creationId xmlns:a16="http://schemas.microsoft.com/office/drawing/2014/main" id="{428790BF-30E7-4564-91A8-960E84417490}"/>
              </a:ext>
            </a:extLst>
          </p:cNvPr>
          <p:cNvPicPr>
            <a:picLocks noChangeAspect="1"/>
          </p:cNvPicPr>
          <p:nvPr/>
        </p:nvPicPr>
        <p:blipFill>
          <a:blip r:embed="rId13">
            <a:clrChange>
              <a:clrFrom>
                <a:srgbClr val="E1E1E1"/>
              </a:clrFrom>
              <a:clrTo>
                <a:srgbClr val="E1E1E1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815795" y="3707932"/>
            <a:ext cx="1538499" cy="742005"/>
          </a:xfrm>
          <a:prstGeom prst="rect">
            <a:avLst/>
          </a:prstGeom>
        </p:spPr>
      </p:pic>
      <p:pic>
        <p:nvPicPr>
          <p:cNvPr id="241" name="Picture 240">
            <a:extLst>
              <a:ext uri="{FF2B5EF4-FFF2-40B4-BE49-F238E27FC236}">
                <a16:creationId xmlns:a16="http://schemas.microsoft.com/office/drawing/2014/main" id="{B6AD6683-483C-21B1-F7B7-6E2146879D3D}"/>
              </a:ext>
            </a:extLst>
          </p:cNvPr>
          <p:cNvPicPr>
            <a:picLocks noChangeAspect="1"/>
          </p:cNvPicPr>
          <p:nvPr/>
        </p:nvPicPr>
        <p:blipFill>
          <a:blip r:embed="rId14">
            <a:clrChange>
              <a:clrFrom>
                <a:srgbClr val="E1E1E1"/>
              </a:clrFrom>
              <a:clrTo>
                <a:srgbClr val="E1E1E1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753068" y="3705193"/>
            <a:ext cx="1461077" cy="742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5055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Rectangle 364">
            <a:extLst>
              <a:ext uri="{FF2B5EF4-FFF2-40B4-BE49-F238E27FC236}">
                <a16:creationId xmlns:a16="http://schemas.microsoft.com/office/drawing/2014/main" id="{EE782C3F-C94F-3415-05E2-30C77D58C065}"/>
              </a:ext>
            </a:extLst>
          </p:cNvPr>
          <p:cNvSpPr/>
          <p:nvPr/>
        </p:nvSpPr>
        <p:spPr>
          <a:xfrm>
            <a:off x="1299653" y="6858000"/>
            <a:ext cx="4599870" cy="32133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E8A82B-C4D1-4A09-9EC8-5D93EACE1C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E8A82B-C4D1-4A09-9EC8-5D93EACE1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2558906F-C64F-EF33-2CE7-EE97543099D3}"/>
              </a:ext>
            </a:extLst>
          </p:cNvPr>
          <p:cNvSpPr txBox="1">
            <a:spLocks/>
          </p:cNvSpPr>
          <p:nvPr/>
        </p:nvSpPr>
        <p:spPr>
          <a:xfrm>
            <a:off x="3422452" y="7257542"/>
            <a:ext cx="2409783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I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nsultants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/>
                <a:ea typeface="+mn-ea"/>
                <a:cs typeface="+mn-cs"/>
              </a:rPr>
              <a:t>in nearshore/offshore locations</a:t>
            </a:r>
            <a:endParaRPr kumimoji="0" lang="pl-PL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CCCFAC07-3EB2-FA6A-3A82-2958ED1F5B27}"/>
              </a:ext>
            </a:extLst>
          </p:cNvPr>
          <p:cNvSpPr txBox="1">
            <a:spLocks/>
          </p:cNvSpPr>
          <p:nvPr/>
        </p:nvSpPr>
        <p:spPr>
          <a:xfrm>
            <a:off x="2258564" y="7251350"/>
            <a:ext cx="1393371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60</a:t>
            </a:r>
            <a:r>
              <a:rPr kumimoji="0" lang="pl-PL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0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+</a:t>
            </a:r>
          </a:p>
        </p:txBody>
      </p:sp>
      <p:sp>
        <p:nvSpPr>
          <p:cNvPr id="73" name="Text Placeholder 9">
            <a:extLst>
              <a:ext uri="{FF2B5EF4-FFF2-40B4-BE49-F238E27FC236}">
                <a16:creationId xmlns:a16="http://schemas.microsoft.com/office/drawing/2014/main" id="{07F84233-924F-17DC-8C7F-2B01BAB0267E}"/>
              </a:ext>
            </a:extLst>
          </p:cNvPr>
          <p:cNvSpPr txBox="1">
            <a:spLocks/>
          </p:cNvSpPr>
          <p:nvPr/>
        </p:nvSpPr>
        <p:spPr>
          <a:xfrm>
            <a:off x="1538277" y="8165979"/>
            <a:ext cx="3931064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lping with: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285" name="Group 26">
            <a:extLst>
              <a:ext uri="{FF2B5EF4-FFF2-40B4-BE49-F238E27FC236}">
                <a16:creationId xmlns:a16="http://schemas.microsoft.com/office/drawing/2014/main" id="{C592E709-2024-BDF5-944E-3A75936A21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575451" y="7054934"/>
            <a:ext cx="761527" cy="689879"/>
            <a:chOff x="3614" y="1720"/>
            <a:chExt cx="454" cy="385"/>
          </a:xfrm>
          <a:solidFill>
            <a:schemeClr val="tx1">
              <a:lumMod val="95000"/>
              <a:lumOff val="5000"/>
            </a:schemeClr>
          </a:solidFill>
        </p:grpSpPr>
        <p:sp>
          <p:nvSpPr>
            <p:cNvPr id="286" name="Freeform 27">
              <a:extLst>
                <a:ext uri="{FF2B5EF4-FFF2-40B4-BE49-F238E27FC236}">
                  <a16:creationId xmlns:a16="http://schemas.microsoft.com/office/drawing/2014/main" id="{1E597458-4B0B-2C3E-ADE4-343C0D2C06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" y="1720"/>
              <a:ext cx="142" cy="189"/>
            </a:xfrm>
            <a:custGeom>
              <a:avLst/>
              <a:gdLst>
                <a:gd name="T0" fmla="*/ 10 w 60"/>
                <a:gd name="T1" fmla="*/ 51 h 80"/>
                <a:gd name="T2" fmla="*/ 14 w 60"/>
                <a:gd name="T3" fmla="*/ 64 h 80"/>
                <a:gd name="T4" fmla="*/ 14 w 60"/>
                <a:gd name="T5" fmla="*/ 72 h 80"/>
                <a:gd name="T6" fmla="*/ 30 w 60"/>
                <a:gd name="T7" fmla="*/ 80 h 80"/>
                <a:gd name="T8" fmla="*/ 46 w 60"/>
                <a:gd name="T9" fmla="*/ 72 h 80"/>
                <a:gd name="T10" fmla="*/ 46 w 60"/>
                <a:gd name="T11" fmla="*/ 64 h 80"/>
                <a:gd name="T12" fmla="*/ 50 w 60"/>
                <a:gd name="T13" fmla="*/ 51 h 80"/>
                <a:gd name="T14" fmla="*/ 55 w 60"/>
                <a:gd name="T15" fmla="*/ 50 h 80"/>
                <a:gd name="T16" fmla="*/ 58 w 60"/>
                <a:gd name="T17" fmla="*/ 36 h 80"/>
                <a:gd name="T18" fmla="*/ 54 w 60"/>
                <a:gd name="T19" fmla="*/ 34 h 80"/>
                <a:gd name="T20" fmla="*/ 54 w 60"/>
                <a:gd name="T21" fmla="*/ 21 h 80"/>
                <a:gd name="T22" fmla="*/ 45 w 60"/>
                <a:gd name="T23" fmla="*/ 8 h 80"/>
                <a:gd name="T24" fmla="*/ 30 w 60"/>
                <a:gd name="T25" fmla="*/ 0 h 80"/>
                <a:gd name="T26" fmla="*/ 6 w 60"/>
                <a:gd name="T27" fmla="*/ 20 h 80"/>
                <a:gd name="T28" fmla="*/ 6 w 60"/>
                <a:gd name="T29" fmla="*/ 34 h 80"/>
                <a:gd name="T30" fmla="*/ 2 w 60"/>
                <a:gd name="T31" fmla="*/ 36 h 80"/>
                <a:gd name="T32" fmla="*/ 5 w 60"/>
                <a:gd name="T33" fmla="*/ 50 h 80"/>
                <a:gd name="T34" fmla="*/ 10 w 60"/>
                <a:gd name="T35" fmla="*/ 5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" h="80">
                  <a:moveTo>
                    <a:pt x="10" y="51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30" y="80"/>
                    <a:pt x="30" y="80"/>
                    <a:pt x="30" y="80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1"/>
                    <a:pt x="53" y="51"/>
                    <a:pt x="55" y="50"/>
                  </a:cubicBezTo>
                  <a:cubicBezTo>
                    <a:pt x="58" y="47"/>
                    <a:pt x="60" y="40"/>
                    <a:pt x="58" y="36"/>
                  </a:cubicBezTo>
                  <a:cubicBezTo>
                    <a:pt x="57" y="33"/>
                    <a:pt x="54" y="34"/>
                    <a:pt x="54" y="34"/>
                  </a:cubicBezTo>
                  <a:cubicBezTo>
                    <a:pt x="54" y="34"/>
                    <a:pt x="54" y="28"/>
                    <a:pt x="54" y="21"/>
                  </a:cubicBezTo>
                  <a:cubicBezTo>
                    <a:pt x="54" y="13"/>
                    <a:pt x="52" y="8"/>
                    <a:pt x="45" y="8"/>
                  </a:cubicBezTo>
                  <a:cubicBezTo>
                    <a:pt x="43" y="3"/>
                    <a:pt x="37" y="0"/>
                    <a:pt x="30" y="0"/>
                  </a:cubicBezTo>
                  <a:cubicBezTo>
                    <a:pt x="15" y="0"/>
                    <a:pt x="6" y="9"/>
                    <a:pt x="6" y="20"/>
                  </a:cubicBezTo>
                  <a:cubicBezTo>
                    <a:pt x="6" y="27"/>
                    <a:pt x="6" y="34"/>
                    <a:pt x="6" y="34"/>
                  </a:cubicBezTo>
                  <a:cubicBezTo>
                    <a:pt x="6" y="34"/>
                    <a:pt x="3" y="33"/>
                    <a:pt x="2" y="36"/>
                  </a:cubicBezTo>
                  <a:cubicBezTo>
                    <a:pt x="0" y="40"/>
                    <a:pt x="2" y="47"/>
                    <a:pt x="5" y="50"/>
                  </a:cubicBezTo>
                  <a:cubicBezTo>
                    <a:pt x="7" y="51"/>
                    <a:pt x="10" y="51"/>
                    <a:pt x="10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12240E1C-BF45-3896-0413-CF8DDB48CA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4" y="1767"/>
              <a:ext cx="454" cy="322"/>
            </a:xfrm>
            <a:custGeom>
              <a:avLst/>
              <a:gdLst>
                <a:gd name="T0" fmla="*/ 72 w 192"/>
                <a:gd name="T1" fmla="*/ 61 h 136"/>
                <a:gd name="T2" fmla="*/ 62 w 192"/>
                <a:gd name="T3" fmla="*/ 54 h 136"/>
                <a:gd name="T4" fmla="*/ 120 w 192"/>
                <a:gd name="T5" fmla="*/ 61 h 136"/>
                <a:gd name="T6" fmla="*/ 128 w 192"/>
                <a:gd name="T7" fmla="*/ 56 h 136"/>
                <a:gd name="T8" fmla="*/ 120 w 192"/>
                <a:gd name="T9" fmla="*/ 61 h 136"/>
                <a:gd name="T10" fmla="*/ 44 w 192"/>
                <a:gd name="T11" fmla="*/ 63 h 136"/>
                <a:gd name="T12" fmla="*/ 44 w 192"/>
                <a:gd name="T13" fmla="*/ 70 h 136"/>
                <a:gd name="T14" fmla="*/ 51 w 192"/>
                <a:gd name="T15" fmla="*/ 69 h 136"/>
                <a:gd name="T16" fmla="*/ 52 w 192"/>
                <a:gd name="T17" fmla="*/ 63 h 136"/>
                <a:gd name="T18" fmla="*/ 166 w 192"/>
                <a:gd name="T19" fmla="*/ 46 h 136"/>
                <a:gd name="T20" fmla="*/ 144 w 192"/>
                <a:gd name="T21" fmla="*/ 0 h 136"/>
                <a:gd name="T22" fmla="*/ 128 w 192"/>
                <a:gd name="T23" fmla="*/ 21 h 136"/>
                <a:gd name="T24" fmla="*/ 126 w 192"/>
                <a:gd name="T25" fmla="*/ 48 h 136"/>
                <a:gd name="T26" fmla="*/ 133 w 192"/>
                <a:gd name="T27" fmla="*/ 52 h 136"/>
                <a:gd name="T28" fmla="*/ 146 w 192"/>
                <a:gd name="T29" fmla="*/ 70 h 136"/>
                <a:gd name="T30" fmla="*/ 166 w 192"/>
                <a:gd name="T31" fmla="*/ 46 h 136"/>
                <a:gd name="T32" fmla="*/ 36 w 192"/>
                <a:gd name="T33" fmla="*/ 44 h 136"/>
                <a:gd name="T34" fmla="*/ 48 w 192"/>
                <a:gd name="T35" fmla="*/ 56 h 136"/>
                <a:gd name="T36" fmla="*/ 60 w 192"/>
                <a:gd name="T37" fmla="*/ 44 h 136"/>
                <a:gd name="T38" fmla="*/ 61 w 192"/>
                <a:gd name="T39" fmla="*/ 24 h 136"/>
                <a:gd name="T40" fmla="*/ 64 w 192"/>
                <a:gd name="T41" fmla="*/ 7 h 136"/>
                <a:gd name="T42" fmla="*/ 48 w 192"/>
                <a:gd name="T43" fmla="*/ 0 h 136"/>
                <a:gd name="T44" fmla="*/ 32 w 192"/>
                <a:gd name="T45" fmla="*/ 24 h 136"/>
                <a:gd name="T46" fmla="*/ 32 w 192"/>
                <a:gd name="T47" fmla="*/ 35 h 136"/>
                <a:gd name="T48" fmla="*/ 8 w 192"/>
                <a:gd name="T49" fmla="*/ 63 h 136"/>
                <a:gd name="T50" fmla="*/ 20 w 192"/>
                <a:gd name="T51" fmla="*/ 136 h 136"/>
                <a:gd name="T52" fmla="*/ 34 w 192"/>
                <a:gd name="T53" fmla="*/ 76 h 136"/>
                <a:gd name="T54" fmla="*/ 34 w 192"/>
                <a:gd name="T55" fmla="*/ 54 h 136"/>
                <a:gd name="T56" fmla="*/ 192 w 192"/>
                <a:gd name="T57" fmla="*/ 136 h 136"/>
                <a:gd name="T58" fmla="*/ 160 w 192"/>
                <a:gd name="T59" fmla="*/ 56 h 136"/>
                <a:gd name="T60" fmla="*/ 154 w 192"/>
                <a:gd name="T61" fmla="*/ 72 h 136"/>
                <a:gd name="T62" fmla="*/ 157 w 192"/>
                <a:gd name="T63" fmla="*/ 76 h 136"/>
                <a:gd name="T64" fmla="*/ 158 w 192"/>
                <a:gd name="T65" fmla="*/ 76 h 136"/>
                <a:gd name="T66" fmla="*/ 172 w 192"/>
                <a:gd name="T67" fmla="*/ 129 h 136"/>
                <a:gd name="T68" fmla="*/ 192 w 192"/>
                <a:gd name="T69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136">
                  <a:moveTo>
                    <a:pt x="58" y="66"/>
                  </a:moveTo>
                  <a:cubicBezTo>
                    <a:pt x="62" y="65"/>
                    <a:pt x="67" y="63"/>
                    <a:pt x="72" y="61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67" y="55"/>
                    <a:pt x="62" y="54"/>
                    <a:pt x="62" y="54"/>
                  </a:cubicBezTo>
                  <a:lnTo>
                    <a:pt x="58" y="66"/>
                  </a:lnTo>
                  <a:close/>
                  <a:moveTo>
                    <a:pt x="120" y="61"/>
                  </a:moveTo>
                  <a:cubicBezTo>
                    <a:pt x="121" y="62"/>
                    <a:pt x="123" y="62"/>
                    <a:pt x="124" y="63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56"/>
                    <a:pt x="124" y="57"/>
                    <a:pt x="120" y="59"/>
                  </a:cubicBezTo>
                  <a:lnTo>
                    <a:pt x="120" y="61"/>
                  </a:lnTo>
                  <a:close/>
                  <a:moveTo>
                    <a:pt x="48" y="59"/>
                  </a:moveTo>
                  <a:cubicBezTo>
                    <a:pt x="44" y="63"/>
                    <a:pt x="44" y="63"/>
                    <a:pt x="44" y="63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6" y="70"/>
                    <a:pt x="48" y="70"/>
                    <a:pt x="51" y="69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2" y="63"/>
                    <a:pt x="52" y="63"/>
                    <a:pt x="52" y="63"/>
                  </a:cubicBezTo>
                  <a:lnTo>
                    <a:pt x="48" y="59"/>
                  </a:lnTo>
                  <a:close/>
                  <a:moveTo>
                    <a:pt x="166" y="46"/>
                  </a:moveTo>
                  <a:cubicBezTo>
                    <a:pt x="161" y="39"/>
                    <a:pt x="162" y="26"/>
                    <a:pt x="162" y="26"/>
                  </a:cubicBezTo>
                  <a:cubicBezTo>
                    <a:pt x="162" y="15"/>
                    <a:pt x="162" y="0"/>
                    <a:pt x="144" y="0"/>
                  </a:cubicBezTo>
                  <a:cubicBezTo>
                    <a:pt x="135" y="0"/>
                    <a:pt x="130" y="4"/>
                    <a:pt x="128" y="9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129" y="22"/>
                    <a:pt x="130" y="23"/>
                    <a:pt x="131" y="24"/>
                  </a:cubicBezTo>
                  <a:cubicBezTo>
                    <a:pt x="135" y="32"/>
                    <a:pt x="132" y="43"/>
                    <a:pt x="126" y="48"/>
                  </a:cubicBezTo>
                  <a:cubicBezTo>
                    <a:pt x="126" y="48"/>
                    <a:pt x="126" y="48"/>
                    <a:pt x="126" y="48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41" y="69"/>
                    <a:pt x="141" y="69"/>
                    <a:pt x="141" y="69"/>
                  </a:cubicBezTo>
                  <a:cubicBezTo>
                    <a:pt x="143" y="69"/>
                    <a:pt x="145" y="70"/>
                    <a:pt x="146" y="70"/>
                  </a:cubicBezTo>
                  <a:cubicBezTo>
                    <a:pt x="155" y="52"/>
                    <a:pt x="155" y="52"/>
                    <a:pt x="155" y="52"/>
                  </a:cubicBezTo>
                  <a:lnTo>
                    <a:pt x="166" y="46"/>
                  </a:lnTo>
                  <a:close/>
                  <a:moveTo>
                    <a:pt x="34" y="36"/>
                  </a:moveTo>
                  <a:cubicBezTo>
                    <a:pt x="36" y="44"/>
                    <a:pt x="36" y="44"/>
                    <a:pt x="36" y="44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44"/>
                    <a:pt x="60" y="44"/>
                    <a:pt x="60" y="44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59" y="35"/>
                    <a:pt x="58" y="29"/>
                    <a:pt x="61" y="24"/>
                  </a:cubicBezTo>
                  <a:cubicBezTo>
                    <a:pt x="62" y="23"/>
                    <a:pt x="63" y="22"/>
                    <a:pt x="64" y="21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3" y="6"/>
                    <a:pt x="61" y="5"/>
                    <a:pt x="59" y="5"/>
                  </a:cubicBezTo>
                  <a:cubicBezTo>
                    <a:pt x="57" y="1"/>
                    <a:pt x="53" y="0"/>
                    <a:pt x="48" y="0"/>
                  </a:cubicBezTo>
                  <a:cubicBezTo>
                    <a:pt x="37" y="0"/>
                    <a:pt x="32" y="6"/>
                    <a:pt x="32" y="14"/>
                  </a:cubicBezTo>
                  <a:cubicBezTo>
                    <a:pt x="32" y="19"/>
                    <a:pt x="32" y="24"/>
                    <a:pt x="32" y="24"/>
                  </a:cubicBezTo>
                  <a:cubicBezTo>
                    <a:pt x="32" y="24"/>
                    <a:pt x="31" y="24"/>
                    <a:pt x="30" y="26"/>
                  </a:cubicBezTo>
                  <a:cubicBezTo>
                    <a:pt x="28" y="28"/>
                    <a:pt x="29" y="33"/>
                    <a:pt x="32" y="35"/>
                  </a:cubicBezTo>
                  <a:cubicBezTo>
                    <a:pt x="33" y="36"/>
                    <a:pt x="34" y="36"/>
                    <a:pt x="34" y="36"/>
                  </a:cubicBezTo>
                  <a:close/>
                  <a:moveTo>
                    <a:pt x="8" y="63"/>
                  </a:moveTo>
                  <a:cubicBezTo>
                    <a:pt x="5" y="66"/>
                    <a:pt x="0" y="94"/>
                    <a:pt x="0" y="136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0" y="128"/>
                    <a:pt x="20" y="128"/>
                    <a:pt x="20" y="128"/>
                  </a:cubicBezTo>
                  <a:cubicBezTo>
                    <a:pt x="22" y="103"/>
                    <a:pt x="25" y="83"/>
                    <a:pt x="34" y="76"/>
                  </a:cubicBezTo>
                  <a:cubicBezTo>
                    <a:pt x="35" y="75"/>
                    <a:pt x="36" y="75"/>
                    <a:pt x="40" y="73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10" y="61"/>
                    <a:pt x="8" y="63"/>
                  </a:cubicBezTo>
                  <a:close/>
                  <a:moveTo>
                    <a:pt x="192" y="136"/>
                  </a:moveTo>
                  <a:cubicBezTo>
                    <a:pt x="192" y="94"/>
                    <a:pt x="187" y="69"/>
                    <a:pt x="184" y="66"/>
                  </a:cubicBezTo>
                  <a:cubicBezTo>
                    <a:pt x="182" y="65"/>
                    <a:pt x="160" y="56"/>
                    <a:pt x="160" y="56"/>
                  </a:cubicBezTo>
                  <a:cubicBezTo>
                    <a:pt x="170" y="72"/>
                    <a:pt x="170" y="72"/>
                    <a:pt x="170" y="72"/>
                  </a:cubicBezTo>
                  <a:cubicBezTo>
                    <a:pt x="154" y="72"/>
                    <a:pt x="154" y="72"/>
                    <a:pt x="154" y="72"/>
                  </a:cubicBezTo>
                  <a:cubicBezTo>
                    <a:pt x="153" y="73"/>
                    <a:pt x="153" y="73"/>
                    <a:pt x="153" y="73"/>
                  </a:cubicBezTo>
                  <a:cubicBezTo>
                    <a:pt x="156" y="75"/>
                    <a:pt x="157" y="75"/>
                    <a:pt x="157" y="76"/>
                  </a:cubicBezTo>
                  <a:cubicBezTo>
                    <a:pt x="157" y="76"/>
                    <a:pt x="158" y="76"/>
                    <a:pt x="158" y="76"/>
                  </a:cubicBezTo>
                  <a:cubicBezTo>
                    <a:pt x="158" y="76"/>
                    <a:pt x="158" y="76"/>
                    <a:pt x="158" y="76"/>
                  </a:cubicBezTo>
                  <a:cubicBezTo>
                    <a:pt x="158" y="76"/>
                    <a:pt x="158" y="76"/>
                    <a:pt x="158" y="76"/>
                  </a:cubicBezTo>
                  <a:cubicBezTo>
                    <a:pt x="167" y="83"/>
                    <a:pt x="170" y="105"/>
                    <a:pt x="172" y="129"/>
                  </a:cubicBezTo>
                  <a:cubicBezTo>
                    <a:pt x="172" y="136"/>
                    <a:pt x="172" y="136"/>
                    <a:pt x="172" y="136"/>
                  </a:cubicBezTo>
                  <a:lnTo>
                    <a:pt x="192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  <p:sp>
          <p:nvSpPr>
            <p:cNvPr id="288" name="Freeform 28">
              <a:extLst>
                <a:ext uri="{FF2B5EF4-FFF2-40B4-BE49-F238E27FC236}">
                  <a16:creationId xmlns:a16="http://schemas.microsoft.com/office/drawing/2014/main" id="{94001647-9682-1B67-73A5-EAC89D040F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1" y="1890"/>
              <a:ext cx="321" cy="215"/>
            </a:xfrm>
            <a:custGeom>
              <a:avLst/>
              <a:gdLst>
                <a:gd name="T0" fmla="*/ 125 w 136"/>
                <a:gd name="T1" fmla="*/ 13 h 91"/>
                <a:gd name="T2" fmla="*/ 88 w 136"/>
                <a:gd name="T3" fmla="*/ 0 h 91"/>
                <a:gd name="T4" fmla="*/ 76 w 136"/>
                <a:gd name="T5" fmla="*/ 49 h 91"/>
                <a:gd name="T6" fmla="*/ 76 w 136"/>
                <a:gd name="T7" fmla="*/ 29 h 91"/>
                <a:gd name="T8" fmla="*/ 70 w 136"/>
                <a:gd name="T9" fmla="*/ 19 h 91"/>
                <a:gd name="T10" fmla="*/ 76 w 136"/>
                <a:gd name="T11" fmla="*/ 13 h 91"/>
                <a:gd name="T12" fmla="*/ 68 w 136"/>
                <a:gd name="T13" fmla="*/ 5 h 91"/>
                <a:gd name="T14" fmla="*/ 60 w 136"/>
                <a:gd name="T15" fmla="*/ 13 h 91"/>
                <a:gd name="T16" fmla="*/ 66 w 136"/>
                <a:gd name="T17" fmla="*/ 19 h 91"/>
                <a:gd name="T18" fmla="*/ 60 w 136"/>
                <a:gd name="T19" fmla="*/ 29 h 91"/>
                <a:gd name="T20" fmla="*/ 60 w 136"/>
                <a:gd name="T21" fmla="*/ 49 h 91"/>
                <a:gd name="T22" fmla="*/ 48 w 136"/>
                <a:gd name="T23" fmla="*/ 0 h 91"/>
                <a:gd name="T24" fmla="*/ 11 w 136"/>
                <a:gd name="T25" fmla="*/ 13 h 91"/>
                <a:gd name="T26" fmla="*/ 0 w 136"/>
                <a:gd name="T27" fmla="*/ 91 h 91"/>
                <a:gd name="T28" fmla="*/ 136 w 136"/>
                <a:gd name="T29" fmla="*/ 91 h 91"/>
                <a:gd name="T30" fmla="*/ 125 w 136"/>
                <a:gd name="T31" fmla="*/ 1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6" h="91">
                  <a:moveTo>
                    <a:pt x="125" y="13"/>
                  </a:moveTo>
                  <a:cubicBezTo>
                    <a:pt x="121" y="10"/>
                    <a:pt x="88" y="0"/>
                    <a:pt x="88" y="0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49"/>
                    <a:pt x="60" y="49"/>
                    <a:pt x="60" y="49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15" y="10"/>
                    <a:pt x="11" y="13"/>
                  </a:cubicBezTo>
                  <a:cubicBezTo>
                    <a:pt x="7" y="17"/>
                    <a:pt x="0" y="35"/>
                    <a:pt x="0" y="91"/>
                  </a:cubicBezTo>
                  <a:cubicBezTo>
                    <a:pt x="136" y="91"/>
                    <a:pt x="136" y="91"/>
                    <a:pt x="136" y="91"/>
                  </a:cubicBezTo>
                  <a:cubicBezTo>
                    <a:pt x="136" y="35"/>
                    <a:pt x="129" y="17"/>
                    <a:pt x="12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</p:grpSp>
      <p:pic>
        <p:nvPicPr>
          <p:cNvPr id="290" name="Graphic 289" descr="Scientific Thought outline">
            <a:extLst>
              <a:ext uri="{FF2B5EF4-FFF2-40B4-BE49-F238E27FC236}">
                <a16:creationId xmlns:a16="http://schemas.microsoft.com/office/drawing/2014/main" id="{A92FE2FC-13DD-475A-F953-02B5245EEF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989" y="9259746"/>
            <a:ext cx="473170" cy="473170"/>
          </a:xfrm>
          <a:prstGeom prst="rect">
            <a:avLst/>
          </a:prstGeom>
        </p:spPr>
      </p:pic>
      <p:pic>
        <p:nvPicPr>
          <p:cNvPr id="292" name="Graphic 291" descr="Coins outline">
            <a:extLst>
              <a:ext uri="{FF2B5EF4-FFF2-40B4-BE49-F238E27FC236}">
                <a16:creationId xmlns:a16="http://schemas.microsoft.com/office/drawing/2014/main" id="{071ED58D-8075-DC35-A51C-0A966E4EEB3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09954" y="8429616"/>
            <a:ext cx="473170" cy="473170"/>
          </a:xfrm>
          <a:prstGeom prst="rect">
            <a:avLst/>
          </a:prstGeom>
        </p:spPr>
      </p:pic>
      <p:grpSp>
        <p:nvGrpSpPr>
          <p:cNvPr id="322" name="Complexit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4B734C9-8C10-BD6D-1466-D4E1DCCD4817}"/>
              </a:ext>
            </a:extLst>
          </p:cNvPr>
          <p:cNvGrpSpPr>
            <a:grpSpLocks noChangeAspect="1"/>
          </p:cNvGrpSpPr>
          <p:nvPr/>
        </p:nvGrpSpPr>
        <p:grpSpPr>
          <a:xfrm>
            <a:off x="1588728" y="9287116"/>
            <a:ext cx="401358" cy="402156"/>
            <a:chOff x="6367463" y="1652588"/>
            <a:chExt cx="796925" cy="798513"/>
          </a:xfrm>
          <a:noFill/>
        </p:grpSpPr>
        <p:sp>
          <p:nvSpPr>
            <p:cNvPr id="323" name="Oval 270">
              <a:extLst>
                <a:ext uri="{FF2B5EF4-FFF2-40B4-BE49-F238E27FC236}">
                  <a16:creationId xmlns:a16="http://schemas.microsoft.com/office/drawing/2014/main" id="{8750AA29-2872-B963-05A6-D70F0D6A37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16573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4" name="Oval 271">
              <a:extLst>
                <a:ext uri="{FF2B5EF4-FFF2-40B4-BE49-F238E27FC236}">
                  <a16:creationId xmlns:a16="http://schemas.microsoft.com/office/drawing/2014/main" id="{5641A773-1700-1DEC-E12E-DD4A5E1ECE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18859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5" name="Oval 272">
              <a:extLst>
                <a:ext uri="{FF2B5EF4-FFF2-40B4-BE49-F238E27FC236}">
                  <a16:creationId xmlns:a16="http://schemas.microsoft.com/office/drawing/2014/main" id="{6A47D83E-017B-A64E-921E-ACF46B8905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21145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6" name="Oval 273">
              <a:extLst>
                <a:ext uri="{FF2B5EF4-FFF2-40B4-BE49-F238E27FC236}">
                  <a16:creationId xmlns:a16="http://schemas.microsoft.com/office/drawing/2014/main" id="{DEFBD32A-9BC6-512F-FD17-5D2B57ECFA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2116138"/>
              <a:ext cx="100013" cy="100013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7" name="Oval 274">
              <a:extLst>
                <a:ext uri="{FF2B5EF4-FFF2-40B4-BE49-F238E27FC236}">
                  <a16:creationId xmlns:a16="http://schemas.microsoft.com/office/drawing/2014/main" id="{66602972-9E17-55D9-4167-11BFE7D0BE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2344738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8" name="Oval 275">
              <a:extLst>
                <a:ext uri="{FF2B5EF4-FFF2-40B4-BE49-F238E27FC236}">
                  <a16:creationId xmlns:a16="http://schemas.microsoft.com/office/drawing/2014/main" id="{EABD3B47-385A-E4AC-4011-553F7897BA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1885951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9" name="Oval 276">
              <a:extLst>
                <a:ext uri="{FF2B5EF4-FFF2-40B4-BE49-F238E27FC236}">
                  <a16:creationId xmlns:a16="http://schemas.microsoft.com/office/drawing/2014/main" id="{8982B920-6253-3859-6E4B-30202BBCA3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18859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0" name="Oval 277">
              <a:extLst>
                <a:ext uri="{FF2B5EF4-FFF2-40B4-BE49-F238E27FC236}">
                  <a16:creationId xmlns:a16="http://schemas.microsoft.com/office/drawing/2014/main" id="{B80FE0E5-451D-E0FD-D09C-72879BA12B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2344738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1" name="Oval 278">
              <a:extLst>
                <a:ext uri="{FF2B5EF4-FFF2-40B4-BE49-F238E27FC236}">
                  <a16:creationId xmlns:a16="http://schemas.microsoft.com/office/drawing/2014/main" id="{1F4155F9-76D6-2D08-C4B2-EA95F3E7CE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1657351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Oval 279">
              <a:extLst>
                <a:ext uri="{FF2B5EF4-FFF2-40B4-BE49-F238E27FC236}">
                  <a16:creationId xmlns:a16="http://schemas.microsoft.com/office/drawing/2014/main" id="{6E4F0129-F63B-E196-B212-AF1CFAA91C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16573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Oval 280">
              <a:extLst>
                <a:ext uri="{FF2B5EF4-FFF2-40B4-BE49-F238E27FC236}">
                  <a16:creationId xmlns:a16="http://schemas.microsoft.com/office/drawing/2014/main" id="{099C5B32-2BA6-7920-0373-B4A137F276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2116138"/>
              <a:ext cx="100013" cy="100013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4" name="Oval 281">
              <a:extLst>
                <a:ext uri="{FF2B5EF4-FFF2-40B4-BE49-F238E27FC236}">
                  <a16:creationId xmlns:a16="http://schemas.microsoft.com/office/drawing/2014/main" id="{0D3C2AFE-C62A-E710-882F-6159EBA0A9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2344738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5" name="Freeform 282">
              <a:extLst>
                <a:ext uri="{FF2B5EF4-FFF2-40B4-BE49-F238E27FC236}">
                  <a16:creationId xmlns:a16="http://schemas.microsoft.com/office/drawing/2014/main" id="{238333B1-AE3E-C787-6296-EC600B925A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1652588"/>
              <a:ext cx="112713" cy="111125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6"/>
                    <a:pt x="17" y="83"/>
                  </a:cubicBezTo>
                  <a:cubicBezTo>
                    <a:pt x="17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8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6" name="Freeform 283">
              <a:extLst>
                <a:ext uri="{FF2B5EF4-FFF2-40B4-BE49-F238E27FC236}">
                  <a16:creationId xmlns:a16="http://schemas.microsoft.com/office/drawing/2014/main" id="{CFC185DC-AF0C-BEB4-5BE0-7D4948CF57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1652588"/>
              <a:ext cx="112713" cy="111125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8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7" name="Freeform 284">
              <a:extLst>
                <a:ext uri="{FF2B5EF4-FFF2-40B4-BE49-F238E27FC236}">
                  <a16:creationId xmlns:a16="http://schemas.microsoft.com/office/drawing/2014/main" id="{F25F9C7C-DDD9-3448-C85D-7A51CA003B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1652588"/>
              <a:ext cx="111125" cy="111125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2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8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" name="Freeform 285">
              <a:extLst>
                <a:ext uri="{FF2B5EF4-FFF2-40B4-BE49-F238E27FC236}">
                  <a16:creationId xmlns:a16="http://schemas.microsoft.com/office/drawing/2014/main" id="{97FA3557-F089-7B05-6F0A-D6FA34477F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18811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6"/>
                    <a:pt x="17" y="83"/>
                  </a:cubicBezTo>
                  <a:cubicBezTo>
                    <a:pt x="17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9" name="Freeform 286">
              <a:extLst>
                <a:ext uri="{FF2B5EF4-FFF2-40B4-BE49-F238E27FC236}">
                  <a16:creationId xmlns:a16="http://schemas.microsoft.com/office/drawing/2014/main" id="{D5CA1230-DFE3-9ED2-DBD0-D8AF595CE9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18811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0" name="Freeform 287">
              <a:extLst>
                <a:ext uri="{FF2B5EF4-FFF2-40B4-BE49-F238E27FC236}">
                  <a16:creationId xmlns:a16="http://schemas.microsoft.com/office/drawing/2014/main" id="{41912A39-5FF7-4BBA-7A07-D2A2A694F4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18811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2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1" name="Freeform 288">
              <a:extLst>
                <a:ext uri="{FF2B5EF4-FFF2-40B4-BE49-F238E27FC236}">
                  <a16:creationId xmlns:a16="http://schemas.microsoft.com/office/drawing/2014/main" id="{DBC9F78C-5169-5CAC-8925-53AE657034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21097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7"/>
                    <a:pt x="17" y="83"/>
                  </a:cubicBezTo>
                  <a:cubicBezTo>
                    <a:pt x="17" y="120"/>
                    <a:pt x="46" y="149"/>
                    <a:pt x="83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2" name="Freeform 289">
              <a:extLst>
                <a:ext uri="{FF2B5EF4-FFF2-40B4-BE49-F238E27FC236}">
                  <a16:creationId xmlns:a16="http://schemas.microsoft.com/office/drawing/2014/main" id="{C0CEF2FC-EFBB-0FB0-F63F-BAA62766A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21097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49"/>
                    <a:pt x="83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3" name="Freeform 290">
              <a:extLst>
                <a:ext uri="{FF2B5EF4-FFF2-40B4-BE49-F238E27FC236}">
                  <a16:creationId xmlns:a16="http://schemas.microsoft.com/office/drawing/2014/main" id="{246F591D-74E8-D293-506D-98B26A4853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21097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49"/>
                    <a:pt x="82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4" name="Freeform 291">
              <a:extLst>
                <a:ext uri="{FF2B5EF4-FFF2-40B4-BE49-F238E27FC236}">
                  <a16:creationId xmlns:a16="http://schemas.microsoft.com/office/drawing/2014/main" id="{8E1A3E17-B212-6627-3429-A0E7707EE4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23383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50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7"/>
                    <a:pt x="17" y="83"/>
                  </a:cubicBezTo>
                  <a:cubicBezTo>
                    <a:pt x="17" y="120"/>
                    <a:pt x="46" y="150"/>
                    <a:pt x="83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29" y="0"/>
                    <a:pt x="166" y="38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5" name="Freeform 292">
              <a:extLst>
                <a:ext uri="{FF2B5EF4-FFF2-40B4-BE49-F238E27FC236}">
                  <a16:creationId xmlns:a16="http://schemas.microsoft.com/office/drawing/2014/main" id="{476FD096-7B07-A81A-D4F2-FDB411ECBC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23383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50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50"/>
                    <a:pt x="83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28" y="0"/>
                    <a:pt x="166" y="38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6" name="Freeform 293">
              <a:extLst>
                <a:ext uri="{FF2B5EF4-FFF2-40B4-BE49-F238E27FC236}">
                  <a16:creationId xmlns:a16="http://schemas.microsoft.com/office/drawing/2014/main" id="{C5138855-CC2E-FAD6-E1C7-DB5A06A093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23383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50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50"/>
                    <a:pt x="82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2" y="0"/>
                  </a:cubicBezTo>
                  <a:cubicBezTo>
                    <a:pt x="128" y="0"/>
                    <a:pt x="165" y="38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7" name="Rectangle 294">
              <a:extLst>
                <a:ext uri="{FF2B5EF4-FFF2-40B4-BE49-F238E27FC236}">
                  <a16:creationId xmlns:a16="http://schemas.microsoft.com/office/drawing/2014/main" id="{228C2AB2-8A51-1D85-1CB3-F60A5153B5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6725" y="2160588"/>
              <a:ext cx="242888" cy="11113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8" name="Rectangle 295">
              <a:extLst>
                <a:ext uri="{FF2B5EF4-FFF2-40B4-BE49-F238E27FC236}">
                  <a16:creationId xmlns:a16="http://schemas.microsoft.com/office/drawing/2014/main" id="{3D4404BC-B98D-F67F-9E56-50E96BC67A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6725" y="1931988"/>
              <a:ext cx="242888" cy="11113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9" name="Freeform 296">
              <a:extLst>
                <a:ext uri="{FF2B5EF4-FFF2-40B4-BE49-F238E27FC236}">
                  <a16:creationId xmlns:a16="http://schemas.microsoft.com/office/drawing/2014/main" id="{739C4033-8B2B-7244-F177-7D5E8E375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125" y="1957388"/>
              <a:ext cx="269875" cy="185738"/>
            </a:xfrm>
            <a:custGeom>
              <a:avLst/>
              <a:gdLst>
                <a:gd name="T0" fmla="*/ 4 w 170"/>
                <a:gd name="T1" fmla="*/ 117 h 117"/>
                <a:gd name="T2" fmla="*/ 0 w 170"/>
                <a:gd name="T3" fmla="*/ 111 h 117"/>
                <a:gd name="T4" fmla="*/ 166 w 170"/>
                <a:gd name="T5" fmla="*/ 0 h 117"/>
                <a:gd name="T6" fmla="*/ 170 w 170"/>
                <a:gd name="T7" fmla="*/ 6 h 117"/>
                <a:gd name="T8" fmla="*/ 4 w 170"/>
                <a:gd name="T9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117">
                  <a:moveTo>
                    <a:pt x="4" y="117"/>
                  </a:moveTo>
                  <a:lnTo>
                    <a:pt x="0" y="111"/>
                  </a:lnTo>
                  <a:lnTo>
                    <a:pt x="166" y="0"/>
                  </a:lnTo>
                  <a:lnTo>
                    <a:pt x="170" y="6"/>
                  </a:lnTo>
                  <a:lnTo>
                    <a:pt x="4" y="117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0" name="Freeform 297">
              <a:extLst>
                <a:ext uri="{FF2B5EF4-FFF2-40B4-BE49-F238E27FC236}">
                  <a16:creationId xmlns:a16="http://schemas.microsoft.com/office/drawing/2014/main" id="{B93FBDB0-3853-0FD6-EF68-64718CC5E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2713" y="1728788"/>
              <a:ext cx="268288" cy="184150"/>
            </a:xfrm>
            <a:custGeom>
              <a:avLst/>
              <a:gdLst>
                <a:gd name="T0" fmla="*/ 4 w 169"/>
                <a:gd name="T1" fmla="*/ 116 h 116"/>
                <a:gd name="T2" fmla="*/ 0 w 169"/>
                <a:gd name="T3" fmla="*/ 110 h 116"/>
                <a:gd name="T4" fmla="*/ 165 w 169"/>
                <a:gd name="T5" fmla="*/ 0 h 116"/>
                <a:gd name="T6" fmla="*/ 169 w 169"/>
                <a:gd name="T7" fmla="*/ 6 h 116"/>
                <a:gd name="T8" fmla="*/ 4 w 169"/>
                <a:gd name="T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116">
                  <a:moveTo>
                    <a:pt x="4" y="116"/>
                  </a:moveTo>
                  <a:lnTo>
                    <a:pt x="0" y="110"/>
                  </a:lnTo>
                  <a:lnTo>
                    <a:pt x="165" y="0"/>
                  </a:lnTo>
                  <a:lnTo>
                    <a:pt x="169" y="6"/>
                  </a:lnTo>
                  <a:lnTo>
                    <a:pt x="4" y="116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1" name="Rectangle 298">
              <a:extLst>
                <a:ext uri="{FF2B5EF4-FFF2-40B4-BE49-F238E27FC236}">
                  <a16:creationId xmlns:a16="http://schemas.microsoft.com/office/drawing/2014/main" id="{0B92437C-17D3-A394-A185-CC25F9103F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3825" y="1701801"/>
              <a:ext cx="242888" cy="12700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2" name="Freeform 299">
              <a:extLst>
                <a:ext uri="{FF2B5EF4-FFF2-40B4-BE49-F238E27FC236}">
                  <a16:creationId xmlns:a16="http://schemas.microsoft.com/office/drawing/2014/main" id="{BAE73AC4-167A-CBBB-5235-55916C1E4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125" y="2189163"/>
              <a:ext cx="266700" cy="182563"/>
            </a:xfrm>
            <a:custGeom>
              <a:avLst/>
              <a:gdLst>
                <a:gd name="T0" fmla="*/ 164 w 168"/>
                <a:gd name="T1" fmla="*/ 115 h 115"/>
                <a:gd name="T2" fmla="*/ 0 w 168"/>
                <a:gd name="T3" fmla="*/ 6 h 115"/>
                <a:gd name="T4" fmla="*/ 4 w 168"/>
                <a:gd name="T5" fmla="*/ 0 h 115"/>
                <a:gd name="T6" fmla="*/ 168 w 168"/>
                <a:gd name="T7" fmla="*/ 109 h 115"/>
                <a:gd name="T8" fmla="*/ 164 w 168"/>
                <a:gd name="T9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115">
                  <a:moveTo>
                    <a:pt x="164" y="115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168" y="109"/>
                  </a:lnTo>
                  <a:lnTo>
                    <a:pt x="164" y="115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3" name="Rectangle 300">
              <a:extLst>
                <a:ext uri="{FF2B5EF4-FFF2-40B4-BE49-F238E27FC236}">
                  <a16:creationId xmlns:a16="http://schemas.microsoft.com/office/drawing/2014/main" id="{0FCB488A-D2D1-1AC4-CB34-053B485385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4063" y="2216151"/>
              <a:ext cx="11113" cy="128588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4" name="Rectangle 301">
              <a:extLst>
                <a:ext uri="{FF2B5EF4-FFF2-40B4-BE49-F238E27FC236}">
                  <a16:creationId xmlns:a16="http://schemas.microsoft.com/office/drawing/2014/main" id="{B92F33E3-309E-BBE9-4D18-7380D66378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4063" y="1758951"/>
              <a:ext cx="11113" cy="127000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55" name="Text Placeholder 9">
            <a:extLst>
              <a:ext uri="{FF2B5EF4-FFF2-40B4-BE49-F238E27FC236}">
                <a16:creationId xmlns:a16="http://schemas.microsoft.com/office/drawing/2014/main" id="{520DE371-5AF1-F8FF-8707-45EE4454FB90}"/>
              </a:ext>
            </a:extLst>
          </p:cNvPr>
          <p:cNvSpPr txBox="1">
            <a:spLocks/>
          </p:cNvSpPr>
          <p:nvPr/>
        </p:nvSpPr>
        <p:spPr>
          <a:xfrm>
            <a:off x="2221804" y="8595030"/>
            <a:ext cx="1595631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en AI scaling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6" name="Text Placeholder 9">
            <a:extLst>
              <a:ext uri="{FF2B5EF4-FFF2-40B4-BE49-F238E27FC236}">
                <a16:creationId xmlns:a16="http://schemas.microsoft.com/office/drawing/2014/main" id="{45893D60-F6F4-C53C-3A02-E32909DD2E69}"/>
              </a:ext>
            </a:extLst>
          </p:cNvPr>
          <p:cNvSpPr txBox="1">
            <a:spLocks/>
          </p:cNvSpPr>
          <p:nvPr/>
        </p:nvSpPr>
        <p:spPr>
          <a:xfrm>
            <a:off x="4422458" y="8579240"/>
            <a:ext cx="2074602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monetizatio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7" name="Text Placeholder 9">
            <a:extLst>
              <a:ext uri="{FF2B5EF4-FFF2-40B4-BE49-F238E27FC236}">
                <a16:creationId xmlns:a16="http://schemas.microsoft.com/office/drawing/2014/main" id="{E15DB0F8-FBE2-D8CC-A4FB-F6A6E1AAAE0A}"/>
              </a:ext>
            </a:extLst>
          </p:cNvPr>
          <p:cNvSpPr txBox="1">
            <a:spLocks/>
          </p:cNvSpPr>
          <p:nvPr/>
        </p:nvSpPr>
        <p:spPr>
          <a:xfrm>
            <a:off x="2236406" y="9343656"/>
            <a:ext cx="1404274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led modelling</a:t>
            </a:r>
            <a:b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&amp; transformatio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8" name="Text Placeholder 9">
            <a:extLst>
              <a:ext uri="{FF2B5EF4-FFF2-40B4-BE49-F238E27FC236}">
                <a16:creationId xmlns:a16="http://schemas.microsoft.com/office/drawing/2014/main" id="{DDA5DDE7-3083-CDF4-FE22-D3B32B014AAD}"/>
              </a:ext>
            </a:extLst>
          </p:cNvPr>
          <p:cNvSpPr txBox="1">
            <a:spLocks/>
          </p:cNvSpPr>
          <p:nvPr/>
        </p:nvSpPr>
        <p:spPr>
          <a:xfrm>
            <a:off x="4399723" y="9257088"/>
            <a:ext cx="2182529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science</a:t>
            </a:r>
            <a:b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&amp; MLOp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0B02FCB-7E30-92CF-CD77-808E9C6C0E12}"/>
              </a:ext>
            </a:extLst>
          </p:cNvPr>
          <p:cNvGrpSpPr>
            <a:grpSpLocks noChangeAspect="1"/>
          </p:cNvGrpSpPr>
          <p:nvPr/>
        </p:nvGrpSpPr>
        <p:grpSpPr>
          <a:xfrm>
            <a:off x="1581445" y="8466448"/>
            <a:ext cx="537346" cy="548260"/>
            <a:chOff x="10258820" y="2140818"/>
            <a:chExt cx="366798" cy="374248"/>
          </a:xfrm>
        </p:grpSpPr>
        <p:pic>
          <p:nvPicPr>
            <p:cNvPr id="5" name="Picture 15">
              <a:extLst>
                <a:ext uri="{FF2B5EF4-FFF2-40B4-BE49-F238E27FC236}">
                  <a16:creationId xmlns:a16="http://schemas.microsoft.com/office/drawing/2014/main" id="{BEC42C73-505A-B9B3-F678-B09427999B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58820" y="2140818"/>
              <a:ext cx="307574" cy="3075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99E2FCC-DFCD-B7CA-664F-15A9FC9E47F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475107" y="2362873"/>
              <a:ext cx="150511" cy="152193"/>
              <a:chOff x="3482" y="1979"/>
              <a:chExt cx="358" cy="362"/>
            </a:xfrm>
          </p:grpSpPr>
          <p:sp>
            <p:nvSpPr>
              <p:cNvPr id="30" name="AutoShape 3">
                <a:extLst>
                  <a:ext uri="{FF2B5EF4-FFF2-40B4-BE49-F238E27FC236}">
                    <a16:creationId xmlns:a16="http://schemas.microsoft.com/office/drawing/2014/main" id="{56D7674C-01B8-FA42-FD21-27A27CC19321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3482" y="1979"/>
                <a:ext cx="358" cy="3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2" name="Freeform 5">
                <a:extLst>
                  <a:ext uri="{FF2B5EF4-FFF2-40B4-BE49-F238E27FC236}">
                    <a16:creationId xmlns:a16="http://schemas.microsoft.com/office/drawing/2014/main" id="{02BDD43F-1A64-F293-2644-D1EA3A98C6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46" y="2045"/>
                <a:ext cx="230" cy="229"/>
              </a:xfrm>
              <a:custGeom>
                <a:avLst/>
                <a:gdLst>
                  <a:gd name="T0" fmla="*/ 174 w 192"/>
                  <a:gd name="T1" fmla="*/ 192 h 192"/>
                  <a:gd name="T2" fmla="*/ 18 w 192"/>
                  <a:gd name="T3" fmla="*/ 192 h 192"/>
                  <a:gd name="T4" fmla="*/ 0 w 192"/>
                  <a:gd name="T5" fmla="*/ 174 h 192"/>
                  <a:gd name="T6" fmla="*/ 0 w 192"/>
                  <a:gd name="T7" fmla="*/ 18 h 192"/>
                  <a:gd name="T8" fmla="*/ 18 w 192"/>
                  <a:gd name="T9" fmla="*/ 0 h 192"/>
                  <a:gd name="T10" fmla="*/ 174 w 192"/>
                  <a:gd name="T11" fmla="*/ 0 h 192"/>
                  <a:gd name="T12" fmla="*/ 192 w 192"/>
                  <a:gd name="T13" fmla="*/ 18 h 192"/>
                  <a:gd name="T14" fmla="*/ 192 w 192"/>
                  <a:gd name="T15" fmla="*/ 174 h 192"/>
                  <a:gd name="T16" fmla="*/ 174 w 192"/>
                  <a:gd name="T17" fmla="*/ 192 h 192"/>
                  <a:gd name="T18" fmla="*/ 18 w 192"/>
                  <a:gd name="T19" fmla="*/ 12 h 192"/>
                  <a:gd name="T20" fmla="*/ 12 w 192"/>
                  <a:gd name="T21" fmla="*/ 18 h 192"/>
                  <a:gd name="T22" fmla="*/ 12 w 192"/>
                  <a:gd name="T23" fmla="*/ 174 h 192"/>
                  <a:gd name="T24" fmla="*/ 18 w 192"/>
                  <a:gd name="T25" fmla="*/ 180 h 192"/>
                  <a:gd name="T26" fmla="*/ 174 w 192"/>
                  <a:gd name="T27" fmla="*/ 180 h 192"/>
                  <a:gd name="T28" fmla="*/ 180 w 192"/>
                  <a:gd name="T29" fmla="*/ 174 h 192"/>
                  <a:gd name="T30" fmla="*/ 180 w 192"/>
                  <a:gd name="T31" fmla="*/ 18 h 192"/>
                  <a:gd name="T32" fmla="*/ 174 w 192"/>
                  <a:gd name="T33" fmla="*/ 12 h 192"/>
                  <a:gd name="T34" fmla="*/ 18 w 192"/>
                  <a:gd name="T35" fmla="*/ 1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2" h="192">
                    <a:moveTo>
                      <a:pt x="174" y="192"/>
                    </a:moveTo>
                    <a:cubicBezTo>
                      <a:pt x="18" y="192"/>
                      <a:pt x="18" y="192"/>
                      <a:pt x="18" y="192"/>
                    </a:cubicBezTo>
                    <a:cubicBezTo>
                      <a:pt x="8" y="192"/>
                      <a:pt x="0" y="184"/>
                      <a:pt x="0" y="17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9"/>
                      <a:pt x="8" y="0"/>
                      <a:pt x="18" y="0"/>
                    </a:cubicBezTo>
                    <a:cubicBezTo>
                      <a:pt x="174" y="0"/>
                      <a:pt x="174" y="0"/>
                      <a:pt x="174" y="0"/>
                    </a:cubicBezTo>
                    <a:cubicBezTo>
                      <a:pt x="184" y="0"/>
                      <a:pt x="192" y="9"/>
                      <a:pt x="192" y="18"/>
                    </a:cubicBezTo>
                    <a:cubicBezTo>
                      <a:pt x="192" y="174"/>
                      <a:pt x="192" y="174"/>
                      <a:pt x="192" y="174"/>
                    </a:cubicBezTo>
                    <a:cubicBezTo>
                      <a:pt x="192" y="184"/>
                      <a:pt x="184" y="192"/>
                      <a:pt x="174" y="192"/>
                    </a:cubicBezTo>
                    <a:close/>
                    <a:moveTo>
                      <a:pt x="18" y="12"/>
                    </a:moveTo>
                    <a:cubicBezTo>
                      <a:pt x="14" y="12"/>
                      <a:pt x="12" y="15"/>
                      <a:pt x="12" y="18"/>
                    </a:cubicBezTo>
                    <a:cubicBezTo>
                      <a:pt x="12" y="174"/>
                      <a:pt x="12" y="174"/>
                      <a:pt x="12" y="174"/>
                    </a:cubicBezTo>
                    <a:cubicBezTo>
                      <a:pt x="12" y="178"/>
                      <a:pt x="14" y="180"/>
                      <a:pt x="18" y="180"/>
                    </a:cubicBezTo>
                    <a:cubicBezTo>
                      <a:pt x="174" y="180"/>
                      <a:pt x="174" y="180"/>
                      <a:pt x="174" y="180"/>
                    </a:cubicBezTo>
                    <a:cubicBezTo>
                      <a:pt x="177" y="180"/>
                      <a:pt x="180" y="178"/>
                      <a:pt x="180" y="174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80" y="15"/>
                      <a:pt x="177" y="12"/>
                      <a:pt x="174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3" name="Freeform 6">
                <a:extLst>
                  <a:ext uri="{FF2B5EF4-FFF2-40B4-BE49-F238E27FC236}">
                    <a16:creationId xmlns:a16="http://schemas.microsoft.com/office/drawing/2014/main" id="{5ACA7CCF-D8E5-F461-D897-8F8B1ACCDE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7" y="1987"/>
                <a:ext cx="14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4" name="Freeform 7">
                <a:extLst>
                  <a:ext uri="{FF2B5EF4-FFF2-40B4-BE49-F238E27FC236}">
                    <a16:creationId xmlns:a16="http://schemas.microsoft.com/office/drawing/2014/main" id="{DA7FCD83-1A31-2783-B006-E94B12E175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9" y="1987"/>
                <a:ext cx="15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C564A4A5-7BA5-3E2B-9C9B-B196458058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8" y="1987"/>
                <a:ext cx="15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232F9287-6B2F-2BBA-A60E-C6DB0F1D6F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159"/>
                <a:ext cx="72" cy="15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5C3C1E82-6E1A-7E80-11DE-E803700622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217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93A8DE0F-276E-0F23-BEE5-DA1BB47F55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088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BF9FC08A-B4B5-8F36-AC96-F028036F72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1" y="2260"/>
                <a:ext cx="14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CC31D09A-932E-9099-C77A-DED0AF0B49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8" y="2260"/>
                <a:ext cx="15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EC5637C0-6F96-F43C-8F96-879339D29B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9" y="2260"/>
                <a:ext cx="15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385621BC-3E7A-7EF0-37C2-CC410CF25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145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EE7A0448-B2D9-EEC4-33CA-08B824B7F4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088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4" name="Freeform 17">
                <a:extLst>
                  <a:ext uri="{FF2B5EF4-FFF2-40B4-BE49-F238E27FC236}">
                    <a16:creationId xmlns:a16="http://schemas.microsoft.com/office/drawing/2014/main" id="{4B0AF812-181D-6EA3-35F4-C78C79B6F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217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5" name="Freeform 18">
                <a:extLst>
                  <a:ext uri="{FF2B5EF4-FFF2-40B4-BE49-F238E27FC236}">
                    <a16:creationId xmlns:a16="http://schemas.microsoft.com/office/drawing/2014/main" id="{45E430B0-9863-78C2-5C35-BB65D0C9FE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5" y="2073"/>
                <a:ext cx="172" cy="172"/>
              </a:xfrm>
              <a:custGeom>
                <a:avLst/>
                <a:gdLst>
                  <a:gd name="T0" fmla="*/ 114 w 144"/>
                  <a:gd name="T1" fmla="*/ 144 h 144"/>
                  <a:gd name="T2" fmla="*/ 30 w 144"/>
                  <a:gd name="T3" fmla="*/ 144 h 144"/>
                  <a:gd name="T4" fmla="*/ 0 w 144"/>
                  <a:gd name="T5" fmla="*/ 114 h 144"/>
                  <a:gd name="T6" fmla="*/ 0 w 144"/>
                  <a:gd name="T7" fmla="*/ 30 h 144"/>
                  <a:gd name="T8" fmla="*/ 30 w 144"/>
                  <a:gd name="T9" fmla="*/ 0 h 144"/>
                  <a:gd name="T10" fmla="*/ 114 w 144"/>
                  <a:gd name="T11" fmla="*/ 0 h 144"/>
                  <a:gd name="T12" fmla="*/ 144 w 144"/>
                  <a:gd name="T13" fmla="*/ 30 h 144"/>
                  <a:gd name="T14" fmla="*/ 144 w 144"/>
                  <a:gd name="T15" fmla="*/ 114 h 144"/>
                  <a:gd name="T16" fmla="*/ 114 w 144"/>
                  <a:gd name="T17" fmla="*/ 144 h 144"/>
                  <a:gd name="T18" fmla="*/ 30 w 144"/>
                  <a:gd name="T19" fmla="*/ 12 h 144"/>
                  <a:gd name="T20" fmla="*/ 12 w 144"/>
                  <a:gd name="T21" fmla="*/ 30 h 144"/>
                  <a:gd name="T22" fmla="*/ 12 w 144"/>
                  <a:gd name="T23" fmla="*/ 114 h 144"/>
                  <a:gd name="T24" fmla="*/ 30 w 144"/>
                  <a:gd name="T25" fmla="*/ 132 h 144"/>
                  <a:gd name="T26" fmla="*/ 114 w 144"/>
                  <a:gd name="T27" fmla="*/ 132 h 144"/>
                  <a:gd name="T28" fmla="*/ 132 w 144"/>
                  <a:gd name="T29" fmla="*/ 114 h 144"/>
                  <a:gd name="T30" fmla="*/ 132 w 144"/>
                  <a:gd name="T31" fmla="*/ 30 h 144"/>
                  <a:gd name="T32" fmla="*/ 114 w 144"/>
                  <a:gd name="T33" fmla="*/ 12 h 144"/>
                  <a:gd name="T34" fmla="*/ 30 w 144"/>
                  <a:gd name="T35" fmla="*/ 1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144">
                    <a:moveTo>
                      <a:pt x="114" y="144"/>
                    </a:moveTo>
                    <a:cubicBezTo>
                      <a:pt x="30" y="144"/>
                      <a:pt x="30" y="144"/>
                      <a:pt x="30" y="144"/>
                    </a:cubicBezTo>
                    <a:cubicBezTo>
                      <a:pt x="13" y="144"/>
                      <a:pt x="0" y="131"/>
                      <a:pt x="0" y="114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14"/>
                      <a:pt x="13" y="0"/>
                      <a:pt x="30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130" y="0"/>
                      <a:pt x="144" y="14"/>
                      <a:pt x="144" y="30"/>
                    </a:cubicBezTo>
                    <a:cubicBezTo>
                      <a:pt x="144" y="114"/>
                      <a:pt x="144" y="114"/>
                      <a:pt x="144" y="114"/>
                    </a:cubicBezTo>
                    <a:cubicBezTo>
                      <a:pt x="144" y="131"/>
                      <a:pt x="130" y="144"/>
                      <a:pt x="114" y="144"/>
                    </a:cubicBezTo>
                    <a:close/>
                    <a:moveTo>
                      <a:pt x="30" y="12"/>
                    </a:moveTo>
                    <a:cubicBezTo>
                      <a:pt x="20" y="12"/>
                      <a:pt x="12" y="21"/>
                      <a:pt x="12" y="30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2" y="124"/>
                      <a:pt x="20" y="132"/>
                      <a:pt x="30" y="132"/>
                    </a:cubicBezTo>
                    <a:cubicBezTo>
                      <a:pt x="114" y="132"/>
                      <a:pt x="114" y="132"/>
                      <a:pt x="114" y="132"/>
                    </a:cubicBezTo>
                    <a:cubicBezTo>
                      <a:pt x="124" y="132"/>
                      <a:pt x="132" y="124"/>
                      <a:pt x="132" y="114"/>
                    </a:cubicBezTo>
                    <a:cubicBezTo>
                      <a:pt x="132" y="30"/>
                      <a:pt x="132" y="30"/>
                      <a:pt x="132" y="30"/>
                    </a:cubicBezTo>
                    <a:cubicBezTo>
                      <a:pt x="132" y="21"/>
                      <a:pt x="124" y="12"/>
                      <a:pt x="114" y="12"/>
                    </a:cubicBez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</p:grpSp>
      </p:grpSp>
      <p:sp>
        <p:nvSpPr>
          <p:cNvPr id="223" name="Title 1">
            <a:extLst>
              <a:ext uri="{FF2B5EF4-FFF2-40B4-BE49-F238E27FC236}">
                <a16:creationId xmlns:a16="http://schemas.microsoft.com/office/drawing/2014/main" id="{D59545F7-0203-C7F3-1C53-BE4FF3E604E7}"/>
              </a:ext>
            </a:extLst>
          </p:cNvPr>
          <p:cNvSpPr txBox="1">
            <a:spLocks/>
          </p:cNvSpPr>
          <p:nvPr/>
        </p:nvSpPr>
        <p:spPr>
          <a:xfrm>
            <a:off x="338546" y="207092"/>
            <a:ext cx="11641970" cy="77613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inden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79600" algn="l"/>
              </a:tabLst>
              <a:defRPr sz="3600" b="1" i="0">
                <a:solidFill>
                  <a:schemeClr val="accent2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pl-PL"/>
              <a:t>AI Industry Hub | </a:t>
            </a:r>
            <a:r>
              <a:rPr lang="pl-PL">
                <a:solidFill>
                  <a:schemeClr val="tx1"/>
                </a:solidFill>
              </a:rPr>
              <a:t>Scaling up Gen AI in Poland</a:t>
            </a:r>
            <a:endParaRPr lang="en-GB">
              <a:solidFill>
                <a:schemeClr val="tx1"/>
              </a:solidFill>
            </a:endParaRP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66CB583D-DC9D-2255-2E6F-71EC9E5E997F}"/>
              </a:ext>
            </a:extLst>
          </p:cNvPr>
          <p:cNvSpPr txBox="1">
            <a:spLocks/>
          </p:cNvSpPr>
          <p:nvPr/>
        </p:nvSpPr>
        <p:spPr>
          <a:xfrm>
            <a:off x="381000" y="955665"/>
            <a:ext cx="11430000" cy="384048"/>
          </a:xfrm>
          <a:prstGeom prst="rect">
            <a:avLst/>
          </a:prstGeom>
        </p:spPr>
        <p:txBody>
          <a:bodyPr lIns="0"/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System Font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System Font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>
                <a:solidFill>
                  <a:schemeClr val="accent2"/>
                </a:solidFill>
                <a:latin typeface="Graphik" panose="020B0503030202060203" pitchFamily="34" charset="-18"/>
              </a:rPr>
              <a:t>Accenture</a:t>
            </a:r>
            <a:r>
              <a:rPr lang="en-US" sz="1600" b="1">
                <a:solidFill>
                  <a:schemeClr val="tx1"/>
                </a:solidFill>
                <a:latin typeface="Graphik" panose="020B0503030202060203" pitchFamily="34" charset="-18"/>
              </a:rPr>
              <a:t> complements Polish talent pool with </a:t>
            </a:r>
            <a:r>
              <a:rPr lang="en-US" sz="1600" b="1">
                <a:solidFill>
                  <a:schemeClr val="accent2"/>
                </a:solidFill>
                <a:latin typeface="Graphik" panose="020B0503030202060203" pitchFamily="34" charset="-18"/>
              </a:rPr>
              <a:t>robust </a:t>
            </a:r>
            <a:r>
              <a:rPr lang="en-US" sz="1600" b="1">
                <a:solidFill>
                  <a:schemeClr val="tx1"/>
                </a:solidFill>
                <a:latin typeface="Graphik" panose="020B0503030202060203" pitchFamily="34" charset="-18"/>
              </a:rPr>
              <a:t>resourcing framework that is used to build a high-quality workforce through our ability to attract, hire, train and retrain the appropriate people.</a:t>
            </a:r>
            <a:r>
              <a:rPr lang="pl-PL" sz="1600" b="1">
                <a:solidFill>
                  <a:schemeClr val="tx1"/>
                </a:solidFill>
                <a:latin typeface="Graphik" panose="020B0503030202060203" pitchFamily="34" charset="-18"/>
              </a:rPr>
              <a:t> In overall this positions Poland as a geography that can support  with meeting demand for large </a:t>
            </a:r>
            <a:r>
              <a:rPr lang="pl-PL" sz="1600" b="1">
                <a:solidFill>
                  <a:schemeClr val="accent2"/>
                </a:solidFill>
                <a:latin typeface="Graphik" panose="020B0503030202060203" pitchFamily="34" charset="-18"/>
              </a:rPr>
              <a:t>Data Science teams</a:t>
            </a:r>
            <a:r>
              <a:rPr lang="pl-PL" sz="1600" b="1">
                <a:solidFill>
                  <a:schemeClr val="tx1"/>
                </a:solidFill>
                <a:latin typeface="Graphik" panose="020B0503030202060203" pitchFamily="34" charset="-18"/>
              </a:rPr>
              <a:t>.</a:t>
            </a:r>
            <a:endParaRPr lang="en-US" sz="1600" b="1">
              <a:solidFill>
                <a:schemeClr val="tx1"/>
              </a:solidFill>
              <a:latin typeface="Graphik" panose="020B0503030202060203" pitchFamily="34" charset="-18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2E1DA1-8A37-EB6F-812F-4615C2BBBC3E}"/>
              </a:ext>
            </a:extLst>
          </p:cNvPr>
          <p:cNvSpPr/>
          <p:nvPr/>
        </p:nvSpPr>
        <p:spPr>
          <a:xfrm>
            <a:off x="1601585" y="1946332"/>
            <a:ext cx="39600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217" fontAlgn="base">
              <a:spcBef>
                <a:spcPct val="0"/>
              </a:spcBef>
              <a:spcAft>
                <a:spcPct val="0"/>
              </a:spcAft>
            </a:pP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Each year </a:t>
            </a:r>
            <a:r>
              <a:rPr lang="pl-PL" sz="1400" b="1">
                <a:solidFill>
                  <a:schemeClr val="accent2"/>
                </a:solidFill>
                <a:latin typeface="Graphik" panose="020B0503030202060203" pitchFamily="34" charset="-18"/>
                <a:cs typeface="Arial" charset="0"/>
              </a:rPr>
              <a:t>15,000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 computer science and nearly </a:t>
            </a:r>
            <a:r>
              <a:rPr lang="pl-PL" sz="1400" b="1">
                <a:solidFill>
                  <a:schemeClr val="accent2"/>
                </a:solidFill>
                <a:latin typeface="Graphik" panose="020B0503030202060203" pitchFamily="34" charset="-18"/>
                <a:cs typeface="Arial" charset="0"/>
              </a:rPr>
              <a:t>100,000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 STEM </a:t>
            </a:r>
            <a:r>
              <a:rPr lang="pl-PL" sz="1400" err="1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students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 </a:t>
            </a:r>
            <a:r>
              <a:rPr lang="pl-PL" sz="1400" err="1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graduate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 from Polish </a:t>
            </a:r>
            <a:r>
              <a:rPr lang="pl-PL" sz="1400" err="1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universities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. Polish students are </a:t>
            </a:r>
            <a:r>
              <a:rPr lang="pl-PL" sz="1400" b="1">
                <a:solidFill>
                  <a:schemeClr val="accent2"/>
                </a:solidFill>
                <a:latin typeface="Graphik" panose="020B0503030202060203" pitchFamily="34" charset="-18"/>
                <a:cs typeface="Arial" charset="0"/>
              </a:rPr>
              <a:t>3rd</a:t>
            </a:r>
            <a:r>
              <a:rPr lang="pl-PL" sz="1400" b="1">
                <a:solidFill>
                  <a:srgbClr val="FFB600"/>
                </a:solidFill>
                <a:latin typeface="Graphik" panose="020B0503030202060203" pitchFamily="34" charset="-18"/>
                <a:cs typeface="Arial" charset="0"/>
              </a:rPr>
              <a:t> 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best in Europe according to PISA study.</a:t>
            </a:r>
            <a:endParaRPr lang="pl-PL" sz="1400" b="1">
              <a:solidFill>
                <a:srgbClr val="000000"/>
              </a:solidFill>
              <a:latin typeface="Graphik" panose="020B0503030202060203" pitchFamily="34" charset="-18"/>
              <a:cs typeface="Arial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6BF28D5-7059-2A3A-8870-0E8A6AA94E6F}"/>
              </a:ext>
            </a:extLst>
          </p:cNvPr>
          <p:cNvGrpSpPr/>
          <p:nvPr/>
        </p:nvGrpSpPr>
        <p:grpSpPr>
          <a:xfrm>
            <a:off x="536539" y="2067983"/>
            <a:ext cx="831657" cy="831657"/>
            <a:chOff x="602740" y="1865337"/>
            <a:chExt cx="831657" cy="831657"/>
          </a:xfrm>
        </p:grpSpPr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C6D01431-EDCE-7C65-1F53-516656B6A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740" y="2382742"/>
              <a:ext cx="831657" cy="314252"/>
            </a:xfrm>
            <a:custGeom>
              <a:avLst/>
              <a:gdLst>
                <a:gd name="T0" fmla="*/ 282 w 288"/>
                <a:gd name="T1" fmla="*/ 109 h 109"/>
                <a:gd name="T2" fmla="*/ 6 w 288"/>
                <a:gd name="T3" fmla="*/ 109 h 109"/>
                <a:gd name="T4" fmla="*/ 0 w 288"/>
                <a:gd name="T5" fmla="*/ 103 h 109"/>
                <a:gd name="T6" fmla="*/ 0 w 288"/>
                <a:gd name="T7" fmla="*/ 73 h 109"/>
                <a:gd name="T8" fmla="*/ 35 w 288"/>
                <a:gd name="T9" fmla="*/ 22 h 109"/>
                <a:gd name="T10" fmla="*/ 36 w 288"/>
                <a:gd name="T11" fmla="*/ 22 h 109"/>
                <a:gd name="T12" fmla="*/ 112 w 288"/>
                <a:gd name="T13" fmla="*/ 1 h 109"/>
                <a:gd name="T14" fmla="*/ 119 w 288"/>
                <a:gd name="T15" fmla="*/ 5 h 109"/>
                <a:gd name="T16" fmla="*/ 115 w 288"/>
                <a:gd name="T17" fmla="*/ 13 h 109"/>
                <a:gd name="T18" fmla="*/ 39 w 288"/>
                <a:gd name="T19" fmla="*/ 34 h 109"/>
                <a:gd name="T20" fmla="*/ 12 w 288"/>
                <a:gd name="T21" fmla="*/ 73 h 109"/>
                <a:gd name="T22" fmla="*/ 12 w 288"/>
                <a:gd name="T23" fmla="*/ 97 h 109"/>
                <a:gd name="T24" fmla="*/ 276 w 288"/>
                <a:gd name="T25" fmla="*/ 97 h 109"/>
                <a:gd name="T26" fmla="*/ 276 w 288"/>
                <a:gd name="T27" fmla="*/ 73 h 109"/>
                <a:gd name="T28" fmla="*/ 249 w 288"/>
                <a:gd name="T29" fmla="*/ 34 h 109"/>
                <a:gd name="T30" fmla="*/ 173 w 288"/>
                <a:gd name="T31" fmla="*/ 13 h 109"/>
                <a:gd name="T32" fmla="*/ 169 w 288"/>
                <a:gd name="T33" fmla="*/ 5 h 109"/>
                <a:gd name="T34" fmla="*/ 176 w 288"/>
                <a:gd name="T35" fmla="*/ 1 h 109"/>
                <a:gd name="T36" fmla="*/ 253 w 288"/>
                <a:gd name="T37" fmla="*/ 22 h 109"/>
                <a:gd name="T38" fmla="*/ 253 w 288"/>
                <a:gd name="T39" fmla="*/ 22 h 109"/>
                <a:gd name="T40" fmla="*/ 288 w 288"/>
                <a:gd name="T41" fmla="*/ 73 h 109"/>
                <a:gd name="T42" fmla="*/ 288 w 288"/>
                <a:gd name="T43" fmla="*/ 103 h 109"/>
                <a:gd name="T44" fmla="*/ 282 w 288"/>
                <a:gd name="T45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8" h="109">
                  <a:moveTo>
                    <a:pt x="282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14" y="30"/>
                    <a:pt x="35" y="22"/>
                  </a:cubicBezTo>
                  <a:cubicBezTo>
                    <a:pt x="35" y="22"/>
                    <a:pt x="36" y="22"/>
                    <a:pt x="36" y="22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5" y="0"/>
                    <a:pt x="118" y="2"/>
                    <a:pt x="119" y="5"/>
                  </a:cubicBezTo>
                  <a:cubicBezTo>
                    <a:pt x="120" y="8"/>
                    <a:pt x="118" y="12"/>
                    <a:pt x="115" y="13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23" y="40"/>
                    <a:pt x="12" y="56"/>
                    <a:pt x="12" y="73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276" y="97"/>
                    <a:pt x="276" y="97"/>
                    <a:pt x="276" y="97"/>
                  </a:cubicBezTo>
                  <a:cubicBezTo>
                    <a:pt x="276" y="73"/>
                    <a:pt x="276" y="73"/>
                    <a:pt x="276" y="73"/>
                  </a:cubicBezTo>
                  <a:cubicBezTo>
                    <a:pt x="276" y="56"/>
                    <a:pt x="265" y="40"/>
                    <a:pt x="249" y="34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0" y="12"/>
                    <a:pt x="168" y="8"/>
                    <a:pt x="169" y="5"/>
                  </a:cubicBezTo>
                  <a:cubicBezTo>
                    <a:pt x="170" y="2"/>
                    <a:pt x="173" y="0"/>
                    <a:pt x="176" y="1"/>
                  </a:cubicBezTo>
                  <a:cubicBezTo>
                    <a:pt x="253" y="22"/>
                    <a:pt x="253" y="22"/>
                    <a:pt x="253" y="22"/>
                  </a:cubicBezTo>
                  <a:cubicBezTo>
                    <a:pt x="253" y="22"/>
                    <a:pt x="253" y="22"/>
                    <a:pt x="253" y="22"/>
                  </a:cubicBezTo>
                  <a:cubicBezTo>
                    <a:pt x="274" y="30"/>
                    <a:pt x="288" y="50"/>
                    <a:pt x="288" y="73"/>
                  </a:cubicBezTo>
                  <a:cubicBezTo>
                    <a:pt x="288" y="103"/>
                    <a:pt x="288" y="103"/>
                    <a:pt x="288" y="103"/>
                  </a:cubicBezTo>
                  <a:cubicBezTo>
                    <a:pt x="288" y="106"/>
                    <a:pt x="286" y="109"/>
                    <a:pt x="282" y="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</a:pPr>
              <a:endParaRPr lang="pl-PL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1D19C1C-8723-C7BF-A179-716EBCAA5D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7946" y="2158956"/>
              <a:ext cx="103164" cy="52376"/>
            </a:xfrm>
            <a:custGeom>
              <a:avLst/>
              <a:gdLst>
                <a:gd name="T0" fmla="*/ 30 w 36"/>
                <a:gd name="T1" fmla="*/ 18 h 18"/>
                <a:gd name="T2" fmla="*/ 24 w 36"/>
                <a:gd name="T3" fmla="*/ 12 h 18"/>
                <a:gd name="T4" fmla="*/ 20 w 36"/>
                <a:gd name="T5" fmla="*/ 12 h 18"/>
                <a:gd name="T6" fmla="*/ 18 w 36"/>
                <a:gd name="T7" fmla="*/ 12 h 18"/>
                <a:gd name="T8" fmla="*/ 17 w 36"/>
                <a:gd name="T9" fmla="*/ 12 h 18"/>
                <a:gd name="T10" fmla="*/ 12 w 36"/>
                <a:gd name="T11" fmla="*/ 12 h 18"/>
                <a:gd name="T12" fmla="*/ 6 w 36"/>
                <a:gd name="T13" fmla="*/ 18 h 18"/>
                <a:gd name="T14" fmla="*/ 0 w 36"/>
                <a:gd name="T15" fmla="*/ 12 h 18"/>
                <a:gd name="T16" fmla="*/ 3 w 36"/>
                <a:gd name="T17" fmla="*/ 3 h 18"/>
                <a:gd name="T18" fmla="*/ 17 w 36"/>
                <a:gd name="T19" fmla="*/ 0 h 18"/>
                <a:gd name="T20" fmla="*/ 18 w 36"/>
                <a:gd name="T21" fmla="*/ 0 h 18"/>
                <a:gd name="T22" fmla="*/ 20 w 36"/>
                <a:gd name="T23" fmla="*/ 0 h 18"/>
                <a:gd name="T24" fmla="*/ 33 w 36"/>
                <a:gd name="T25" fmla="*/ 3 h 18"/>
                <a:gd name="T26" fmla="*/ 36 w 36"/>
                <a:gd name="T27" fmla="*/ 12 h 18"/>
                <a:gd name="T28" fmla="*/ 30 w 36"/>
                <a:gd name="T29" fmla="*/ 18 h 18"/>
                <a:gd name="T30" fmla="*/ 24 w 36"/>
                <a:gd name="T31" fmla="*/ 11 h 18"/>
                <a:gd name="T32" fmla="*/ 24 w 36"/>
                <a:gd name="T33" fmla="*/ 11 h 18"/>
                <a:gd name="T34" fmla="*/ 12 w 36"/>
                <a:gd name="T35" fmla="*/ 11 h 18"/>
                <a:gd name="T36" fmla="*/ 12 w 36"/>
                <a:gd name="T37" fmla="*/ 11 h 18"/>
                <a:gd name="T38" fmla="*/ 12 w 36"/>
                <a:gd name="T39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" h="18">
                  <a:moveTo>
                    <a:pt x="30" y="18"/>
                  </a:moveTo>
                  <a:cubicBezTo>
                    <a:pt x="27" y="18"/>
                    <a:pt x="24" y="15"/>
                    <a:pt x="24" y="12"/>
                  </a:cubicBezTo>
                  <a:cubicBezTo>
                    <a:pt x="23" y="12"/>
                    <a:pt x="21" y="12"/>
                    <a:pt x="20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5"/>
                    <a:pt x="10" y="18"/>
                    <a:pt x="6" y="18"/>
                  </a:cubicBezTo>
                  <a:cubicBezTo>
                    <a:pt x="3" y="18"/>
                    <a:pt x="0" y="15"/>
                    <a:pt x="0" y="12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7" y="0"/>
                    <a:pt x="12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0"/>
                    <a:pt x="29" y="0"/>
                    <a:pt x="33" y="3"/>
                  </a:cubicBezTo>
                  <a:cubicBezTo>
                    <a:pt x="35" y="5"/>
                    <a:pt x="36" y="8"/>
                    <a:pt x="36" y="12"/>
                  </a:cubicBezTo>
                  <a:cubicBezTo>
                    <a:pt x="36" y="15"/>
                    <a:pt x="34" y="18"/>
                    <a:pt x="30" y="18"/>
                  </a:cubicBezTo>
                  <a:close/>
                  <a:moveTo>
                    <a:pt x="24" y="11"/>
                  </a:moveTo>
                  <a:cubicBezTo>
                    <a:pt x="24" y="11"/>
                    <a:pt x="24" y="11"/>
                    <a:pt x="24" y="11"/>
                  </a:cubicBezTo>
                  <a:close/>
                  <a:moveTo>
                    <a:pt x="12" y="11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</a:pPr>
              <a:endParaRPr lang="pl-PL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FEE68D7D-EEBC-425D-E90F-6D617C3E33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026" y="2158956"/>
              <a:ext cx="103164" cy="52376"/>
            </a:xfrm>
            <a:custGeom>
              <a:avLst/>
              <a:gdLst>
                <a:gd name="T0" fmla="*/ 30 w 36"/>
                <a:gd name="T1" fmla="*/ 18 h 18"/>
                <a:gd name="T2" fmla="*/ 24 w 36"/>
                <a:gd name="T3" fmla="*/ 12 h 18"/>
                <a:gd name="T4" fmla="*/ 20 w 36"/>
                <a:gd name="T5" fmla="*/ 12 h 18"/>
                <a:gd name="T6" fmla="*/ 18 w 36"/>
                <a:gd name="T7" fmla="*/ 12 h 18"/>
                <a:gd name="T8" fmla="*/ 17 w 36"/>
                <a:gd name="T9" fmla="*/ 12 h 18"/>
                <a:gd name="T10" fmla="*/ 12 w 36"/>
                <a:gd name="T11" fmla="*/ 12 h 18"/>
                <a:gd name="T12" fmla="*/ 6 w 36"/>
                <a:gd name="T13" fmla="*/ 18 h 18"/>
                <a:gd name="T14" fmla="*/ 0 w 36"/>
                <a:gd name="T15" fmla="*/ 12 h 18"/>
                <a:gd name="T16" fmla="*/ 3 w 36"/>
                <a:gd name="T17" fmla="*/ 3 h 18"/>
                <a:gd name="T18" fmla="*/ 17 w 36"/>
                <a:gd name="T19" fmla="*/ 0 h 18"/>
                <a:gd name="T20" fmla="*/ 18 w 36"/>
                <a:gd name="T21" fmla="*/ 0 h 18"/>
                <a:gd name="T22" fmla="*/ 20 w 36"/>
                <a:gd name="T23" fmla="*/ 0 h 18"/>
                <a:gd name="T24" fmla="*/ 33 w 36"/>
                <a:gd name="T25" fmla="*/ 3 h 18"/>
                <a:gd name="T26" fmla="*/ 36 w 36"/>
                <a:gd name="T27" fmla="*/ 12 h 18"/>
                <a:gd name="T28" fmla="*/ 30 w 36"/>
                <a:gd name="T29" fmla="*/ 18 h 18"/>
                <a:gd name="T30" fmla="*/ 24 w 36"/>
                <a:gd name="T31" fmla="*/ 11 h 18"/>
                <a:gd name="T32" fmla="*/ 24 w 36"/>
                <a:gd name="T33" fmla="*/ 11 h 18"/>
                <a:gd name="T34" fmla="*/ 12 w 36"/>
                <a:gd name="T35" fmla="*/ 11 h 18"/>
                <a:gd name="T36" fmla="*/ 12 w 36"/>
                <a:gd name="T37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" h="18">
                  <a:moveTo>
                    <a:pt x="30" y="18"/>
                  </a:moveTo>
                  <a:cubicBezTo>
                    <a:pt x="27" y="18"/>
                    <a:pt x="24" y="15"/>
                    <a:pt x="24" y="12"/>
                  </a:cubicBezTo>
                  <a:cubicBezTo>
                    <a:pt x="23" y="12"/>
                    <a:pt x="21" y="12"/>
                    <a:pt x="20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5"/>
                    <a:pt x="10" y="18"/>
                    <a:pt x="6" y="18"/>
                  </a:cubicBezTo>
                  <a:cubicBezTo>
                    <a:pt x="3" y="18"/>
                    <a:pt x="0" y="15"/>
                    <a:pt x="0" y="12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7" y="0"/>
                    <a:pt x="12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0"/>
                    <a:pt x="29" y="0"/>
                    <a:pt x="33" y="3"/>
                  </a:cubicBezTo>
                  <a:cubicBezTo>
                    <a:pt x="35" y="5"/>
                    <a:pt x="36" y="8"/>
                    <a:pt x="36" y="12"/>
                  </a:cubicBezTo>
                  <a:cubicBezTo>
                    <a:pt x="36" y="15"/>
                    <a:pt x="34" y="18"/>
                    <a:pt x="30" y="18"/>
                  </a:cubicBezTo>
                  <a:close/>
                  <a:moveTo>
                    <a:pt x="24" y="11"/>
                  </a:moveTo>
                  <a:cubicBezTo>
                    <a:pt x="24" y="11"/>
                    <a:pt x="24" y="11"/>
                    <a:pt x="24" y="11"/>
                  </a:cubicBezTo>
                  <a:close/>
                  <a:moveTo>
                    <a:pt x="12" y="11"/>
                  </a:moveTo>
                  <a:cubicBezTo>
                    <a:pt x="12" y="11"/>
                    <a:pt x="12" y="11"/>
                    <a:pt x="12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</a:pPr>
              <a:endParaRPr lang="pl-PL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E964A5EF-A737-868A-A1E0-171C936DDF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022" y="2055793"/>
              <a:ext cx="246006" cy="398371"/>
            </a:xfrm>
            <a:custGeom>
              <a:avLst/>
              <a:gdLst>
                <a:gd name="T0" fmla="*/ 79 w 85"/>
                <a:gd name="T1" fmla="*/ 138 h 138"/>
                <a:gd name="T2" fmla="*/ 13 w 85"/>
                <a:gd name="T3" fmla="*/ 77 h 138"/>
                <a:gd name="T4" fmla="*/ 0 w 85"/>
                <a:gd name="T5" fmla="*/ 54 h 138"/>
                <a:gd name="T6" fmla="*/ 13 w 85"/>
                <a:gd name="T7" fmla="*/ 31 h 138"/>
                <a:gd name="T8" fmla="*/ 13 w 85"/>
                <a:gd name="T9" fmla="*/ 6 h 138"/>
                <a:gd name="T10" fmla="*/ 19 w 85"/>
                <a:gd name="T11" fmla="*/ 0 h 138"/>
                <a:gd name="T12" fmla="*/ 25 w 85"/>
                <a:gd name="T13" fmla="*/ 6 h 138"/>
                <a:gd name="T14" fmla="*/ 25 w 85"/>
                <a:gd name="T15" fmla="*/ 36 h 138"/>
                <a:gd name="T16" fmla="*/ 19 w 85"/>
                <a:gd name="T17" fmla="*/ 42 h 138"/>
                <a:gd name="T18" fmla="*/ 12 w 85"/>
                <a:gd name="T19" fmla="*/ 54 h 138"/>
                <a:gd name="T20" fmla="*/ 19 w 85"/>
                <a:gd name="T21" fmla="*/ 66 h 138"/>
                <a:gd name="T22" fmla="*/ 25 w 85"/>
                <a:gd name="T23" fmla="*/ 72 h 138"/>
                <a:gd name="T24" fmla="*/ 79 w 85"/>
                <a:gd name="T25" fmla="*/ 126 h 138"/>
                <a:gd name="T26" fmla="*/ 85 w 85"/>
                <a:gd name="T27" fmla="*/ 132 h 138"/>
                <a:gd name="T28" fmla="*/ 79 w 85"/>
                <a:gd name="T2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138">
                  <a:moveTo>
                    <a:pt x="79" y="138"/>
                  </a:moveTo>
                  <a:cubicBezTo>
                    <a:pt x="60" y="138"/>
                    <a:pt x="17" y="114"/>
                    <a:pt x="13" y="77"/>
                  </a:cubicBezTo>
                  <a:cubicBezTo>
                    <a:pt x="5" y="74"/>
                    <a:pt x="0" y="65"/>
                    <a:pt x="0" y="54"/>
                  </a:cubicBezTo>
                  <a:cubicBezTo>
                    <a:pt x="0" y="43"/>
                    <a:pt x="5" y="34"/>
                    <a:pt x="13" y="31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3"/>
                    <a:pt x="16" y="0"/>
                    <a:pt x="19" y="0"/>
                  </a:cubicBezTo>
                  <a:cubicBezTo>
                    <a:pt x="23" y="0"/>
                    <a:pt x="25" y="3"/>
                    <a:pt x="25" y="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9"/>
                    <a:pt x="23" y="42"/>
                    <a:pt x="19" y="42"/>
                  </a:cubicBezTo>
                  <a:cubicBezTo>
                    <a:pt x="13" y="42"/>
                    <a:pt x="12" y="50"/>
                    <a:pt x="12" y="54"/>
                  </a:cubicBezTo>
                  <a:cubicBezTo>
                    <a:pt x="12" y="58"/>
                    <a:pt x="13" y="66"/>
                    <a:pt x="19" y="66"/>
                  </a:cubicBezTo>
                  <a:cubicBezTo>
                    <a:pt x="23" y="66"/>
                    <a:pt x="25" y="69"/>
                    <a:pt x="25" y="72"/>
                  </a:cubicBezTo>
                  <a:cubicBezTo>
                    <a:pt x="25" y="103"/>
                    <a:pt x="63" y="126"/>
                    <a:pt x="79" y="126"/>
                  </a:cubicBezTo>
                  <a:cubicBezTo>
                    <a:pt x="83" y="126"/>
                    <a:pt x="85" y="129"/>
                    <a:pt x="85" y="132"/>
                  </a:cubicBezTo>
                  <a:cubicBezTo>
                    <a:pt x="85" y="135"/>
                    <a:pt x="83" y="138"/>
                    <a:pt x="79" y="13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</a:pPr>
              <a:endParaRPr lang="pl-PL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83CED7AE-9218-916E-52C9-70126B3B11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110" y="2055793"/>
              <a:ext cx="249180" cy="398371"/>
            </a:xfrm>
            <a:custGeom>
              <a:avLst/>
              <a:gdLst>
                <a:gd name="T0" fmla="*/ 6 w 86"/>
                <a:gd name="T1" fmla="*/ 138 h 138"/>
                <a:gd name="T2" fmla="*/ 0 w 86"/>
                <a:gd name="T3" fmla="*/ 132 h 138"/>
                <a:gd name="T4" fmla="*/ 6 w 86"/>
                <a:gd name="T5" fmla="*/ 126 h 138"/>
                <a:gd name="T6" fmla="*/ 60 w 86"/>
                <a:gd name="T7" fmla="*/ 72 h 138"/>
                <a:gd name="T8" fmla="*/ 66 w 86"/>
                <a:gd name="T9" fmla="*/ 66 h 138"/>
                <a:gd name="T10" fmla="*/ 71 w 86"/>
                <a:gd name="T11" fmla="*/ 63 h 138"/>
                <a:gd name="T12" fmla="*/ 74 w 86"/>
                <a:gd name="T13" fmla="*/ 54 h 138"/>
                <a:gd name="T14" fmla="*/ 66 w 86"/>
                <a:gd name="T15" fmla="*/ 42 h 138"/>
                <a:gd name="T16" fmla="*/ 60 w 86"/>
                <a:gd name="T17" fmla="*/ 36 h 138"/>
                <a:gd name="T18" fmla="*/ 60 w 86"/>
                <a:gd name="T19" fmla="*/ 6 h 138"/>
                <a:gd name="T20" fmla="*/ 66 w 86"/>
                <a:gd name="T21" fmla="*/ 0 h 138"/>
                <a:gd name="T22" fmla="*/ 72 w 86"/>
                <a:gd name="T23" fmla="*/ 6 h 138"/>
                <a:gd name="T24" fmla="*/ 72 w 86"/>
                <a:gd name="T25" fmla="*/ 31 h 138"/>
                <a:gd name="T26" fmla="*/ 86 w 86"/>
                <a:gd name="T27" fmla="*/ 54 h 138"/>
                <a:gd name="T28" fmla="*/ 81 w 86"/>
                <a:gd name="T29" fmla="*/ 70 h 138"/>
                <a:gd name="T30" fmla="*/ 72 w 86"/>
                <a:gd name="T31" fmla="*/ 77 h 138"/>
                <a:gd name="T32" fmla="*/ 6 w 86"/>
                <a:gd name="T33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6" h="138">
                  <a:moveTo>
                    <a:pt x="6" y="138"/>
                  </a:moveTo>
                  <a:cubicBezTo>
                    <a:pt x="3" y="138"/>
                    <a:pt x="0" y="135"/>
                    <a:pt x="0" y="132"/>
                  </a:cubicBezTo>
                  <a:cubicBezTo>
                    <a:pt x="0" y="129"/>
                    <a:pt x="3" y="126"/>
                    <a:pt x="6" y="126"/>
                  </a:cubicBezTo>
                  <a:cubicBezTo>
                    <a:pt x="22" y="126"/>
                    <a:pt x="60" y="103"/>
                    <a:pt x="60" y="72"/>
                  </a:cubicBezTo>
                  <a:cubicBezTo>
                    <a:pt x="60" y="69"/>
                    <a:pt x="63" y="66"/>
                    <a:pt x="66" y="66"/>
                  </a:cubicBezTo>
                  <a:cubicBezTo>
                    <a:pt x="68" y="66"/>
                    <a:pt x="70" y="66"/>
                    <a:pt x="71" y="63"/>
                  </a:cubicBezTo>
                  <a:cubicBezTo>
                    <a:pt x="73" y="61"/>
                    <a:pt x="74" y="57"/>
                    <a:pt x="74" y="54"/>
                  </a:cubicBezTo>
                  <a:cubicBezTo>
                    <a:pt x="74" y="50"/>
                    <a:pt x="72" y="42"/>
                    <a:pt x="66" y="42"/>
                  </a:cubicBezTo>
                  <a:cubicBezTo>
                    <a:pt x="63" y="42"/>
                    <a:pt x="60" y="39"/>
                    <a:pt x="60" y="36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3"/>
                    <a:pt x="63" y="0"/>
                    <a:pt x="66" y="0"/>
                  </a:cubicBezTo>
                  <a:cubicBezTo>
                    <a:pt x="70" y="0"/>
                    <a:pt x="72" y="3"/>
                    <a:pt x="72" y="6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80" y="34"/>
                    <a:pt x="86" y="43"/>
                    <a:pt x="86" y="54"/>
                  </a:cubicBezTo>
                  <a:cubicBezTo>
                    <a:pt x="86" y="60"/>
                    <a:pt x="84" y="65"/>
                    <a:pt x="81" y="70"/>
                  </a:cubicBezTo>
                  <a:cubicBezTo>
                    <a:pt x="79" y="73"/>
                    <a:pt x="76" y="76"/>
                    <a:pt x="72" y="77"/>
                  </a:cubicBezTo>
                  <a:cubicBezTo>
                    <a:pt x="68" y="114"/>
                    <a:pt x="25" y="138"/>
                    <a:pt x="6" y="13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</a:pPr>
              <a:endParaRPr lang="pl-PL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7C22E462-976A-88E6-F70B-DC69B60400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740" y="1865337"/>
              <a:ext cx="831657" cy="172998"/>
            </a:xfrm>
            <a:custGeom>
              <a:avLst/>
              <a:gdLst>
                <a:gd name="T0" fmla="*/ 144 w 288"/>
                <a:gd name="T1" fmla="*/ 60 h 60"/>
                <a:gd name="T2" fmla="*/ 143 w 288"/>
                <a:gd name="T3" fmla="*/ 60 h 60"/>
                <a:gd name="T4" fmla="*/ 5 w 288"/>
                <a:gd name="T5" fmla="*/ 36 h 60"/>
                <a:gd name="T6" fmla="*/ 0 w 288"/>
                <a:gd name="T7" fmla="*/ 30 h 60"/>
                <a:gd name="T8" fmla="*/ 5 w 288"/>
                <a:gd name="T9" fmla="*/ 24 h 60"/>
                <a:gd name="T10" fmla="*/ 143 w 288"/>
                <a:gd name="T11" fmla="*/ 0 h 60"/>
                <a:gd name="T12" fmla="*/ 145 w 288"/>
                <a:gd name="T13" fmla="*/ 0 h 60"/>
                <a:gd name="T14" fmla="*/ 283 w 288"/>
                <a:gd name="T15" fmla="*/ 24 h 60"/>
                <a:gd name="T16" fmla="*/ 288 w 288"/>
                <a:gd name="T17" fmla="*/ 30 h 60"/>
                <a:gd name="T18" fmla="*/ 283 w 288"/>
                <a:gd name="T19" fmla="*/ 36 h 60"/>
                <a:gd name="T20" fmla="*/ 145 w 288"/>
                <a:gd name="T21" fmla="*/ 60 h 60"/>
                <a:gd name="T22" fmla="*/ 144 w 288"/>
                <a:gd name="T23" fmla="*/ 60 h 60"/>
                <a:gd name="T24" fmla="*/ 41 w 288"/>
                <a:gd name="T25" fmla="*/ 30 h 60"/>
                <a:gd name="T26" fmla="*/ 144 w 288"/>
                <a:gd name="T27" fmla="*/ 48 h 60"/>
                <a:gd name="T28" fmla="*/ 247 w 288"/>
                <a:gd name="T29" fmla="*/ 30 h 60"/>
                <a:gd name="T30" fmla="*/ 144 w 288"/>
                <a:gd name="T31" fmla="*/ 12 h 60"/>
                <a:gd name="T32" fmla="*/ 41 w 288"/>
                <a:gd name="T33" fmla="*/ 3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8" h="60">
                  <a:moveTo>
                    <a:pt x="144" y="60"/>
                  </a:moveTo>
                  <a:cubicBezTo>
                    <a:pt x="144" y="60"/>
                    <a:pt x="144" y="60"/>
                    <a:pt x="143" y="60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2" y="35"/>
                    <a:pt x="0" y="33"/>
                    <a:pt x="0" y="30"/>
                  </a:cubicBezTo>
                  <a:cubicBezTo>
                    <a:pt x="0" y="27"/>
                    <a:pt x="2" y="24"/>
                    <a:pt x="5" y="24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4" y="0"/>
                    <a:pt x="145" y="0"/>
                    <a:pt x="145" y="0"/>
                  </a:cubicBezTo>
                  <a:cubicBezTo>
                    <a:pt x="283" y="24"/>
                    <a:pt x="283" y="24"/>
                    <a:pt x="283" y="24"/>
                  </a:cubicBezTo>
                  <a:cubicBezTo>
                    <a:pt x="286" y="24"/>
                    <a:pt x="288" y="27"/>
                    <a:pt x="288" y="30"/>
                  </a:cubicBezTo>
                  <a:cubicBezTo>
                    <a:pt x="288" y="33"/>
                    <a:pt x="286" y="35"/>
                    <a:pt x="283" y="36"/>
                  </a:cubicBezTo>
                  <a:cubicBezTo>
                    <a:pt x="145" y="60"/>
                    <a:pt x="145" y="60"/>
                    <a:pt x="145" y="60"/>
                  </a:cubicBezTo>
                  <a:cubicBezTo>
                    <a:pt x="145" y="60"/>
                    <a:pt x="145" y="60"/>
                    <a:pt x="144" y="60"/>
                  </a:cubicBezTo>
                  <a:close/>
                  <a:moveTo>
                    <a:pt x="41" y="30"/>
                  </a:moveTo>
                  <a:cubicBezTo>
                    <a:pt x="144" y="48"/>
                    <a:pt x="144" y="48"/>
                    <a:pt x="144" y="48"/>
                  </a:cubicBezTo>
                  <a:cubicBezTo>
                    <a:pt x="247" y="30"/>
                    <a:pt x="247" y="30"/>
                    <a:pt x="247" y="30"/>
                  </a:cubicBezTo>
                  <a:cubicBezTo>
                    <a:pt x="144" y="12"/>
                    <a:pt x="144" y="12"/>
                    <a:pt x="144" y="12"/>
                  </a:cubicBezTo>
                  <a:lnTo>
                    <a:pt x="41" y="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</a:pPr>
              <a:endParaRPr lang="pl-PL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endParaRPr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5D41ED83-8963-7533-DDE7-4353730E53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113" y="1971675"/>
              <a:ext cx="380912" cy="169824"/>
            </a:xfrm>
            <a:custGeom>
              <a:avLst/>
              <a:gdLst>
                <a:gd name="T0" fmla="*/ 66 w 132"/>
                <a:gd name="T1" fmla="*/ 59 h 59"/>
                <a:gd name="T2" fmla="*/ 2 w 132"/>
                <a:gd name="T3" fmla="*/ 39 h 59"/>
                <a:gd name="T4" fmla="*/ 0 w 132"/>
                <a:gd name="T5" fmla="*/ 35 h 59"/>
                <a:gd name="T6" fmla="*/ 0 w 132"/>
                <a:gd name="T7" fmla="*/ 6 h 59"/>
                <a:gd name="T8" fmla="*/ 6 w 132"/>
                <a:gd name="T9" fmla="*/ 0 h 59"/>
                <a:gd name="T10" fmla="*/ 12 w 132"/>
                <a:gd name="T11" fmla="*/ 6 h 59"/>
                <a:gd name="T12" fmla="*/ 12 w 132"/>
                <a:gd name="T13" fmla="*/ 32 h 59"/>
                <a:gd name="T14" fmla="*/ 66 w 132"/>
                <a:gd name="T15" fmla="*/ 47 h 59"/>
                <a:gd name="T16" fmla="*/ 120 w 132"/>
                <a:gd name="T17" fmla="*/ 32 h 59"/>
                <a:gd name="T18" fmla="*/ 120 w 132"/>
                <a:gd name="T19" fmla="*/ 6 h 59"/>
                <a:gd name="T20" fmla="*/ 126 w 132"/>
                <a:gd name="T21" fmla="*/ 0 h 59"/>
                <a:gd name="T22" fmla="*/ 132 w 132"/>
                <a:gd name="T23" fmla="*/ 6 h 59"/>
                <a:gd name="T24" fmla="*/ 132 w 132"/>
                <a:gd name="T25" fmla="*/ 35 h 59"/>
                <a:gd name="T26" fmla="*/ 130 w 132"/>
                <a:gd name="T27" fmla="*/ 39 h 59"/>
                <a:gd name="T28" fmla="*/ 66 w 132"/>
                <a:gd name="T2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59">
                  <a:moveTo>
                    <a:pt x="66" y="59"/>
                  </a:moveTo>
                  <a:cubicBezTo>
                    <a:pt x="22" y="59"/>
                    <a:pt x="3" y="40"/>
                    <a:pt x="2" y="39"/>
                  </a:cubicBezTo>
                  <a:cubicBezTo>
                    <a:pt x="1" y="38"/>
                    <a:pt x="0" y="36"/>
                    <a:pt x="0" y="3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7" y="36"/>
                    <a:pt x="35" y="47"/>
                    <a:pt x="66" y="47"/>
                  </a:cubicBezTo>
                  <a:cubicBezTo>
                    <a:pt x="98" y="47"/>
                    <a:pt x="115" y="36"/>
                    <a:pt x="120" y="32"/>
                  </a:cubicBezTo>
                  <a:cubicBezTo>
                    <a:pt x="120" y="6"/>
                    <a:pt x="120" y="6"/>
                    <a:pt x="120" y="6"/>
                  </a:cubicBezTo>
                  <a:cubicBezTo>
                    <a:pt x="120" y="3"/>
                    <a:pt x="123" y="0"/>
                    <a:pt x="126" y="0"/>
                  </a:cubicBezTo>
                  <a:cubicBezTo>
                    <a:pt x="130" y="0"/>
                    <a:pt x="132" y="3"/>
                    <a:pt x="132" y="6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6"/>
                    <a:pt x="132" y="38"/>
                    <a:pt x="130" y="39"/>
                  </a:cubicBezTo>
                  <a:cubicBezTo>
                    <a:pt x="130" y="40"/>
                    <a:pt x="110" y="59"/>
                    <a:pt x="66" y="5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</a:pPr>
              <a:endParaRPr lang="pl-PL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id="{F02AEE7E-4531-BB0D-2544-D991668CF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032" y="1949455"/>
              <a:ext cx="33330" cy="158713"/>
            </a:xfrm>
            <a:custGeom>
              <a:avLst/>
              <a:gdLst>
                <a:gd name="T0" fmla="*/ 6 w 12"/>
                <a:gd name="T1" fmla="*/ 55 h 55"/>
                <a:gd name="T2" fmla="*/ 0 w 12"/>
                <a:gd name="T3" fmla="*/ 49 h 55"/>
                <a:gd name="T4" fmla="*/ 0 w 12"/>
                <a:gd name="T5" fmla="*/ 6 h 55"/>
                <a:gd name="T6" fmla="*/ 6 w 12"/>
                <a:gd name="T7" fmla="*/ 0 h 55"/>
                <a:gd name="T8" fmla="*/ 12 w 12"/>
                <a:gd name="T9" fmla="*/ 6 h 55"/>
                <a:gd name="T10" fmla="*/ 12 w 12"/>
                <a:gd name="T11" fmla="*/ 49 h 55"/>
                <a:gd name="T12" fmla="*/ 6 w 12"/>
                <a:gd name="T13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55">
                  <a:moveTo>
                    <a:pt x="6" y="55"/>
                  </a:moveTo>
                  <a:cubicBezTo>
                    <a:pt x="3" y="55"/>
                    <a:pt x="0" y="52"/>
                    <a:pt x="0" y="4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2" y="52"/>
                    <a:pt x="10" y="55"/>
                    <a:pt x="6" y="5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</a:pPr>
              <a:endParaRPr lang="pl-PL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endParaRPr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id="{CD92B251-1286-401F-D926-401A88E68E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7657" y="2073251"/>
              <a:ext cx="138081" cy="276161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2 w 48"/>
                <a:gd name="T5" fmla="*/ 94 h 96"/>
                <a:gd name="T6" fmla="*/ 0 w 48"/>
                <a:gd name="T7" fmla="*/ 89 h 96"/>
                <a:gd name="T8" fmla="*/ 18 w 48"/>
                <a:gd name="T9" fmla="*/ 5 h 96"/>
                <a:gd name="T10" fmla="*/ 24 w 48"/>
                <a:gd name="T11" fmla="*/ 0 h 96"/>
                <a:gd name="T12" fmla="*/ 30 w 48"/>
                <a:gd name="T13" fmla="*/ 5 h 96"/>
                <a:gd name="T14" fmla="*/ 48 w 48"/>
                <a:gd name="T15" fmla="*/ 89 h 96"/>
                <a:gd name="T16" fmla="*/ 47 w 48"/>
                <a:gd name="T17" fmla="*/ 94 h 96"/>
                <a:gd name="T18" fmla="*/ 42 w 48"/>
                <a:gd name="T19" fmla="*/ 96 h 96"/>
                <a:gd name="T20" fmla="*/ 14 w 48"/>
                <a:gd name="T21" fmla="*/ 84 h 96"/>
                <a:gd name="T22" fmla="*/ 35 w 48"/>
                <a:gd name="T23" fmla="*/ 84 h 96"/>
                <a:gd name="T24" fmla="*/ 24 w 48"/>
                <a:gd name="T25" fmla="*/ 34 h 96"/>
                <a:gd name="T26" fmla="*/ 14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4" y="96"/>
                    <a:pt x="3" y="95"/>
                    <a:pt x="2" y="94"/>
                  </a:cubicBezTo>
                  <a:cubicBezTo>
                    <a:pt x="0" y="92"/>
                    <a:pt x="0" y="90"/>
                    <a:pt x="0" y="89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9" y="2"/>
                    <a:pt x="21" y="0"/>
                    <a:pt x="24" y="0"/>
                  </a:cubicBezTo>
                  <a:cubicBezTo>
                    <a:pt x="27" y="0"/>
                    <a:pt x="30" y="2"/>
                    <a:pt x="30" y="5"/>
                  </a:cubicBezTo>
                  <a:cubicBezTo>
                    <a:pt x="48" y="89"/>
                    <a:pt x="48" y="89"/>
                    <a:pt x="48" y="89"/>
                  </a:cubicBezTo>
                  <a:cubicBezTo>
                    <a:pt x="48" y="90"/>
                    <a:pt x="48" y="92"/>
                    <a:pt x="47" y="94"/>
                  </a:cubicBezTo>
                  <a:cubicBezTo>
                    <a:pt x="46" y="95"/>
                    <a:pt x="44" y="96"/>
                    <a:pt x="42" y="96"/>
                  </a:cubicBezTo>
                  <a:close/>
                  <a:moveTo>
                    <a:pt x="14" y="84"/>
                  </a:moveTo>
                  <a:cubicBezTo>
                    <a:pt x="35" y="84"/>
                    <a:pt x="35" y="84"/>
                    <a:pt x="35" y="84"/>
                  </a:cubicBezTo>
                  <a:cubicBezTo>
                    <a:pt x="24" y="34"/>
                    <a:pt x="24" y="34"/>
                    <a:pt x="24" y="34"/>
                  </a:cubicBezTo>
                  <a:lnTo>
                    <a:pt x="14" y="8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</a:pPr>
              <a:endParaRPr lang="pl-PL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endParaRPr>
            </a:p>
          </p:txBody>
        </p:sp>
        <p:sp>
          <p:nvSpPr>
            <p:cNvPr id="16" name="Freeform 16">
              <a:extLst>
                <a:ext uri="{FF2B5EF4-FFF2-40B4-BE49-F238E27FC236}">
                  <a16:creationId xmlns:a16="http://schemas.microsoft.com/office/drawing/2014/main" id="{25E70A18-55F5-DC3B-4274-DB738382C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590" y="2408136"/>
              <a:ext cx="401545" cy="219024"/>
            </a:xfrm>
            <a:custGeom>
              <a:avLst/>
              <a:gdLst>
                <a:gd name="T0" fmla="*/ 69 w 139"/>
                <a:gd name="T1" fmla="*/ 76 h 76"/>
                <a:gd name="T2" fmla="*/ 65 w 139"/>
                <a:gd name="T3" fmla="*/ 74 h 76"/>
                <a:gd name="T4" fmla="*/ 2 w 139"/>
                <a:gd name="T5" fmla="*/ 11 h 76"/>
                <a:gd name="T6" fmla="*/ 2 w 139"/>
                <a:gd name="T7" fmla="*/ 3 h 76"/>
                <a:gd name="T8" fmla="*/ 10 w 139"/>
                <a:gd name="T9" fmla="*/ 3 h 76"/>
                <a:gd name="T10" fmla="*/ 69 w 139"/>
                <a:gd name="T11" fmla="*/ 61 h 76"/>
                <a:gd name="T12" fmla="*/ 128 w 139"/>
                <a:gd name="T13" fmla="*/ 2 h 76"/>
                <a:gd name="T14" fmla="*/ 137 w 139"/>
                <a:gd name="T15" fmla="*/ 2 h 76"/>
                <a:gd name="T16" fmla="*/ 137 w 139"/>
                <a:gd name="T17" fmla="*/ 11 h 76"/>
                <a:gd name="T18" fmla="*/ 73 w 139"/>
                <a:gd name="T19" fmla="*/ 74 h 76"/>
                <a:gd name="T20" fmla="*/ 69 w 139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9" h="76">
                  <a:moveTo>
                    <a:pt x="69" y="76"/>
                  </a:moveTo>
                  <a:cubicBezTo>
                    <a:pt x="68" y="76"/>
                    <a:pt x="66" y="75"/>
                    <a:pt x="65" y="74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0" y="3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128" y="2"/>
                    <a:pt x="128" y="2"/>
                    <a:pt x="128" y="2"/>
                  </a:cubicBezTo>
                  <a:cubicBezTo>
                    <a:pt x="130" y="0"/>
                    <a:pt x="134" y="0"/>
                    <a:pt x="137" y="2"/>
                  </a:cubicBezTo>
                  <a:cubicBezTo>
                    <a:pt x="139" y="5"/>
                    <a:pt x="139" y="9"/>
                    <a:pt x="137" y="11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2" y="75"/>
                    <a:pt x="71" y="76"/>
                    <a:pt x="69" y="7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</a:pPr>
              <a:endParaRPr lang="pl-PL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endParaRPr>
            </a:p>
          </p:txBody>
        </p:sp>
      </p:grpSp>
      <p:sp>
        <p:nvSpPr>
          <p:cNvPr id="17" name="AutoShape 18">
            <a:extLst>
              <a:ext uri="{FF2B5EF4-FFF2-40B4-BE49-F238E27FC236}">
                <a16:creationId xmlns:a16="http://schemas.microsoft.com/office/drawing/2014/main" id="{6F36A6BF-22D3-E4C7-8C1B-03ACB4DF32E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85281" y="3123932"/>
            <a:ext cx="866574" cy="984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defTabSz="914217" fontAlgn="base">
              <a:spcBef>
                <a:spcPct val="0"/>
              </a:spcBef>
              <a:spcAft>
                <a:spcPct val="0"/>
              </a:spcAft>
            </a:pPr>
            <a:endParaRPr lang="pl-PL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B0D1561-8CEE-5E47-3672-1C9E641E2D1E}"/>
              </a:ext>
            </a:extLst>
          </p:cNvPr>
          <p:cNvGrpSpPr/>
          <p:nvPr/>
        </p:nvGrpSpPr>
        <p:grpSpPr>
          <a:xfrm>
            <a:off x="536539" y="3169124"/>
            <a:ext cx="840315" cy="870538"/>
            <a:chOff x="599724" y="3179180"/>
            <a:chExt cx="840315" cy="870538"/>
          </a:xfrm>
        </p:grpSpPr>
        <p:sp>
          <p:nvSpPr>
            <p:cNvPr id="19" name="Freeform 20">
              <a:extLst>
                <a:ext uri="{FF2B5EF4-FFF2-40B4-BE49-F238E27FC236}">
                  <a16:creationId xmlns:a16="http://schemas.microsoft.com/office/drawing/2014/main" id="{D2063ED7-1EFF-9D11-3A20-30A589CD74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9724" y="3468862"/>
              <a:ext cx="435913" cy="580856"/>
            </a:xfrm>
            <a:custGeom>
              <a:avLst/>
              <a:gdLst>
                <a:gd name="T0" fmla="*/ 150 w 151"/>
                <a:gd name="T1" fmla="*/ 113 h 177"/>
                <a:gd name="T2" fmla="*/ 105 w 151"/>
                <a:gd name="T3" fmla="*/ 51 h 177"/>
                <a:gd name="T4" fmla="*/ 111 w 151"/>
                <a:gd name="T5" fmla="*/ 12 h 177"/>
                <a:gd name="T6" fmla="*/ 116 w 151"/>
                <a:gd name="T7" fmla="*/ 6 h 177"/>
                <a:gd name="T8" fmla="*/ 109 w 151"/>
                <a:gd name="T9" fmla="*/ 0 h 177"/>
                <a:gd name="T10" fmla="*/ 109 w 151"/>
                <a:gd name="T11" fmla="*/ 0 h 177"/>
                <a:gd name="T12" fmla="*/ 42 w 151"/>
                <a:gd name="T13" fmla="*/ 0 h 177"/>
                <a:gd name="T14" fmla="*/ 41 w 151"/>
                <a:gd name="T15" fmla="*/ 0 h 177"/>
                <a:gd name="T16" fmla="*/ 35 w 151"/>
                <a:gd name="T17" fmla="*/ 6 h 177"/>
                <a:gd name="T18" fmla="*/ 39 w 151"/>
                <a:gd name="T19" fmla="*/ 12 h 177"/>
                <a:gd name="T20" fmla="*/ 46 w 151"/>
                <a:gd name="T21" fmla="*/ 51 h 177"/>
                <a:gd name="T22" fmla="*/ 1 w 151"/>
                <a:gd name="T23" fmla="*/ 113 h 177"/>
                <a:gd name="T24" fmla="*/ 0 w 151"/>
                <a:gd name="T25" fmla="*/ 115 h 177"/>
                <a:gd name="T26" fmla="*/ 0 w 151"/>
                <a:gd name="T27" fmla="*/ 115 h 177"/>
                <a:gd name="T28" fmla="*/ 0 w 151"/>
                <a:gd name="T29" fmla="*/ 118 h 177"/>
                <a:gd name="T30" fmla="*/ 58 w 151"/>
                <a:gd name="T31" fmla="*/ 177 h 177"/>
                <a:gd name="T32" fmla="*/ 58 w 151"/>
                <a:gd name="T33" fmla="*/ 177 h 177"/>
                <a:gd name="T34" fmla="*/ 70 w 151"/>
                <a:gd name="T35" fmla="*/ 177 h 177"/>
                <a:gd name="T36" fmla="*/ 81 w 151"/>
                <a:gd name="T37" fmla="*/ 177 h 177"/>
                <a:gd name="T38" fmla="*/ 93 w 151"/>
                <a:gd name="T39" fmla="*/ 177 h 177"/>
                <a:gd name="T40" fmla="*/ 93 w 151"/>
                <a:gd name="T41" fmla="*/ 177 h 177"/>
                <a:gd name="T42" fmla="*/ 151 w 151"/>
                <a:gd name="T43" fmla="*/ 118 h 177"/>
                <a:gd name="T44" fmla="*/ 150 w 151"/>
                <a:gd name="T45" fmla="*/ 116 h 177"/>
                <a:gd name="T46" fmla="*/ 151 w 151"/>
                <a:gd name="T47" fmla="*/ 115 h 177"/>
                <a:gd name="T48" fmla="*/ 150 w 151"/>
                <a:gd name="T49" fmla="*/ 113 h 177"/>
                <a:gd name="T50" fmla="*/ 54 w 151"/>
                <a:gd name="T51" fmla="*/ 61 h 177"/>
                <a:gd name="T52" fmla="*/ 58 w 151"/>
                <a:gd name="T53" fmla="*/ 55 h 177"/>
                <a:gd name="T54" fmla="*/ 53 w 151"/>
                <a:gd name="T55" fmla="*/ 12 h 177"/>
                <a:gd name="T56" fmla="*/ 98 w 151"/>
                <a:gd name="T57" fmla="*/ 12 h 177"/>
                <a:gd name="T58" fmla="*/ 93 w 151"/>
                <a:gd name="T59" fmla="*/ 55 h 177"/>
                <a:gd name="T60" fmla="*/ 97 w 151"/>
                <a:gd name="T61" fmla="*/ 61 h 177"/>
                <a:gd name="T62" fmla="*/ 137 w 151"/>
                <a:gd name="T63" fmla="*/ 108 h 177"/>
                <a:gd name="T64" fmla="*/ 13 w 151"/>
                <a:gd name="T65" fmla="*/ 108 h 177"/>
                <a:gd name="T66" fmla="*/ 54 w 151"/>
                <a:gd name="T67" fmla="*/ 61 h 177"/>
                <a:gd name="T68" fmla="*/ 93 w 151"/>
                <a:gd name="T69" fmla="*/ 165 h 177"/>
                <a:gd name="T70" fmla="*/ 81 w 151"/>
                <a:gd name="T71" fmla="*/ 165 h 177"/>
                <a:gd name="T72" fmla="*/ 70 w 151"/>
                <a:gd name="T73" fmla="*/ 165 h 177"/>
                <a:gd name="T74" fmla="*/ 58 w 151"/>
                <a:gd name="T75" fmla="*/ 165 h 177"/>
                <a:gd name="T76" fmla="*/ 13 w 151"/>
                <a:gd name="T77" fmla="*/ 121 h 177"/>
                <a:gd name="T78" fmla="*/ 138 w 151"/>
                <a:gd name="T79" fmla="*/ 121 h 177"/>
                <a:gd name="T80" fmla="*/ 93 w 151"/>
                <a:gd name="T81" fmla="*/ 165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1" h="177">
                  <a:moveTo>
                    <a:pt x="150" y="113"/>
                  </a:moveTo>
                  <a:cubicBezTo>
                    <a:pt x="148" y="73"/>
                    <a:pt x="117" y="56"/>
                    <a:pt x="105" y="51"/>
                  </a:cubicBezTo>
                  <a:cubicBezTo>
                    <a:pt x="105" y="23"/>
                    <a:pt x="110" y="14"/>
                    <a:pt x="111" y="12"/>
                  </a:cubicBezTo>
                  <a:cubicBezTo>
                    <a:pt x="114" y="11"/>
                    <a:pt x="116" y="9"/>
                    <a:pt x="116" y="6"/>
                  </a:cubicBezTo>
                  <a:cubicBezTo>
                    <a:pt x="116" y="2"/>
                    <a:pt x="113" y="0"/>
                    <a:pt x="109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38" y="0"/>
                    <a:pt x="35" y="2"/>
                    <a:pt x="35" y="6"/>
                  </a:cubicBezTo>
                  <a:cubicBezTo>
                    <a:pt x="35" y="9"/>
                    <a:pt x="37" y="11"/>
                    <a:pt x="39" y="12"/>
                  </a:cubicBezTo>
                  <a:cubicBezTo>
                    <a:pt x="41" y="14"/>
                    <a:pt x="45" y="23"/>
                    <a:pt x="46" y="51"/>
                  </a:cubicBezTo>
                  <a:cubicBezTo>
                    <a:pt x="34" y="56"/>
                    <a:pt x="3" y="73"/>
                    <a:pt x="1" y="113"/>
                  </a:cubicBezTo>
                  <a:cubicBezTo>
                    <a:pt x="0" y="114"/>
                    <a:pt x="0" y="114"/>
                    <a:pt x="0" y="115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16"/>
                    <a:pt x="0" y="117"/>
                    <a:pt x="0" y="118"/>
                  </a:cubicBezTo>
                  <a:cubicBezTo>
                    <a:pt x="0" y="162"/>
                    <a:pt x="38" y="176"/>
                    <a:pt x="58" y="177"/>
                  </a:cubicBezTo>
                  <a:cubicBezTo>
                    <a:pt x="58" y="177"/>
                    <a:pt x="58" y="177"/>
                    <a:pt x="58" y="177"/>
                  </a:cubicBezTo>
                  <a:cubicBezTo>
                    <a:pt x="70" y="177"/>
                    <a:pt x="70" y="177"/>
                    <a:pt x="70" y="177"/>
                  </a:cubicBezTo>
                  <a:cubicBezTo>
                    <a:pt x="81" y="177"/>
                    <a:pt x="81" y="177"/>
                    <a:pt x="81" y="177"/>
                  </a:cubicBezTo>
                  <a:cubicBezTo>
                    <a:pt x="93" y="177"/>
                    <a:pt x="93" y="177"/>
                    <a:pt x="93" y="177"/>
                  </a:cubicBezTo>
                  <a:cubicBezTo>
                    <a:pt x="93" y="177"/>
                    <a:pt x="93" y="177"/>
                    <a:pt x="93" y="177"/>
                  </a:cubicBezTo>
                  <a:cubicBezTo>
                    <a:pt x="113" y="176"/>
                    <a:pt x="151" y="162"/>
                    <a:pt x="151" y="118"/>
                  </a:cubicBezTo>
                  <a:cubicBezTo>
                    <a:pt x="151" y="117"/>
                    <a:pt x="150" y="117"/>
                    <a:pt x="150" y="116"/>
                  </a:cubicBezTo>
                  <a:cubicBezTo>
                    <a:pt x="150" y="115"/>
                    <a:pt x="151" y="115"/>
                    <a:pt x="151" y="115"/>
                  </a:cubicBezTo>
                  <a:cubicBezTo>
                    <a:pt x="151" y="114"/>
                    <a:pt x="150" y="113"/>
                    <a:pt x="150" y="113"/>
                  </a:cubicBezTo>
                  <a:close/>
                  <a:moveTo>
                    <a:pt x="54" y="61"/>
                  </a:moveTo>
                  <a:cubicBezTo>
                    <a:pt x="56" y="61"/>
                    <a:pt x="58" y="58"/>
                    <a:pt x="58" y="55"/>
                  </a:cubicBezTo>
                  <a:cubicBezTo>
                    <a:pt x="58" y="33"/>
                    <a:pt x="56" y="20"/>
                    <a:pt x="53" y="12"/>
                  </a:cubicBezTo>
                  <a:cubicBezTo>
                    <a:pt x="98" y="12"/>
                    <a:pt x="98" y="12"/>
                    <a:pt x="98" y="12"/>
                  </a:cubicBezTo>
                  <a:cubicBezTo>
                    <a:pt x="95" y="20"/>
                    <a:pt x="93" y="33"/>
                    <a:pt x="93" y="55"/>
                  </a:cubicBezTo>
                  <a:cubicBezTo>
                    <a:pt x="93" y="58"/>
                    <a:pt x="94" y="61"/>
                    <a:pt x="97" y="61"/>
                  </a:cubicBezTo>
                  <a:cubicBezTo>
                    <a:pt x="97" y="61"/>
                    <a:pt x="132" y="72"/>
                    <a:pt x="137" y="108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19" y="72"/>
                    <a:pt x="52" y="62"/>
                    <a:pt x="54" y="61"/>
                  </a:cubicBezTo>
                  <a:close/>
                  <a:moveTo>
                    <a:pt x="93" y="165"/>
                  </a:moveTo>
                  <a:cubicBezTo>
                    <a:pt x="81" y="165"/>
                    <a:pt x="81" y="165"/>
                    <a:pt x="81" y="165"/>
                  </a:cubicBezTo>
                  <a:cubicBezTo>
                    <a:pt x="70" y="165"/>
                    <a:pt x="70" y="165"/>
                    <a:pt x="70" y="165"/>
                  </a:cubicBezTo>
                  <a:cubicBezTo>
                    <a:pt x="58" y="165"/>
                    <a:pt x="58" y="165"/>
                    <a:pt x="58" y="165"/>
                  </a:cubicBezTo>
                  <a:cubicBezTo>
                    <a:pt x="55" y="165"/>
                    <a:pt x="14" y="161"/>
                    <a:pt x="13" y="121"/>
                  </a:cubicBezTo>
                  <a:cubicBezTo>
                    <a:pt x="138" y="121"/>
                    <a:pt x="138" y="121"/>
                    <a:pt x="138" y="121"/>
                  </a:cubicBezTo>
                  <a:cubicBezTo>
                    <a:pt x="136" y="161"/>
                    <a:pt x="96" y="165"/>
                    <a:pt x="93" y="16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</a:pPr>
              <a:endParaRPr lang="pl-PL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endParaRPr>
            </a:p>
          </p:txBody>
        </p:sp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6A39CDB0-8577-FE80-F85E-3DE20EB273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9391" y="3179180"/>
              <a:ext cx="560648" cy="633119"/>
            </a:xfrm>
            <a:custGeom>
              <a:avLst/>
              <a:gdLst>
                <a:gd name="T0" fmla="*/ 184 w 194"/>
                <a:gd name="T1" fmla="*/ 140 h 193"/>
                <a:gd name="T2" fmla="*/ 69 w 194"/>
                <a:gd name="T3" fmla="*/ 25 h 193"/>
                <a:gd name="T4" fmla="*/ 63 w 194"/>
                <a:gd name="T5" fmla="*/ 6 h 193"/>
                <a:gd name="T6" fmla="*/ 59 w 194"/>
                <a:gd name="T7" fmla="*/ 0 h 193"/>
                <a:gd name="T8" fmla="*/ 52 w 194"/>
                <a:gd name="T9" fmla="*/ 2 h 193"/>
                <a:gd name="T10" fmla="*/ 52 w 194"/>
                <a:gd name="T11" fmla="*/ 2 h 193"/>
                <a:gd name="T12" fmla="*/ 3 w 194"/>
                <a:gd name="T13" fmla="*/ 51 h 193"/>
                <a:gd name="T14" fmla="*/ 3 w 194"/>
                <a:gd name="T15" fmla="*/ 51 h 193"/>
                <a:gd name="T16" fmla="*/ 1 w 194"/>
                <a:gd name="T17" fmla="*/ 58 h 193"/>
                <a:gd name="T18" fmla="*/ 6 w 194"/>
                <a:gd name="T19" fmla="*/ 62 h 193"/>
                <a:gd name="T20" fmla="*/ 26 w 194"/>
                <a:gd name="T21" fmla="*/ 68 h 193"/>
                <a:gd name="T22" fmla="*/ 141 w 194"/>
                <a:gd name="T23" fmla="*/ 184 h 193"/>
                <a:gd name="T24" fmla="*/ 161 w 194"/>
                <a:gd name="T25" fmla="*/ 193 h 193"/>
                <a:gd name="T26" fmla="*/ 161 w 194"/>
                <a:gd name="T27" fmla="*/ 193 h 193"/>
                <a:gd name="T28" fmla="*/ 181 w 194"/>
                <a:gd name="T29" fmla="*/ 184 h 193"/>
                <a:gd name="T30" fmla="*/ 185 w 194"/>
                <a:gd name="T31" fmla="*/ 180 h 193"/>
                <a:gd name="T32" fmla="*/ 194 w 194"/>
                <a:gd name="T33" fmla="*/ 160 h 193"/>
                <a:gd name="T34" fmla="*/ 184 w 194"/>
                <a:gd name="T35" fmla="*/ 140 h 193"/>
                <a:gd name="T36" fmla="*/ 20 w 194"/>
                <a:gd name="T37" fmla="*/ 52 h 193"/>
                <a:gd name="T38" fmla="*/ 53 w 194"/>
                <a:gd name="T39" fmla="*/ 19 h 193"/>
                <a:gd name="T40" fmla="*/ 60 w 194"/>
                <a:gd name="T41" fmla="*/ 34 h 193"/>
                <a:gd name="T42" fmla="*/ 88 w 194"/>
                <a:gd name="T43" fmla="*/ 62 h 193"/>
                <a:gd name="T44" fmla="*/ 37 w 194"/>
                <a:gd name="T45" fmla="*/ 62 h 193"/>
                <a:gd name="T46" fmla="*/ 35 w 194"/>
                <a:gd name="T47" fmla="*/ 60 h 193"/>
                <a:gd name="T48" fmla="*/ 20 w 194"/>
                <a:gd name="T49" fmla="*/ 52 h 193"/>
                <a:gd name="T50" fmla="*/ 176 w 194"/>
                <a:gd name="T51" fmla="*/ 171 h 193"/>
                <a:gd name="T52" fmla="*/ 172 w 194"/>
                <a:gd name="T53" fmla="*/ 175 h 193"/>
                <a:gd name="T54" fmla="*/ 161 w 194"/>
                <a:gd name="T55" fmla="*/ 181 h 193"/>
                <a:gd name="T56" fmla="*/ 151 w 194"/>
                <a:gd name="T57" fmla="*/ 175 h 193"/>
                <a:gd name="T58" fmla="*/ 150 w 194"/>
                <a:gd name="T59" fmla="*/ 175 h 193"/>
                <a:gd name="T60" fmla="*/ 144 w 194"/>
                <a:gd name="T61" fmla="*/ 168 h 193"/>
                <a:gd name="T62" fmla="*/ 153 w 194"/>
                <a:gd name="T63" fmla="*/ 159 h 193"/>
                <a:gd name="T64" fmla="*/ 153 w 194"/>
                <a:gd name="T65" fmla="*/ 150 h 193"/>
                <a:gd name="T66" fmla="*/ 144 w 194"/>
                <a:gd name="T67" fmla="*/ 150 h 193"/>
                <a:gd name="T68" fmla="*/ 135 w 194"/>
                <a:gd name="T69" fmla="*/ 160 h 193"/>
                <a:gd name="T70" fmla="*/ 122 w 194"/>
                <a:gd name="T71" fmla="*/ 147 h 193"/>
                <a:gd name="T72" fmla="*/ 131 w 194"/>
                <a:gd name="T73" fmla="*/ 137 h 193"/>
                <a:gd name="T74" fmla="*/ 131 w 194"/>
                <a:gd name="T75" fmla="*/ 128 h 193"/>
                <a:gd name="T76" fmla="*/ 122 w 194"/>
                <a:gd name="T77" fmla="*/ 128 h 193"/>
                <a:gd name="T78" fmla="*/ 113 w 194"/>
                <a:gd name="T79" fmla="*/ 138 h 193"/>
                <a:gd name="T80" fmla="*/ 101 w 194"/>
                <a:gd name="T81" fmla="*/ 125 h 193"/>
                <a:gd name="T82" fmla="*/ 110 w 194"/>
                <a:gd name="T83" fmla="*/ 116 h 193"/>
                <a:gd name="T84" fmla="*/ 110 w 194"/>
                <a:gd name="T85" fmla="*/ 107 h 193"/>
                <a:gd name="T86" fmla="*/ 101 w 194"/>
                <a:gd name="T87" fmla="*/ 107 h 193"/>
                <a:gd name="T88" fmla="*/ 92 w 194"/>
                <a:gd name="T89" fmla="*/ 117 h 193"/>
                <a:gd name="T90" fmla="*/ 79 w 194"/>
                <a:gd name="T91" fmla="*/ 104 h 193"/>
                <a:gd name="T92" fmla="*/ 89 w 194"/>
                <a:gd name="T93" fmla="*/ 95 h 193"/>
                <a:gd name="T94" fmla="*/ 89 w 194"/>
                <a:gd name="T95" fmla="*/ 86 h 193"/>
                <a:gd name="T96" fmla="*/ 80 w 194"/>
                <a:gd name="T97" fmla="*/ 86 h 193"/>
                <a:gd name="T98" fmla="*/ 71 w 194"/>
                <a:gd name="T99" fmla="*/ 95 h 193"/>
                <a:gd name="T100" fmla="*/ 49 w 194"/>
                <a:gd name="T101" fmla="*/ 74 h 193"/>
                <a:gd name="T102" fmla="*/ 100 w 194"/>
                <a:gd name="T103" fmla="*/ 74 h 193"/>
                <a:gd name="T104" fmla="*/ 176 w 194"/>
                <a:gd name="T105" fmla="*/ 149 h 193"/>
                <a:gd name="T106" fmla="*/ 176 w 194"/>
                <a:gd name="T107" fmla="*/ 150 h 193"/>
                <a:gd name="T108" fmla="*/ 181 w 194"/>
                <a:gd name="T109" fmla="*/ 160 h 193"/>
                <a:gd name="T110" fmla="*/ 176 w 194"/>
                <a:gd name="T111" fmla="*/ 17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" h="193">
                  <a:moveTo>
                    <a:pt x="184" y="140"/>
                  </a:move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63" y="11"/>
                    <a:pt x="63" y="6"/>
                  </a:cubicBezTo>
                  <a:cubicBezTo>
                    <a:pt x="62" y="3"/>
                    <a:pt x="61" y="1"/>
                    <a:pt x="59" y="0"/>
                  </a:cubicBezTo>
                  <a:cubicBezTo>
                    <a:pt x="56" y="0"/>
                    <a:pt x="54" y="0"/>
                    <a:pt x="52" y="2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1" y="53"/>
                    <a:pt x="0" y="55"/>
                    <a:pt x="1" y="58"/>
                  </a:cubicBezTo>
                  <a:cubicBezTo>
                    <a:pt x="2" y="60"/>
                    <a:pt x="4" y="61"/>
                    <a:pt x="6" y="62"/>
                  </a:cubicBezTo>
                  <a:cubicBezTo>
                    <a:pt x="11" y="62"/>
                    <a:pt x="22" y="64"/>
                    <a:pt x="26" y="68"/>
                  </a:cubicBezTo>
                  <a:cubicBezTo>
                    <a:pt x="141" y="184"/>
                    <a:pt x="141" y="184"/>
                    <a:pt x="141" y="184"/>
                  </a:cubicBezTo>
                  <a:cubicBezTo>
                    <a:pt x="143" y="185"/>
                    <a:pt x="150" y="193"/>
                    <a:pt x="161" y="193"/>
                  </a:cubicBezTo>
                  <a:cubicBezTo>
                    <a:pt x="161" y="193"/>
                    <a:pt x="161" y="193"/>
                    <a:pt x="161" y="193"/>
                  </a:cubicBezTo>
                  <a:cubicBezTo>
                    <a:pt x="168" y="193"/>
                    <a:pt x="175" y="190"/>
                    <a:pt x="181" y="184"/>
                  </a:cubicBezTo>
                  <a:cubicBezTo>
                    <a:pt x="185" y="180"/>
                    <a:pt x="185" y="180"/>
                    <a:pt x="185" y="180"/>
                  </a:cubicBezTo>
                  <a:cubicBezTo>
                    <a:pt x="191" y="174"/>
                    <a:pt x="194" y="167"/>
                    <a:pt x="194" y="160"/>
                  </a:cubicBezTo>
                  <a:cubicBezTo>
                    <a:pt x="193" y="149"/>
                    <a:pt x="186" y="142"/>
                    <a:pt x="184" y="140"/>
                  </a:cubicBezTo>
                  <a:close/>
                  <a:moveTo>
                    <a:pt x="20" y="52"/>
                  </a:moveTo>
                  <a:cubicBezTo>
                    <a:pt x="53" y="19"/>
                    <a:pt x="53" y="19"/>
                    <a:pt x="53" y="19"/>
                  </a:cubicBezTo>
                  <a:cubicBezTo>
                    <a:pt x="54" y="24"/>
                    <a:pt x="57" y="30"/>
                    <a:pt x="60" y="34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1" y="56"/>
                    <a:pt x="25" y="53"/>
                    <a:pt x="20" y="52"/>
                  </a:cubicBezTo>
                  <a:close/>
                  <a:moveTo>
                    <a:pt x="176" y="171"/>
                  </a:moveTo>
                  <a:cubicBezTo>
                    <a:pt x="172" y="175"/>
                    <a:pt x="172" y="175"/>
                    <a:pt x="172" y="175"/>
                  </a:cubicBezTo>
                  <a:cubicBezTo>
                    <a:pt x="169" y="179"/>
                    <a:pt x="165" y="181"/>
                    <a:pt x="161" y="181"/>
                  </a:cubicBezTo>
                  <a:cubicBezTo>
                    <a:pt x="155" y="180"/>
                    <a:pt x="151" y="175"/>
                    <a:pt x="151" y="175"/>
                  </a:cubicBezTo>
                  <a:cubicBezTo>
                    <a:pt x="150" y="175"/>
                    <a:pt x="150" y="175"/>
                    <a:pt x="150" y="175"/>
                  </a:cubicBezTo>
                  <a:cubicBezTo>
                    <a:pt x="144" y="168"/>
                    <a:pt x="144" y="168"/>
                    <a:pt x="144" y="168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5" y="157"/>
                    <a:pt x="155" y="153"/>
                    <a:pt x="153" y="150"/>
                  </a:cubicBezTo>
                  <a:cubicBezTo>
                    <a:pt x="151" y="148"/>
                    <a:pt x="147" y="148"/>
                    <a:pt x="144" y="150"/>
                  </a:cubicBezTo>
                  <a:cubicBezTo>
                    <a:pt x="135" y="160"/>
                    <a:pt x="135" y="160"/>
                    <a:pt x="135" y="160"/>
                  </a:cubicBezTo>
                  <a:cubicBezTo>
                    <a:pt x="122" y="147"/>
                    <a:pt x="122" y="147"/>
                    <a:pt x="122" y="147"/>
                  </a:cubicBezTo>
                  <a:cubicBezTo>
                    <a:pt x="131" y="137"/>
                    <a:pt x="131" y="137"/>
                    <a:pt x="131" y="137"/>
                  </a:cubicBezTo>
                  <a:cubicBezTo>
                    <a:pt x="134" y="135"/>
                    <a:pt x="134" y="131"/>
                    <a:pt x="131" y="128"/>
                  </a:cubicBezTo>
                  <a:cubicBezTo>
                    <a:pt x="129" y="126"/>
                    <a:pt x="125" y="126"/>
                    <a:pt x="122" y="128"/>
                  </a:cubicBezTo>
                  <a:cubicBezTo>
                    <a:pt x="113" y="138"/>
                    <a:pt x="113" y="138"/>
                    <a:pt x="113" y="138"/>
                  </a:cubicBezTo>
                  <a:cubicBezTo>
                    <a:pt x="101" y="125"/>
                    <a:pt x="101" y="125"/>
                    <a:pt x="101" y="125"/>
                  </a:cubicBezTo>
                  <a:cubicBezTo>
                    <a:pt x="110" y="116"/>
                    <a:pt x="110" y="116"/>
                    <a:pt x="110" y="116"/>
                  </a:cubicBezTo>
                  <a:cubicBezTo>
                    <a:pt x="112" y="113"/>
                    <a:pt x="112" y="110"/>
                    <a:pt x="110" y="107"/>
                  </a:cubicBezTo>
                  <a:cubicBezTo>
                    <a:pt x="107" y="105"/>
                    <a:pt x="104" y="105"/>
                    <a:pt x="101" y="107"/>
                  </a:cubicBezTo>
                  <a:cubicBezTo>
                    <a:pt x="92" y="117"/>
                    <a:pt x="92" y="117"/>
                    <a:pt x="92" y="117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95"/>
                    <a:pt x="89" y="95"/>
                    <a:pt x="89" y="95"/>
                  </a:cubicBezTo>
                  <a:cubicBezTo>
                    <a:pt x="91" y="92"/>
                    <a:pt x="91" y="88"/>
                    <a:pt x="89" y="86"/>
                  </a:cubicBezTo>
                  <a:cubicBezTo>
                    <a:pt x="86" y="84"/>
                    <a:pt x="82" y="84"/>
                    <a:pt x="80" y="86"/>
                  </a:cubicBezTo>
                  <a:cubicBezTo>
                    <a:pt x="71" y="95"/>
                    <a:pt x="71" y="95"/>
                    <a:pt x="71" y="95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100" y="74"/>
                    <a:pt x="100" y="74"/>
                    <a:pt x="100" y="74"/>
                  </a:cubicBezTo>
                  <a:cubicBezTo>
                    <a:pt x="176" y="149"/>
                    <a:pt x="176" y="149"/>
                    <a:pt x="176" y="149"/>
                  </a:cubicBezTo>
                  <a:cubicBezTo>
                    <a:pt x="176" y="149"/>
                    <a:pt x="176" y="150"/>
                    <a:pt x="176" y="150"/>
                  </a:cubicBezTo>
                  <a:cubicBezTo>
                    <a:pt x="176" y="150"/>
                    <a:pt x="181" y="154"/>
                    <a:pt x="181" y="160"/>
                  </a:cubicBezTo>
                  <a:cubicBezTo>
                    <a:pt x="182" y="164"/>
                    <a:pt x="180" y="168"/>
                    <a:pt x="176" y="17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</a:pPr>
              <a:endParaRPr lang="pl-PL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endParaRP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16B1385F-CCD3-0D4B-C7C9-B107B055C31F}"/>
              </a:ext>
            </a:extLst>
          </p:cNvPr>
          <p:cNvSpPr/>
          <p:nvPr/>
        </p:nvSpPr>
        <p:spPr>
          <a:xfrm>
            <a:off x="1617608" y="3242711"/>
            <a:ext cx="3960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217" fontAlgn="base">
              <a:spcBef>
                <a:spcPct val="0"/>
              </a:spcBef>
              <a:spcAft>
                <a:spcPct val="0"/>
              </a:spcAft>
            </a:pP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Almost </a:t>
            </a:r>
            <a:r>
              <a:rPr lang="pl-PL" sz="1400" b="1">
                <a:solidFill>
                  <a:schemeClr val="accent2"/>
                </a:solidFill>
                <a:latin typeface="Graphik" panose="020B0503030202060203" pitchFamily="34" charset="-18"/>
                <a:cs typeface="Arial" charset="0"/>
              </a:rPr>
              <a:t>5,000</a:t>
            </a:r>
            <a:r>
              <a:rPr lang="pl-PL" sz="1400">
                <a:solidFill>
                  <a:srgbClr val="FFC000"/>
                </a:solidFill>
                <a:latin typeface="Graphik" panose="020B0503030202060203" pitchFamily="34" charset="-18"/>
                <a:cs typeface="Arial" charset="0"/>
              </a:rPr>
              <a:t> 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researchers published their scientific papers in the field of AI within the last 5 years.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453569A-116C-445D-85F7-15DF3D0948CE}"/>
              </a:ext>
            </a:extLst>
          </p:cNvPr>
          <p:cNvGrpSpPr/>
          <p:nvPr/>
        </p:nvGrpSpPr>
        <p:grpSpPr>
          <a:xfrm>
            <a:off x="536539" y="4323516"/>
            <a:ext cx="858938" cy="866574"/>
            <a:chOff x="581101" y="4227818"/>
            <a:chExt cx="858938" cy="866574"/>
          </a:xfrm>
        </p:grpSpPr>
        <p:sp>
          <p:nvSpPr>
            <p:cNvPr id="23" name="AutoShape 26">
              <a:extLst>
                <a:ext uri="{FF2B5EF4-FFF2-40B4-BE49-F238E27FC236}">
                  <a16:creationId xmlns:a16="http://schemas.microsoft.com/office/drawing/2014/main" id="{6FD23356-6DAD-1818-DAF1-34C915FAC85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1101" y="4227818"/>
              <a:ext cx="858938" cy="8665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</a:pPr>
              <a:endParaRPr lang="pl-PL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Freeform 28">
              <a:extLst>
                <a:ext uri="{FF2B5EF4-FFF2-40B4-BE49-F238E27FC236}">
                  <a16:creationId xmlns:a16="http://schemas.microsoft.com/office/drawing/2014/main" id="{414A442C-AD05-6773-218C-AC5A52A331D2}"/>
                </a:ext>
              </a:extLst>
            </p:cNvPr>
            <p:cNvSpPr>
              <a:spLocks/>
            </p:cNvSpPr>
            <p:nvPr/>
          </p:nvSpPr>
          <p:spPr bwMode="auto">
            <a:xfrm>
              <a:off x="969782" y="4254445"/>
              <a:ext cx="110366" cy="215434"/>
            </a:xfrm>
            <a:custGeom>
              <a:avLst/>
              <a:gdLst>
                <a:gd name="T0" fmla="*/ 7 w 38"/>
                <a:gd name="T1" fmla="*/ 75 h 75"/>
                <a:gd name="T2" fmla="*/ 3 w 38"/>
                <a:gd name="T3" fmla="*/ 74 h 75"/>
                <a:gd name="T4" fmla="*/ 2 w 38"/>
                <a:gd name="T5" fmla="*/ 65 h 75"/>
                <a:gd name="T6" fmla="*/ 24 w 38"/>
                <a:gd name="T7" fmla="*/ 38 h 75"/>
                <a:gd name="T8" fmla="*/ 2 w 38"/>
                <a:gd name="T9" fmla="*/ 11 h 75"/>
                <a:gd name="T10" fmla="*/ 3 w 38"/>
                <a:gd name="T11" fmla="*/ 2 h 75"/>
                <a:gd name="T12" fmla="*/ 11 w 38"/>
                <a:gd name="T13" fmla="*/ 3 h 75"/>
                <a:gd name="T14" fmla="*/ 36 w 38"/>
                <a:gd name="T15" fmla="*/ 34 h 75"/>
                <a:gd name="T16" fmla="*/ 36 w 38"/>
                <a:gd name="T17" fmla="*/ 42 h 75"/>
                <a:gd name="T18" fmla="*/ 11 w 38"/>
                <a:gd name="T19" fmla="*/ 73 h 75"/>
                <a:gd name="T20" fmla="*/ 7 w 38"/>
                <a:gd name="T21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75">
                  <a:moveTo>
                    <a:pt x="7" y="75"/>
                  </a:moveTo>
                  <a:cubicBezTo>
                    <a:pt x="5" y="75"/>
                    <a:pt x="4" y="75"/>
                    <a:pt x="3" y="74"/>
                  </a:cubicBezTo>
                  <a:cubicBezTo>
                    <a:pt x="0" y="72"/>
                    <a:pt x="0" y="68"/>
                    <a:pt x="2" y="65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1"/>
                    <a:pt x="11" y="3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8" y="36"/>
                    <a:pt x="38" y="40"/>
                    <a:pt x="36" y="42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0" y="74"/>
                    <a:pt x="8" y="75"/>
                    <a:pt x="7" y="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</a:pPr>
              <a:endParaRPr lang="pl-PL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CF0764A6-6F9A-5C74-EB14-56C35E89CE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003" y="4346428"/>
              <a:ext cx="170349" cy="3388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9"/>
                    <a:pt x="58" y="12"/>
                    <a:pt x="54" y="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</a:pPr>
              <a:endParaRPr lang="pl-PL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endParaRPr>
            </a:p>
          </p:txBody>
        </p:sp>
        <p:sp>
          <p:nvSpPr>
            <p:cNvPr id="26" name="Freeform 30">
              <a:extLst>
                <a:ext uri="{FF2B5EF4-FFF2-40B4-BE49-F238E27FC236}">
                  <a16:creationId xmlns:a16="http://schemas.microsoft.com/office/drawing/2014/main" id="{BCEB5C7D-EA99-80D7-9318-1791D1374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003" y="4842650"/>
              <a:ext cx="107968" cy="217854"/>
            </a:xfrm>
            <a:custGeom>
              <a:avLst/>
              <a:gdLst>
                <a:gd name="T0" fmla="*/ 31 w 38"/>
                <a:gd name="T1" fmla="*/ 75 h 75"/>
                <a:gd name="T2" fmla="*/ 26 w 38"/>
                <a:gd name="T3" fmla="*/ 73 h 75"/>
                <a:gd name="T4" fmla="*/ 2 w 38"/>
                <a:gd name="T5" fmla="*/ 42 h 75"/>
                <a:gd name="T6" fmla="*/ 2 w 38"/>
                <a:gd name="T7" fmla="*/ 34 h 75"/>
                <a:gd name="T8" fmla="*/ 26 w 38"/>
                <a:gd name="T9" fmla="*/ 3 h 75"/>
                <a:gd name="T10" fmla="*/ 35 w 38"/>
                <a:gd name="T11" fmla="*/ 2 h 75"/>
                <a:gd name="T12" fmla="*/ 36 w 38"/>
                <a:gd name="T13" fmla="*/ 11 h 75"/>
                <a:gd name="T14" fmla="*/ 14 w 38"/>
                <a:gd name="T15" fmla="*/ 38 h 75"/>
                <a:gd name="T16" fmla="*/ 36 w 38"/>
                <a:gd name="T17" fmla="*/ 65 h 75"/>
                <a:gd name="T18" fmla="*/ 35 w 38"/>
                <a:gd name="T19" fmla="*/ 74 h 75"/>
                <a:gd name="T20" fmla="*/ 31 w 38"/>
                <a:gd name="T21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75">
                  <a:moveTo>
                    <a:pt x="31" y="75"/>
                  </a:moveTo>
                  <a:cubicBezTo>
                    <a:pt x="29" y="75"/>
                    <a:pt x="28" y="74"/>
                    <a:pt x="26" y="73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0" y="40"/>
                    <a:pt x="0" y="36"/>
                    <a:pt x="2" y="34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8" y="1"/>
                    <a:pt x="32" y="0"/>
                    <a:pt x="35" y="2"/>
                  </a:cubicBezTo>
                  <a:cubicBezTo>
                    <a:pt x="37" y="4"/>
                    <a:pt x="38" y="8"/>
                    <a:pt x="36" y="11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8" y="68"/>
                    <a:pt x="37" y="72"/>
                    <a:pt x="35" y="74"/>
                  </a:cubicBezTo>
                  <a:cubicBezTo>
                    <a:pt x="34" y="75"/>
                    <a:pt x="32" y="75"/>
                    <a:pt x="31" y="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</a:pPr>
              <a:endParaRPr lang="pl-PL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endParaRPr>
            </a:p>
          </p:txBody>
        </p:sp>
        <p:sp>
          <p:nvSpPr>
            <p:cNvPr id="27" name="Freeform 31">
              <a:extLst>
                <a:ext uri="{FF2B5EF4-FFF2-40B4-BE49-F238E27FC236}">
                  <a16:creationId xmlns:a16="http://schemas.microsoft.com/office/drawing/2014/main" id="{8694D3F0-6086-8E46-FF2F-CAAE366AD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003" y="4934633"/>
              <a:ext cx="170349" cy="36310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9"/>
                    <a:pt x="58" y="12"/>
                    <a:pt x="54" y="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</a:pPr>
              <a:endParaRPr lang="pl-PL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endParaRPr>
            </a:p>
          </p:txBody>
        </p:sp>
        <p:sp>
          <p:nvSpPr>
            <p:cNvPr id="28" name="Freeform 35">
              <a:extLst>
                <a:ext uri="{FF2B5EF4-FFF2-40B4-BE49-F238E27FC236}">
                  <a16:creationId xmlns:a16="http://schemas.microsoft.com/office/drawing/2014/main" id="{9B1BD949-9D45-BD70-BDD7-64D665AD69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7897" y="4416625"/>
              <a:ext cx="206337" cy="2057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5" y="0"/>
                    <a:pt x="72" y="16"/>
                    <a:pt x="72" y="36"/>
                  </a:cubicBezTo>
                  <a:cubicBezTo>
                    <a:pt x="72" y="56"/>
                    <a:pt x="55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2" y="12"/>
                    <a:pt x="12" y="23"/>
                    <a:pt x="12" y="36"/>
                  </a:cubicBezTo>
                  <a:cubicBezTo>
                    <a:pt x="12" y="49"/>
                    <a:pt x="22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</a:pPr>
              <a:endParaRPr lang="pl-PL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endParaRPr>
            </a:p>
          </p:txBody>
        </p:sp>
        <p:sp>
          <p:nvSpPr>
            <p:cNvPr id="31" name="Freeform 36">
              <a:extLst>
                <a:ext uri="{FF2B5EF4-FFF2-40B4-BE49-F238E27FC236}">
                  <a16:creationId xmlns:a16="http://schemas.microsoft.com/office/drawing/2014/main" id="{516BB66A-E030-5F72-26A8-4C1018F699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7897" y="4658684"/>
              <a:ext cx="206337" cy="346146"/>
            </a:xfrm>
            <a:custGeom>
              <a:avLst/>
              <a:gdLst>
                <a:gd name="T0" fmla="*/ 66 w 72"/>
                <a:gd name="T1" fmla="*/ 120 h 120"/>
                <a:gd name="T2" fmla="*/ 6 w 72"/>
                <a:gd name="T3" fmla="*/ 120 h 120"/>
                <a:gd name="T4" fmla="*/ 0 w 72"/>
                <a:gd name="T5" fmla="*/ 114 h 120"/>
                <a:gd name="T6" fmla="*/ 0 w 72"/>
                <a:gd name="T7" fmla="*/ 36 h 120"/>
                <a:gd name="T8" fmla="*/ 36 w 72"/>
                <a:gd name="T9" fmla="*/ 0 h 120"/>
                <a:gd name="T10" fmla="*/ 72 w 72"/>
                <a:gd name="T11" fmla="*/ 36 h 120"/>
                <a:gd name="T12" fmla="*/ 72 w 72"/>
                <a:gd name="T13" fmla="*/ 114 h 120"/>
                <a:gd name="T14" fmla="*/ 66 w 72"/>
                <a:gd name="T15" fmla="*/ 120 h 120"/>
                <a:gd name="T16" fmla="*/ 12 w 72"/>
                <a:gd name="T17" fmla="*/ 108 h 120"/>
                <a:gd name="T18" fmla="*/ 60 w 72"/>
                <a:gd name="T19" fmla="*/ 108 h 120"/>
                <a:gd name="T20" fmla="*/ 60 w 72"/>
                <a:gd name="T21" fmla="*/ 36 h 120"/>
                <a:gd name="T22" fmla="*/ 36 w 72"/>
                <a:gd name="T23" fmla="*/ 12 h 120"/>
                <a:gd name="T24" fmla="*/ 12 w 72"/>
                <a:gd name="T25" fmla="*/ 36 h 120"/>
                <a:gd name="T26" fmla="*/ 12 w 72"/>
                <a:gd name="T2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120">
                  <a:moveTo>
                    <a:pt x="66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2" y="120"/>
                    <a:pt x="0" y="117"/>
                    <a:pt x="0" y="11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5" y="0"/>
                    <a:pt x="72" y="16"/>
                    <a:pt x="72" y="36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69" y="120"/>
                    <a:pt x="66" y="120"/>
                  </a:cubicBezTo>
                  <a:close/>
                  <a:moveTo>
                    <a:pt x="12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ubicBezTo>
                    <a:pt x="22" y="12"/>
                    <a:pt x="12" y="23"/>
                    <a:pt x="12" y="36"/>
                  </a:cubicBezTo>
                  <a:lnTo>
                    <a:pt x="12" y="10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</a:pPr>
              <a:endParaRPr lang="pl-PL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endParaRPr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108A747B-B737-1EC4-ECB6-0E97BF41FF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6908" y="4416625"/>
              <a:ext cx="206337" cy="205752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5" y="0"/>
                    <a:pt x="72" y="16"/>
                    <a:pt x="72" y="36"/>
                  </a:cubicBezTo>
                  <a:cubicBezTo>
                    <a:pt x="72" y="56"/>
                    <a:pt x="55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2" y="12"/>
                    <a:pt x="12" y="23"/>
                    <a:pt x="12" y="36"/>
                  </a:cubicBezTo>
                  <a:cubicBezTo>
                    <a:pt x="12" y="49"/>
                    <a:pt x="22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</a:pPr>
              <a:endParaRPr lang="pl-PL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endParaRPr>
            </a:p>
          </p:txBody>
        </p:sp>
        <p:sp>
          <p:nvSpPr>
            <p:cNvPr id="48" name="Freeform 38">
              <a:extLst>
                <a:ext uri="{FF2B5EF4-FFF2-40B4-BE49-F238E27FC236}">
                  <a16:creationId xmlns:a16="http://schemas.microsoft.com/office/drawing/2014/main" id="{3B37F543-C3DE-26DB-9C89-D280E55CF5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6908" y="4658684"/>
              <a:ext cx="206337" cy="346146"/>
            </a:xfrm>
            <a:custGeom>
              <a:avLst/>
              <a:gdLst>
                <a:gd name="T0" fmla="*/ 66 w 72"/>
                <a:gd name="T1" fmla="*/ 120 h 120"/>
                <a:gd name="T2" fmla="*/ 6 w 72"/>
                <a:gd name="T3" fmla="*/ 120 h 120"/>
                <a:gd name="T4" fmla="*/ 0 w 72"/>
                <a:gd name="T5" fmla="*/ 114 h 120"/>
                <a:gd name="T6" fmla="*/ 0 w 72"/>
                <a:gd name="T7" fmla="*/ 36 h 120"/>
                <a:gd name="T8" fmla="*/ 36 w 72"/>
                <a:gd name="T9" fmla="*/ 0 h 120"/>
                <a:gd name="T10" fmla="*/ 72 w 72"/>
                <a:gd name="T11" fmla="*/ 36 h 120"/>
                <a:gd name="T12" fmla="*/ 72 w 72"/>
                <a:gd name="T13" fmla="*/ 114 h 120"/>
                <a:gd name="T14" fmla="*/ 66 w 72"/>
                <a:gd name="T15" fmla="*/ 120 h 120"/>
                <a:gd name="T16" fmla="*/ 12 w 72"/>
                <a:gd name="T17" fmla="*/ 108 h 120"/>
                <a:gd name="T18" fmla="*/ 60 w 72"/>
                <a:gd name="T19" fmla="*/ 108 h 120"/>
                <a:gd name="T20" fmla="*/ 60 w 72"/>
                <a:gd name="T21" fmla="*/ 36 h 120"/>
                <a:gd name="T22" fmla="*/ 36 w 72"/>
                <a:gd name="T23" fmla="*/ 12 h 120"/>
                <a:gd name="T24" fmla="*/ 12 w 72"/>
                <a:gd name="T25" fmla="*/ 36 h 120"/>
                <a:gd name="T26" fmla="*/ 12 w 72"/>
                <a:gd name="T2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120">
                  <a:moveTo>
                    <a:pt x="66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2" y="120"/>
                    <a:pt x="0" y="117"/>
                    <a:pt x="0" y="11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5" y="0"/>
                    <a:pt x="72" y="16"/>
                    <a:pt x="72" y="36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69" y="120"/>
                    <a:pt x="66" y="120"/>
                  </a:cubicBezTo>
                  <a:close/>
                  <a:moveTo>
                    <a:pt x="12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ubicBezTo>
                    <a:pt x="22" y="12"/>
                    <a:pt x="12" y="23"/>
                    <a:pt x="12" y="36"/>
                  </a:cubicBezTo>
                  <a:lnTo>
                    <a:pt x="12" y="10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</a:pPr>
              <a:endParaRPr lang="pl-PL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endParaRPr>
            </a:p>
          </p:txBody>
        </p: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E4766865-37B4-EDF2-0D46-E35710F4F745}"/>
              </a:ext>
            </a:extLst>
          </p:cNvPr>
          <p:cNvSpPr/>
          <p:nvPr/>
        </p:nvSpPr>
        <p:spPr>
          <a:xfrm>
            <a:off x="1617608" y="4293329"/>
            <a:ext cx="39600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217" fontAlgn="base">
              <a:spcBef>
                <a:spcPct val="0"/>
              </a:spcBef>
              <a:spcAft>
                <a:spcPct val="0"/>
              </a:spcAft>
            </a:pPr>
            <a:r>
              <a:rPr lang="pl-PL" sz="1400" b="1">
                <a:solidFill>
                  <a:schemeClr val="accent2"/>
                </a:solidFill>
                <a:latin typeface="Graphik" panose="020B0503030202060203" pitchFamily="34" charset="-18"/>
                <a:cs typeface="Arial" charset="0"/>
              </a:rPr>
              <a:t>2 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out of </a:t>
            </a:r>
            <a:r>
              <a:rPr lang="pl-PL" sz="1400" b="1">
                <a:solidFill>
                  <a:schemeClr val="accent2"/>
                </a:solidFill>
                <a:latin typeface="Graphik" panose="020B0503030202060203" pitchFamily="34" charset="-18"/>
                <a:cs typeface="Arial" charset="0"/>
              </a:rPr>
              <a:t>15,5</a:t>
            </a:r>
            <a:r>
              <a:rPr lang="pl-PL" sz="1400" b="1">
                <a:solidFill>
                  <a:srgbClr val="FFC000"/>
                </a:solidFill>
                <a:latin typeface="Graphik" panose="020B0503030202060203" pitchFamily="34" charset="-18"/>
                <a:cs typeface="Arial" charset="0"/>
              </a:rPr>
              <a:t> 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million people learning German worldwide are Polish pupils and </a:t>
            </a:r>
            <a:r>
              <a:rPr lang="pl-PL" sz="1400" err="1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students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. </a:t>
            </a:r>
            <a:r>
              <a:rPr lang="pl-PL" sz="1400" err="1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Almost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 all graduates in Poland speak English.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2BCC542-C644-10B2-F3ED-922F11CFD2D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6539" y="5466759"/>
            <a:ext cx="858938" cy="871151"/>
            <a:chOff x="4479" y="2996"/>
            <a:chExt cx="422" cy="428"/>
          </a:xfrm>
          <a:solidFill>
            <a:schemeClr val="accent1"/>
          </a:solidFill>
        </p:grpSpPr>
        <p:sp>
          <p:nvSpPr>
            <p:cNvPr id="51" name="Freeform 141">
              <a:extLst>
                <a:ext uri="{FF2B5EF4-FFF2-40B4-BE49-F238E27FC236}">
                  <a16:creationId xmlns:a16="http://schemas.microsoft.com/office/drawing/2014/main" id="{3B37CAD4-3CF4-336F-639A-9FB672E67A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1" y="2996"/>
              <a:ext cx="320" cy="321"/>
            </a:xfrm>
            <a:custGeom>
              <a:avLst/>
              <a:gdLst>
                <a:gd name="T0" fmla="*/ 103 w 216"/>
                <a:gd name="T1" fmla="*/ 215 h 217"/>
                <a:gd name="T2" fmla="*/ 71 w 216"/>
                <a:gd name="T3" fmla="*/ 208 h 217"/>
                <a:gd name="T4" fmla="*/ 63 w 216"/>
                <a:gd name="T5" fmla="*/ 205 h 217"/>
                <a:gd name="T6" fmla="*/ 36 w 216"/>
                <a:gd name="T7" fmla="*/ 187 h 217"/>
                <a:gd name="T8" fmla="*/ 30 w 216"/>
                <a:gd name="T9" fmla="*/ 180 h 217"/>
                <a:gd name="T10" fmla="*/ 12 w 216"/>
                <a:gd name="T11" fmla="*/ 154 h 217"/>
                <a:gd name="T12" fmla="*/ 8 w 216"/>
                <a:gd name="T13" fmla="*/ 145 h 217"/>
                <a:gd name="T14" fmla="*/ 2 w 216"/>
                <a:gd name="T15" fmla="*/ 113 h 217"/>
                <a:gd name="T16" fmla="*/ 2 w 216"/>
                <a:gd name="T17" fmla="*/ 104 h 217"/>
                <a:gd name="T18" fmla="*/ 8 w 216"/>
                <a:gd name="T19" fmla="*/ 73 h 217"/>
                <a:gd name="T20" fmla="*/ 12 w 216"/>
                <a:gd name="T21" fmla="*/ 64 h 217"/>
                <a:gd name="T22" fmla="*/ 30 w 216"/>
                <a:gd name="T23" fmla="*/ 37 h 217"/>
                <a:gd name="T24" fmla="*/ 36 w 216"/>
                <a:gd name="T25" fmla="*/ 31 h 217"/>
                <a:gd name="T26" fmla="*/ 63 w 216"/>
                <a:gd name="T27" fmla="*/ 13 h 217"/>
                <a:gd name="T28" fmla="*/ 71 w 216"/>
                <a:gd name="T29" fmla="*/ 9 h 217"/>
                <a:gd name="T30" fmla="*/ 103 w 216"/>
                <a:gd name="T31" fmla="*/ 3 h 217"/>
                <a:gd name="T32" fmla="*/ 126 w 216"/>
                <a:gd name="T33" fmla="*/ 19 h 217"/>
                <a:gd name="T34" fmla="*/ 149 w 216"/>
                <a:gd name="T35" fmla="*/ 9 h 217"/>
                <a:gd name="T36" fmla="*/ 159 w 216"/>
                <a:gd name="T37" fmla="*/ 33 h 217"/>
                <a:gd name="T38" fmla="*/ 184 w 216"/>
                <a:gd name="T39" fmla="*/ 32 h 217"/>
                <a:gd name="T40" fmla="*/ 184 w 216"/>
                <a:gd name="T41" fmla="*/ 58 h 217"/>
                <a:gd name="T42" fmla="*/ 207 w 216"/>
                <a:gd name="T43" fmla="*/ 67 h 217"/>
                <a:gd name="T44" fmla="*/ 198 w 216"/>
                <a:gd name="T45" fmla="*/ 91 h 217"/>
                <a:gd name="T46" fmla="*/ 216 w 216"/>
                <a:gd name="T47" fmla="*/ 109 h 217"/>
                <a:gd name="T48" fmla="*/ 198 w 216"/>
                <a:gd name="T49" fmla="*/ 127 h 217"/>
                <a:gd name="T50" fmla="*/ 207 w 216"/>
                <a:gd name="T51" fmla="*/ 150 h 217"/>
                <a:gd name="T52" fmla="*/ 184 w 216"/>
                <a:gd name="T53" fmla="*/ 160 h 217"/>
                <a:gd name="T54" fmla="*/ 184 w 216"/>
                <a:gd name="T55" fmla="*/ 185 h 217"/>
                <a:gd name="T56" fmla="*/ 159 w 216"/>
                <a:gd name="T57" fmla="*/ 185 h 217"/>
                <a:gd name="T58" fmla="*/ 149 w 216"/>
                <a:gd name="T59" fmla="*/ 209 h 217"/>
                <a:gd name="T60" fmla="*/ 126 w 216"/>
                <a:gd name="T61" fmla="*/ 199 h 217"/>
                <a:gd name="T62" fmla="*/ 108 w 216"/>
                <a:gd name="T63" fmla="*/ 217 h 217"/>
                <a:gd name="T64" fmla="*/ 96 w 216"/>
                <a:gd name="T65" fmla="*/ 187 h 217"/>
                <a:gd name="T66" fmla="*/ 119 w 216"/>
                <a:gd name="T67" fmla="*/ 187 h 217"/>
                <a:gd name="T68" fmla="*/ 143 w 216"/>
                <a:gd name="T69" fmla="*/ 194 h 217"/>
                <a:gd name="T70" fmla="*/ 155 w 216"/>
                <a:gd name="T71" fmla="*/ 173 h 217"/>
                <a:gd name="T72" fmla="*/ 171 w 216"/>
                <a:gd name="T73" fmla="*/ 156 h 217"/>
                <a:gd name="T74" fmla="*/ 193 w 216"/>
                <a:gd name="T75" fmla="*/ 144 h 217"/>
                <a:gd name="T76" fmla="*/ 186 w 216"/>
                <a:gd name="T77" fmla="*/ 121 h 217"/>
                <a:gd name="T78" fmla="*/ 186 w 216"/>
                <a:gd name="T79" fmla="*/ 97 h 217"/>
                <a:gd name="T80" fmla="*/ 193 w 216"/>
                <a:gd name="T81" fmla="*/ 73 h 217"/>
                <a:gd name="T82" fmla="*/ 171 w 216"/>
                <a:gd name="T83" fmla="*/ 62 h 217"/>
                <a:gd name="T84" fmla="*/ 155 w 216"/>
                <a:gd name="T85" fmla="*/ 45 h 217"/>
                <a:gd name="T86" fmla="*/ 143 w 216"/>
                <a:gd name="T87" fmla="*/ 23 h 217"/>
                <a:gd name="T88" fmla="*/ 119 w 216"/>
                <a:gd name="T89" fmla="*/ 30 h 217"/>
                <a:gd name="T90" fmla="*/ 96 w 216"/>
                <a:gd name="T91" fmla="*/ 30 h 217"/>
                <a:gd name="T92" fmla="*/ 72 w 216"/>
                <a:gd name="T93" fmla="*/ 23 h 217"/>
                <a:gd name="T94" fmla="*/ 60 w 216"/>
                <a:gd name="T95" fmla="*/ 45 h 217"/>
                <a:gd name="T96" fmla="*/ 44 w 216"/>
                <a:gd name="T97" fmla="*/ 62 h 217"/>
                <a:gd name="T98" fmla="*/ 22 w 216"/>
                <a:gd name="T99" fmla="*/ 73 h 217"/>
                <a:gd name="T100" fmla="*/ 29 w 216"/>
                <a:gd name="T101" fmla="*/ 97 h 217"/>
                <a:gd name="T102" fmla="*/ 29 w 216"/>
                <a:gd name="T103" fmla="*/ 121 h 217"/>
                <a:gd name="T104" fmla="*/ 22 w 216"/>
                <a:gd name="T105" fmla="*/ 144 h 217"/>
                <a:gd name="T106" fmla="*/ 44 w 216"/>
                <a:gd name="T107" fmla="*/ 156 h 217"/>
                <a:gd name="T108" fmla="*/ 60 w 216"/>
                <a:gd name="T109" fmla="*/ 173 h 217"/>
                <a:gd name="T110" fmla="*/ 72 w 216"/>
                <a:gd name="T111" fmla="*/ 194 h 217"/>
                <a:gd name="T112" fmla="*/ 91 w 216"/>
                <a:gd name="T113" fmla="*/ 185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6" h="217">
                  <a:moveTo>
                    <a:pt x="108" y="217"/>
                  </a:moveTo>
                  <a:cubicBezTo>
                    <a:pt x="106" y="217"/>
                    <a:pt x="104" y="216"/>
                    <a:pt x="103" y="215"/>
                  </a:cubicBezTo>
                  <a:cubicBezTo>
                    <a:pt x="90" y="199"/>
                    <a:pt x="90" y="199"/>
                    <a:pt x="90" y="199"/>
                  </a:cubicBezTo>
                  <a:cubicBezTo>
                    <a:pt x="71" y="208"/>
                    <a:pt x="71" y="208"/>
                    <a:pt x="71" y="208"/>
                  </a:cubicBezTo>
                  <a:cubicBezTo>
                    <a:pt x="70" y="209"/>
                    <a:pt x="68" y="209"/>
                    <a:pt x="66" y="209"/>
                  </a:cubicBezTo>
                  <a:cubicBezTo>
                    <a:pt x="65" y="208"/>
                    <a:pt x="63" y="207"/>
                    <a:pt x="63" y="205"/>
                  </a:cubicBezTo>
                  <a:cubicBezTo>
                    <a:pt x="57" y="185"/>
                    <a:pt x="57" y="185"/>
                    <a:pt x="57" y="185"/>
                  </a:cubicBezTo>
                  <a:cubicBezTo>
                    <a:pt x="36" y="187"/>
                    <a:pt x="36" y="187"/>
                    <a:pt x="36" y="187"/>
                  </a:cubicBezTo>
                  <a:cubicBezTo>
                    <a:pt x="34" y="187"/>
                    <a:pt x="33" y="186"/>
                    <a:pt x="31" y="185"/>
                  </a:cubicBezTo>
                  <a:cubicBezTo>
                    <a:pt x="30" y="184"/>
                    <a:pt x="29" y="182"/>
                    <a:pt x="30" y="180"/>
                  </a:cubicBezTo>
                  <a:cubicBezTo>
                    <a:pt x="31" y="160"/>
                    <a:pt x="31" y="160"/>
                    <a:pt x="31" y="160"/>
                  </a:cubicBezTo>
                  <a:cubicBezTo>
                    <a:pt x="12" y="154"/>
                    <a:pt x="12" y="154"/>
                    <a:pt x="12" y="154"/>
                  </a:cubicBezTo>
                  <a:cubicBezTo>
                    <a:pt x="10" y="153"/>
                    <a:pt x="9" y="152"/>
                    <a:pt x="8" y="150"/>
                  </a:cubicBezTo>
                  <a:cubicBezTo>
                    <a:pt x="7" y="148"/>
                    <a:pt x="7" y="147"/>
                    <a:pt x="8" y="145"/>
                  </a:cubicBezTo>
                  <a:cubicBezTo>
                    <a:pt x="18" y="127"/>
                    <a:pt x="18" y="127"/>
                    <a:pt x="18" y="127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0" y="112"/>
                    <a:pt x="0" y="111"/>
                    <a:pt x="0" y="109"/>
                  </a:cubicBezTo>
                  <a:cubicBezTo>
                    <a:pt x="0" y="107"/>
                    <a:pt x="0" y="105"/>
                    <a:pt x="2" y="104"/>
                  </a:cubicBezTo>
                  <a:cubicBezTo>
                    <a:pt x="18" y="91"/>
                    <a:pt x="18" y="91"/>
                    <a:pt x="18" y="91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7" y="71"/>
                    <a:pt x="7" y="69"/>
                    <a:pt x="8" y="67"/>
                  </a:cubicBezTo>
                  <a:cubicBezTo>
                    <a:pt x="9" y="66"/>
                    <a:pt x="10" y="65"/>
                    <a:pt x="12" y="64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29" y="35"/>
                    <a:pt x="30" y="34"/>
                    <a:pt x="31" y="32"/>
                  </a:cubicBezTo>
                  <a:cubicBezTo>
                    <a:pt x="33" y="31"/>
                    <a:pt x="34" y="31"/>
                    <a:pt x="36" y="31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11"/>
                    <a:pt x="65" y="10"/>
                    <a:pt x="66" y="9"/>
                  </a:cubicBezTo>
                  <a:cubicBezTo>
                    <a:pt x="68" y="8"/>
                    <a:pt x="70" y="8"/>
                    <a:pt x="71" y="9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5" y="0"/>
                    <a:pt x="110" y="0"/>
                    <a:pt x="112" y="3"/>
                  </a:cubicBezTo>
                  <a:cubicBezTo>
                    <a:pt x="126" y="19"/>
                    <a:pt x="126" y="19"/>
                    <a:pt x="126" y="19"/>
                  </a:cubicBezTo>
                  <a:cubicBezTo>
                    <a:pt x="144" y="9"/>
                    <a:pt x="144" y="9"/>
                    <a:pt x="144" y="9"/>
                  </a:cubicBezTo>
                  <a:cubicBezTo>
                    <a:pt x="145" y="8"/>
                    <a:pt x="147" y="8"/>
                    <a:pt x="149" y="9"/>
                  </a:cubicBezTo>
                  <a:cubicBezTo>
                    <a:pt x="151" y="10"/>
                    <a:pt x="152" y="11"/>
                    <a:pt x="152" y="13"/>
                  </a:cubicBezTo>
                  <a:cubicBezTo>
                    <a:pt x="159" y="33"/>
                    <a:pt x="159" y="33"/>
                    <a:pt x="159" y="33"/>
                  </a:cubicBezTo>
                  <a:cubicBezTo>
                    <a:pt x="179" y="31"/>
                    <a:pt x="179" y="31"/>
                    <a:pt x="179" y="31"/>
                  </a:cubicBezTo>
                  <a:cubicBezTo>
                    <a:pt x="181" y="31"/>
                    <a:pt x="183" y="31"/>
                    <a:pt x="184" y="32"/>
                  </a:cubicBezTo>
                  <a:cubicBezTo>
                    <a:pt x="185" y="34"/>
                    <a:pt x="186" y="35"/>
                    <a:pt x="186" y="37"/>
                  </a:cubicBezTo>
                  <a:cubicBezTo>
                    <a:pt x="184" y="58"/>
                    <a:pt x="184" y="58"/>
                    <a:pt x="184" y="58"/>
                  </a:cubicBezTo>
                  <a:cubicBezTo>
                    <a:pt x="204" y="64"/>
                    <a:pt x="204" y="64"/>
                    <a:pt x="204" y="64"/>
                  </a:cubicBezTo>
                  <a:cubicBezTo>
                    <a:pt x="205" y="65"/>
                    <a:pt x="207" y="66"/>
                    <a:pt x="207" y="67"/>
                  </a:cubicBezTo>
                  <a:cubicBezTo>
                    <a:pt x="208" y="69"/>
                    <a:pt x="208" y="71"/>
                    <a:pt x="207" y="73"/>
                  </a:cubicBezTo>
                  <a:cubicBezTo>
                    <a:pt x="198" y="91"/>
                    <a:pt x="198" y="91"/>
                    <a:pt x="198" y="91"/>
                  </a:cubicBezTo>
                  <a:cubicBezTo>
                    <a:pt x="213" y="104"/>
                    <a:pt x="213" y="104"/>
                    <a:pt x="213" y="104"/>
                  </a:cubicBezTo>
                  <a:cubicBezTo>
                    <a:pt x="215" y="105"/>
                    <a:pt x="216" y="107"/>
                    <a:pt x="216" y="109"/>
                  </a:cubicBezTo>
                  <a:cubicBezTo>
                    <a:pt x="216" y="111"/>
                    <a:pt x="215" y="112"/>
                    <a:pt x="213" y="113"/>
                  </a:cubicBezTo>
                  <a:cubicBezTo>
                    <a:pt x="198" y="127"/>
                    <a:pt x="198" y="127"/>
                    <a:pt x="198" y="127"/>
                  </a:cubicBezTo>
                  <a:cubicBezTo>
                    <a:pt x="207" y="145"/>
                    <a:pt x="207" y="145"/>
                    <a:pt x="207" y="145"/>
                  </a:cubicBezTo>
                  <a:cubicBezTo>
                    <a:pt x="208" y="147"/>
                    <a:pt x="208" y="148"/>
                    <a:pt x="207" y="150"/>
                  </a:cubicBezTo>
                  <a:cubicBezTo>
                    <a:pt x="207" y="152"/>
                    <a:pt x="205" y="153"/>
                    <a:pt x="204" y="154"/>
                  </a:cubicBezTo>
                  <a:cubicBezTo>
                    <a:pt x="184" y="160"/>
                    <a:pt x="184" y="160"/>
                    <a:pt x="184" y="160"/>
                  </a:cubicBezTo>
                  <a:cubicBezTo>
                    <a:pt x="186" y="180"/>
                    <a:pt x="186" y="180"/>
                    <a:pt x="186" y="180"/>
                  </a:cubicBezTo>
                  <a:cubicBezTo>
                    <a:pt x="186" y="182"/>
                    <a:pt x="185" y="184"/>
                    <a:pt x="184" y="185"/>
                  </a:cubicBezTo>
                  <a:cubicBezTo>
                    <a:pt x="183" y="186"/>
                    <a:pt x="181" y="187"/>
                    <a:pt x="179" y="187"/>
                  </a:cubicBezTo>
                  <a:cubicBezTo>
                    <a:pt x="159" y="185"/>
                    <a:pt x="159" y="185"/>
                    <a:pt x="159" y="185"/>
                  </a:cubicBezTo>
                  <a:cubicBezTo>
                    <a:pt x="152" y="205"/>
                    <a:pt x="152" y="205"/>
                    <a:pt x="152" y="205"/>
                  </a:cubicBezTo>
                  <a:cubicBezTo>
                    <a:pt x="152" y="207"/>
                    <a:pt x="151" y="208"/>
                    <a:pt x="149" y="209"/>
                  </a:cubicBezTo>
                  <a:cubicBezTo>
                    <a:pt x="147" y="209"/>
                    <a:pt x="145" y="209"/>
                    <a:pt x="144" y="208"/>
                  </a:cubicBezTo>
                  <a:cubicBezTo>
                    <a:pt x="126" y="199"/>
                    <a:pt x="126" y="199"/>
                    <a:pt x="126" y="199"/>
                  </a:cubicBezTo>
                  <a:cubicBezTo>
                    <a:pt x="112" y="215"/>
                    <a:pt x="112" y="215"/>
                    <a:pt x="112" y="215"/>
                  </a:cubicBezTo>
                  <a:cubicBezTo>
                    <a:pt x="111" y="216"/>
                    <a:pt x="109" y="217"/>
                    <a:pt x="108" y="217"/>
                  </a:cubicBezTo>
                  <a:close/>
                  <a:moveTo>
                    <a:pt x="91" y="185"/>
                  </a:moveTo>
                  <a:cubicBezTo>
                    <a:pt x="93" y="185"/>
                    <a:pt x="95" y="186"/>
                    <a:pt x="96" y="187"/>
                  </a:cubicBezTo>
                  <a:cubicBezTo>
                    <a:pt x="108" y="201"/>
                    <a:pt x="108" y="201"/>
                    <a:pt x="108" y="201"/>
                  </a:cubicBezTo>
                  <a:cubicBezTo>
                    <a:pt x="119" y="187"/>
                    <a:pt x="119" y="187"/>
                    <a:pt x="119" y="187"/>
                  </a:cubicBezTo>
                  <a:cubicBezTo>
                    <a:pt x="121" y="185"/>
                    <a:pt x="124" y="185"/>
                    <a:pt x="127" y="186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149" y="177"/>
                    <a:pt x="149" y="177"/>
                    <a:pt x="149" y="177"/>
                  </a:cubicBezTo>
                  <a:cubicBezTo>
                    <a:pt x="149" y="174"/>
                    <a:pt x="152" y="172"/>
                    <a:pt x="155" y="173"/>
                  </a:cubicBezTo>
                  <a:cubicBezTo>
                    <a:pt x="173" y="174"/>
                    <a:pt x="173" y="174"/>
                    <a:pt x="173" y="174"/>
                  </a:cubicBezTo>
                  <a:cubicBezTo>
                    <a:pt x="171" y="156"/>
                    <a:pt x="171" y="156"/>
                    <a:pt x="171" y="156"/>
                  </a:cubicBezTo>
                  <a:cubicBezTo>
                    <a:pt x="171" y="153"/>
                    <a:pt x="173" y="151"/>
                    <a:pt x="176" y="150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185" y="128"/>
                    <a:pt x="185" y="128"/>
                    <a:pt x="185" y="128"/>
                  </a:cubicBezTo>
                  <a:cubicBezTo>
                    <a:pt x="183" y="125"/>
                    <a:pt x="184" y="122"/>
                    <a:pt x="186" y="121"/>
                  </a:cubicBezTo>
                  <a:cubicBezTo>
                    <a:pt x="200" y="109"/>
                    <a:pt x="200" y="109"/>
                    <a:pt x="200" y="109"/>
                  </a:cubicBezTo>
                  <a:cubicBezTo>
                    <a:pt x="186" y="97"/>
                    <a:pt x="186" y="97"/>
                    <a:pt x="186" y="97"/>
                  </a:cubicBezTo>
                  <a:cubicBezTo>
                    <a:pt x="184" y="95"/>
                    <a:pt x="183" y="92"/>
                    <a:pt x="185" y="90"/>
                  </a:cubicBezTo>
                  <a:cubicBezTo>
                    <a:pt x="193" y="73"/>
                    <a:pt x="193" y="73"/>
                    <a:pt x="193" y="73"/>
                  </a:cubicBezTo>
                  <a:cubicBezTo>
                    <a:pt x="176" y="68"/>
                    <a:pt x="176" y="68"/>
                    <a:pt x="176" y="68"/>
                  </a:cubicBezTo>
                  <a:cubicBezTo>
                    <a:pt x="173" y="67"/>
                    <a:pt x="171" y="64"/>
                    <a:pt x="171" y="62"/>
                  </a:cubicBezTo>
                  <a:cubicBezTo>
                    <a:pt x="173" y="43"/>
                    <a:pt x="173" y="43"/>
                    <a:pt x="173" y="43"/>
                  </a:cubicBezTo>
                  <a:cubicBezTo>
                    <a:pt x="155" y="45"/>
                    <a:pt x="155" y="45"/>
                    <a:pt x="155" y="45"/>
                  </a:cubicBezTo>
                  <a:cubicBezTo>
                    <a:pt x="152" y="45"/>
                    <a:pt x="149" y="43"/>
                    <a:pt x="149" y="41"/>
                  </a:cubicBezTo>
                  <a:cubicBezTo>
                    <a:pt x="143" y="23"/>
                    <a:pt x="143" y="23"/>
                    <a:pt x="143" y="23"/>
                  </a:cubicBezTo>
                  <a:cubicBezTo>
                    <a:pt x="127" y="32"/>
                    <a:pt x="127" y="32"/>
                    <a:pt x="127" y="32"/>
                  </a:cubicBezTo>
                  <a:cubicBezTo>
                    <a:pt x="124" y="33"/>
                    <a:pt x="121" y="32"/>
                    <a:pt x="119" y="30"/>
                  </a:cubicBezTo>
                  <a:cubicBezTo>
                    <a:pt x="108" y="16"/>
                    <a:pt x="108" y="16"/>
                    <a:pt x="108" y="16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94" y="32"/>
                    <a:pt x="91" y="33"/>
                    <a:pt x="88" y="32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6" y="43"/>
                    <a:pt x="63" y="45"/>
                    <a:pt x="60" y="45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4"/>
                    <a:pt x="42" y="67"/>
                    <a:pt x="40" y="68"/>
                  </a:cubicBezTo>
                  <a:cubicBezTo>
                    <a:pt x="22" y="73"/>
                    <a:pt x="22" y="73"/>
                    <a:pt x="22" y="73"/>
                  </a:cubicBezTo>
                  <a:cubicBezTo>
                    <a:pt x="31" y="90"/>
                    <a:pt x="31" y="90"/>
                    <a:pt x="31" y="90"/>
                  </a:cubicBezTo>
                  <a:cubicBezTo>
                    <a:pt x="32" y="92"/>
                    <a:pt x="31" y="95"/>
                    <a:pt x="29" y="97"/>
                  </a:cubicBezTo>
                  <a:cubicBezTo>
                    <a:pt x="15" y="109"/>
                    <a:pt x="15" y="109"/>
                    <a:pt x="15" y="109"/>
                  </a:cubicBezTo>
                  <a:cubicBezTo>
                    <a:pt x="29" y="121"/>
                    <a:pt x="29" y="121"/>
                    <a:pt x="29" y="121"/>
                  </a:cubicBezTo>
                  <a:cubicBezTo>
                    <a:pt x="31" y="122"/>
                    <a:pt x="32" y="125"/>
                    <a:pt x="31" y="128"/>
                  </a:cubicBezTo>
                  <a:cubicBezTo>
                    <a:pt x="22" y="144"/>
                    <a:pt x="22" y="144"/>
                    <a:pt x="22" y="144"/>
                  </a:cubicBezTo>
                  <a:cubicBezTo>
                    <a:pt x="40" y="150"/>
                    <a:pt x="40" y="150"/>
                    <a:pt x="40" y="150"/>
                  </a:cubicBezTo>
                  <a:cubicBezTo>
                    <a:pt x="42" y="151"/>
                    <a:pt x="44" y="153"/>
                    <a:pt x="44" y="156"/>
                  </a:cubicBezTo>
                  <a:cubicBezTo>
                    <a:pt x="42" y="174"/>
                    <a:pt x="42" y="174"/>
                    <a:pt x="42" y="174"/>
                  </a:cubicBezTo>
                  <a:cubicBezTo>
                    <a:pt x="60" y="173"/>
                    <a:pt x="60" y="173"/>
                    <a:pt x="60" y="173"/>
                  </a:cubicBezTo>
                  <a:cubicBezTo>
                    <a:pt x="63" y="172"/>
                    <a:pt x="66" y="174"/>
                    <a:pt x="67" y="177"/>
                  </a:cubicBezTo>
                  <a:cubicBezTo>
                    <a:pt x="72" y="194"/>
                    <a:pt x="72" y="194"/>
                    <a:pt x="72" y="194"/>
                  </a:cubicBezTo>
                  <a:cubicBezTo>
                    <a:pt x="88" y="186"/>
                    <a:pt x="88" y="186"/>
                    <a:pt x="88" y="186"/>
                  </a:cubicBezTo>
                  <a:cubicBezTo>
                    <a:pt x="89" y="185"/>
                    <a:pt x="90" y="185"/>
                    <a:pt x="91" y="1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60944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121888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82832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243777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3047213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3656656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4266097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4875541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217"/>
              <a:endParaRPr lang="en-AU">
                <a:solidFill>
                  <a:srgbClr val="000000"/>
                </a:solidFill>
                <a:latin typeface="Graphik" panose="020B0503030202060203" pitchFamily="34" charset="-18"/>
              </a:endParaRPr>
            </a:p>
          </p:txBody>
        </p:sp>
        <p:sp>
          <p:nvSpPr>
            <p:cNvPr id="52" name="Freeform 142">
              <a:extLst>
                <a:ext uri="{FF2B5EF4-FFF2-40B4-BE49-F238E27FC236}">
                  <a16:creationId xmlns:a16="http://schemas.microsoft.com/office/drawing/2014/main" id="{77463156-03FD-FA78-630D-42DC718B44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01" y="3059"/>
              <a:ext cx="179" cy="169"/>
            </a:xfrm>
            <a:custGeom>
              <a:avLst/>
              <a:gdLst>
                <a:gd name="T0" fmla="*/ 97 w 121"/>
                <a:gd name="T1" fmla="*/ 114 h 114"/>
                <a:gd name="T2" fmla="*/ 93 w 121"/>
                <a:gd name="T3" fmla="*/ 113 h 114"/>
                <a:gd name="T4" fmla="*/ 61 w 121"/>
                <a:gd name="T5" fmla="*/ 92 h 114"/>
                <a:gd name="T6" fmla="*/ 28 w 121"/>
                <a:gd name="T7" fmla="*/ 113 h 114"/>
                <a:gd name="T8" fmla="*/ 21 w 121"/>
                <a:gd name="T9" fmla="*/ 113 h 114"/>
                <a:gd name="T10" fmla="*/ 19 w 121"/>
                <a:gd name="T11" fmla="*/ 106 h 114"/>
                <a:gd name="T12" fmla="*/ 30 w 121"/>
                <a:gd name="T13" fmla="*/ 68 h 114"/>
                <a:gd name="T14" fmla="*/ 2 w 121"/>
                <a:gd name="T15" fmla="*/ 40 h 114"/>
                <a:gd name="T16" fmla="*/ 1 w 121"/>
                <a:gd name="T17" fmla="*/ 33 h 114"/>
                <a:gd name="T18" fmla="*/ 7 w 121"/>
                <a:gd name="T19" fmla="*/ 30 h 114"/>
                <a:gd name="T20" fmla="*/ 39 w 121"/>
                <a:gd name="T21" fmla="*/ 30 h 114"/>
                <a:gd name="T22" fmla="*/ 55 w 121"/>
                <a:gd name="T23" fmla="*/ 3 h 114"/>
                <a:gd name="T24" fmla="*/ 61 w 121"/>
                <a:gd name="T25" fmla="*/ 0 h 114"/>
                <a:gd name="T26" fmla="*/ 66 w 121"/>
                <a:gd name="T27" fmla="*/ 3 h 114"/>
                <a:gd name="T28" fmla="*/ 82 w 121"/>
                <a:gd name="T29" fmla="*/ 30 h 114"/>
                <a:gd name="T30" fmla="*/ 115 w 121"/>
                <a:gd name="T31" fmla="*/ 30 h 114"/>
                <a:gd name="T32" fmla="*/ 120 w 121"/>
                <a:gd name="T33" fmla="*/ 33 h 114"/>
                <a:gd name="T34" fmla="*/ 119 w 121"/>
                <a:gd name="T35" fmla="*/ 40 h 114"/>
                <a:gd name="T36" fmla="*/ 91 w 121"/>
                <a:gd name="T37" fmla="*/ 68 h 114"/>
                <a:gd name="T38" fmla="*/ 102 w 121"/>
                <a:gd name="T39" fmla="*/ 106 h 114"/>
                <a:gd name="T40" fmla="*/ 100 w 121"/>
                <a:gd name="T41" fmla="*/ 113 h 114"/>
                <a:gd name="T42" fmla="*/ 97 w 121"/>
                <a:gd name="T43" fmla="*/ 114 h 114"/>
                <a:gd name="T44" fmla="*/ 61 w 121"/>
                <a:gd name="T45" fmla="*/ 79 h 114"/>
                <a:gd name="T46" fmla="*/ 64 w 121"/>
                <a:gd name="T47" fmla="*/ 80 h 114"/>
                <a:gd name="T48" fmla="*/ 87 w 121"/>
                <a:gd name="T49" fmla="*/ 94 h 114"/>
                <a:gd name="T50" fmla="*/ 79 w 121"/>
                <a:gd name="T51" fmla="*/ 67 h 114"/>
                <a:gd name="T52" fmla="*/ 80 w 121"/>
                <a:gd name="T53" fmla="*/ 62 h 114"/>
                <a:gd name="T54" fmla="*/ 100 w 121"/>
                <a:gd name="T55" fmla="*/ 42 h 114"/>
                <a:gd name="T56" fmla="*/ 79 w 121"/>
                <a:gd name="T57" fmla="*/ 42 h 114"/>
                <a:gd name="T58" fmla="*/ 73 w 121"/>
                <a:gd name="T59" fmla="*/ 39 h 114"/>
                <a:gd name="T60" fmla="*/ 61 w 121"/>
                <a:gd name="T61" fmla="*/ 17 h 114"/>
                <a:gd name="T62" fmla="*/ 48 w 121"/>
                <a:gd name="T63" fmla="*/ 39 h 114"/>
                <a:gd name="T64" fmla="*/ 43 w 121"/>
                <a:gd name="T65" fmla="*/ 42 h 114"/>
                <a:gd name="T66" fmla="*/ 21 w 121"/>
                <a:gd name="T67" fmla="*/ 42 h 114"/>
                <a:gd name="T68" fmla="*/ 41 w 121"/>
                <a:gd name="T69" fmla="*/ 62 h 114"/>
                <a:gd name="T70" fmla="*/ 42 w 121"/>
                <a:gd name="T71" fmla="*/ 67 h 114"/>
                <a:gd name="T72" fmla="*/ 35 w 121"/>
                <a:gd name="T73" fmla="*/ 94 h 114"/>
                <a:gd name="T74" fmla="*/ 57 w 121"/>
                <a:gd name="T75" fmla="*/ 80 h 114"/>
                <a:gd name="T76" fmla="*/ 61 w 121"/>
                <a:gd name="T77" fmla="*/ 7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1" h="114">
                  <a:moveTo>
                    <a:pt x="97" y="114"/>
                  </a:moveTo>
                  <a:cubicBezTo>
                    <a:pt x="96" y="114"/>
                    <a:pt x="94" y="113"/>
                    <a:pt x="93" y="113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26" y="114"/>
                    <a:pt x="23" y="114"/>
                    <a:pt x="21" y="113"/>
                  </a:cubicBezTo>
                  <a:cubicBezTo>
                    <a:pt x="19" y="111"/>
                    <a:pt x="18" y="109"/>
                    <a:pt x="19" y="106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1" y="38"/>
                    <a:pt x="0" y="36"/>
                    <a:pt x="1" y="33"/>
                  </a:cubicBezTo>
                  <a:cubicBezTo>
                    <a:pt x="2" y="31"/>
                    <a:pt x="4" y="30"/>
                    <a:pt x="7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7" y="1"/>
                    <a:pt x="59" y="0"/>
                    <a:pt x="61" y="0"/>
                  </a:cubicBezTo>
                  <a:cubicBezTo>
                    <a:pt x="63" y="0"/>
                    <a:pt x="65" y="1"/>
                    <a:pt x="66" y="3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115" y="30"/>
                    <a:pt x="115" y="30"/>
                    <a:pt x="115" y="30"/>
                  </a:cubicBezTo>
                  <a:cubicBezTo>
                    <a:pt x="117" y="30"/>
                    <a:pt x="119" y="31"/>
                    <a:pt x="120" y="33"/>
                  </a:cubicBezTo>
                  <a:cubicBezTo>
                    <a:pt x="121" y="36"/>
                    <a:pt x="121" y="38"/>
                    <a:pt x="119" y="40"/>
                  </a:cubicBezTo>
                  <a:cubicBezTo>
                    <a:pt x="91" y="68"/>
                    <a:pt x="91" y="68"/>
                    <a:pt x="91" y="68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3" y="109"/>
                    <a:pt x="102" y="111"/>
                    <a:pt x="100" y="113"/>
                  </a:cubicBezTo>
                  <a:cubicBezTo>
                    <a:pt x="99" y="113"/>
                    <a:pt x="98" y="114"/>
                    <a:pt x="97" y="114"/>
                  </a:cubicBezTo>
                  <a:close/>
                  <a:moveTo>
                    <a:pt x="61" y="79"/>
                  </a:moveTo>
                  <a:cubicBezTo>
                    <a:pt x="62" y="79"/>
                    <a:pt x="63" y="80"/>
                    <a:pt x="64" y="80"/>
                  </a:cubicBezTo>
                  <a:cubicBezTo>
                    <a:pt x="87" y="94"/>
                    <a:pt x="87" y="94"/>
                    <a:pt x="87" y="9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5"/>
                    <a:pt x="79" y="63"/>
                    <a:pt x="80" y="62"/>
                  </a:cubicBezTo>
                  <a:cubicBezTo>
                    <a:pt x="100" y="42"/>
                    <a:pt x="100" y="42"/>
                    <a:pt x="100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7" y="42"/>
                    <a:pt x="75" y="41"/>
                    <a:pt x="73" y="39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7" y="41"/>
                    <a:pt x="45" y="42"/>
                    <a:pt x="43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2" y="63"/>
                    <a:pt x="43" y="65"/>
                    <a:pt x="42" y="67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8" y="80"/>
                    <a:pt x="60" y="79"/>
                    <a:pt x="61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60944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121888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82832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243777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3047213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3656656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4266097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4875541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217"/>
              <a:endParaRPr lang="en-AU">
                <a:solidFill>
                  <a:srgbClr val="000000"/>
                </a:solidFill>
                <a:latin typeface="Graphik" panose="020B0503030202060203" pitchFamily="34" charset="-18"/>
              </a:endParaRPr>
            </a:p>
          </p:txBody>
        </p:sp>
        <p:sp>
          <p:nvSpPr>
            <p:cNvPr id="53" name="Freeform 143">
              <a:extLst>
                <a:ext uri="{FF2B5EF4-FFF2-40B4-BE49-F238E27FC236}">
                  <a16:creationId xmlns:a16="http://schemas.microsoft.com/office/drawing/2014/main" id="{3DCA1C60-E41C-9967-DC0B-8816554DB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4" y="3252"/>
              <a:ext cx="157" cy="172"/>
            </a:xfrm>
            <a:custGeom>
              <a:avLst/>
              <a:gdLst>
                <a:gd name="T0" fmla="*/ 37 w 106"/>
                <a:gd name="T1" fmla="*/ 116 h 116"/>
                <a:gd name="T2" fmla="*/ 32 w 106"/>
                <a:gd name="T3" fmla="*/ 113 h 116"/>
                <a:gd name="T4" fmla="*/ 0 w 106"/>
                <a:gd name="T5" fmla="*/ 59 h 116"/>
                <a:gd name="T6" fmla="*/ 11 w 106"/>
                <a:gd name="T7" fmla="*/ 53 h 116"/>
                <a:gd name="T8" fmla="*/ 36 w 106"/>
                <a:gd name="T9" fmla="*/ 96 h 116"/>
                <a:gd name="T10" fmla="*/ 48 w 106"/>
                <a:gd name="T11" fmla="*/ 64 h 116"/>
                <a:gd name="T12" fmla="*/ 54 w 106"/>
                <a:gd name="T13" fmla="*/ 60 h 116"/>
                <a:gd name="T14" fmla="*/ 88 w 106"/>
                <a:gd name="T15" fmla="*/ 66 h 116"/>
                <a:gd name="T16" fmla="*/ 54 w 106"/>
                <a:gd name="T17" fmla="*/ 6 h 116"/>
                <a:gd name="T18" fmla="*/ 64 w 106"/>
                <a:gd name="T19" fmla="*/ 0 h 116"/>
                <a:gd name="T20" fmla="*/ 105 w 106"/>
                <a:gd name="T21" fmla="*/ 71 h 116"/>
                <a:gd name="T22" fmla="*/ 105 w 106"/>
                <a:gd name="T23" fmla="*/ 77 h 116"/>
                <a:gd name="T24" fmla="*/ 99 w 106"/>
                <a:gd name="T25" fmla="*/ 79 h 116"/>
                <a:gd name="T26" fmla="*/ 57 w 106"/>
                <a:gd name="T27" fmla="*/ 72 h 116"/>
                <a:gd name="T28" fmla="*/ 43 w 106"/>
                <a:gd name="T29" fmla="*/ 112 h 116"/>
                <a:gd name="T30" fmla="*/ 38 w 106"/>
                <a:gd name="T31" fmla="*/ 116 h 116"/>
                <a:gd name="T32" fmla="*/ 37 w 106"/>
                <a:gd name="T33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6" h="116">
                  <a:moveTo>
                    <a:pt x="37" y="116"/>
                  </a:moveTo>
                  <a:cubicBezTo>
                    <a:pt x="35" y="116"/>
                    <a:pt x="33" y="115"/>
                    <a:pt x="32" y="113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36" y="96"/>
                    <a:pt x="36" y="96"/>
                    <a:pt x="36" y="96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9" y="61"/>
                    <a:pt x="52" y="59"/>
                    <a:pt x="54" y="60"/>
                  </a:cubicBezTo>
                  <a:cubicBezTo>
                    <a:pt x="88" y="66"/>
                    <a:pt x="88" y="66"/>
                    <a:pt x="88" y="66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105" y="71"/>
                    <a:pt x="105" y="71"/>
                    <a:pt x="105" y="71"/>
                  </a:cubicBezTo>
                  <a:cubicBezTo>
                    <a:pt x="106" y="73"/>
                    <a:pt x="106" y="75"/>
                    <a:pt x="105" y="77"/>
                  </a:cubicBezTo>
                  <a:cubicBezTo>
                    <a:pt x="103" y="79"/>
                    <a:pt x="101" y="80"/>
                    <a:pt x="99" y="79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42" y="114"/>
                    <a:pt x="40" y="116"/>
                    <a:pt x="38" y="116"/>
                  </a:cubicBezTo>
                  <a:cubicBezTo>
                    <a:pt x="38" y="116"/>
                    <a:pt x="38" y="116"/>
                    <a:pt x="37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60944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121888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82832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243777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3047213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3656656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4266097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4875541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217"/>
              <a:endParaRPr lang="en-AU">
                <a:solidFill>
                  <a:srgbClr val="000000"/>
                </a:solidFill>
                <a:latin typeface="Graphik" panose="020B0503030202060203" pitchFamily="34" charset="-18"/>
              </a:endParaRPr>
            </a:p>
          </p:txBody>
        </p:sp>
        <p:sp>
          <p:nvSpPr>
            <p:cNvPr id="54" name="Freeform 144">
              <a:extLst>
                <a:ext uri="{FF2B5EF4-FFF2-40B4-BE49-F238E27FC236}">
                  <a16:creationId xmlns:a16="http://schemas.microsoft.com/office/drawing/2014/main" id="{200E4FAC-55EF-A6AE-2E9A-F2FEE593C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9" y="3252"/>
              <a:ext cx="157" cy="172"/>
            </a:xfrm>
            <a:custGeom>
              <a:avLst/>
              <a:gdLst>
                <a:gd name="T0" fmla="*/ 69 w 106"/>
                <a:gd name="T1" fmla="*/ 116 h 116"/>
                <a:gd name="T2" fmla="*/ 68 w 106"/>
                <a:gd name="T3" fmla="*/ 116 h 116"/>
                <a:gd name="T4" fmla="*/ 63 w 106"/>
                <a:gd name="T5" fmla="*/ 112 h 116"/>
                <a:gd name="T6" fmla="*/ 49 w 106"/>
                <a:gd name="T7" fmla="*/ 72 h 116"/>
                <a:gd name="T8" fmla="*/ 8 w 106"/>
                <a:gd name="T9" fmla="*/ 79 h 116"/>
                <a:gd name="T10" fmla="*/ 2 w 106"/>
                <a:gd name="T11" fmla="*/ 77 h 116"/>
                <a:gd name="T12" fmla="*/ 1 w 106"/>
                <a:gd name="T13" fmla="*/ 71 h 116"/>
                <a:gd name="T14" fmla="*/ 42 w 106"/>
                <a:gd name="T15" fmla="*/ 0 h 116"/>
                <a:gd name="T16" fmla="*/ 52 w 106"/>
                <a:gd name="T17" fmla="*/ 6 h 116"/>
                <a:gd name="T18" fmla="*/ 18 w 106"/>
                <a:gd name="T19" fmla="*/ 66 h 116"/>
                <a:gd name="T20" fmla="*/ 52 w 106"/>
                <a:gd name="T21" fmla="*/ 60 h 116"/>
                <a:gd name="T22" fmla="*/ 58 w 106"/>
                <a:gd name="T23" fmla="*/ 64 h 116"/>
                <a:gd name="T24" fmla="*/ 70 w 106"/>
                <a:gd name="T25" fmla="*/ 96 h 116"/>
                <a:gd name="T26" fmla="*/ 96 w 106"/>
                <a:gd name="T27" fmla="*/ 53 h 116"/>
                <a:gd name="T28" fmla="*/ 106 w 106"/>
                <a:gd name="T29" fmla="*/ 59 h 116"/>
                <a:gd name="T30" fmla="*/ 74 w 106"/>
                <a:gd name="T31" fmla="*/ 113 h 116"/>
                <a:gd name="T32" fmla="*/ 69 w 106"/>
                <a:gd name="T33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6" h="116">
                  <a:moveTo>
                    <a:pt x="69" y="116"/>
                  </a:moveTo>
                  <a:cubicBezTo>
                    <a:pt x="69" y="116"/>
                    <a:pt x="68" y="116"/>
                    <a:pt x="68" y="116"/>
                  </a:cubicBezTo>
                  <a:cubicBezTo>
                    <a:pt x="66" y="116"/>
                    <a:pt x="64" y="114"/>
                    <a:pt x="63" y="11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5" y="80"/>
                    <a:pt x="3" y="79"/>
                    <a:pt x="2" y="77"/>
                  </a:cubicBezTo>
                  <a:cubicBezTo>
                    <a:pt x="0" y="75"/>
                    <a:pt x="0" y="73"/>
                    <a:pt x="1" y="7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5" y="59"/>
                    <a:pt x="57" y="61"/>
                    <a:pt x="58" y="64"/>
                  </a:cubicBezTo>
                  <a:cubicBezTo>
                    <a:pt x="70" y="96"/>
                    <a:pt x="70" y="96"/>
                    <a:pt x="70" y="96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73" y="115"/>
                    <a:pt x="71" y="116"/>
                    <a:pt x="69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60944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121888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82832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243777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3047213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3656656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4266097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4875541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217"/>
              <a:endParaRPr lang="en-AU">
                <a:solidFill>
                  <a:srgbClr val="000000"/>
                </a:solidFill>
                <a:latin typeface="Graphik" panose="020B0503030202060203" pitchFamily="34" charset="-18"/>
              </a:endParaRPr>
            </a:p>
          </p:txBody>
        </p:sp>
      </p:grpSp>
      <p:sp>
        <p:nvSpPr>
          <p:cNvPr id="55" name="Rectangle 54">
            <a:extLst>
              <a:ext uri="{FF2B5EF4-FFF2-40B4-BE49-F238E27FC236}">
                <a16:creationId xmlns:a16="http://schemas.microsoft.com/office/drawing/2014/main" id="{E42B9254-3304-42A9-444D-B243424B359D}"/>
              </a:ext>
            </a:extLst>
          </p:cNvPr>
          <p:cNvSpPr/>
          <p:nvPr/>
        </p:nvSpPr>
        <p:spPr>
          <a:xfrm>
            <a:off x="1601587" y="5601782"/>
            <a:ext cx="3960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217" fontAlgn="base">
              <a:spcBef>
                <a:spcPct val="0"/>
              </a:spcBef>
              <a:spcAft>
                <a:spcPct val="0"/>
              </a:spcAft>
            </a:pP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According to HackerRank Polish developers are </a:t>
            </a:r>
            <a:r>
              <a:rPr lang="pl-PL" sz="1400" b="1">
                <a:solidFill>
                  <a:schemeClr val="accent2"/>
                </a:solidFill>
                <a:latin typeface="Graphik" panose="020B0503030202060203" pitchFamily="34" charset="-18"/>
                <a:cs typeface="Arial" charset="0"/>
              </a:rPr>
              <a:t>3rd</a:t>
            </a:r>
            <a:r>
              <a:rPr lang="pl-PL" sz="1400" b="1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 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best programmers globally.</a:t>
            </a:r>
          </a:p>
        </p:txBody>
      </p:sp>
      <p:sp>
        <p:nvSpPr>
          <p:cNvPr id="56" name="Freeform 23">
            <a:extLst>
              <a:ext uri="{FF2B5EF4-FFF2-40B4-BE49-F238E27FC236}">
                <a16:creationId xmlns:a16="http://schemas.microsoft.com/office/drawing/2014/main" id="{8CA43BDA-E7E0-CC54-835F-1A7CDA298F7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350331" y="2121579"/>
            <a:ext cx="1034893" cy="653971"/>
          </a:xfrm>
          <a:custGeom>
            <a:avLst/>
            <a:gdLst>
              <a:gd name="T0" fmla="*/ 469 w 639"/>
              <a:gd name="T1" fmla="*/ 383 h 405"/>
              <a:gd name="T2" fmla="*/ 343 w 639"/>
              <a:gd name="T3" fmla="*/ 231 h 405"/>
              <a:gd name="T4" fmla="*/ 306 w 639"/>
              <a:gd name="T5" fmla="*/ 214 h 405"/>
              <a:gd name="T6" fmla="*/ 354 w 639"/>
              <a:gd name="T7" fmla="*/ 119 h 405"/>
              <a:gd name="T8" fmla="*/ 334 w 639"/>
              <a:gd name="T9" fmla="*/ 53 h 405"/>
              <a:gd name="T10" fmla="*/ 404 w 639"/>
              <a:gd name="T11" fmla="*/ 22 h 405"/>
              <a:gd name="T12" fmla="*/ 501 w 639"/>
              <a:gd name="T13" fmla="*/ 119 h 405"/>
              <a:gd name="T14" fmla="*/ 412 w 639"/>
              <a:gd name="T15" fmla="*/ 216 h 405"/>
              <a:gd name="T16" fmla="*/ 402 w 639"/>
              <a:gd name="T17" fmla="*/ 228 h 405"/>
              <a:gd name="T18" fmla="*/ 413 w 639"/>
              <a:gd name="T19" fmla="*/ 238 h 405"/>
              <a:gd name="T20" fmla="*/ 414 w 639"/>
              <a:gd name="T21" fmla="*/ 238 h 405"/>
              <a:gd name="T22" fmla="*/ 456 w 639"/>
              <a:gd name="T23" fmla="*/ 227 h 405"/>
              <a:gd name="T24" fmla="*/ 504 w 639"/>
              <a:gd name="T25" fmla="*/ 252 h 405"/>
              <a:gd name="T26" fmla="*/ 616 w 639"/>
              <a:gd name="T27" fmla="*/ 383 h 405"/>
              <a:gd name="T28" fmla="*/ 469 w 639"/>
              <a:gd name="T29" fmla="*/ 383 h 405"/>
              <a:gd name="T30" fmla="*/ 22 w 639"/>
              <a:gd name="T31" fmla="*/ 383 h 405"/>
              <a:gd name="T32" fmla="*/ 134 w 639"/>
              <a:gd name="T33" fmla="*/ 252 h 405"/>
              <a:gd name="T34" fmla="*/ 183 w 639"/>
              <a:gd name="T35" fmla="*/ 227 h 405"/>
              <a:gd name="T36" fmla="*/ 234 w 639"/>
              <a:gd name="T37" fmla="*/ 239 h 405"/>
              <a:gd name="T38" fmla="*/ 286 w 639"/>
              <a:gd name="T39" fmla="*/ 227 h 405"/>
              <a:gd name="T40" fmla="*/ 335 w 639"/>
              <a:gd name="T41" fmla="*/ 252 h 405"/>
              <a:gd name="T42" fmla="*/ 447 w 639"/>
              <a:gd name="T43" fmla="*/ 383 h 405"/>
              <a:gd name="T44" fmla="*/ 22 w 639"/>
              <a:gd name="T45" fmla="*/ 383 h 405"/>
              <a:gd name="T46" fmla="*/ 137 w 639"/>
              <a:gd name="T47" fmla="*/ 119 h 405"/>
              <a:gd name="T48" fmla="*/ 234 w 639"/>
              <a:gd name="T49" fmla="*/ 22 h 405"/>
              <a:gd name="T50" fmla="*/ 331 w 639"/>
              <a:gd name="T51" fmla="*/ 119 h 405"/>
              <a:gd name="T52" fmla="*/ 234 w 639"/>
              <a:gd name="T53" fmla="*/ 216 h 405"/>
              <a:gd name="T54" fmla="*/ 137 w 639"/>
              <a:gd name="T55" fmla="*/ 119 h 405"/>
              <a:gd name="T56" fmla="*/ 512 w 639"/>
              <a:gd name="T57" fmla="*/ 231 h 405"/>
              <a:gd name="T58" fmla="*/ 476 w 639"/>
              <a:gd name="T59" fmla="*/ 215 h 405"/>
              <a:gd name="T60" fmla="*/ 524 w 639"/>
              <a:gd name="T61" fmla="*/ 119 h 405"/>
              <a:gd name="T62" fmla="*/ 404 w 639"/>
              <a:gd name="T63" fmla="*/ 0 h 405"/>
              <a:gd name="T64" fmla="*/ 319 w 639"/>
              <a:gd name="T65" fmla="*/ 35 h 405"/>
              <a:gd name="T66" fmla="*/ 234 w 639"/>
              <a:gd name="T67" fmla="*/ 0 h 405"/>
              <a:gd name="T68" fmla="*/ 115 w 639"/>
              <a:gd name="T69" fmla="*/ 119 h 405"/>
              <a:gd name="T70" fmla="*/ 163 w 639"/>
              <a:gd name="T71" fmla="*/ 215 h 405"/>
              <a:gd name="T72" fmla="*/ 127 w 639"/>
              <a:gd name="T73" fmla="*/ 231 h 405"/>
              <a:gd name="T74" fmla="*/ 0 w 639"/>
              <a:gd name="T75" fmla="*/ 394 h 405"/>
              <a:gd name="T76" fmla="*/ 11 w 639"/>
              <a:gd name="T77" fmla="*/ 405 h 405"/>
              <a:gd name="T78" fmla="*/ 627 w 639"/>
              <a:gd name="T79" fmla="*/ 405 h 405"/>
              <a:gd name="T80" fmla="*/ 639 w 639"/>
              <a:gd name="T81" fmla="*/ 394 h 405"/>
              <a:gd name="T82" fmla="*/ 512 w 639"/>
              <a:gd name="T83" fmla="*/ 231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39" h="405">
                <a:moveTo>
                  <a:pt x="469" y="383"/>
                </a:moveTo>
                <a:cubicBezTo>
                  <a:pt x="464" y="275"/>
                  <a:pt x="391" y="248"/>
                  <a:pt x="343" y="231"/>
                </a:cubicBezTo>
                <a:cubicBezTo>
                  <a:pt x="328" y="225"/>
                  <a:pt x="315" y="220"/>
                  <a:pt x="306" y="214"/>
                </a:cubicBezTo>
                <a:cubicBezTo>
                  <a:pt x="335" y="193"/>
                  <a:pt x="354" y="158"/>
                  <a:pt x="354" y="119"/>
                </a:cubicBezTo>
                <a:cubicBezTo>
                  <a:pt x="354" y="95"/>
                  <a:pt x="346" y="72"/>
                  <a:pt x="334" y="53"/>
                </a:cubicBezTo>
                <a:cubicBezTo>
                  <a:pt x="352" y="33"/>
                  <a:pt x="377" y="22"/>
                  <a:pt x="404" y="22"/>
                </a:cubicBezTo>
                <a:cubicBezTo>
                  <a:pt x="458" y="22"/>
                  <a:pt x="501" y="66"/>
                  <a:pt x="501" y="119"/>
                </a:cubicBezTo>
                <a:cubicBezTo>
                  <a:pt x="501" y="169"/>
                  <a:pt x="462" y="212"/>
                  <a:pt x="412" y="216"/>
                </a:cubicBezTo>
                <a:cubicBezTo>
                  <a:pt x="406" y="216"/>
                  <a:pt x="402" y="222"/>
                  <a:pt x="402" y="228"/>
                </a:cubicBezTo>
                <a:cubicBezTo>
                  <a:pt x="403" y="234"/>
                  <a:pt x="408" y="238"/>
                  <a:pt x="413" y="238"/>
                </a:cubicBezTo>
                <a:cubicBezTo>
                  <a:pt x="414" y="238"/>
                  <a:pt x="414" y="238"/>
                  <a:pt x="414" y="238"/>
                </a:cubicBezTo>
                <a:cubicBezTo>
                  <a:pt x="429" y="237"/>
                  <a:pt x="443" y="233"/>
                  <a:pt x="456" y="227"/>
                </a:cubicBezTo>
                <a:cubicBezTo>
                  <a:pt x="467" y="238"/>
                  <a:pt x="484" y="244"/>
                  <a:pt x="504" y="252"/>
                </a:cubicBezTo>
                <a:cubicBezTo>
                  <a:pt x="552" y="269"/>
                  <a:pt x="612" y="291"/>
                  <a:pt x="616" y="383"/>
                </a:cubicBezTo>
                <a:lnTo>
                  <a:pt x="469" y="383"/>
                </a:lnTo>
                <a:close/>
                <a:moveTo>
                  <a:pt x="22" y="383"/>
                </a:moveTo>
                <a:cubicBezTo>
                  <a:pt x="27" y="291"/>
                  <a:pt x="86" y="269"/>
                  <a:pt x="134" y="252"/>
                </a:cubicBezTo>
                <a:cubicBezTo>
                  <a:pt x="154" y="244"/>
                  <a:pt x="172" y="238"/>
                  <a:pt x="183" y="227"/>
                </a:cubicBezTo>
                <a:cubicBezTo>
                  <a:pt x="198" y="234"/>
                  <a:pt x="216" y="239"/>
                  <a:pt x="234" y="239"/>
                </a:cubicBezTo>
                <a:cubicBezTo>
                  <a:pt x="253" y="239"/>
                  <a:pt x="270" y="234"/>
                  <a:pt x="286" y="227"/>
                </a:cubicBezTo>
                <a:cubicBezTo>
                  <a:pt x="297" y="238"/>
                  <a:pt x="315" y="244"/>
                  <a:pt x="335" y="252"/>
                </a:cubicBezTo>
                <a:cubicBezTo>
                  <a:pt x="383" y="269"/>
                  <a:pt x="442" y="291"/>
                  <a:pt x="447" y="383"/>
                </a:cubicBezTo>
                <a:lnTo>
                  <a:pt x="22" y="383"/>
                </a:lnTo>
                <a:close/>
                <a:moveTo>
                  <a:pt x="137" y="119"/>
                </a:moveTo>
                <a:cubicBezTo>
                  <a:pt x="137" y="66"/>
                  <a:pt x="181" y="22"/>
                  <a:pt x="234" y="22"/>
                </a:cubicBezTo>
                <a:cubicBezTo>
                  <a:pt x="288" y="22"/>
                  <a:pt x="331" y="66"/>
                  <a:pt x="331" y="119"/>
                </a:cubicBezTo>
                <a:cubicBezTo>
                  <a:pt x="331" y="173"/>
                  <a:pt x="288" y="216"/>
                  <a:pt x="234" y="216"/>
                </a:cubicBezTo>
                <a:cubicBezTo>
                  <a:pt x="181" y="216"/>
                  <a:pt x="137" y="173"/>
                  <a:pt x="137" y="119"/>
                </a:cubicBezTo>
                <a:close/>
                <a:moveTo>
                  <a:pt x="512" y="231"/>
                </a:moveTo>
                <a:cubicBezTo>
                  <a:pt x="498" y="225"/>
                  <a:pt x="484" y="220"/>
                  <a:pt x="476" y="215"/>
                </a:cubicBezTo>
                <a:cubicBezTo>
                  <a:pt x="505" y="193"/>
                  <a:pt x="524" y="158"/>
                  <a:pt x="524" y="119"/>
                </a:cubicBezTo>
                <a:cubicBezTo>
                  <a:pt x="524" y="53"/>
                  <a:pt x="470" y="0"/>
                  <a:pt x="404" y="0"/>
                </a:cubicBezTo>
                <a:cubicBezTo>
                  <a:pt x="372" y="0"/>
                  <a:pt x="342" y="12"/>
                  <a:pt x="319" y="35"/>
                </a:cubicBezTo>
                <a:cubicBezTo>
                  <a:pt x="298" y="13"/>
                  <a:pt x="268" y="0"/>
                  <a:pt x="234" y="0"/>
                </a:cubicBezTo>
                <a:cubicBezTo>
                  <a:pt x="168" y="0"/>
                  <a:pt x="115" y="53"/>
                  <a:pt x="115" y="119"/>
                </a:cubicBezTo>
                <a:cubicBezTo>
                  <a:pt x="115" y="158"/>
                  <a:pt x="134" y="193"/>
                  <a:pt x="163" y="215"/>
                </a:cubicBezTo>
                <a:cubicBezTo>
                  <a:pt x="154" y="220"/>
                  <a:pt x="141" y="225"/>
                  <a:pt x="127" y="231"/>
                </a:cubicBezTo>
                <a:cubicBezTo>
                  <a:pt x="76" y="249"/>
                  <a:pt x="0" y="277"/>
                  <a:pt x="0" y="394"/>
                </a:cubicBezTo>
                <a:cubicBezTo>
                  <a:pt x="0" y="400"/>
                  <a:pt x="5" y="405"/>
                  <a:pt x="11" y="405"/>
                </a:cubicBezTo>
                <a:lnTo>
                  <a:pt x="627" y="405"/>
                </a:lnTo>
                <a:cubicBezTo>
                  <a:pt x="634" y="405"/>
                  <a:pt x="639" y="400"/>
                  <a:pt x="639" y="394"/>
                </a:cubicBezTo>
                <a:cubicBezTo>
                  <a:pt x="639" y="277"/>
                  <a:pt x="562" y="249"/>
                  <a:pt x="512" y="231"/>
                </a:cubicBezTo>
                <a:close/>
              </a:path>
            </a:pathLst>
          </a:custGeom>
          <a:solidFill>
            <a:schemeClr val="accent1"/>
          </a:solidFill>
          <a:ln w="3175">
            <a:solidFill>
              <a:srgbClr val="7030A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B049D284-CA33-EE7C-22E7-9074853F5CE6}"/>
              </a:ext>
            </a:extLst>
          </p:cNvPr>
          <p:cNvSpPr/>
          <p:nvPr/>
        </p:nvSpPr>
        <p:spPr>
          <a:xfrm>
            <a:off x="7619976" y="1946332"/>
            <a:ext cx="3960000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21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chemeClr val="accent2"/>
                </a:solidFill>
                <a:latin typeface="Graphik" panose="020B0503030202060203" pitchFamily="34" charset="-18"/>
                <a:cs typeface="Arial" charset="0"/>
              </a:rPr>
              <a:t>Warsaw</a:t>
            </a:r>
            <a:r>
              <a:rPr lang="en-US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 is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 the</a:t>
            </a:r>
            <a:r>
              <a:rPr lang="en-US" sz="1400" b="1">
                <a:solidFill>
                  <a:srgbClr val="FFB600"/>
                </a:solidFill>
                <a:latin typeface="Graphik" panose="020B0503030202060203" pitchFamily="34" charset="-18"/>
                <a:cs typeface="Arial" charset="0"/>
              </a:rPr>
              <a:t> </a:t>
            </a:r>
            <a:r>
              <a:rPr lang="pl-PL" sz="1400" b="1">
                <a:solidFill>
                  <a:schemeClr val="accent2"/>
                </a:solidFill>
                <a:latin typeface="Graphik" panose="020B0503030202060203" pitchFamily="34" charset="-18"/>
                <a:cs typeface="Arial" charset="0"/>
              </a:rPr>
              <a:t>2n</a:t>
            </a:r>
            <a:r>
              <a:rPr lang="en-US" sz="1400" b="1">
                <a:solidFill>
                  <a:schemeClr val="accent2"/>
                </a:solidFill>
                <a:latin typeface="Graphik" panose="020B0503030202060203" pitchFamily="34" charset="-18"/>
                <a:cs typeface="Arial" charset="0"/>
              </a:rPr>
              <a:t>d</a:t>
            </a:r>
            <a:r>
              <a:rPr lang="en-US" sz="1400" b="1">
                <a:solidFill>
                  <a:srgbClr val="FFB600"/>
                </a:solidFill>
                <a:latin typeface="Graphik" panose="020B0503030202060203" pitchFamily="34" charset="-18"/>
                <a:cs typeface="Arial" charset="0"/>
              </a:rPr>
              <a:t> </a:t>
            </a:r>
            <a:r>
              <a:rPr lang="en-US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best place in EU with the highest share of human resources 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in</a:t>
            </a:r>
            <a:r>
              <a:rPr lang="en-US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 science and technology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. Just </a:t>
            </a:r>
            <a:r>
              <a:rPr lang="pl-PL" sz="1400" err="1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after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 </a:t>
            </a:r>
            <a:r>
              <a:rPr lang="pl-PL" sz="1400" err="1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Brabant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 </a:t>
            </a:r>
            <a:r>
              <a:rPr lang="pl-PL" sz="1400" err="1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Wallon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 </a:t>
            </a:r>
            <a:r>
              <a:rPr lang="pl-PL" sz="1400" err="1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province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.</a:t>
            </a:r>
            <a:endParaRPr lang="en-US" sz="1400">
              <a:solidFill>
                <a:srgbClr val="000000"/>
              </a:solidFill>
              <a:latin typeface="Graphik" panose="020B0503030202060203" pitchFamily="34" charset="-18"/>
              <a:cs typeface="Arial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A705317-78F6-03AB-2150-5721C42A9A2F}"/>
              </a:ext>
            </a:extLst>
          </p:cNvPr>
          <p:cNvSpPr/>
          <p:nvPr/>
        </p:nvSpPr>
        <p:spPr>
          <a:xfrm>
            <a:off x="7619976" y="3135100"/>
            <a:ext cx="3960000" cy="953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217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chemeClr val="accent2"/>
                </a:solidFill>
                <a:latin typeface="Graphik" panose="020B0503030202060203" pitchFamily="34" charset="-18"/>
                <a:cs typeface="Arial" charset="0"/>
              </a:rPr>
              <a:t>Key position</a:t>
            </a:r>
            <a:r>
              <a:rPr lang="en-US" sz="1400" b="1">
                <a:solidFill>
                  <a:srgbClr val="FFB600"/>
                </a:solidFill>
                <a:latin typeface="Graphik" panose="020B0503030202060203" pitchFamily="34" charset="-18"/>
                <a:cs typeface="Arial" charset="0"/>
              </a:rPr>
              <a:t> </a:t>
            </a:r>
            <a:r>
              <a:rPr lang="en-US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in Global start up landscape confirmed in </a:t>
            </a:r>
            <a:r>
              <a:rPr lang="en-US" sz="1400" b="1">
                <a:solidFill>
                  <a:schemeClr val="accent2"/>
                </a:solidFill>
                <a:latin typeface="Graphik" panose="020B0503030202060203" pitchFamily="34" charset="-18"/>
                <a:cs typeface="Arial" charset="0"/>
              </a:rPr>
              <a:t>2015</a:t>
            </a:r>
            <a:r>
              <a:rPr lang="en-US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 with the launch of </a:t>
            </a:r>
            <a:r>
              <a:rPr lang="en-US" sz="1400" b="1">
                <a:solidFill>
                  <a:schemeClr val="accent2"/>
                </a:solidFill>
                <a:latin typeface="Graphik" panose="020B0503030202060203" pitchFamily="34" charset="-18"/>
                <a:cs typeface="Arial" charset="0"/>
              </a:rPr>
              <a:t>Google Campus </a:t>
            </a:r>
            <a:r>
              <a:rPr lang="en-US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for Central and Eastern European</a:t>
            </a:r>
            <a:r>
              <a:rPr lang="en-US" sz="1400">
                <a:solidFill>
                  <a:srgbClr val="000000"/>
                </a:solidFill>
                <a:latin typeface="Graphik" panose="020B0503030202060203" pitchFamily="34" charset="-18"/>
                <a:cs typeface="Arial"/>
              </a:rPr>
              <a:t>, opened in Warsaw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/>
              </a:rPr>
              <a:t>.</a:t>
            </a:r>
            <a:endParaRPr lang="pl-PL" sz="1400">
              <a:solidFill>
                <a:srgbClr val="000000"/>
              </a:solidFill>
              <a:latin typeface="Graphik" panose="020B0503030202060203" pitchFamily="34" charset="-18"/>
              <a:cs typeface="Arial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F846A4B4-12C4-67A3-D07D-F9E2342013B3}"/>
              </a:ext>
            </a:extLst>
          </p:cNvPr>
          <p:cNvSpPr/>
          <p:nvPr/>
        </p:nvSpPr>
        <p:spPr>
          <a:xfrm>
            <a:off x="7619976" y="5366879"/>
            <a:ext cx="39600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217" fontAlgn="base">
              <a:spcBef>
                <a:spcPct val="0"/>
              </a:spcBef>
              <a:spcAft>
                <a:spcPct val="0"/>
              </a:spcAft>
            </a:pPr>
            <a:r>
              <a:rPr lang="pl-PL" sz="1400" b="1">
                <a:solidFill>
                  <a:schemeClr val="accent2"/>
                </a:solidFill>
                <a:latin typeface="Graphik" panose="020B0503030202060203" pitchFamily="34" charset="-18"/>
                <a:cs typeface="Arial" charset="0"/>
              </a:rPr>
              <a:t>40+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 </a:t>
            </a:r>
            <a:r>
              <a:rPr lang="pl-PL" sz="1400" err="1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global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 companies invested  in </a:t>
            </a:r>
            <a:r>
              <a:rPr lang="pl-PL" sz="1400" b="1">
                <a:solidFill>
                  <a:schemeClr val="accent2"/>
                </a:solidFill>
                <a:latin typeface="Graphik" panose="020B0503030202060203" pitchFamily="34" charset="-18"/>
                <a:cs typeface="Arial" charset="0"/>
              </a:rPr>
              <a:t>R&amp;D, GDS, SDC </a:t>
            </a:r>
            <a:r>
              <a:rPr lang="pl-PL" sz="1400" b="1" err="1">
                <a:solidFill>
                  <a:schemeClr val="accent2"/>
                </a:solidFill>
                <a:latin typeface="Graphik" panose="020B0503030202060203" pitchFamily="34" charset="-18"/>
                <a:cs typeface="Arial" charset="0"/>
              </a:rPr>
              <a:t>centres</a:t>
            </a:r>
            <a:r>
              <a:rPr lang="pl-PL" sz="1400" b="1">
                <a:solidFill>
                  <a:srgbClr val="FFB600"/>
                </a:solidFill>
                <a:latin typeface="Graphik" panose="020B0503030202060203" pitchFamily="34" charset="-18"/>
                <a:cs typeface="Arial" charset="0"/>
              </a:rPr>
              <a:t> 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including: Samsung, Amazon, Google, Intel, Nvidia, </a:t>
            </a:r>
            <a:r>
              <a:rPr lang="pl-PL" sz="1400" err="1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TomTom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, UBS, </a:t>
            </a:r>
            <a:r>
              <a:rPr lang="pl-PL" sz="1400" err="1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Citi</a:t>
            </a:r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.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E97A64C6-19A1-FD71-C785-763B9B9A344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417690" y="3169124"/>
            <a:ext cx="900174" cy="877723"/>
            <a:chOff x="1555" y="3214"/>
            <a:chExt cx="441" cy="430"/>
          </a:xfrm>
          <a:solidFill>
            <a:schemeClr val="accent1"/>
          </a:solidFill>
        </p:grpSpPr>
        <p:sp>
          <p:nvSpPr>
            <p:cNvPr id="61" name="Freeform 136">
              <a:extLst>
                <a:ext uri="{FF2B5EF4-FFF2-40B4-BE49-F238E27FC236}">
                  <a16:creationId xmlns:a16="http://schemas.microsoft.com/office/drawing/2014/main" id="{092D07F6-63C1-314B-DA3B-B990A465B8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7" y="3214"/>
              <a:ext cx="257" cy="251"/>
            </a:xfrm>
            <a:custGeom>
              <a:avLst/>
              <a:gdLst>
                <a:gd name="T0" fmla="*/ 84 w 168"/>
                <a:gd name="T1" fmla="*/ 168 h 168"/>
                <a:gd name="T2" fmla="*/ 0 w 168"/>
                <a:gd name="T3" fmla="*/ 83 h 168"/>
                <a:gd name="T4" fmla="*/ 81 w 168"/>
                <a:gd name="T5" fmla="*/ 0 h 168"/>
                <a:gd name="T6" fmla="*/ 84 w 168"/>
                <a:gd name="T7" fmla="*/ 0 h 168"/>
                <a:gd name="T8" fmla="*/ 168 w 168"/>
                <a:gd name="T9" fmla="*/ 84 h 168"/>
                <a:gd name="T10" fmla="*/ 84 w 168"/>
                <a:gd name="T11" fmla="*/ 168 h 168"/>
                <a:gd name="T12" fmla="*/ 84 w 168"/>
                <a:gd name="T13" fmla="*/ 12 h 168"/>
                <a:gd name="T14" fmla="*/ 81 w 168"/>
                <a:gd name="T15" fmla="*/ 12 h 168"/>
                <a:gd name="T16" fmla="*/ 12 w 168"/>
                <a:gd name="T17" fmla="*/ 83 h 168"/>
                <a:gd name="T18" fmla="*/ 84 w 168"/>
                <a:gd name="T19" fmla="*/ 156 h 168"/>
                <a:gd name="T20" fmla="*/ 156 w 168"/>
                <a:gd name="T21" fmla="*/ 84 h 168"/>
                <a:gd name="T22" fmla="*/ 84 w 168"/>
                <a:gd name="T23" fmla="*/ 1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8" h="168">
                  <a:moveTo>
                    <a:pt x="84" y="168"/>
                  </a:moveTo>
                  <a:cubicBezTo>
                    <a:pt x="38" y="168"/>
                    <a:pt x="0" y="130"/>
                    <a:pt x="0" y="83"/>
                  </a:cubicBezTo>
                  <a:cubicBezTo>
                    <a:pt x="0" y="38"/>
                    <a:pt x="35" y="2"/>
                    <a:pt x="81" y="0"/>
                  </a:cubicBezTo>
                  <a:cubicBezTo>
                    <a:pt x="82" y="0"/>
                    <a:pt x="83" y="0"/>
                    <a:pt x="84" y="0"/>
                  </a:cubicBezTo>
                  <a:cubicBezTo>
                    <a:pt x="131" y="0"/>
                    <a:pt x="168" y="38"/>
                    <a:pt x="168" y="84"/>
                  </a:cubicBezTo>
                  <a:cubicBezTo>
                    <a:pt x="168" y="130"/>
                    <a:pt x="131" y="168"/>
                    <a:pt x="84" y="168"/>
                  </a:cubicBezTo>
                  <a:close/>
                  <a:moveTo>
                    <a:pt x="84" y="12"/>
                  </a:moveTo>
                  <a:cubicBezTo>
                    <a:pt x="83" y="12"/>
                    <a:pt x="82" y="12"/>
                    <a:pt x="81" y="12"/>
                  </a:cubicBezTo>
                  <a:cubicBezTo>
                    <a:pt x="42" y="14"/>
                    <a:pt x="12" y="44"/>
                    <a:pt x="12" y="83"/>
                  </a:cubicBezTo>
                  <a:cubicBezTo>
                    <a:pt x="12" y="123"/>
                    <a:pt x="45" y="156"/>
                    <a:pt x="84" y="156"/>
                  </a:cubicBezTo>
                  <a:cubicBezTo>
                    <a:pt x="124" y="156"/>
                    <a:pt x="156" y="124"/>
                    <a:pt x="156" y="84"/>
                  </a:cubicBezTo>
                  <a:cubicBezTo>
                    <a:pt x="156" y="44"/>
                    <a:pt x="124" y="12"/>
                    <a:pt x="8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60944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121888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82832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243777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3047213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3656656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4266097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4875541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217"/>
              <a:endParaRPr lang="en-US">
                <a:solidFill>
                  <a:srgbClr val="000000"/>
                </a:solidFill>
                <a:latin typeface="Graphik" panose="020B0503030202060203" pitchFamily="34" charset="-18"/>
              </a:endParaRPr>
            </a:p>
          </p:txBody>
        </p:sp>
        <p:sp>
          <p:nvSpPr>
            <p:cNvPr id="64" name="Freeform 137">
              <a:extLst>
                <a:ext uri="{FF2B5EF4-FFF2-40B4-BE49-F238E27FC236}">
                  <a16:creationId xmlns:a16="http://schemas.microsoft.com/office/drawing/2014/main" id="{318CD889-47B8-CA34-64FC-972F4C97C7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3217"/>
              <a:ext cx="79" cy="245"/>
            </a:xfrm>
            <a:custGeom>
              <a:avLst/>
              <a:gdLst>
                <a:gd name="T0" fmla="*/ 42 w 52"/>
                <a:gd name="T1" fmla="*/ 164 h 164"/>
                <a:gd name="T2" fmla="*/ 43 w 52"/>
                <a:gd name="T3" fmla="*/ 0 h 164"/>
                <a:gd name="T4" fmla="*/ 52 w 52"/>
                <a:gd name="T5" fmla="*/ 8 h 164"/>
                <a:gd name="T6" fmla="*/ 52 w 52"/>
                <a:gd name="T7" fmla="*/ 157 h 164"/>
                <a:gd name="T8" fmla="*/ 42 w 52"/>
                <a:gd name="T9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164">
                  <a:moveTo>
                    <a:pt x="42" y="164"/>
                  </a:moveTo>
                  <a:cubicBezTo>
                    <a:pt x="0" y="107"/>
                    <a:pt x="0" y="46"/>
                    <a:pt x="43" y="0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13" y="50"/>
                    <a:pt x="13" y="104"/>
                    <a:pt x="52" y="157"/>
                  </a:cubicBezTo>
                  <a:lnTo>
                    <a:pt x="42" y="1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60944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121888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82832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243777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3047213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3656656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4266097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4875541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217"/>
              <a:endParaRPr lang="en-US">
                <a:solidFill>
                  <a:srgbClr val="000000"/>
                </a:solidFill>
                <a:latin typeface="Graphik" panose="020B0503030202060203" pitchFamily="34" charset="-18"/>
              </a:endParaRPr>
            </a:p>
          </p:txBody>
        </p:sp>
        <p:sp>
          <p:nvSpPr>
            <p:cNvPr id="65" name="Freeform 138">
              <a:extLst>
                <a:ext uri="{FF2B5EF4-FFF2-40B4-BE49-F238E27FC236}">
                  <a16:creationId xmlns:a16="http://schemas.microsoft.com/office/drawing/2014/main" id="{0739939D-7C2B-2993-F8C6-D0330E6B2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4" y="3217"/>
              <a:ext cx="79" cy="245"/>
            </a:xfrm>
            <a:custGeom>
              <a:avLst/>
              <a:gdLst>
                <a:gd name="T0" fmla="*/ 10 w 52"/>
                <a:gd name="T1" fmla="*/ 164 h 164"/>
                <a:gd name="T2" fmla="*/ 0 w 52"/>
                <a:gd name="T3" fmla="*/ 157 h 164"/>
                <a:gd name="T4" fmla="*/ 0 w 52"/>
                <a:gd name="T5" fmla="*/ 8 h 164"/>
                <a:gd name="T6" fmla="*/ 9 w 52"/>
                <a:gd name="T7" fmla="*/ 0 h 164"/>
                <a:gd name="T8" fmla="*/ 10 w 52"/>
                <a:gd name="T9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164">
                  <a:moveTo>
                    <a:pt x="10" y="164"/>
                  </a:moveTo>
                  <a:cubicBezTo>
                    <a:pt x="0" y="157"/>
                    <a:pt x="0" y="157"/>
                    <a:pt x="0" y="157"/>
                  </a:cubicBezTo>
                  <a:cubicBezTo>
                    <a:pt x="39" y="104"/>
                    <a:pt x="39" y="50"/>
                    <a:pt x="0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2" y="46"/>
                    <a:pt x="52" y="107"/>
                    <a:pt x="10" y="1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60944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121888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82832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243777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3047213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3656656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4266097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4875541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217"/>
              <a:endParaRPr lang="en-US">
                <a:solidFill>
                  <a:srgbClr val="000000"/>
                </a:solidFill>
                <a:latin typeface="Graphik" panose="020B0503030202060203" pitchFamily="34" charset="-18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05D1F634-809A-A655-6528-7F30B93A90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6" y="3393"/>
              <a:ext cx="200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60944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121888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82832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243777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3047213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3656656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4266097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4875541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217"/>
              <a:endParaRPr lang="en-US">
                <a:solidFill>
                  <a:srgbClr val="000000"/>
                </a:solidFill>
                <a:latin typeface="Graphik" panose="020B0503030202060203" pitchFamily="34" charset="-18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0078EAC6-8FD0-5B03-A09A-F1BC7C8B4D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4" y="3268"/>
              <a:ext cx="202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60944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121888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82832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243777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3047213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3656656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4266097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4875541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217"/>
              <a:endParaRPr lang="en-US">
                <a:solidFill>
                  <a:srgbClr val="000000"/>
                </a:solidFill>
                <a:latin typeface="Graphik" panose="020B0503030202060203" pitchFamily="34" charset="-18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93ECE449-20F7-0F57-9DAC-9750E6A296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6" y="3330"/>
              <a:ext cx="239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60944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121888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82832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243777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3047213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3656656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4266097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4875541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217"/>
              <a:endParaRPr lang="en-US">
                <a:solidFill>
                  <a:srgbClr val="000000"/>
                </a:solidFill>
                <a:latin typeface="Graphik" panose="020B0503030202060203" pitchFamily="34" charset="-18"/>
              </a:endParaRPr>
            </a:p>
          </p:txBody>
        </p:sp>
        <p:sp>
          <p:nvSpPr>
            <p:cNvPr id="70" name="Freeform 142">
              <a:extLst>
                <a:ext uri="{FF2B5EF4-FFF2-40B4-BE49-F238E27FC236}">
                  <a16:creationId xmlns:a16="http://schemas.microsoft.com/office/drawing/2014/main" id="{2901FCF3-CA45-9FA6-F8FA-3669C60D4E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" y="3465"/>
              <a:ext cx="110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7" y="72"/>
                    <a:pt x="0" y="56"/>
                    <a:pt x="0" y="36"/>
                  </a:cubicBezTo>
                  <a:cubicBezTo>
                    <a:pt x="0" y="17"/>
                    <a:pt x="17" y="0"/>
                    <a:pt x="36" y="0"/>
                  </a:cubicBezTo>
                  <a:cubicBezTo>
                    <a:pt x="56" y="0"/>
                    <a:pt x="72" y="17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50"/>
                    <a:pt x="23" y="60"/>
                    <a:pt x="36" y="60"/>
                  </a:cubicBezTo>
                  <a:cubicBezTo>
                    <a:pt x="50" y="60"/>
                    <a:pt x="60" y="50"/>
                    <a:pt x="60" y="36"/>
                  </a:cubicBezTo>
                  <a:cubicBezTo>
                    <a:pt x="60" y="23"/>
                    <a:pt x="50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60944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121888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82832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243777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3047213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3656656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4266097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4875541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217"/>
              <a:endParaRPr lang="en-US">
                <a:solidFill>
                  <a:srgbClr val="000000"/>
                </a:solidFill>
                <a:latin typeface="Graphik" panose="020B0503030202060203" pitchFamily="34" charset="-18"/>
              </a:endParaRPr>
            </a:p>
          </p:txBody>
        </p:sp>
        <p:sp>
          <p:nvSpPr>
            <p:cNvPr id="71" name="Freeform 143">
              <a:extLst>
                <a:ext uri="{FF2B5EF4-FFF2-40B4-BE49-F238E27FC236}">
                  <a16:creationId xmlns:a16="http://schemas.microsoft.com/office/drawing/2014/main" id="{2EF5B526-AA06-B267-BF4A-35DCACF21C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20" y="3465"/>
              <a:ext cx="110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7" y="72"/>
                    <a:pt x="0" y="56"/>
                    <a:pt x="0" y="36"/>
                  </a:cubicBezTo>
                  <a:cubicBezTo>
                    <a:pt x="0" y="17"/>
                    <a:pt x="17" y="0"/>
                    <a:pt x="36" y="0"/>
                  </a:cubicBezTo>
                  <a:cubicBezTo>
                    <a:pt x="56" y="0"/>
                    <a:pt x="72" y="17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50"/>
                    <a:pt x="23" y="60"/>
                    <a:pt x="36" y="60"/>
                  </a:cubicBezTo>
                  <a:cubicBezTo>
                    <a:pt x="50" y="60"/>
                    <a:pt x="60" y="50"/>
                    <a:pt x="60" y="36"/>
                  </a:cubicBezTo>
                  <a:cubicBezTo>
                    <a:pt x="60" y="23"/>
                    <a:pt x="50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60944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121888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82832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243777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3047213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3656656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4266097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4875541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217"/>
              <a:endParaRPr lang="en-US">
                <a:solidFill>
                  <a:srgbClr val="000000"/>
                </a:solidFill>
                <a:latin typeface="Graphik" panose="020B0503030202060203" pitchFamily="34" charset="-18"/>
              </a:endParaRPr>
            </a:p>
          </p:txBody>
        </p:sp>
        <p:sp>
          <p:nvSpPr>
            <p:cNvPr id="74" name="Freeform 144">
              <a:extLst>
                <a:ext uri="{FF2B5EF4-FFF2-40B4-BE49-F238E27FC236}">
                  <a16:creationId xmlns:a16="http://schemas.microsoft.com/office/drawing/2014/main" id="{00E2A603-7032-84CB-0EC3-2C90FE0004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8" y="3465"/>
              <a:ext cx="110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7" y="72"/>
                    <a:pt x="0" y="56"/>
                    <a:pt x="0" y="36"/>
                  </a:cubicBezTo>
                  <a:cubicBezTo>
                    <a:pt x="0" y="17"/>
                    <a:pt x="17" y="0"/>
                    <a:pt x="36" y="0"/>
                  </a:cubicBezTo>
                  <a:cubicBezTo>
                    <a:pt x="56" y="0"/>
                    <a:pt x="72" y="17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50"/>
                    <a:pt x="23" y="60"/>
                    <a:pt x="36" y="60"/>
                  </a:cubicBezTo>
                  <a:cubicBezTo>
                    <a:pt x="50" y="60"/>
                    <a:pt x="60" y="50"/>
                    <a:pt x="60" y="36"/>
                  </a:cubicBezTo>
                  <a:cubicBezTo>
                    <a:pt x="60" y="23"/>
                    <a:pt x="50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60944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121888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82832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243777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3047213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3656656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4266097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4875541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217"/>
              <a:endParaRPr lang="en-US">
                <a:solidFill>
                  <a:srgbClr val="000000"/>
                </a:solidFill>
                <a:latin typeface="Graphik" panose="020B0503030202060203" pitchFamily="34" charset="-18"/>
              </a:endParaRPr>
            </a:p>
          </p:txBody>
        </p:sp>
        <p:sp>
          <p:nvSpPr>
            <p:cNvPr id="75" name="Freeform 145">
              <a:extLst>
                <a:ext uri="{FF2B5EF4-FFF2-40B4-BE49-F238E27FC236}">
                  <a16:creationId xmlns:a16="http://schemas.microsoft.com/office/drawing/2014/main" id="{0D5F3680-0338-881C-48DD-8C559DD66B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5" y="3554"/>
              <a:ext cx="441" cy="90"/>
            </a:xfrm>
            <a:custGeom>
              <a:avLst/>
              <a:gdLst>
                <a:gd name="T0" fmla="*/ 282 w 288"/>
                <a:gd name="T1" fmla="*/ 60 h 60"/>
                <a:gd name="T2" fmla="*/ 6 w 288"/>
                <a:gd name="T3" fmla="*/ 60 h 60"/>
                <a:gd name="T4" fmla="*/ 0 w 288"/>
                <a:gd name="T5" fmla="*/ 54 h 60"/>
                <a:gd name="T6" fmla="*/ 54 w 288"/>
                <a:gd name="T7" fmla="*/ 0 h 60"/>
                <a:gd name="T8" fmla="*/ 99 w 288"/>
                <a:gd name="T9" fmla="*/ 25 h 60"/>
                <a:gd name="T10" fmla="*/ 144 w 288"/>
                <a:gd name="T11" fmla="*/ 0 h 60"/>
                <a:gd name="T12" fmla="*/ 189 w 288"/>
                <a:gd name="T13" fmla="*/ 25 h 60"/>
                <a:gd name="T14" fmla="*/ 234 w 288"/>
                <a:gd name="T15" fmla="*/ 0 h 60"/>
                <a:gd name="T16" fmla="*/ 288 w 288"/>
                <a:gd name="T17" fmla="*/ 54 h 60"/>
                <a:gd name="T18" fmla="*/ 282 w 288"/>
                <a:gd name="T19" fmla="*/ 60 h 60"/>
                <a:gd name="T20" fmla="*/ 13 w 288"/>
                <a:gd name="T21" fmla="*/ 48 h 60"/>
                <a:gd name="T22" fmla="*/ 276 w 288"/>
                <a:gd name="T23" fmla="*/ 48 h 60"/>
                <a:gd name="T24" fmla="*/ 234 w 288"/>
                <a:gd name="T25" fmla="*/ 12 h 60"/>
                <a:gd name="T26" fmla="*/ 195 w 288"/>
                <a:gd name="T27" fmla="*/ 40 h 60"/>
                <a:gd name="T28" fmla="*/ 189 w 288"/>
                <a:gd name="T29" fmla="*/ 44 h 60"/>
                <a:gd name="T30" fmla="*/ 184 w 288"/>
                <a:gd name="T31" fmla="*/ 40 h 60"/>
                <a:gd name="T32" fmla="*/ 144 w 288"/>
                <a:gd name="T33" fmla="*/ 12 h 60"/>
                <a:gd name="T34" fmla="*/ 105 w 288"/>
                <a:gd name="T35" fmla="*/ 40 h 60"/>
                <a:gd name="T36" fmla="*/ 99 w 288"/>
                <a:gd name="T37" fmla="*/ 44 h 60"/>
                <a:gd name="T38" fmla="*/ 94 w 288"/>
                <a:gd name="T39" fmla="*/ 40 h 60"/>
                <a:gd name="T40" fmla="*/ 54 w 288"/>
                <a:gd name="T41" fmla="*/ 12 h 60"/>
                <a:gd name="T42" fmla="*/ 13 w 288"/>
                <a:gd name="T43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88" h="60">
                  <a:moveTo>
                    <a:pt x="28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8"/>
                    <a:pt x="0" y="54"/>
                  </a:cubicBezTo>
                  <a:cubicBezTo>
                    <a:pt x="0" y="26"/>
                    <a:pt x="26" y="0"/>
                    <a:pt x="54" y="0"/>
                  </a:cubicBezTo>
                  <a:cubicBezTo>
                    <a:pt x="73" y="0"/>
                    <a:pt x="90" y="10"/>
                    <a:pt x="99" y="25"/>
                  </a:cubicBezTo>
                  <a:cubicBezTo>
                    <a:pt x="109" y="10"/>
                    <a:pt x="126" y="0"/>
                    <a:pt x="144" y="0"/>
                  </a:cubicBezTo>
                  <a:cubicBezTo>
                    <a:pt x="163" y="0"/>
                    <a:pt x="180" y="10"/>
                    <a:pt x="189" y="25"/>
                  </a:cubicBezTo>
                  <a:cubicBezTo>
                    <a:pt x="199" y="10"/>
                    <a:pt x="216" y="0"/>
                    <a:pt x="234" y="0"/>
                  </a:cubicBezTo>
                  <a:cubicBezTo>
                    <a:pt x="263" y="0"/>
                    <a:pt x="288" y="26"/>
                    <a:pt x="288" y="54"/>
                  </a:cubicBezTo>
                  <a:cubicBezTo>
                    <a:pt x="288" y="58"/>
                    <a:pt x="286" y="60"/>
                    <a:pt x="282" y="60"/>
                  </a:cubicBezTo>
                  <a:close/>
                  <a:moveTo>
                    <a:pt x="13" y="48"/>
                  </a:moveTo>
                  <a:cubicBezTo>
                    <a:pt x="276" y="48"/>
                    <a:pt x="276" y="48"/>
                    <a:pt x="276" y="48"/>
                  </a:cubicBezTo>
                  <a:cubicBezTo>
                    <a:pt x="273" y="30"/>
                    <a:pt x="256" y="12"/>
                    <a:pt x="234" y="12"/>
                  </a:cubicBezTo>
                  <a:cubicBezTo>
                    <a:pt x="217" y="12"/>
                    <a:pt x="201" y="24"/>
                    <a:pt x="195" y="40"/>
                  </a:cubicBezTo>
                  <a:cubicBezTo>
                    <a:pt x="194" y="43"/>
                    <a:pt x="192" y="44"/>
                    <a:pt x="189" y="44"/>
                  </a:cubicBezTo>
                  <a:cubicBezTo>
                    <a:pt x="187" y="44"/>
                    <a:pt x="185" y="43"/>
                    <a:pt x="184" y="40"/>
                  </a:cubicBezTo>
                  <a:cubicBezTo>
                    <a:pt x="178" y="24"/>
                    <a:pt x="162" y="12"/>
                    <a:pt x="144" y="12"/>
                  </a:cubicBezTo>
                  <a:cubicBezTo>
                    <a:pt x="127" y="12"/>
                    <a:pt x="111" y="24"/>
                    <a:pt x="105" y="40"/>
                  </a:cubicBezTo>
                  <a:cubicBezTo>
                    <a:pt x="104" y="43"/>
                    <a:pt x="102" y="44"/>
                    <a:pt x="99" y="44"/>
                  </a:cubicBezTo>
                  <a:cubicBezTo>
                    <a:pt x="97" y="44"/>
                    <a:pt x="95" y="43"/>
                    <a:pt x="94" y="40"/>
                  </a:cubicBezTo>
                  <a:cubicBezTo>
                    <a:pt x="88" y="24"/>
                    <a:pt x="72" y="12"/>
                    <a:pt x="54" y="12"/>
                  </a:cubicBezTo>
                  <a:cubicBezTo>
                    <a:pt x="33" y="12"/>
                    <a:pt x="16" y="30"/>
                    <a:pt x="13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60944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121888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82832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243777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3047213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3656656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4266097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4875541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217"/>
              <a:endParaRPr lang="en-US">
                <a:solidFill>
                  <a:srgbClr val="000000"/>
                </a:solidFill>
                <a:latin typeface="Graphik" panose="020B0503030202060203" pitchFamily="34" charset="-18"/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8A9C9860-B039-588B-0918-42718954676C}"/>
              </a:ext>
            </a:extLst>
          </p:cNvPr>
          <p:cNvGrpSpPr/>
          <p:nvPr/>
        </p:nvGrpSpPr>
        <p:grpSpPr>
          <a:xfrm>
            <a:off x="6355433" y="4323516"/>
            <a:ext cx="1034893" cy="819226"/>
            <a:chOff x="497923" y="4947246"/>
            <a:chExt cx="448546" cy="383682"/>
          </a:xfrm>
          <a:solidFill>
            <a:schemeClr val="accent1"/>
          </a:solidFill>
        </p:grpSpPr>
        <p:sp>
          <p:nvSpPr>
            <p:cNvPr id="77" name="Freeform 180">
              <a:extLst>
                <a:ext uri="{FF2B5EF4-FFF2-40B4-BE49-F238E27FC236}">
                  <a16:creationId xmlns:a16="http://schemas.microsoft.com/office/drawing/2014/main" id="{D0FAFCC6-DCFB-09D4-BB73-1BE18E566A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4563" y="5116550"/>
              <a:ext cx="215478" cy="214378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30" y="132"/>
                    <a:pt x="0" y="102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3" y="0"/>
                    <a:pt x="132" y="30"/>
                    <a:pt x="132" y="66"/>
                  </a:cubicBezTo>
                  <a:cubicBezTo>
                    <a:pt x="132" y="102"/>
                    <a:pt x="103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6"/>
                    <a:pt x="36" y="120"/>
                    <a:pt x="66" y="120"/>
                  </a:cubicBezTo>
                  <a:cubicBezTo>
                    <a:pt x="96" y="120"/>
                    <a:pt x="120" y="96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78" name="Freeform 179">
              <a:extLst>
                <a:ext uri="{FF2B5EF4-FFF2-40B4-BE49-F238E27FC236}">
                  <a16:creationId xmlns:a16="http://schemas.microsoft.com/office/drawing/2014/main" id="{56D5B2BE-656F-9796-62C1-31EE45D0E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923" y="4947246"/>
              <a:ext cx="448546" cy="279241"/>
            </a:xfrm>
            <a:custGeom>
              <a:avLst/>
              <a:gdLst>
                <a:gd name="T0" fmla="*/ 219 w 276"/>
                <a:gd name="T1" fmla="*/ 172 h 172"/>
                <a:gd name="T2" fmla="*/ 213 w 276"/>
                <a:gd name="T3" fmla="*/ 167 h 172"/>
                <a:gd name="T4" fmla="*/ 218 w 276"/>
                <a:gd name="T5" fmla="*/ 160 h 172"/>
                <a:gd name="T6" fmla="*/ 218 w 276"/>
                <a:gd name="T7" fmla="*/ 160 h 172"/>
                <a:gd name="T8" fmla="*/ 264 w 276"/>
                <a:gd name="T9" fmla="*/ 109 h 172"/>
                <a:gd name="T10" fmla="*/ 249 w 276"/>
                <a:gd name="T11" fmla="*/ 72 h 172"/>
                <a:gd name="T12" fmla="*/ 211 w 276"/>
                <a:gd name="T13" fmla="*/ 58 h 172"/>
                <a:gd name="T14" fmla="*/ 205 w 276"/>
                <a:gd name="T15" fmla="*/ 54 h 172"/>
                <a:gd name="T16" fmla="*/ 138 w 276"/>
                <a:gd name="T17" fmla="*/ 12 h 172"/>
                <a:gd name="T18" fmla="*/ 64 w 276"/>
                <a:gd name="T19" fmla="*/ 82 h 172"/>
                <a:gd name="T20" fmla="*/ 62 w 276"/>
                <a:gd name="T21" fmla="*/ 86 h 172"/>
                <a:gd name="T22" fmla="*/ 57 w 276"/>
                <a:gd name="T23" fmla="*/ 87 h 172"/>
                <a:gd name="T24" fmla="*/ 26 w 276"/>
                <a:gd name="T25" fmla="*/ 95 h 172"/>
                <a:gd name="T26" fmla="*/ 12 w 276"/>
                <a:gd name="T27" fmla="*/ 123 h 172"/>
                <a:gd name="T28" fmla="*/ 49 w 276"/>
                <a:gd name="T29" fmla="*/ 160 h 172"/>
                <a:gd name="T30" fmla="*/ 54 w 276"/>
                <a:gd name="T31" fmla="*/ 167 h 172"/>
                <a:gd name="T32" fmla="*/ 48 w 276"/>
                <a:gd name="T33" fmla="*/ 172 h 172"/>
                <a:gd name="T34" fmla="*/ 0 w 276"/>
                <a:gd name="T35" fmla="*/ 123 h 172"/>
                <a:gd name="T36" fmla="*/ 18 w 276"/>
                <a:gd name="T37" fmla="*/ 85 h 172"/>
                <a:gd name="T38" fmla="*/ 53 w 276"/>
                <a:gd name="T39" fmla="*/ 74 h 172"/>
                <a:gd name="T40" fmla="*/ 138 w 276"/>
                <a:gd name="T41" fmla="*/ 0 h 172"/>
                <a:gd name="T42" fmla="*/ 214 w 276"/>
                <a:gd name="T43" fmla="*/ 46 h 172"/>
                <a:gd name="T44" fmla="*/ 257 w 276"/>
                <a:gd name="T45" fmla="*/ 63 h 172"/>
                <a:gd name="T46" fmla="*/ 276 w 276"/>
                <a:gd name="T47" fmla="*/ 109 h 172"/>
                <a:gd name="T48" fmla="*/ 219 w 276"/>
                <a:gd name="T49" fmla="*/ 172 h 172"/>
                <a:gd name="T50" fmla="*/ 219 w 276"/>
                <a:gd name="T51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76" h="172">
                  <a:moveTo>
                    <a:pt x="219" y="172"/>
                  </a:moveTo>
                  <a:cubicBezTo>
                    <a:pt x="216" y="172"/>
                    <a:pt x="213" y="170"/>
                    <a:pt x="213" y="167"/>
                  </a:cubicBezTo>
                  <a:cubicBezTo>
                    <a:pt x="212" y="164"/>
                    <a:pt x="215" y="161"/>
                    <a:pt x="218" y="160"/>
                  </a:cubicBezTo>
                  <a:cubicBezTo>
                    <a:pt x="218" y="160"/>
                    <a:pt x="218" y="160"/>
                    <a:pt x="218" y="160"/>
                  </a:cubicBezTo>
                  <a:cubicBezTo>
                    <a:pt x="220" y="160"/>
                    <a:pt x="264" y="154"/>
                    <a:pt x="264" y="109"/>
                  </a:cubicBezTo>
                  <a:cubicBezTo>
                    <a:pt x="264" y="95"/>
                    <a:pt x="259" y="82"/>
                    <a:pt x="249" y="72"/>
                  </a:cubicBezTo>
                  <a:cubicBezTo>
                    <a:pt x="238" y="62"/>
                    <a:pt x="225" y="57"/>
                    <a:pt x="211" y="58"/>
                  </a:cubicBezTo>
                  <a:cubicBezTo>
                    <a:pt x="209" y="58"/>
                    <a:pt x="206" y="56"/>
                    <a:pt x="205" y="54"/>
                  </a:cubicBezTo>
                  <a:cubicBezTo>
                    <a:pt x="193" y="28"/>
                    <a:pt x="167" y="12"/>
                    <a:pt x="138" y="12"/>
                  </a:cubicBezTo>
                  <a:cubicBezTo>
                    <a:pt x="99" y="12"/>
                    <a:pt x="66" y="42"/>
                    <a:pt x="64" y="82"/>
                  </a:cubicBezTo>
                  <a:cubicBezTo>
                    <a:pt x="64" y="83"/>
                    <a:pt x="63" y="85"/>
                    <a:pt x="62" y="86"/>
                  </a:cubicBezTo>
                  <a:cubicBezTo>
                    <a:pt x="60" y="87"/>
                    <a:pt x="59" y="87"/>
                    <a:pt x="57" y="87"/>
                  </a:cubicBezTo>
                  <a:cubicBezTo>
                    <a:pt x="46" y="85"/>
                    <a:pt x="35" y="88"/>
                    <a:pt x="26" y="95"/>
                  </a:cubicBezTo>
                  <a:cubicBezTo>
                    <a:pt x="17" y="102"/>
                    <a:pt x="12" y="112"/>
                    <a:pt x="12" y="123"/>
                  </a:cubicBezTo>
                  <a:cubicBezTo>
                    <a:pt x="12" y="153"/>
                    <a:pt x="35" y="159"/>
                    <a:pt x="49" y="160"/>
                  </a:cubicBezTo>
                  <a:cubicBezTo>
                    <a:pt x="52" y="160"/>
                    <a:pt x="55" y="163"/>
                    <a:pt x="54" y="167"/>
                  </a:cubicBezTo>
                  <a:cubicBezTo>
                    <a:pt x="54" y="170"/>
                    <a:pt x="51" y="172"/>
                    <a:pt x="48" y="172"/>
                  </a:cubicBezTo>
                  <a:cubicBezTo>
                    <a:pt x="37" y="171"/>
                    <a:pt x="0" y="165"/>
                    <a:pt x="0" y="123"/>
                  </a:cubicBezTo>
                  <a:cubicBezTo>
                    <a:pt x="0" y="108"/>
                    <a:pt x="7" y="95"/>
                    <a:pt x="18" y="85"/>
                  </a:cubicBezTo>
                  <a:cubicBezTo>
                    <a:pt x="28" y="77"/>
                    <a:pt x="40" y="74"/>
                    <a:pt x="53" y="74"/>
                  </a:cubicBezTo>
                  <a:cubicBezTo>
                    <a:pt x="58" y="32"/>
                    <a:pt x="95" y="0"/>
                    <a:pt x="138" y="0"/>
                  </a:cubicBezTo>
                  <a:cubicBezTo>
                    <a:pt x="170" y="0"/>
                    <a:pt x="200" y="18"/>
                    <a:pt x="214" y="46"/>
                  </a:cubicBezTo>
                  <a:cubicBezTo>
                    <a:pt x="230" y="46"/>
                    <a:pt x="245" y="52"/>
                    <a:pt x="257" y="63"/>
                  </a:cubicBezTo>
                  <a:cubicBezTo>
                    <a:pt x="269" y="75"/>
                    <a:pt x="276" y="92"/>
                    <a:pt x="276" y="109"/>
                  </a:cubicBezTo>
                  <a:cubicBezTo>
                    <a:pt x="276" y="164"/>
                    <a:pt x="220" y="172"/>
                    <a:pt x="219" y="172"/>
                  </a:cubicBezTo>
                  <a:cubicBezTo>
                    <a:pt x="219" y="172"/>
                    <a:pt x="219" y="172"/>
                    <a:pt x="219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79" name="Freeform 181">
              <a:extLst>
                <a:ext uri="{FF2B5EF4-FFF2-40B4-BE49-F238E27FC236}">
                  <a16:creationId xmlns:a16="http://schemas.microsoft.com/office/drawing/2014/main" id="{B275A4D3-8342-D07B-9DD1-251A50BFE5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929" y="5192407"/>
              <a:ext cx="98944" cy="70360"/>
            </a:xfrm>
            <a:custGeom>
              <a:avLst/>
              <a:gdLst>
                <a:gd name="T0" fmla="*/ 24 w 61"/>
                <a:gd name="T1" fmla="*/ 43 h 43"/>
                <a:gd name="T2" fmla="*/ 20 w 61"/>
                <a:gd name="T3" fmla="*/ 41 h 43"/>
                <a:gd name="T4" fmla="*/ 2 w 61"/>
                <a:gd name="T5" fmla="*/ 23 h 43"/>
                <a:gd name="T6" fmla="*/ 2 w 61"/>
                <a:gd name="T7" fmla="*/ 15 h 43"/>
                <a:gd name="T8" fmla="*/ 10 w 61"/>
                <a:gd name="T9" fmla="*/ 15 h 43"/>
                <a:gd name="T10" fmla="*/ 24 w 61"/>
                <a:gd name="T11" fmla="*/ 29 h 43"/>
                <a:gd name="T12" fmla="*/ 50 w 61"/>
                <a:gd name="T13" fmla="*/ 3 h 43"/>
                <a:gd name="T14" fmla="*/ 58 w 61"/>
                <a:gd name="T15" fmla="*/ 3 h 43"/>
                <a:gd name="T16" fmla="*/ 58 w 61"/>
                <a:gd name="T17" fmla="*/ 11 h 43"/>
                <a:gd name="T18" fmla="*/ 28 w 61"/>
                <a:gd name="T19" fmla="*/ 41 h 43"/>
                <a:gd name="T20" fmla="*/ 24 w 61"/>
                <a:gd name="T2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43">
                  <a:moveTo>
                    <a:pt x="24" y="43"/>
                  </a:moveTo>
                  <a:cubicBezTo>
                    <a:pt x="23" y="43"/>
                    <a:pt x="21" y="42"/>
                    <a:pt x="20" y="4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1"/>
                    <a:pt x="0" y="17"/>
                    <a:pt x="2" y="15"/>
                  </a:cubicBezTo>
                  <a:cubicBezTo>
                    <a:pt x="4" y="12"/>
                    <a:pt x="8" y="12"/>
                    <a:pt x="10" y="15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50" y="3"/>
                    <a:pt x="50" y="3"/>
                    <a:pt x="50" y="3"/>
                  </a:cubicBezTo>
                  <a:cubicBezTo>
                    <a:pt x="52" y="0"/>
                    <a:pt x="56" y="0"/>
                    <a:pt x="58" y="3"/>
                  </a:cubicBezTo>
                  <a:cubicBezTo>
                    <a:pt x="61" y="5"/>
                    <a:pt x="61" y="9"/>
                    <a:pt x="58" y="1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7" y="42"/>
                    <a:pt x="26" y="43"/>
                    <a:pt x="2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CCA82E1F-1670-9379-E382-936DCAC9F843}"/>
              </a:ext>
            </a:extLst>
          </p:cNvPr>
          <p:cNvGrpSpPr/>
          <p:nvPr/>
        </p:nvGrpSpPr>
        <p:grpSpPr>
          <a:xfrm>
            <a:off x="6429894" y="5376819"/>
            <a:ext cx="840315" cy="870538"/>
            <a:chOff x="599724" y="3179180"/>
            <a:chExt cx="840315" cy="870538"/>
          </a:xfrm>
        </p:grpSpPr>
        <p:sp>
          <p:nvSpPr>
            <p:cNvPr id="81" name="Freeform 20">
              <a:extLst>
                <a:ext uri="{FF2B5EF4-FFF2-40B4-BE49-F238E27FC236}">
                  <a16:creationId xmlns:a16="http://schemas.microsoft.com/office/drawing/2014/main" id="{C55725B4-DC4C-B660-A9E9-4B0D231919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9724" y="3468862"/>
              <a:ext cx="435913" cy="580856"/>
            </a:xfrm>
            <a:custGeom>
              <a:avLst/>
              <a:gdLst>
                <a:gd name="T0" fmla="*/ 150 w 151"/>
                <a:gd name="T1" fmla="*/ 113 h 177"/>
                <a:gd name="T2" fmla="*/ 105 w 151"/>
                <a:gd name="T3" fmla="*/ 51 h 177"/>
                <a:gd name="T4" fmla="*/ 111 w 151"/>
                <a:gd name="T5" fmla="*/ 12 h 177"/>
                <a:gd name="T6" fmla="*/ 116 w 151"/>
                <a:gd name="T7" fmla="*/ 6 h 177"/>
                <a:gd name="T8" fmla="*/ 109 w 151"/>
                <a:gd name="T9" fmla="*/ 0 h 177"/>
                <a:gd name="T10" fmla="*/ 109 w 151"/>
                <a:gd name="T11" fmla="*/ 0 h 177"/>
                <a:gd name="T12" fmla="*/ 42 w 151"/>
                <a:gd name="T13" fmla="*/ 0 h 177"/>
                <a:gd name="T14" fmla="*/ 41 w 151"/>
                <a:gd name="T15" fmla="*/ 0 h 177"/>
                <a:gd name="T16" fmla="*/ 35 w 151"/>
                <a:gd name="T17" fmla="*/ 6 h 177"/>
                <a:gd name="T18" fmla="*/ 39 w 151"/>
                <a:gd name="T19" fmla="*/ 12 h 177"/>
                <a:gd name="T20" fmla="*/ 46 w 151"/>
                <a:gd name="T21" fmla="*/ 51 h 177"/>
                <a:gd name="T22" fmla="*/ 1 w 151"/>
                <a:gd name="T23" fmla="*/ 113 h 177"/>
                <a:gd name="T24" fmla="*/ 0 w 151"/>
                <a:gd name="T25" fmla="*/ 115 h 177"/>
                <a:gd name="T26" fmla="*/ 0 w 151"/>
                <a:gd name="T27" fmla="*/ 115 h 177"/>
                <a:gd name="T28" fmla="*/ 0 w 151"/>
                <a:gd name="T29" fmla="*/ 118 h 177"/>
                <a:gd name="T30" fmla="*/ 58 w 151"/>
                <a:gd name="T31" fmla="*/ 177 h 177"/>
                <a:gd name="T32" fmla="*/ 58 w 151"/>
                <a:gd name="T33" fmla="*/ 177 h 177"/>
                <a:gd name="T34" fmla="*/ 70 w 151"/>
                <a:gd name="T35" fmla="*/ 177 h 177"/>
                <a:gd name="T36" fmla="*/ 81 w 151"/>
                <a:gd name="T37" fmla="*/ 177 h 177"/>
                <a:gd name="T38" fmla="*/ 93 w 151"/>
                <a:gd name="T39" fmla="*/ 177 h 177"/>
                <a:gd name="T40" fmla="*/ 93 w 151"/>
                <a:gd name="T41" fmla="*/ 177 h 177"/>
                <a:gd name="T42" fmla="*/ 151 w 151"/>
                <a:gd name="T43" fmla="*/ 118 h 177"/>
                <a:gd name="T44" fmla="*/ 150 w 151"/>
                <a:gd name="T45" fmla="*/ 116 h 177"/>
                <a:gd name="T46" fmla="*/ 151 w 151"/>
                <a:gd name="T47" fmla="*/ 115 h 177"/>
                <a:gd name="T48" fmla="*/ 150 w 151"/>
                <a:gd name="T49" fmla="*/ 113 h 177"/>
                <a:gd name="T50" fmla="*/ 54 w 151"/>
                <a:gd name="T51" fmla="*/ 61 h 177"/>
                <a:gd name="T52" fmla="*/ 58 w 151"/>
                <a:gd name="T53" fmla="*/ 55 h 177"/>
                <a:gd name="T54" fmla="*/ 53 w 151"/>
                <a:gd name="T55" fmla="*/ 12 h 177"/>
                <a:gd name="T56" fmla="*/ 98 w 151"/>
                <a:gd name="T57" fmla="*/ 12 h 177"/>
                <a:gd name="T58" fmla="*/ 93 w 151"/>
                <a:gd name="T59" fmla="*/ 55 h 177"/>
                <a:gd name="T60" fmla="*/ 97 w 151"/>
                <a:gd name="T61" fmla="*/ 61 h 177"/>
                <a:gd name="T62" fmla="*/ 137 w 151"/>
                <a:gd name="T63" fmla="*/ 108 h 177"/>
                <a:gd name="T64" fmla="*/ 13 w 151"/>
                <a:gd name="T65" fmla="*/ 108 h 177"/>
                <a:gd name="T66" fmla="*/ 54 w 151"/>
                <a:gd name="T67" fmla="*/ 61 h 177"/>
                <a:gd name="T68" fmla="*/ 93 w 151"/>
                <a:gd name="T69" fmla="*/ 165 h 177"/>
                <a:gd name="T70" fmla="*/ 81 w 151"/>
                <a:gd name="T71" fmla="*/ 165 h 177"/>
                <a:gd name="T72" fmla="*/ 70 w 151"/>
                <a:gd name="T73" fmla="*/ 165 h 177"/>
                <a:gd name="T74" fmla="*/ 58 w 151"/>
                <a:gd name="T75" fmla="*/ 165 h 177"/>
                <a:gd name="T76" fmla="*/ 13 w 151"/>
                <a:gd name="T77" fmla="*/ 121 h 177"/>
                <a:gd name="T78" fmla="*/ 138 w 151"/>
                <a:gd name="T79" fmla="*/ 121 h 177"/>
                <a:gd name="T80" fmla="*/ 93 w 151"/>
                <a:gd name="T81" fmla="*/ 165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1" h="177">
                  <a:moveTo>
                    <a:pt x="150" y="113"/>
                  </a:moveTo>
                  <a:cubicBezTo>
                    <a:pt x="148" y="73"/>
                    <a:pt x="117" y="56"/>
                    <a:pt x="105" y="51"/>
                  </a:cubicBezTo>
                  <a:cubicBezTo>
                    <a:pt x="105" y="23"/>
                    <a:pt x="110" y="14"/>
                    <a:pt x="111" y="12"/>
                  </a:cubicBezTo>
                  <a:cubicBezTo>
                    <a:pt x="114" y="11"/>
                    <a:pt x="116" y="9"/>
                    <a:pt x="116" y="6"/>
                  </a:cubicBezTo>
                  <a:cubicBezTo>
                    <a:pt x="116" y="2"/>
                    <a:pt x="113" y="0"/>
                    <a:pt x="109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38" y="0"/>
                    <a:pt x="35" y="2"/>
                    <a:pt x="35" y="6"/>
                  </a:cubicBezTo>
                  <a:cubicBezTo>
                    <a:pt x="35" y="9"/>
                    <a:pt x="37" y="11"/>
                    <a:pt x="39" y="12"/>
                  </a:cubicBezTo>
                  <a:cubicBezTo>
                    <a:pt x="41" y="14"/>
                    <a:pt x="45" y="23"/>
                    <a:pt x="46" y="51"/>
                  </a:cubicBezTo>
                  <a:cubicBezTo>
                    <a:pt x="34" y="56"/>
                    <a:pt x="3" y="73"/>
                    <a:pt x="1" y="113"/>
                  </a:cubicBezTo>
                  <a:cubicBezTo>
                    <a:pt x="0" y="114"/>
                    <a:pt x="0" y="114"/>
                    <a:pt x="0" y="115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16"/>
                    <a:pt x="0" y="117"/>
                    <a:pt x="0" y="118"/>
                  </a:cubicBezTo>
                  <a:cubicBezTo>
                    <a:pt x="0" y="162"/>
                    <a:pt x="38" y="176"/>
                    <a:pt x="58" y="177"/>
                  </a:cubicBezTo>
                  <a:cubicBezTo>
                    <a:pt x="58" y="177"/>
                    <a:pt x="58" y="177"/>
                    <a:pt x="58" y="177"/>
                  </a:cubicBezTo>
                  <a:cubicBezTo>
                    <a:pt x="70" y="177"/>
                    <a:pt x="70" y="177"/>
                    <a:pt x="70" y="177"/>
                  </a:cubicBezTo>
                  <a:cubicBezTo>
                    <a:pt x="81" y="177"/>
                    <a:pt x="81" y="177"/>
                    <a:pt x="81" y="177"/>
                  </a:cubicBezTo>
                  <a:cubicBezTo>
                    <a:pt x="93" y="177"/>
                    <a:pt x="93" y="177"/>
                    <a:pt x="93" y="177"/>
                  </a:cubicBezTo>
                  <a:cubicBezTo>
                    <a:pt x="93" y="177"/>
                    <a:pt x="93" y="177"/>
                    <a:pt x="93" y="177"/>
                  </a:cubicBezTo>
                  <a:cubicBezTo>
                    <a:pt x="113" y="176"/>
                    <a:pt x="151" y="162"/>
                    <a:pt x="151" y="118"/>
                  </a:cubicBezTo>
                  <a:cubicBezTo>
                    <a:pt x="151" y="117"/>
                    <a:pt x="150" y="117"/>
                    <a:pt x="150" y="116"/>
                  </a:cubicBezTo>
                  <a:cubicBezTo>
                    <a:pt x="150" y="115"/>
                    <a:pt x="151" y="115"/>
                    <a:pt x="151" y="115"/>
                  </a:cubicBezTo>
                  <a:cubicBezTo>
                    <a:pt x="151" y="114"/>
                    <a:pt x="150" y="113"/>
                    <a:pt x="150" y="113"/>
                  </a:cubicBezTo>
                  <a:close/>
                  <a:moveTo>
                    <a:pt x="54" y="61"/>
                  </a:moveTo>
                  <a:cubicBezTo>
                    <a:pt x="56" y="61"/>
                    <a:pt x="58" y="58"/>
                    <a:pt x="58" y="55"/>
                  </a:cubicBezTo>
                  <a:cubicBezTo>
                    <a:pt x="58" y="33"/>
                    <a:pt x="56" y="20"/>
                    <a:pt x="53" y="12"/>
                  </a:cubicBezTo>
                  <a:cubicBezTo>
                    <a:pt x="98" y="12"/>
                    <a:pt x="98" y="12"/>
                    <a:pt x="98" y="12"/>
                  </a:cubicBezTo>
                  <a:cubicBezTo>
                    <a:pt x="95" y="20"/>
                    <a:pt x="93" y="33"/>
                    <a:pt x="93" y="55"/>
                  </a:cubicBezTo>
                  <a:cubicBezTo>
                    <a:pt x="93" y="58"/>
                    <a:pt x="94" y="61"/>
                    <a:pt x="97" y="61"/>
                  </a:cubicBezTo>
                  <a:cubicBezTo>
                    <a:pt x="97" y="61"/>
                    <a:pt x="132" y="72"/>
                    <a:pt x="137" y="108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19" y="72"/>
                    <a:pt x="52" y="62"/>
                    <a:pt x="54" y="61"/>
                  </a:cubicBezTo>
                  <a:close/>
                  <a:moveTo>
                    <a:pt x="93" y="165"/>
                  </a:moveTo>
                  <a:cubicBezTo>
                    <a:pt x="81" y="165"/>
                    <a:pt x="81" y="165"/>
                    <a:pt x="81" y="165"/>
                  </a:cubicBezTo>
                  <a:cubicBezTo>
                    <a:pt x="70" y="165"/>
                    <a:pt x="70" y="165"/>
                    <a:pt x="70" y="165"/>
                  </a:cubicBezTo>
                  <a:cubicBezTo>
                    <a:pt x="58" y="165"/>
                    <a:pt x="58" y="165"/>
                    <a:pt x="58" y="165"/>
                  </a:cubicBezTo>
                  <a:cubicBezTo>
                    <a:pt x="55" y="165"/>
                    <a:pt x="14" y="161"/>
                    <a:pt x="13" y="121"/>
                  </a:cubicBezTo>
                  <a:cubicBezTo>
                    <a:pt x="138" y="121"/>
                    <a:pt x="138" y="121"/>
                    <a:pt x="138" y="121"/>
                  </a:cubicBezTo>
                  <a:cubicBezTo>
                    <a:pt x="136" y="161"/>
                    <a:pt x="96" y="165"/>
                    <a:pt x="93" y="16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</a:pPr>
              <a:endParaRPr lang="pl-PL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endParaRPr>
            </a:p>
          </p:txBody>
        </p:sp>
        <p:sp>
          <p:nvSpPr>
            <p:cNvPr id="82" name="Freeform 21">
              <a:extLst>
                <a:ext uri="{FF2B5EF4-FFF2-40B4-BE49-F238E27FC236}">
                  <a16:creationId xmlns:a16="http://schemas.microsoft.com/office/drawing/2014/main" id="{AB42C22B-B49B-4C5A-F2EF-820166C221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9391" y="3179180"/>
              <a:ext cx="560648" cy="633119"/>
            </a:xfrm>
            <a:custGeom>
              <a:avLst/>
              <a:gdLst>
                <a:gd name="T0" fmla="*/ 184 w 194"/>
                <a:gd name="T1" fmla="*/ 140 h 193"/>
                <a:gd name="T2" fmla="*/ 69 w 194"/>
                <a:gd name="T3" fmla="*/ 25 h 193"/>
                <a:gd name="T4" fmla="*/ 63 w 194"/>
                <a:gd name="T5" fmla="*/ 6 h 193"/>
                <a:gd name="T6" fmla="*/ 59 w 194"/>
                <a:gd name="T7" fmla="*/ 0 h 193"/>
                <a:gd name="T8" fmla="*/ 52 w 194"/>
                <a:gd name="T9" fmla="*/ 2 h 193"/>
                <a:gd name="T10" fmla="*/ 52 w 194"/>
                <a:gd name="T11" fmla="*/ 2 h 193"/>
                <a:gd name="T12" fmla="*/ 3 w 194"/>
                <a:gd name="T13" fmla="*/ 51 h 193"/>
                <a:gd name="T14" fmla="*/ 3 w 194"/>
                <a:gd name="T15" fmla="*/ 51 h 193"/>
                <a:gd name="T16" fmla="*/ 1 w 194"/>
                <a:gd name="T17" fmla="*/ 58 h 193"/>
                <a:gd name="T18" fmla="*/ 6 w 194"/>
                <a:gd name="T19" fmla="*/ 62 h 193"/>
                <a:gd name="T20" fmla="*/ 26 w 194"/>
                <a:gd name="T21" fmla="*/ 68 h 193"/>
                <a:gd name="T22" fmla="*/ 141 w 194"/>
                <a:gd name="T23" fmla="*/ 184 h 193"/>
                <a:gd name="T24" fmla="*/ 161 w 194"/>
                <a:gd name="T25" fmla="*/ 193 h 193"/>
                <a:gd name="T26" fmla="*/ 161 w 194"/>
                <a:gd name="T27" fmla="*/ 193 h 193"/>
                <a:gd name="T28" fmla="*/ 181 w 194"/>
                <a:gd name="T29" fmla="*/ 184 h 193"/>
                <a:gd name="T30" fmla="*/ 185 w 194"/>
                <a:gd name="T31" fmla="*/ 180 h 193"/>
                <a:gd name="T32" fmla="*/ 194 w 194"/>
                <a:gd name="T33" fmla="*/ 160 h 193"/>
                <a:gd name="T34" fmla="*/ 184 w 194"/>
                <a:gd name="T35" fmla="*/ 140 h 193"/>
                <a:gd name="T36" fmla="*/ 20 w 194"/>
                <a:gd name="T37" fmla="*/ 52 h 193"/>
                <a:gd name="T38" fmla="*/ 53 w 194"/>
                <a:gd name="T39" fmla="*/ 19 h 193"/>
                <a:gd name="T40" fmla="*/ 60 w 194"/>
                <a:gd name="T41" fmla="*/ 34 h 193"/>
                <a:gd name="T42" fmla="*/ 88 w 194"/>
                <a:gd name="T43" fmla="*/ 62 h 193"/>
                <a:gd name="T44" fmla="*/ 37 w 194"/>
                <a:gd name="T45" fmla="*/ 62 h 193"/>
                <a:gd name="T46" fmla="*/ 35 w 194"/>
                <a:gd name="T47" fmla="*/ 60 h 193"/>
                <a:gd name="T48" fmla="*/ 20 w 194"/>
                <a:gd name="T49" fmla="*/ 52 h 193"/>
                <a:gd name="T50" fmla="*/ 176 w 194"/>
                <a:gd name="T51" fmla="*/ 171 h 193"/>
                <a:gd name="T52" fmla="*/ 172 w 194"/>
                <a:gd name="T53" fmla="*/ 175 h 193"/>
                <a:gd name="T54" fmla="*/ 161 w 194"/>
                <a:gd name="T55" fmla="*/ 181 h 193"/>
                <a:gd name="T56" fmla="*/ 151 w 194"/>
                <a:gd name="T57" fmla="*/ 175 h 193"/>
                <a:gd name="T58" fmla="*/ 150 w 194"/>
                <a:gd name="T59" fmla="*/ 175 h 193"/>
                <a:gd name="T60" fmla="*/ 144 w 194"/>
                <a:gd name="T61" fmla="*/ 168 h 193"/>
                <a:gd name="T62" fmla="*/ 153 w 194"/>
                <a:gd name="T63" fmla="*/ 159 h 193"/>
                <a:gd name="T64" fmla="*/ 153 w 194"/>
                <a:gd name="T65" fmla="*/ 150 h 193"/>
                <a:gd name="T66" fmla="*/ 144 w 194"/>
                <a:gd name="T67" fmla="*/ 150 h 193"/>
                <a:gd name="T68" fmla="*/ 135 w 194"/>
                <a:gd name="T69" fmla="*/ 160 h 193"/>
                <a:gd name="T70" fmla="*/ 122 w 194"/>
                <a:gd name="T71" fmla="*/ 147 h 193"/>
                <a:gd name="T72" fmla="*/ 131 w 194"/>
                <a:gd name="T73" fmla="*/ 137 h 193"/>
                <a:gd name="T74" fmla="*/ 131 w 194"/>
                <a:gd name="T75" fmla="*/ 128 h 193"/>
                <a:gd name="T76" fmla="*/ 122 w 194"/>
                <a:gd name="T77" fmla="*/ 128 h 193"/>
                <a:gd name="T78" fmla="*/ 113 w 194"/>
                <a:gd name="T79" fmla="*/ 138 h 193"/>
                <a:gd name="T80" fmla="*/ 101 w 194"/>
                <a:gd name="T81" fmla="*/ 125 h 193"/>
                <a:gd name="T82" fmla="*/ 110 w 194"/>
                <a:gd name="T83" fmla="*/ 116 h 193"/>
                <a:gd name="T84" fmla="*/ 110 w 194"/>
                <a:gd name="T85" fmla="*/ 107 h 193"/>
                <a:gd name="T86" fmla="*/ 101 w 194"/>
                <a:gd name="T87" fmla="*/ 107 h 193"/>
                <a:gd name="T88" fmla="*/ 92 w 194"/>
                <a:gd name="T89" fmla="*/ 117 h 193"/>
                <a:gd name="T90" fmla="*/ 79 w 194"/>
                <a:gd name="T91" fmla="*/ 104 h 193"/>
                <a:gd name="T92" fmla="*/ 89 w 194"/>
                <a:gd name="T93" fmla="*/ 95 h 193"/>
                <a:gd name="T94" fmla="*/ 89 w 194"/>
                <a:gd name="T95" fmla="*/ 86 h 193"/>
                <a:gd name="T96" fmla="*/ 80 w 194"/>
                <a:gd name="T97" fmla="*/ 86 h 193"/>
                <a:gd name="T98" fmla="*/ 71 w 194"/>
                <a:gd name="T99" fmla="*/ 95 h 193"/>
                <a:gd name="T100" fmla="*/ 49 w 194"/>
                <a:gd name="T101" fmla="*/ 74 h 193"/>
                <a:gd name="T102" fmla="*/ 100 w 194"/>
                <a:gd name="T103" fmla="*/ 74 h 193"/>
                <a:gd name="T104" fmla="*/ 176 w 194"/>
                <a:gd name="T105" fmla="*/ 149 h 193"/>
                <a:gd name="T106" fmla="*/ 176 w 194"/>
                <a:gd name="T107" fmla="*/ 150 h 193"/>
                <a:gd name="T108" fmla="*/ 181 w 194"/>
                <a:gd name="T109" fmla="*/ 160 h 193"/>
                <a:gd name="T110" fmla="*/ 176 w 194"/>
                <a:gd name="T111" fmla="*/ 17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" h="193">
                  <a:moveTo>
                    <a:pt x="184" y="140"/>
                  </a:move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63" y="11"/>
                    <a:pt x="63" y="6"/>
                  </a:cubicBezTo>
                  <a:cubicBezTo>
                    <a:pt x="62" y="3"/>
                    <a:pt x="61" y="1"/>
                    <a:pt x="59" y="0"/>
                  </a:cubicBezTo>
                  <a:cubicBezTo>
                    <a:pt x="56" y="0"/>
                    <a:pt x="54" y="0"/>
                    <a:pt x="52" y="2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1" y="53"/>
                    <a:pt x="0" y="55"/>
                    <a:pt x="1" y="58"/>
                  </a:cubicBezTo>
                  <a:cubicBezTo>
                    <a:pt x="2" y="60"/>
                    <a:pt x="4" y="61"/>
                    <a:pt x="6" y="62"/>
                  </a:cubicBezTo>
                  <a:cubicBezTo>
                    <a:pt x="11" y="62"/>
                    <a:pt x="22" y="64"/>
                    <a:pt x="26" y="68"/>
                  </a:cubicBezTo>
                  <a:cubicBezTo>
                    <a:pt x="141" y="184"/>
                    <a:pt x="141" y="184"/>
                    <a:pt x="141" y="184"/>
                  </a:cubicBezTo>
                  <a:cubicBezTo>
                    <a:pt x="143" y="185"/>
                    <a:pt x="150" y="193"/>
                    <a:pt x="161" y="193"/>
                  </a:cubicBezTo>
                  <a:cubicBezTo>
                    <a:pt x="161" y="193"/>
                    <a:pt x="161" y="193"/>
                    <a:pt x="161" y="193"/>
                  </a:cubicBezTo>
                  <a:cubicBezTo>
                    <a:pt x="168" y="193"/>
                    <a:pt x="175" y="190"/>
                    <a:pt x="181" y="184"/>
                  </a:cubicBezTo>
                  <a:cubicBezTo>
                    <a:pt x="185" y="180"/>
                    <a:pt x="185" y="180"/>
                    <a:pt x="185" y="180"/>
                  </a:cubicBezTo>
                  <a:cubicBezTo>
                    <a:pt x="191" y="174"/>
                    <a:pt x="194" y="167"/>
                    <a:pt x="194" y="160"/>
                  </a:cubicBezTo>
                  <a:cubicBezTo>
                    <a:pt x="193" y="149"/>
                    <a:pt x="186" y="142"/>
                    <a:pt x="184" y="140"/>
                  </a:cubicBezTo>
                  <a:close/>
                  <a:moveTo>
                    <a:pt x="20" y="52"/>
                  </a:moveTo>
                  <a:cubicBezTo>
                    <a:pt x="53" y="19"/>
                    <a:pt x="53" y="19"/>
                    <a:pt x="53" y="19"/>
                  </a:cubicBezTo>
                  <a:cubicBezTo>
                    <a:pt x="54" y="24"/>
                    <a:pt x="57" y="30"/>
                    <a:pt x="60" y="34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1" y="56"/>
                    <a:pt x="25" y="53"/>
                    <a:pt x="20" y="52"/>
                  </a:cubicBezTo>
                  <a:close/>
                  <a:moveTo>
                    <a:pt x="176" y="171"/>
                  </a:moveTo>
                  <a:cubicBezTo>
                    <a:pt x="172" y="175"/>
                    <a:pt x="172" y="175"/>
                    <a:pt x="172" y="175"/>
                  </a:cubicBezTo>
                  <a:cubicBezTo>
                    <a:pt x="169" y="179"/>
                    <a:pt x="165" y="181"/>
                    <a:pt x="161" y="181"/>
                  </a:cubicBezTo>
                  <a:cubicBezTo>
                    <a:pt x="155" y="180"/>
                    <a:pt x="151" y="175"/>
                    <a:pt x="151" y="175"/>
                  </a:cubicBezTo>
                  <a:cubicBezTo>
                    <a:pt x="150" y="175"/>
                    <a:pt x="150" y="175"/>
                    <a:pt x="150" y="175"/>
                  </a:cubicBezTo>
                  <a:cubicBezTo>
                    <a:pt x="144" y="168"/>
                    <a:pt x="144" y="168"/>
                    <a:pt x="144" y="168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5" y="157"/>
                    <a:pt x="155" y="153"/>
                    <a:pt x="153" y="150"/>
                  </a:cubicBezTo>
                  <a:cubicBezTo>
                    <a:pt x="151" y="148"/>
                    <a:pt x="147" y="148"/>
                    <a:pt x="144" y="150"/>
                  </a:cubicBezTo>
                  <a:cubicBezTo>
                    <a:pt x="135" y="160"/>
                    <a:pt x="135" y="160"/>
                    <a:pt x="135" y="160"/>
                  </a:cubicBezTo>
                  <a:cubicBezTo>
                    <a:pt x="122" y="147"/>
                    <a:pt x="122" y="147"/>
                    <a:pt x="122" y="147"/>
                  </a:cubicBezTo>
                  <a:cubicBezTo>
                    <a:pt x="131" y="137"/>
                    <a:pt x="131" y="137"/>
                    <a:pt x="131" y="137"/>
                  </a:cubicBezTo>
                  <a:cubicBezTo>
                    <a:pt x="134" y="135"/>
                    <a:pt x="134" y="131"/>
                    <a:pt x="131" y="128"/>
                  </a:cubicBezTo>
                  <a:cubicBezTo>
                    <a:pt x="129" y="126"/>
                    <a:pt x="125" y="126"/>
                    <a:pt x="122" y="128"/>
                  </a:cubicBezTo>
                  <a:cubicBezTo>
                    <a:pt x="113" y="138"/>
                    <a:pt x="113" y="138"/>
                    <a:pt x="113" y="138"/>
                  </a:cubicBezTo>
                  <a:cubicBezTo>
                    <a:pt x="101" y="125"/>
                    <a:pt x="101" y="125"/>
                    <a:pt x="101" y="125"/>
                  </a:cubicBezTo>
                  <a:cubicBezTo>
                    <a:pt x="110" y="116"/>
                    <a:pt x="110" y="116"/>
                    <a:pt x="110" y="116"/>
                  </a:cubicBezTo>
                  <a:cubicBezTo>
                    <a:pt x="112" y="113"/>
                    <a:pt x="112" y="110"/>
                    <a:pt x="110" y="107"/>
                  </a:cubicBezTo>
                  <a:cubicBezTo>
                    <a:pt x="107" y="105"/>
                    <a:pt x="104" y="105"/>
                    <a:pt x="101" y="107"/>
                  </a:cubicBezTo>
                  <a:cubicBezTo>
                    <a:pt x="92" y="117"/>
                    <a:pt x="92" y="117"/>
                    <a:pt x="92" y="117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95"/>
                    <a:pt x="89" y="95"/>
                    <a:pt x="89" y="95"/>
                  </a:cubicBezTo>
                  <a:cubicBezTo>
                    <a:pt x="91" y="92"/>
                    <a:pt x="91" y="88"/>
                    <a:pt x="89" y="86"/>
                  </a:cubicBezTo>
                  <a:cubicBezTo>
                    <a:pt x="86" y="84"/>
                    <a:pt x="82" y="84"/>
                    <a:pt x="80" y="86"/>
                  </a:cubicBezTo>
                  <a:cubicBezTo>
                    <a:pt x="71" y="95"/>
                    <a:pt x="71" y="95"/>
                    <a:pt x="71" y="95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100" y="74"/>
                    <a:pt x="100" y="74"/>
                    <a:pt x="100" y="74"/>
                  </a:cubicBezTo>
                  <a:cubicBezTo>
                    <a:pt x="176" y="149"/>
                    <a:pt x="176" y="149"/>
                    <a:pt x="176" y="149"/>
                  </a:cubicBezTo>
                  <a:cubicBezTo>
                    <a:pt x="176" y="149"/>
                    <a:pt x="176" y="150"/>
                    <a:pt x="176" y="150"/>
                  </a:cubicBezTo>
                  <a:cubicBezTo>
                    <a:pt x="176" y="150"/>
                    <a:pt x="181" y="154"/>
                    <a:pt x="181" y="160"/>
                  </a:cubicBezTo>
                  <a:cubicBezTo>
                    <a:pt x="182" y="164"/>
                    <a:pt x="180" y="168"/>
                    <a:pt x="176" y="17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</a:pPr>
              <a:endParaRPr lang="pl-PL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endParaRPr>
            </a:p>
          </p:txBody>
        </p:sp>
      </p:grpSp>
      <p:sp>
        <p:nvSpPr>
          <p:cNvPr id="83" name="Rectangle 82">
            <a:extLst>
              <a:ext uri="{FF2B5EF4-FFF2-40B4-BE49-F238E27FC236}">
                <a16:creationId xmlns:a16="http://schemas.microsoft.com/office/drawing/2014/main" id="{6EBB2E98-897E-231E-4D74-30FB08ECED86}"/>
              </a:ext>
            </a:extLst>
          </p:cNvPr>
          <p:cNvSpPr/>
          <p:nvPr/>
        </p:nvSpPr>
        <p:spPr>
          <a:xfrm>
            <a:off x="7636368" y="4396502"/>
            <a:ext cx="395999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217" fontAlgn="base">
              <a:spcBef>
                <a:spcPct val="0"/>
              </a:spcBef>
              <a:spcAft>
                <a:spcPct val="0"/>
              </a:spcAft>
            </a:pPr>
            <a:r>
              <a:rPr lang="pl-PL" sz="1400" b="1">
                <a:solidFill>
                  <a:schemeClr val="accent2"/>
                </a:solidFill>
                <a:latin typeface="Graphik" panose="020B0503030202060203" pitchFamily="34" charset="-18"/>
                <a:cs typeface="Arial" charset="0"/>
              </a:rPr>
              <a:t>Google Cloud Data </a:t>
            </a:r>
            <a:r>
              <a:rPr lang="pl-PL" sz="1400">
                <a:latin typeface="Graphik" panose="020B0503030202060203" pitchFamily="34" charset="-18"/>
                <a:cs typeface="Arial" charset="0"/>
              </a:rPr>
              <a:t>hub </a:t>
            </a:r>
            <a:r>
              <a:rPr lang="pl-PL" sz="1400" err="1">
                <a:latin typeface="Graphik" panose="020B0503030202060203" pitchFamily="34" charset="-18"/>
                <a:cs typeface="Arial" charset="0"/>
              </a:rPr>
              <a:t>worth</a:t>
            </a:r>
            <a:r>
              <a:rPr lang="pl-PL" sz="1400">
                <a:latin typeface="Graphik" panose="020B0503030202060203" pitchFamily="34" charset="-18"/>
                <a:cs typeface="Arial" charset="0"/>
              </a:rPr>
              <a:t> </a:t>
            </a:r>
            <a:r>
              <a:rPr lang="pl-PL" sz="1400" b="1">
                <a:solidFill>
                  <a:schemeClr val="accent2"/>
                </a:solidFill>
                <a:latin typeface="Graphik" panose="020B0503030202060203" pitchFamily="34" charset="-18"/>
                <a:cs typeface="Arial" charset="0"/>
              </a:rPr>
              <a:t>USD 2blns </a:t>
            </a:r>
            <a:r>
              <a:rPr lang="pl-PL" sz="1400" err="1">
                <a:latin typeface="Graphik" panose="020B0503030202060203" pitchFamily="34" charset="-18"/>
                <a:cs typeface="Arial" charset="0"/>
              </a:rPr>
              <a:t>launched</a:t>
            </a:r>
            <a:r>
              <a:rPr lang="pl-PL" sz="1400">
                <a:latin typeface="Graphik" panose="020B0503030202060203" pitchFamily="34" charset="-18"/>
                <a:cs typeface="Arial" charset="0"/>
              </a:rPr>
              <a:t> in </a:t>
            </a:r>
            <a:r>
              <a:rPr lang="pl-PL" sz="1400" err="1">
                <a:latin typeface="Graphik" panose="020B0503030202060203" pitchFamily="34" charset="-18"/>
                <a:cs typeface="Arial" charset="0"/>
              </a:rPr>
              <a:t>Warsaw</a:t>
            </a:r>
            <a:r>
              <a:rPr lang="pl-PL" sz="1400">
                <a:latin typeface="Graphik" panose="020B0503030202060203" pitchFamily="34" charset="-18"/>
                <a:cs typeface="Arial" charset="0"/>
              </a:rPr>
              <a:t> in </a:t>
            </a:r>
            <a:r>
              <a:rPr lang="pl-PL" sz="1400" err="1">
                <a:latin typeface="Graphik" panose="020B0503030202060203" pitchFamily="34" charset="-18"/>
                <a:cs typeface="Arial" charset="0"/>
              </a:rPr>
              <a:t>April</a:t>
            </a:r>
            <a:r>
              <a:rPr lang="pl-PL" sz="1400">
                <a:latin typeface="Graphik" panose="020B0503030202060203" pitchFamily="34" charset="-18"/>
                <a:cs typeface="Arial" charset="0"/>
              </a:rPr>
              <a:t> 2021.</a:t>
            </a:r>
          </a:p>
        </p:txBody>
      </p:sp>
      <p:sp>
        <p:nvSpPr>
          <p:cNvPr id="85" name="Footer Placeholder 3">
            <a:extLst>
              <a:ext uri="{FF2B5EF4-FFF2-40B4-BE49-F238E27FC236}">
                <a16:creationId xmlns:a16="http://schemas.microsoft.com/office/drawing/2014/main" id="{6B3DFB4E-45EC-08D0-9692-9520DE6F62DD}"/>
              </a:ext>
            </a:extLst>
          </p:cNvPr>
          <p:cNvSpPr txBox="1">
            <a:spLocks/>
          </p:cNvSpPr>
          <p:nvPr/>
        </p:nvSpPr>
        <p:spPr>
          <a:xfrm>
            <a:off x="2880658" y="6379976"/>
            <a:ext cx="8067983" cy="358008"/>
          </a:xfrm>
          <a:prstGeom prst="rect">
            <a:avLst/>
          </a:prstGeom>
        </p:spPr>
        <p:txBody>
          <a:bodyPr vert="horz" wrap="square" lIns="0" tIns="60930" rIns="0" bIns="6093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800" kern="1200">
                <a:solidFill>
                  <a:schemeClr val="tx1">
                    <a:alpha val="50000"/>
                  </a:schemeClr>
                </a:solidFill>
                <a:latin typeface="+mn-lt"/>
                <a:ea typeface="Roboto Light" panose="02000000000000000000" pitchFamily="2" charset="0"/>
                <a:cs typeface="Gotham Medium" pitchFamily="2" charset="0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3047213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656656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4266097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875541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l" defTabSz="914217"/>
            <a:r>
              <a:rPr lang="pl-PL" sz="900" err="1">
                <a:solidFill>
                  <a:schemeClr val="tx2"/>
                </a:solidFill>
                <a:latin typeface="Graphik" panose="020B0503030202060203" pitchFamily="34" charset="-18"/>
              </a:rPr>
              <a:t>Sources</a:t>
            </a:r>
            <a:r>
              <a:rPr lang="pl-PL" sz="900">
                <a:solidFill>
                  <a:schemeClr val="tx2"/>
                </a:solidFill>
                <a:latin typeface="Graphik" panose="020B0503030202060203" pitchFamily="34" charset="-18"/>
              </a:rPr>
              <a:t>: </a:t>
            </a:r>
            <a:r>
              <a:rPr lang="pl-PL" sz="900">
                <a:solidFill>
                  <a:schemeClr val="tx2"/>
                </a:solidFill>
                <a:latin typeface="Graphik" panose="020B0503030202060203" pitchFamily="34" charset="-18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ISA</a:t>
            </a:r>
            <a:r>
              <a:rPr lang="pl-PL" sz="900">
                <a:solidFill>
                  <a:schemeClr val="tx2"/>
                </a:solidFill>
                <a:latin typeface="Graphik" panose="020B0503030202060203" pitchFamily="34" charset="-18"/>
              </a:rPr>
              <a:t>, </a:t>
            </a:r>
            <a:r>
              <a:rPr lang="en-US" sz="900">
                <a:solidFill>
                  <a:schemeClr val="tx2"/>
                </a:solidFill>
                <a:latin typeface="Graphik" panose="020B0503030202060203" pitchFamily="34" charset="-18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utsch als Fremdsprache weltweit</a:t>
            </a:r>
            <a:r>
              <a:rPr lang="pl-PL" sz="900">
                <a:solidFill>
                  <a:schemeClr val="tx2"/>
                </a:solidFill>
                <a:latin typeface="Graphik" panose="020B0503030202060203" pitchFamily="34" charset="-18"/>
              </a:rPr>
              <a:t>, </a:t>
            </a:r>
            <a:r>
              <a:rPr lang="en-US" sz="900">
                <a:solidFill>
                  <a:schemeClr val="tx2"/>
                </a:solidFill>
                <a:latin typeface="Graphik" panose="020B0503030202060203" pitchFamily="34" charset="-18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 of Polish AI 2021</a:t>
            </a:r>
            <a:r>
              <a:rPr lang="pl-PL" sz="900">
                <a:solidFill>
                  <a:schemeClr val="tx2"/>
                </a:solidFill>
                <a:latin typeface="Graphik" panose="020B0503030202060203" pitchFamily="34" charset="-18"/>
              </a:rPr>
              <a:t>, </a:t>
            </a:r>
            <a:r>
              <a:rPr lang="pl-PL" sz="900">
                <a:solidFill>
                  <a:schemeClr val="tx2"/>
                </a:solidFill>
                <a:latin typeface="Graphik" panose="020B0503030202060203" pitchFamily="34" charset="-18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vest in </a:t>
            </a:r>
            <a:r>
              <a:rPr lang="pl-PL" sz="900" err="1">
                <a:solidFill>
                  <a:schemeClr val="tx2"/>
                </a:solidFill>
                <a:latin typeface="Graphik" panose="020B0503030202060203" pitchFamily="34" charset="-18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igital</a:t>
            </a:r>
            <a:r>
              <a:rPr lang="pl-PL" sz="900">
                <a:solidFill>
                  <a:schemeClr val="tx2"/>
                </a:solidFill>
                <a:latin typeface="Graphik" panose="020B0503030202060203" pitchFamily="34" charset="-18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Poland</a:t>
            </a:r>
            <a:r>
              <a:rPr lang="pl-PL" sz="900">
                <a:solidFill>
                  <a:schemeClr val="tx2"/>
                </a:solidFill>
                <a:latin typeface="Graphik" panose="020B0503030202060203" pitchFamily="34" charset="-18"/>
              </a:rPr>
              <a:t>, </a:t>
            </a:r>
            <a:r>
              <a:rPr lang="pl-PL" sz="900">
                <a:solidFill>
                  <a:schemeClr val="tx2"/>
                </a:solidFill>
                <a:latin typeface="Graphik" panose="020B0503030202060203" pitchFamily="34" charset="-18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urostat</a:t>
            </a:r>
            <a:r>
              <a:rPr lang="pl-PL" sz="900">
                <a:solidFill>
                  <a:schemeClr val="tx2"/>
                </a:solidFill>
                <a:latin typeface="Graphik" panose="020B0503030202060203" pitchFamily="34" charset="-18"/>
              </a:rPr>
              <a:t>, </a:t>
            </a:r>
            <a:r>
              <a:rPr lang="pl-PL" sz="900">
                <a:solidFill>
                  <a:schemeClr val="tx2"/>
                </a:solidFill>
                <a:latin typeface="Graphik" panose="020B0503030202060203" pitchFamily="34" charset="-18"/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.gov.pl</a:t>
            </a:r>
            <a:r>
              <a:rPr lang="pl-PL" sz="900">
                <a:solidFill>
                  <a:schemeClr val="tx2"/>
                </a:solidFill>
                <a:latin typeface="Graphik" panose="020B0503030202060203" pitchFamily="34" charset="-18"/>
              </a:rPr>
              <a:t>, </a:t>
            </a:r>
            <a:r>
              <a:rPr lang="pl-PL" sz="900">
                <a:solidFill>
                  <a:schemeClr val="tx2"/>
                </a:solidFill>
                <a:latin typeface="Graphik" panose="020B0503030202060203" pitchFamily="34" charset="-18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akerRank</a:t>
            </a:r>
            <a:r>
              <a:rPr lang="pl-PL" sz="900">
                <a:solidFill>
                  <a:schemeClr val="tx2"/>
                </a:solidFill>
                <a:latin typeface="Graphik" panose="020B0503030202060203" pitchFamily="34" charset="-18"/>
              </a:rPr>
              <a:t>,   </a:t>
            </a:r>
            <a:endParaRPr lang="en-US" sz="900">
              <a:solidFill>
                <a:schemeClr val="tx2"/>
              </a:solidFill>
              <a:latin typeface="Graphik" panose="020B0503030202060203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198159977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5F0E87-F44A-2416-18A9-8A702ACDAF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Rectangle 364">
            <a:extLst>
              <a:ext uri="{FF2B5EF4-FFF2-40B4-BE49-F238E27FC236}">
                <a16:creationId xmlns:a16="http://schemas.microsoft.com/office/drawing/2014/main" id="{53775F9F-D46B-1629-7F42-38C58ACABD5B}"/>
              </a:ext>
            </a:extLst>
          </p:cNvPr>
          <p:cNvSpPr/>
          <p:nvPr/>
        </p:nvSpPr>
        <p:spPr>
          <a:xfrm>
            <a:off x="1299653" y="6858000"/>
            <a:ext cx="4599870" cy="32133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49A30F9-4D6D-7DF5-9205-934BAFE404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49A30F9-4D6D-7DF5-9205-934BAFE404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BCE96F07-37CC-9DF4-2052-F40D682018D3}"/>
              </a:ext>
            </a:extLst>
          </p:cNvPr>
          <p:cNvSpPr txBox="1">
            <a:spLocks/>
          </p:cNvSpPr>
          <p:nvPr/>
        </p:nvSpPr>
        <p:spPr>
          <a:xfrm>
            <a:off x="3422452" y="7257542"/>
            <a:ext cx="2409783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I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nsultants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/>
                <a:ea typeface="+mn-ea"/>
                <a:cs typeface="+mn-cs"/>
              </a:rPr>
              <a:t>in nearshore/offshore locations</a:t>
            </a:r>
            <a:endParaRPr kumimoji="0" lang="pl-PL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0AC5C552-892F-4183-7483-0520787394BA}"/>
              </a:ext>
            </a:extLst>
          </p:cNvPr>
          <p:cNvSpPr txBox="1">
            <a:spLocks/>
          </p:cNvSpPr>
          <p:nvPr/>
        </p:nvSpPr>
        <p:spPr>
          <a:xfrm>
            <a:off x="2258564" y="7251350"/>
            <a:ext cx="1393371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60</a:t>
            </a:r>
            <a:r>
              <a:rPr kumimoji="0" lang="pl-PL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0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+</a:t>
            </a:r>
          </a:p>
        </p:txBody>
      </p:sp>
      <p:sp>
        <p:nvSpPr>
          <p:cNvPr id="73" name="Text Placeholder 9">
            <a:extLst>
              <a:ext uri="{FF2B5EF4-FFF2-40B4-BE49-F238E27FC236}">
                <a16:creationId xmlns:a16="http://schemas.microsoft.com/office/drawing/2014/main" id="{03228311-60BD-6A7E-CF0F-D4873CF9AA76}"/>
              </a:ext>
            </a:extLst>
          </p:cNvPr>
          <p:cNvSpPr txBox="1">
            <a:spLocks/>
          </p:cNvSpPr>
          <p:nvPr/>
        </p:nvSpPr>
        <p:spPr>
          <a:xfrm>
            <a:off x="1538277" y="8165979"/>
            <a:ext cx="3931064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lping with: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285" name="Group 26">
            <a:extLst>
              <a:ext uri="{FF2B5EF4-FFF2-40B4-BE49-F238E27FC236}">
                <a16:creationId xmlns:a16="http://schemas.microsoft.com/office/drawing/2014/main" id="{824F410D-3208-B1E2-2CC3-A45549B5E9B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575451" y="7054934"/>
            <a:ext cx="761527" cy="689879"/>
            <a:chOff x="3614" y="1720"/>
            <a:chExt cx="454" cy="385"/>
          </a:xfrm>
          <a:solidFill>
            <a:schemeClr val="tx1">
              <a:lumMod val="95000"/>
              <a:lumOff val="5000"/>
            </a:schemeClr>
          </a:solidFill>
        </p:grpSpPr>
        <p:sp>
          <p:nvSpPr>
            <p:cNvPr id="286" name="Freeform 27">
              <a:extLst>
                <a:ext uri="{FF2B5EF4-FFF2-40B4-BE49-F238E27FC236}">
                  <a16:creationId xmlns:a16="http://schemas.microsoft.com/office/drawing/2014/main" id="{0C939663-8079-8572-DB5F-87B6A1FBB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" y="1720"/>
              <a:ext cx="142" cy="189"/>
            </a:xfrm>
            <a:custGeom>
              <a:avLst/>
              <a:gdLst>
                <a:gd name="T0" fmla="*/ 10 w 60"/>
                <a:gd name="T1" fmla="*/ 51 h 80"/>
                <a:gd name="T2" fmla="*/ 14 w 60"/>
                <a:gd name="T3" fmla="*/ 64 h 80"/>
                <a:gd name="T4" fmla="*/ 14 w 60"/>
                <a:gd name="T5" fmla="*/ 72 h 80"/>
                <a:gd name="T6" fmla="*/ 30 w 60"/>
                <a:gd name="T7" fmla="*/ 80 h 80"/>
                <a:gd name="T8" fmla="*/ 46 w 60"/>
                <a:gd name="T9" fmla="*/ 72 h 80"/>
                <a:gd name="T10" fmla="*/ 46 w 60"/>
                <a:gd name="T11" fmla="*/ 64 h 80"/>
                <a:gd name="T12" fmla="*/ 50 w 60"/>
                <a:gd name="T13" fmla="*/ 51 h 80"/>
                <a:gd name="T14" fmla="*/ 55 w 60"/>
                <a:gd name="T15" fmla="*/ 50 h 80"/>
                <a:gd name="T16" fmla="*/ 58 w 60"/>
                <a:gd name="T17" fmla="*/ 36 h 80"/>
                <a:gd name="T18" fmla="*/ 54 w 60"/>
                <a:gd name="T19" fmla="*/ 34 h 80"/>
                <a:gd name="T20" fmla="*/ 54 w 60"/>
                <a:gd name="T21" fmla="*/ 21 h 80"/>
                <a:gd name="T22" fmla="*/ 45 w 60"/>
                <a:gd name="T23" fmla="*/ 8 h 80"/>
                <a:gd name="T24" fmla="*/ 30 w 60"/>
                <a:gd name="T25" fmla="*/ 0 h 80"/>
                <a:gd name="T26" fmla="*/ 6 w 60"/>
                <a:gd name="T27" fmla="*/ 20 h 80"/>
                <a:gd name="T28" fmla="*/ 6 w 60"/>
                <a:gd name="T29" fmla="*/ 34 h 80"/>
                <a:gd name="T30" fmla="*/ 2 w 60"/>
                <a:gd name="T31" fmla="*/ 36 h 80"/>
                <a:gd name="T32" fmla="*/ 5 w 60"/>
                <a:gd name="T33" fmla="*/ 50 h 80"/>
                <a:gd name="T34" fmla="*/ 10 w 60"/>
                <a:gd name="T35" fmla="*/ 5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" h="80">
                  <a:moveTo>
                    <a:pt x="10" y="51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30" y="80"/>
                    <a:pt x="30" y="80"/>
                    <a:pt x="30" y="80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1"/>
                    <a:pt x="53" y="51"/>
                    <a:pt x="55" y="50"/>
                  </a:cubicBezTo>
                  <a:cubicBezTo>
                    <a:pt x="58" y="47"/>
                    <a:pt x="60" y="40"/>
                    <a:pt x="58" y="36"/>
                  </a:cubicBezTo>
                  <a:cubicBezTo>
                    <a:pt x="57" y="33"/>
                    <a:pt x="54" y="34"/>
                    <a:pt x="54" y="34"/>
                  </a:cubicBezTo>
                  <a:cubicBezTo>
                    <a:pt x="54" y="34"/>
                    <a:pt x="54" y="28"/>
                    <a:pt x="54" y="21"/>
                  </a:cubicBezTo>
                  <a:cubicBezTo>
                    <a:pt x="54" y="13"/>
                    <a:pt x="52" y="8"/>
                    <a:pt x="45" y="8"/>
                  </a:cubicBezTo>
                  <a:cubicBezTo>
                    <a:pt x="43" y="3"/>
                    <a:pt x="37" y="0"/>
                    <a:pt x="30" y="0"/>
                  </a:cubicBezTo>
                  <a:cubicBezTo>
                    <a:pt x="15" y="0"/>
                    <a:pt x="6" y="9"/>
                    <a:pt x="6" y="20"/>
                  </a:cubicBezTo>
                  <a:cubicBezTo>
                    <a:pt x="6" y="27"/>
                    <a:pt x="6" y="34"/>
                    <a:pt x="6" y="34"/>
                  </a:cubicBezTo>
                  <a:cubicBezTo>
                    <a:pt x="6" y="34"/>
                    <a:pt x="3" y="33"/>
                    <a:pt x="2" y="36"/>
                  </a:cubicBezTo>
                  <a:cubicBezTo>
                    <a:pt x="0" y="40"/>
                    <a:pt x="2" y="47"/>
                    <a:pt x="5" y="50"/>
                  </a:cubicBezTo>
                  <a:cubicBezTo>
                    <a:pt x="7" y="51"/>
                    <a:pt x="10" y="51"/>
                    <a:pt x="10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37F06CAC-E52F-5A1D-3D1A-82283DB0EA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4" y="1767"/>
              <a:ext cx="454" cy="322"/>
            </a:xfrm>
            <a:custGeom>
              <a:avLst/>
              <a:gdLst>
                <a:gd name="T0" fmla="*/ 72 w 192"/>
                <a:gd name="T1" fmla="*/ 61 h 136"/>
                <a:gd name="T2" fmla="*/ 62 w 192"/>
                <a:gd name="T3" fmla="*/ 54 h 136"/>
                <a:gd name="T4" fmla="*/ 120 w 192"/>
                <a:gd name="T5" fmla="*/ 61 h 136"/>
                <a:gd name="T6" fmla="*/ 128 w 192"/>
                <a:gd name="T7" fmla="*/ 56 h 136"/>
                <a:gd name="T8" fmla="*/ 120 w 192"/>
                <a:gd name="T9" fmla="*/ 61 h 136"/>
                <a:gd name="T10" fmla="*/ 44 w 192"/>
                <a:gd name="T11" fmla="*/ 63 h 136"/>
                <a:gd name="T12" fmla="*/ 44 w 192"/>
                <a:gd name="T13" fmla="*/ 70 h 136"/>
                <a:gd name="T14" fmla="*/ 51 w 192"/>
                <a:gd name="T15" fmla="*/ 69 h 136"/>
                <a:gd name="T16" fmla="*/ 52 w 192"/>
                <a:gd name="T17" fmla="*/ 63 h 136"/>
                <a:gd name="T18" fmla="*/ 166 w 192"/>
                <a:gd name="T19" fmla="*/ 46 h 136"/>
                <a:gd name="T20" fmla="*/ 144 w 192"/>
                <a:gd name="T21" fmla="*/ 0 h 136"/>
                <a:gd name="T22" fmla="*/ 128 w 192"/>
                <a:gd name="T23" fmla="*/ 21 h 136"/>
                <a:gd name="T24" fmla="*/ 126 w 192"/>
                <a:gd name="T25" fmla="*/ 48 h 136"/>
                <a:gd name="T26" fmla="*/ 133 w 192"/>
                <a:gd name="T27" fmla="*/ 52 h 136"/>
                <a:gd name="T28" fmla="*/ 146 w 192"/>
                <a:gd name="T29" fmla="*/ 70 h 136"/>
                <a:gd name="T30" fmla="*/ 166 w 192"/>
                <a:gd name="T31" fmla="*/ 46 h 136"/>
                <a:gd name="T32" fmla="*/ 36 w 192"/>
                <a:gd name="T33" fmla="*/ 44 h 136"/>
                <a:gd name="T34" fmla="*/ 48 w 192"/>
                <a:gd name="T35" fmla="*/ 56 h 136"/>
                <a:gd name="T36" fmla="*/ 60 w 192"/>
                <a:gd name="T37" fmla="*/ 44 h 136"/>
                <a:gd name="T38" fmla="*/ 61 w 192"/>
                <a:gd name="T39" fmla="*/ 24 h 136"/>
                <a:gd name="T40" fmla="*/ 64 w 192"/>
                <a:gd name="T41" fmla="*/ 7 h 136"/>
                <a:gd name="T42" fmla="*/ 48 w 192"/>
                <a:gd name="T43" fmla="*/ 0 h 136"/>
                <a:gd name="T44" fmla="*/ 32 w 192"/>
                <a:gd name="T45" fmla="*/ 24 h 136"/>
                <a:gd name="T46" fmla="*/ 32 w 192"/>
                <a:gd name="T47" fmla="*/ 35 h 136"/>
                <a:gd name="T48" fmla="*/ 8 w 192"/>
                <a:gd name="T49" fmla="*/ 63 h 136"/>
                <a:gd name="T50" fmla="*/ 20 w 192"/>
                <a:gd name="T51" fmla="*/ 136 h 136"/>
                <a:gd name="T52" fmla="*/ 34 w 192"/>
                <a:gd name="T53" fmla="*/ 76 h 136"/>
                <a:gd name="T54" fmla="*/ 34 w 192"/>
                <a:gd name="T55" fmla="*/ 54 h 136"/>
                <a:gd name="T56" fmla="*/ 192 w 192"/>
                <a:gd name="T57" fmla="*/ 136 h 136"/>
                <a:gd name="T58" fmla="*/ 160 w 192"/>
                <a:gd name="T59" fmla="*/ 56 h 136"/>
                <a:gd name="T60" fmla="*/ 154 w 192"/>
                <a:gd name="T61" fmla="*/ 72 h 136"/>
                <a:gd name="T62" fmla="*/ 157 w 192"/>
                <a:gd name="T63" fmla="*/ 76 h 136"/>
                <a:gd name="T64" fmla="*/ 158 w 192"/>
                <a:gd name="T65" fmla="*/ 76 h 136"/>
                <a:gd name="T66" fmla="*/ 172 w 192"/>
                <a:gd name="T67" fmla="*/ 129 h 136"/>
                <a:gd name="T68" fmla="*/ 192 w 192"/>
                <a:gd name="T69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136">
                  <a:moveTo>
                    <a:pt x="58" y="66"/>
                  </a:moveTo>
                  <a:cubicBezTo>
                    <a:pt x="62" y="65"/>
                    <a:pt x="67" y="63"/>
                    <a:pt x="72" y="61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67" y="55"/>
                    <a:pt x="62" y="54"/>
                    <a:pt x="62" y="54"/>
                  </a:cubicBezTo>
                  <a:lnTo>
                    <a:pt x="58" y="66"/>
                  </a:lnTo>
                  <a:close/>
                  <a:moveTo>
                    <a:pt x="120" y="61"/>
                  </a:moveTo>
                  <a:cubicBezTo>
                    <a:pt x="121" y="62"/>
                    <a:pt x="123" y="62"/>
                    <a:pt x="124" y="63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56"/>
                    <a:pt x="124" y="57"/>
                    <a:pt x="120" y="59"/>
                  </a:cubicBezTo>
                  <a:lnTo>
                    <a:pt x="120" y="61"/>
                  </a:lnTo>
                  <a:close/>
                  <a:moveTo>
                    <a:pt x="48" y="59"/>
                  </a:moveTo>
                  <a:cubicBezTo>
                    <a:pt x="44" y="63"/>
                    <a:pt x="44" y="63"/>
                    <a:pt x="44" y="63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6" y="70"/>
                    <a:pt x="48" y="70"/>
                    <a:pt x="51" y="69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2" y="63"/>
                    <a:pt x="52" y="63"/>
                    <a:pt x="52" y="63"/>
                  </a:cubicBezTo>
                  <a:lnTo>
                    <a:pt x="48" y="59"/>
                  </a:lnTo>
                  <a:close/>
                  <a:moveTo>
                    <a:pt x="166" y="46"/>
                  </a:moveTo>
                  <a:cubicBezTo>
                    <a:pt x="161" y="39"/>
                    <a:pt x="162" y="26"/>
                    <a:pt x="162" y="26"/>
                  </a:cubicBezTo>
                  <a:cubicBezTo>
                    <a:pt x="162" y="15"/>
                    <a:pt x="162" y="0"/>
                    <a:pt x="144" y="0"/>
                  </a:cubicBezTo>
                  <a:cubicBezTo>
                    <a:pt x="135" y="0"/>
                    <a:pt x="130" y="4"/>
                    <a:pt x="128" y="9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129" y="22"/>
                    <a:pt x="130" y="23"/>
                    <a:pt x="131" y="24"/>
                  </a:cubicBezTo>
                  <a:cubicBezTo>
                    <a:pt x="135" y="32"/>
                    <a:pt x="132" y="43"/>
                    <a:pt x="126" y="48"/>
                  </a:cubicBezTo>
                  <a:cubicBezTo>
                    <a:pt x="126" y="48"/>
                    <a:pt x="126" y="48"/>
                    <a:pt x="126" y="48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41" y="69"/>
                    <a:pt x="141" y="69"/>
                    <a:pt x="141" y="69"/>
                  </a:cubicBezTo>
                  <a:cubicBezTo>
                    <a:pt x="143" y="69"/>
                    <a:pt x="145" y="70"/>
                    <a:pt x="146" y="70"/>
                  </a:cubicBezTo>
                  <a:cubicBezTo>
                    <a:pt x="155" y="52"/>
                    <a:pt x="155" y="52"/>
                    <a:pt x="155" y="52"/>
                  </a:cubicBezTo>
                  <a:lnTo>
                    <a:pt x="166" y="46"/>
                  </a:lnTo>
                  <a:close/>
                  <a:moveTo>
                    <a:pt x="34" y="36"/>
                  </a:moveTo>
                  <a:cubicBezTo>
                    <a:pt x="36" y="44"/>
                    <a:pt x="36" y="44"/>
                    <a:pt x="36" y="44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44"/>
                    <a:pt x="60" y="44"/>
                    <a:pt x="60" y="44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59" y="35"/>
                    <a:pt x="58" y="29"/>
                    <a:pt x="61" y="24"/>
                  </a:cubicBezTo>
                  <a:cubicBezTo>
                    <a:pt x="62" y="23"/>
                    <a:pt x="63" y="22"/>
                    <a:pt x="64" y="21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3" y="6"/>
                    <a:pt x="61" y="5"/>
                    <a:pt x="59" y="5"/>
                  </a:cubicBezTo>
                  <a:cubicBezTo>
                    <a:pt x="57" y="1"/>
                    <a:pt x="53" y="0"/>
                    <a:pt x="48" y="0"/>
                  </a:cubicBezTo>
                  <a:cubicBezTo>
                    <a:pt x="37" y="0"/>
                    <a:pt x="32" y="6"/>
                    <a:pt x="32" y="14"/>
                  </a:cubicBezTo>
                  <a:cubicBezTo>
                    <a:pt x="32" y="19"/>
                    <a:pt x="32" y="24"/>
                    <a:pt x="32" y="24"/>
                  </a:cubicBezTo>
                  <a:cubicBezTo>
                    <a:pt x="32" y="24"/>
                    <a:pt x="31" y="24"/>
                    <a:pt x="30" y="26"/>
                  </a:cubicBezTo>
                  <a:cubicBezTo>
                    <a:pt x="28" y="28"/>
                    <a:pt x="29" y="33"/>
                    <a:pt x="32" y="35"/>
                  </a:cubicBezTo>
                  <a:cubicBezTo>
                    <a:pt x="33" y="36"/>
                    <a:pt x="34" y="36"/>
                    <a:pt x="34" y="36"/>
                  </a:cubicBezTo>
                  <a:close/>
                  <a:moveTo>
                    <a:pt x="8" y="63"/>
                  </a:moveTo>
                  <a:cubicBezTo>
                    <a:pt x="5" y="66"/>
                    <a:pt x="0" y="94"/>
                    <a:pt x="0" y="136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0" y="128"/>
                    <a:pt x="20" y="128"/>
                    <a:pt x="20" y="128"/>
                  </a:cubicBezTo>
                  <a:cubicBezTo>
                    <a:pt x="22" y="103"/>
                    <a:pt x="25" y="83"/>
                    <a:pt x="34" y="76"/>
                  </a:cubicBezTo>
                  <a:cubicBezTo>
                    <a:pt x="35" y="75"/>
                    <a:pt x="36" y="75"/>
                    <a:pt x="40" y="73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10" y="61"/>
                    <a:pt x="8" y="63"/>
                  </a:cubicBezTo>
                  <a:close/>
                  <a:moveTo>
                    <a:pt x="192" y="136"/>
                  </a:moveTo>
                  <a:cubicBezTo>
                    <a:pt x="192" y="94"/>
                    <a:pt x="187" y="69"/>
                    <a:pt x="184" y="66"/>
                  </a:cubicBezTo>
                  <a:cubicBezTo>
                    <a:pt x="182" y="65"/>
                    <a:pt x="160" y="56"/>
                    <a:pt x="160" y="56"/>
                  </a:cubicBezTo>
                  <a:cubicBezTo>
                    <a:pt x="170" y="72"/>
                    <a:pt x="170" y="72"/>
                    <a:pt x="170" y="72"/>
                  </a:cubicBezTo>
                  <a:cubicBezTo>
                    <a:pt x="154" y="72"/>
                    <a:pt x="154" y="72"/>
                    <a:pt x="154" y="72"/>
                  </a:cubicBezTo>
                  <a:cubicBezTo>
                    <a:pt x="153" y="73"/>
                    <a:pt x="153" y="73"/>
                    <a:pt x="153" y="73"/>
                  </a:cubicBezTo>
                  <a:cubicBezTo>
                    <a:pt x="156" y="75"/>
                    <a:pt x="157" y="75"/>
                    <a:pt x="157" y="76"/>
                  </a:cubicBezTo>
                  <a:cubicBezTo>
                    <a:pt x="157" y="76"/>
                    <a:pt x="158" y="76"/>
                    <a:pt x="158" y="76"/>
                  </a:cubicBezTo>
                  <a:cubicBezTo>
                    <a:pt x="158" y="76"/>
                    <a:pt x="158" y="76"/>
                    <a:pt x="158" y="76"/>
                  </a:cubicBezTo>
                  <a:cubicBezTo>
                    <a:pt x="158" y="76"/>
                    <a:pt x="158" y="76"/>
                    <a:pt x="158" y="76"/>
                  </a:cubicBezTo>
                  <a:cubicBezTo>
                    <a:pt x="167" y="83"/>
                    <a:pt x="170" y="105"/>
                    <a:pt x="172" y="129"/>
                  </a:cubicBezTo>
                  <a:cubicBezTo>
                    <a:pt x="172" y="136"/>
                    <a:pt x="172" y="136"/>
                    <a:pt x="172" y="136"/>
                  </a:cubicBezTo>
                  <a:lnTo>
                    <a:pt x="192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  <p:sp>
          <p:nvSpPr>
            <p:cNvPr id="288" name="Freeform 28">
              <a:extLst>
                <a:ext uri="{FF2B5EF4-FFF2-40B4-BE49-F238E27FC236}">
                  <a16:creationId xmlns:a16="http://schemas.microsoft.com/office/drawing/2014/main" id="{D9331C92-B91D-88EC-3717-EB7B256F0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1" y="1890"/>
              <a:ext cx="321" cy="215"/>
            </a:xfrm>
            <a:custGeom>
              <a:avLst/>
              <a:gdLst>
                <a:gd name="T0" fmla="*/ 125 w 136"/>
                <a:gd name="T1" fmla="*/ 13 h 91"/>
                <a:gd name="T2" fmla="*/ 88 w 136"/>
                <a:gd name="T3" fmla="*/ 0 h 91"/>
                <a:gd name="T4" fmla="*/ 76 w 136"/>
                <a:gd name="T5" fmla="*/ 49 h 91"/>
                <a:gd name="T6" fmla="*/ 76 w 136"/>
                <a:gd name="T7" fmla="*/ 29 h 91"/>
                <a:gd name="T8" fmla="*/ 70 w 136"/>
                <a:gd name="T9" fmla="*/ 19 h 91"/>
                <a:gd name="T10" fmla="*/ 76 w 136"/>
                <a:gd name="T11" fmla="*/ 13 h 91"/>
                <a:gd name="T12" fmla="*/ 68 w 136"/>
                <a:gd name="T13" fmla="*/ 5 h 91"/>
                <a:gd name="T14" fmla="*/ 60 w 136"/>
                <a:gd name="T15" fmla="*/ 13 h 91"/>
                <a:gd name="T16" fmla="*/ 66 w 136"/>
                <a:gd name="T17" fmla="*/ 19 h 91"/>
                <a:gd name="T18" fmla="*/ 60 w 136"/>
                <a:gd name="T19" fmla="*/ 29 h 91"/>
                <a:gd name="T20" fmla="*/ 60 w 136"/>
                <a:gd name="T21" fmla="*/ 49 h 91"/>
                <a:gd name="T22" fmla="*/ 48 w 136"/>
                <a:gd name="T23" fmla="*/ 0 h 91"/>
                <a:gd name="T24" fmla="*/ 11 w 136"/>
                <a:gd name="T25" fmla="*/ 13 h 91"/>
                <a:gd name="T26" fmla="*/ 0 w 136"/>
                <a:gd name="T27" fmla="*/ 91 h 91"/>
                <a:gd name="T28" fmla="*/ 136 w 136"/>
                <a:gd name="T29" fmla="*/ 91 h 91"/>
                <a:gd name="T30" fmla="*/ 125 w 136"/>
                <a:gd name="T31" fmla="*/ 1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6" h="91">
                  <a:moveTo>
                    <a:pt x="125" y="13"/>
                  </a:moveTo>
                  <a:cubicBezTo>
                    <a:pt x="121" y="10"/>
                    <a:pt x="88" y="0"/>
                    <a:pt x="88" y="0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49"/>
                    <a:pt x="60" y="49"/>
                    <a:pt x="60" y="49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15" y="10"/>
                    <a:pt x="11" y="13"/>
                  </a:cubicBezTo>
                  <a:cubicBezTo>
                    <a:pt x="7" y="17"/>
                    <a:pt x="0" y="35"/>
                    <a:pt x="0" y="91"/>
                  </a:cubicBezTo>
                  <a:cubicBezTo>
                    <a:pt x="136" y="91"/>
                    <a:pt x="136" y="91"/>
                    <a:pt x="136" y="91"/>
                  </a:cubicBezTo>
                  <a:cubicBezTo>
                    <a:pt x="136" y="35"/>
                    <a:pt x="129" y="17"/>
                    <a:pt x="12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</p:grpSp>
      <p:pic>
        <p:nvPicPr>
          <p:cNvPr id="290" name="Graphic 289" descr="Scientific Thought outline">
            <a:extLst>
              <a:ext uri="{FF2B5EF4-FFF2-40B4-BE49-F238E27FC236}">
                <a16:creationId xmlns:a16="http://schemas.microsoft.com/office/drawing/2014/main" id="{D817DC42-C758-96A9-F3E0-1FDB37502BD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989" y="9259746"/>
            <a:ext cx="473170" cy="473170"/>
          </a:xfrm>
          <a:prstGeom prst="rect">
            <a:avLst/>
          </a:prstGeom>
        </p:spPr>
      </p:pic>
      <p:pic>
        <p:nvPicPr>
          <p:cNvPr id="292" name="Graphic 291" descr="Coins outline">
            <a:extLst>
              <a:ext uri="{FF2B5EF4-FFF2-40B4-BE49-F238E27FC236}">
                <a16:creationId xmlns:a16="http://schemas.microsoft.com/office/drawing/2014/main" id="{F9B5EBCF-FAF3-4C28-332E-E393A89980C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09954" y="8429616"/>
            <a:ext cx="473170" cy="473170"/>
          </a:xfrm>
          <a:prstGeom prst="rect">
            <a:avLst/>
          </a:prstGeom>
        </p:spPr>
      </p:pic>
      <p:grpSp>
        <p:nvGrpSpPr>
          <p:cNvPr id="322" name="Complexit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0F4FBBF-E4F0-22F4-1B45-374F8B40A871}"/>
              </a:ext>
            </a:extLst>
          </p:cNvPr>
          <p:cNvGrpSpPr>
            <a:grpSpLocks noChangeAspect="1"/>
          </p:cNvGrpSpPr>
          <p:nvPr/>
        </p:nvGrpSpPr>
        <p:grpSpPr>
          <a:xfrm>
            <a:off x="1588728" y="9287116"/>
            <a:ext cx="401358" cy="402156"/>
            <a:chOff x="6367463" y="1652588"/>
            <a:chExt cx="796925" cy="798513"/>
          </a:xfrm>
          <a:noFill/>
        </p:grpSpPr>
        <p:sp>
          <p:nvSpPr>
            <p:cNvPr id="323" name="Oval 270">
              <a:extLst>
                <a:ext uri="{FF2B5EF4-FFF2-40B4-BE49-F238E27FC236}">
                  <a16:creationId xmlns:a16="http://schemas.microsoft.com/office/drawing/2014/main" id="{B66110CB-DC86-3093-7166-4E3DF38B61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16573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4" name="Oval 271">
              <a:extLst>
                <a:ext uri="{FF2B5EF4-FFF2-40B4-BE49-F238E27FC236}">
                  <a16:creationId xmlns:a16="http://schemas.microsoft.com/office/drawing/2014/main" id="{2DCE9559-F169-6C5F-67F7-BD7D7001D2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18859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5" name="Oval 272">
              <a:extLst>
                <a:ext uri="{FF2B5EF4-FFF2-40B4-BE49-F238E27FC236}">
                  <a16:creationId xmlns:a16="http://schemas.microsoft.com/office/drawing/2014/main" id="{9B484B0A-7FF8-9BAA-1B0E-E239B10077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21145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6" name="Oval 273">
              <a:extLst>
                <a:ext uri="{FF2B5EF4-FFF2-40B4-BE49-F238E27FC236}">
                  <a16:creationId xmlns:a16="http://schemas.microsoft.com/office/drawing/2014/main" id="{441C709B-8A6C-0862-827E-AE9C72C9B0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2116138"/>
              <a:ext cx="100013" cy="100013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7" name="Oval 274">
              <a:extLst>
                <a:ext uri="{FF2B5EF4-FFF2-40B4-BE49-F238E27FC236}">
                  <a16:creationId xmlns:a16="http://schemas.microsoft.com/office/drawing/2014/main" id="{A4B326DF-2CC6-B317-C31F-7B2608B5CF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2344738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8" name="Oval 275">
              <a:extLst>
                <a:ext uri="{FF2B5EF4-FFF2-40B4-BE49-F238E27FC236}">
                  <a16:creationId xmlns:a16="http://schemas.microsoft.com/office/drawing/2014/main" id="{BC9D09A7-4F9B-AC39-0FEF-0905745EA9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1885951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9" name="Oval 276">
              <a:extLst>
                <a:ext uri="{FF2B5EF4-FFF2-40B4-BE49-F238E27FC236}">
                  <a16:creationId xmlns:a16="http://schemas.microsoft.com/office/drawing/2014/main" id="{34474D63-A001-313D-EEC7-AF3E597B51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18859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0" name="Oval 277">
              <a:extLst>
                <a:ext uri="{FF2B5EF4-FFF2-40B4-BE49-F238E27FC236}">
                  <a16:creationId xmlns:a16="http://schemas.microsoft.com/office/drawing/2014/main" id="{904BEE58-5E2C-1361-20CD-2AF66703AA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2344738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1" name="Oval 278">
              <a:extLst>
                <a:ext uri="{FF2B5EF4-FFF2-40B4-BE49-F238E27FC236}">
                  <a16:creationId xmlns:a16="http://schemas.microsoft.com/office/drawing/2014/main" id="{768A8DBB-E091-FDFE-E540-3313F59702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1657351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Oval 279">
              <a:extLst>
                <a:ext uri="{FF2B5EF4-FFF2-40B4-BE49-F238E27FC236}">
                  <a16:creationId xmlns:a16="http://schemas.microsoft.com/office/drawing/2014/main" id="{F378FC0F-2AFB-D805-4C58-5CC09FEE50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16573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Oval 280">
              <a:extLst>
                <a:ext uri="{FF2B5EF4-FFF2-40B4-BE49-F238E27FC236}">
                  <a16:creationId xmlns:a16="http://schemas.microsoft.com/office/drawing/2014/main" id="{F3532D69-10AC-E709-9B5A-4EC97DCD62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2116138"/>
              <a:ext cx="100013" cy="100013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4" name="Oval 281">
              <a:extLst>
                <a:ext uri="{FF2B5EF4-FFF2-40B4-BE49-F238E27FC236}">
                  <a16:creationId xmlns:a16="http://schemas.microsoft.com/office/drawing/2014/main" id="{838E3066-6EDC-04CB-EBB3-78E72C6B3D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2344738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5" name="Freeform 282">
              <a:extLst>
                <a:ext uri="{FF2B5EF4-FFF2-40B4-BE49-F238E27FC236}">
                  <a16:creationId xmlns:a16="http://schemas.microsoft.com/office/drawing/2014/main" id="{E542670C-D748-FB26-24F2-716BF0A82B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1652588"/>
              <a:ext cx="112713" cy="111125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6"/>
                    <a:pt x="17" y="83"/>
                  </a:cubicBezTo>
                  <a:cubicBezTo>
                    <a:pt x="17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8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6" name="Freeform 283">
              <a:extLst>
                <a:ext uri="{FF2B5EF4-FFF2-40B4-BE49-F238E27FC236}">
                  <a16:creationId xmlns:a16="http://schemas.microsoft.com/office/drawing/2014/main" id="{69F3D295-ED95-927E-B13F-AC3F01C70A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1652588"/>
              <a:ext cx="112713" cy="111125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8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7" name="Freeform 284">
              <a:extLst>
                <a:ext uri="{FF2B5EF4-FFF2-40B4-BE49-F238E27FC236}">
                  <a16:creationId xmlns:a16="http://schemas.microsoft.com/office/drawing/2014/main" id="{92CBAEDF-EDD7-FFE5-D785-CA417DA5AD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1652588"/>
              <a:ext cx="111125" cy="111125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2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8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" name="Freeform 285">
              <a:extLst>
                <a:ext uri="{FF2B5EF4-FFF2-40B4-BE49-F238E27FC236}">
                  <a16:creationId xmlns:a16="http://schemas.microsoft.com/office/drawing/2014/main" id="{E7B17C68-3D0A-5098-4F67-D250AD55E1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18811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6"/>
                    <a:pt x="17" y="83"/>
                  </a:cubicBezTo>
                  <a:cubicBezTo>
                    <a:pt x="17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9" name="Freeform 286">
              <a:extLst>
                <a:ext uri="{FF2B5EF4-FFF2-40B4-BE49-F238E27FC236}">
                  <a16:creationId xmlns:a16="http://schemas.microsoft.com/office/drawing/2014/main" id="{5E6ECD7D-5050-260A-4AF1-361C1D4893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18811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0" name="Freeform 287">
              <a:extLst>
                <a:ext uri="{FF2B5EF4-FFF2-40B4-BE49-F238E27FC236}">
                  <a16:creationId xmlns:a16="http://schemas.microsoft.com/office/drawing/2014/main" id="{F530C3A1-E086-B711-5890-D85EB272F6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18811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2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1" name="Freeform 288">
              <a:extLst>
                <a:ext uri="{FF2B5EF4-FFF2-40B4-BE49-F238E27FC236}">
                  <a16:creationId xmlns:a16="http://schemas.microsoft.com/office/drawing/2014/main" id="{FDD58EF4-3C67-7A88-BD1E-609827FF28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21097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7"/>
                    <a:pt x="17" y="83"/>
                  </a:cubicBezTo>
                  <a:cubicBezTo>
                    <a:pt x="17" y="120"/>
                    <a:pt x="46" y="149"/>
                    <a:pt x="83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2" name="Freeform 289">
              <a:extLst>
                <a:ext uri="{FF2B5EF4-FFF2-40B4-BE49-F238E27FC236}">
                  <a16:creationId xmlns:a16="http://schemas.microsoft.com/office/drawing/2014/main" id="{7D6D7893-1BF2-257A-4550-53AEAFDBBE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21097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49"/>
                    <a:pt x="83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3" name="Freeform 290">
              <a:extLst>
                <a:ext uri="{FF2B5EF4-FFF2-40B4-BE49-F238E27FC236}">
                  <a16:creationId xmlns:a16="http://schemas.microsoft.com/office/drawing/2014/main" id="{49AA4C3F-A3A3-1D90-915B-4AC635842B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21097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49"/>
                    <a:pt x="82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4" name="Freeform 291">
              <a:extLst>
                <a:ext uri="{FF2B5EF4-FFF2-40B4-BE49-F238E27FC236}">
                  <a16:creationId xmlns:a16="http://schemas.microsoft.com/office/drawing/2014/main" id="{9D83E090-AF90-E7BB-47C5-9E903C0B7A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23383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50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7"/>
                    <a:pt x="17" y="83"/>
                  </a:cubicBezTo>
                  <a:cubicBezTo>
                    <a:pt x="17" y="120"/>
                    <a:pt x="46" y="150"/>
                    <a:pt x="83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29" y="0"/>
                    <a:pt x="166" y="38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5" name="Freeform 292">
              <a:extLst>
                <a:ext uri="{FF2B5EF4-FFF2-40B4-BE49-F238E27FC236}">
                  <a16:creationId xmlns:a16="http://schemas.microsoft.com/office/drawing/2014/main" id="{CAB711E9-8734-994F-173A-B18D9A028B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23383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50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50"/>
                    <a:pt x="83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28" y="0"/>
                    <a:pt x="166" y="38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6" name="Freeform 293">
              <a:extLst>
                <a:ext uri="{FF2B5EF4-FFF2-40B4-BE49-F238E27FC236}">
                  <a16:creationId xmlns:a16="http://schemas.microsoft.com/office/drawing/2014/main" id="{69D7AEC9-79F7-DAA7-5718-E74DA34FF1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23383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50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50"/>
                    <a:pt x="82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2" y="0"/>
                  </a:cubicBezTo>
                  <a:cubicBezTo>
                    <a:pt x="128" y="0"/>
                    <a:pt x="165" y="38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7" name="Rectangle 294">
              <a:extLst>
                <a:ext uri="{FF2B5EF4-FFF2-40B4-BE49-F238E27FC236}">
                  <a16:creationId xmlns:a16="http://schemas.microsoft.com/office/drawing/2014/main" id="{C1EA2160-E99B-8F05-2C62-B4A20AE982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6725" y="2160588"/>
              <a:ext cx="242888" cy="11113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8" name="Rectangle 295">
              <a:extLst>
                <a:ext uri="{FF2B5EF4-FFF2-40B4-BE49-F238E27FC236}">
                  <a16:creationId xmlns:a16="http://schemas.microsoft.com/office/drawing/2014/main" id="{8D9760FE-E377-C8EC-6D83-508EC2AD89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6725" y="1931988"/>
              <a:ext cx="242888" cy="11113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9" name="Freeform 296">
              <a:extLst>
                <a:ext uri="{FF2B5EF4-FFF2-40B4-BE49-F238E27FC236}">
                  <a16:creationId xmlns:a16="http://schemas.microsoft.com/office/drawing/2014/main" id="{7592B7E2-46F0-6FF4-F604-E402189B3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125" y="1957388"/>
              <a:ext cx="269875" cy="185738"/>
            </a:xfrm>
            <a:custGeom>
              <a:avLst/>
              <a:gdLst>
                <a:gd name="T0" fmla="*/ 4 w 170"/>
                <a:gd name="T1" fmla="*/ 117 h 117"/>
                <a:gd name="T2" fmla="*/ 0 w 170"/>
                <a:gd name="T3" fmla="*/ 111 h 117"/>
                <a:gd name="T4" fmla="*/ 166 w 170"/>
                <a:gd name="T5" fmla="*/ 0 h 117"/>
                <a:gd name="T6" fmla="*/ 170 w 170"/>
                <a:gd name="T7" fmla="*/ 6 h 117"/>
                <a:gd name="T8" fmla="*/ 4 w 170"/>
                <a:gd name="T9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117">
                  <a:moveTo>
                    <a:pt x="4" y="117"/>
                  </a:moveTo>
                  <a:lnTo>
                    <a:pt x="0" y="111"/>
                  </a:lnTo>
                  <a:lnTo>
                    <a:pt x="166" y="0"/>
                  </a:lnTo>
                  <a:lnTo>
                    <a:pt x="170" y="6"/>
                  </a:lnTo>
                  <a:lnTo>
                    <a:pt x="4" y="117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0" name="Freeform 297">
              <a:extLst>
                <a:ext uri="{FF2B5EF4-FFF2-40B4-BE49-F238E27FC236}">
                  <a16:creationId xmlns:a16="http://schemas.microsoft.com/office/drawing/2014/main" id="{E4298EB4-C640-5626-835B-EE54AA111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2713" y="1728788"/>
              <a:ext cx="268288" cy="184150"/>
            </a:xfrm>
            <a:custGeom>
              <a:avLst/>
              <a:gdLst>
                <a:gd name="T0" fmla="*/ 4 w 169"/>
                <a:gd name="T1" fmla="*/ 116 h 116"/>
                <a:gd name="T2" fmla="*/ 0 w 169"/>
                <a:gd name="T3" fmla="*/ 110 h 116"/>
                <a:gd name="T4" fmla="*/ 165 w 169"/>
                <a:gd name="T5" fmla="*/ 0 h 116"/>
                <a:gd name="T6" fmla="*/ 169 w 169"/>
                <a:gd name="T7" fmla="*/ 6 h 116"/>
                <a:gd name="T8" fmla="*/ 4 w 169"/>
                <a:gd name="T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116">
                  <a:moveTo>
                    <a:pt x="4" y="116"/>
                  </a:moveTo>
                  <a:lnTo>
                    <a:pt x="0" y="110"/>
                  </a:lnTo>
                  <a:lnTo>
                    <a:pt x="165" y="0"/>
                  </a:lnTo>
                  <a:lnTo>
                    <a:pt x="169" y="6"/>
                  </a:lnTo>
                  <a:lnTo>
                    <a:pt x="4" y="116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1" name="Rectangle 298">
              <a:extLst>
                <a:ext uri="{FF2B5EF4-FFF2-40B4-BE49-F238E27FC236}">
                  <a16:creationId xmlns:a16="http://schemas.microsoft.com/office/drawing/2014/main" id="{AF152F54-BBE0-7E25-81F4-321D75F460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3825" y="1701801"/>
              <a:ext cx="242888" cy="12700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2" name="Freeform 299">
              <a:extLst>
                <a:ext uri="{FF2B5EF4-FFF2-40B4-BE49-F238E27FC236}">
                  <a16:creationId xmlns:a16="http://schemas.microsoft.com/office/drawing/2014/main" id="{CAC421A5-35BA-358C-C582-A09FDFEA5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125" y="2189163"/>
              <a:ext cx="266700" cy="182563"/>
            </a:xfrm>
            <a:custGeom>
              <a:avLst/>
              <a:gdLst>
                <a:gd name="T0" fmla="*/ 164 w 168"/>
                <a:gd name="T1" fmla="*/ 115 h 115"/>
                <a:gd name="T2" fmla="*/ 0 w 168"/>
                <a:gd name="T3" fmla="*/ 6 h 115"/>
                <a:gd name="T4" fmla="*/ 4 w 168"/>
                <a:gd name="T5" fmla="*/ 0 h 115"/>
                <a:gd name="T6" fmla="*/ 168 w 168"/>
                <a:gd name="T7" fmla="*/ 109 h 115"/>
                <a:gd name="T8" fmla="*/ 164 w 168"/>
                <a:gd name="T9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115">
                  <a:moveTo>
                    <a:pt x="164" y="115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168" y="109"/>
                  </a:lnTo>
                  <a:lnTo>
                    <a:pt x="164" y="115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3" name="Rectangle 300">
              <a:extLst>
                <a:ext uri="{FF2B5EF4-FFF2-40B4-BE49-F238E27FC236}">
                  <a16:creationId xmlns:a16="http://schemas.microsoft.com/office/drawing/2014/main" id="{97F71E86-4649-8B60-0058-394C01DF31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4063" y="2216151"/>
              <a:ext cx="11113" cy="128588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4" name="Rectangle 301">
              <a:extLst>
                <a:ext uri="{FF2B5EF4-FFF2-40B4-BE49-F238E27FC236}">
                  <a16:creationId xmlns:a16="http://schemas.microsoft.com/office/drawing/2014/main" id="{486914BA-D71A-F064-AF87-8B4711AF2C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4063" y="1758951"/>
              <a:ext cx="11113" cy="127000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55" name="Text Placeholder 9">
            <a:extLst>
              <a:ext uri="{FF2B5EF4-FFF2-40B4-BE49-F238E27FC236}">
                <a16:creationId xmlns:a16="http://schemas.microsoft.com/office/drawing/2014/main" id="{B4868A00-FD35-158D-7620-C2B79966B7D6}"/>
              </a:ext>
            </a:extLst>
          </p:cNvPr>
          <p:cNvSpPr txBox="1">
            <a:spLocks/>
          </p:cNvSpPr>
          <p:nvPr/>
        </p:nvSpPr>
        <p:spPr>
          <a:xfrm>
            <a:off x="2221804" y="8595030"/>
            <a:ext cx="1595631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en AI scaling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6" name="Text Placeholder 9">
            <a:extLst>
              <a:ext uri="{FF2B5EF4-FFF2-40B4-BE49-F238E27FC236}">
                <a16:creationId xmlns:a16="http://schemas.microsoft.com/office/drawing/2014/main" id="{085C5F6D-4C4E-24BE-3168-4D274A9894DE}"/>
              </a:ext>
            </a:extLst>
          </p:cNvPr>
          <p:cNvSpPr txBox="1">
            <a:spLocks/>
          </p:cNvSpPr>
          <p:nvPr/>
        </p:nvSpPr>
        <p:spPr>
          <a:xfrm>
            <a:off x="4422458" y="8579240"/>
            <a:ext cx="2074602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monetizatio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7" name="Text Placeholder 9">
            <a:extLst>
              <a:ext uri="{FF2B5EF4-FFF2-40B4-BE49-F238E27FC236}">
                <a16:creationId xmlns:a16="http://schemas.microsoft.com/office/drawing/2014/main" id="{8419B8B6-8D07-4600-CD11-C6FE38EF528B}"/>
              </a:ext>
            </a:extLst>
          </p:cNvPr>
          <p:cNvSpPr txBox="1">
            <a:spLocks/>
          </p:cNvSpPr>
          <p:nvPr/>
        </p:nvSpPr>
        <p:spPr>
          <a:xfrm>
            <a:off x="2236406" y="9343656"/>
            <a:ext cx="1404274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led modelling</a:t>
            </a:r>
            <a:b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&amp; transformatio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8" name="Text Placeholder 9">
            <a:extLst>
              <a:ext uri="{FF2B5EF4-FFF2-40B4-BE49-F238E27FC236}">
                <a16:creationId xmlns:a16="http://schemas.microsoft.com/office/drawing/2014/main" id="{C93BCF78-7453-3F29-E034-45F3CF438CAB}"/>
              </a:ext>
            </a:extLst>
          </p:cNvPr>
          <p:cNvSpPr txBox="1">
            <a:spLocks/>
          </p:cNvSpPr>
          <p:nvPr/>
        </p:nvSpPr>
        <p:spPr>
          <a:xfrm>
            <a:off x="4399723" y="9257088"/>
            <a:ext cx="2182529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science</a:t>
            </a:r>
            <a:b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&amp; MLOp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6427361-AA98-8F40-1844-4C71A43B7012}"/>
              </a:ext>
            </a:extLst>
          </p:cNvPr>
          <p:cNvGrpSpPr>
            <a:grpSpLocks noChangeAspect="1"/>
          </p:cNvGrpSpPr>
          <p:nvPr/>
        </p:nvGrpSpPr>
        <p:grpSpPr>
          <a:xfrm>
            <a:off x="1581445" y="8466448"/>
            <a:ext cx="537346" cy="548260"/>
            <a:chOff x="10258820" y="2140818"/>
            <a:chExt cx="366798" cy="374248"/>
          </a:xfrm>
        </p:grpSpPr>
        <p:pic>
          <p:nvPicPr>
            <p:cNvPr id="5" name="Picture 15">
              <a:extLst>
                <a:ext uri="{FF2B5EF4-FFF2-40B4-BE49-F238E27FC236}">
                  <a16:creationId xmlns:a16="http://schemas.microsoft.com/office/drawing/2014/main" id="{73F26A83-BCED-6862-A4DD-50DB843E7D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58820" y="2140818"/>
              <a:ext cx="307574" cy="3075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AA2F19C1-59CE-2171-F32D-08AA1DCDB67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475107" y="2362873"/>
              <a:ext cx="150511" cy="152193"/>
              <a:chOff x="3482" y="1979"/>
              <a:chExt cx="358" cy="362"/>
            </a:xfrm>
          </p:grpSpPr>
          <p:sp>
            <p:nvSpPr>
              <p:cNvPr id="30" name="AutoShape 3">
                <a:extLst>
                  <a:ext uri="{FF2B5EF4-FFF2-40B4-BE49-F238E27FC236}">
                    <a16:creationId xmlns:a16="http://schemas.microsoft.com/office/drawing/2014/main" id="{DCB43A01-2D93-76B1-A003-81F861EBE1A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3482" y="1979"/>
                <a:ext cx="358" cy="3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2" name="Freeform 5">
                <a:extLst>
                  <a:ext uri="{FF2B5EF4-FFF2-40B4-BE49-F238E27FC236}">
                    <a16:creationId xmlns:a16="http://schemas.microsoft.com/office/drawing/2014/main" id="{80C13AF0-3A5A-5316-D767-B843A8A6C5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46" y="2045"/>
                <a:ext cx="230" cy="229"/>
              </a:xfrm>
              <a:custGeom>
                <a:avLst/>
                <a:gdLst>
                  <a:gd name="T0" fmla="*/ 174 w 192"/>
                  <a:gd name="T1" fmla="*/ 192 h 192"/>
                  <a:gd name="T2" fmla="*/ 18 w 192"/>
                  <a:gd name="T3" fmla="*/ 192 h 192"/>
                  <a:gd name="T4" fmla="*/ 0 w 192"/>
                  <a:gd name="T5" fmla="*/ 174 h 192"/>
                  <a:gd name="T6" fmla="*/ 0 w 192"/>
                  <a:gd name="T7" fmla="*/ 18 h 192"/>
                  <a:gd name="T8" fmla="*/ 18 w 192"/>
                  <a:gd name="T9" fmla="*/ 0 h 192"/>
                  <a:gd name="T10" fmla="*/ 174 w 192"/>
                  <a:gd name="T11" fmla="*/ 0 h 192"/>
                  <a:gd name="T12" fmla="*/ 192 w 192"/>
                  <a:gd name="T13" fmla="*/ 18 h 192"/>
                  <a:gd name="T14" fmla="*/ 192 w 192"/>
                  <a:gd name="T15" fmla="*/ 174 h 192"/>
                  <a:gd name="T16" fmla="*/ 174 w 192"/>
                  <a:gd name="T17" fmla="*/ 192 h 192"/>
                  <a:gd name="T18" fmla="*/ 18 w 192"/>
                  <a:gd name="T19" fmla="*/ 12 h 192"/>
                  <a:gd name="T20" fmla="*/ 12 w 192"/>
                  <a:gd name="T21" fmla="*/ 18 h 192"/>
                  <a:gd name="T22" fmla="*/ 12 w 192"/>
                  <a:gd name="T23" fmla="*/ 174 h 192"/>
                  <a:gd name="T24" fmla="*/ 18 w 192"/>
                  <a:gd name="T25" fmla="*/ 180 h 192"/>
                  <a:gd name="T26" fmla="*/ 174 w 192"/>
                  <a:gd name="T27" fmla="*/ 180 h 192"/>
                  <a:gd name="T28" fmla="*/ 180 w 192"/>
                  <a:gd name="T29" fmla="*/ 174 h 192"/>
                  <a:gd name="T30" fmla="*/ 180 w 192"/>
                  <a:gd name="T31" fmla="*/ 18 h 192"/>
                  <a:gd name="T32" fmla="*/ 174 w 192"/>
                  <a:gd name="T33" fmla="*/ 12 h 192"/>
                  <a:gd name="T34" fmla="*/ 18 w 192"/>
                  <a:gd name="T35" fmla="*/ 1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2" h="192">
                    <a:moveTo>
                      <a:pt x="174" y="192"/>
                    </a:moveTo>
                    <a:cubicBezTo>
                      <a:pt x="18" y="192"/>
                      <a:pt x="18" y="192"/>
                      <a:pt x="18" y="192"/>
                    </a:cubicBezTo>
                    <a:cubicBezTo>
                      <a:pt x="8" y="192"/>
                      <a:pt x="0" y="184"/>
                      <a:pt x="0" y="17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9"/>
                      <a:pt x="8" y="0"/>
                      <a:pt x="18" y="0"/>
                    </a:cubicBezTo>
                    <a:cubicBezTo>
                      <a:pt x="174" y="0"/>
                      <a:pt x="174" y="0"/>
                      <a:pt x="174" y="0"/>
                    </a:cubicBezTo>
                    <a:cubicBezTo>
                      <a:pt x="184" y="0"/>
                      <a:pt x="192" y="9"/>
                      <a:pt x="192" y="18"/>
                    </a:cubicBezTo>
                    <a:cubicBezTo>
                      <a:pt x="192" y="174"/>
                      <a:pt x="192" y="174"/>
                      <a:pt x="192" y="174"/>
                    </a:cubicBezTo>
                    <a:cubicBezTo>
                      <a:pt x="192" y="184"/>
                      <a:pt x="184" y="192"/>
                      <a:pt x="174" y="192"/>
                    </a:cubicBezTo>
                    <a:close/>
                    <a:moveTo>
                      <a:pt x="18" y="12"/>
                    </a:moveTo>
                    <a:cubicBezTo>
                      <a:pt x="14" y="12"/>
                      <a:pt x="12" y="15"/>
                      <a:pt x="12" y="18"/>
                    </a:cubicBezTo>
                    <a:cubicBezTo>
                      <a:pt x="12" y="174"/>
                      <a:pt x="12" y="174"/>
                      <a:pt x="12" y="174"/>
                    </a:cubicBezTo>
                    <a:cubicBezTo>
                      <a:pt x="12" y="178"/>
                      <a:pt x="14" y="180"/>
                      <a:pt x="18" y="180"/>
                    </a:cubicBezTo>
                    <a:cubicBezTo>
                      <a:pt x="174" y="180"/>
                      <a:pt x="174" y="180"/>
                      <a:pt x="174" y="180"/>
                    </a:cubicBezTo>
                    <a:cubicBezTo>
                      <a:pt x="177" y="180"/>
                      <a:pt x="180" y="178"/>
                      <a:pt x="180" y="174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80" y="15"/>
                      <a:pt x="177" y="12"/>
                      <a:pt x="174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3" name="Freeform 6">
                <a:extLst>
                  <a:ext uri="{FF2B5EF4-FFF2-40B4-BE49-F238E27FC236}">
                    <a16:creationId xmlns:a16="http://schemas.microsoft.com/office/drawing/2014/main" id="{03AAF24B-4C94-C2CB-63DD-BB02CDD241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7" y="1987"/>
                <a:ext cx="14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4" name="Freeform 7">
                <a:extLst>
                  <a:ext uri="{FF2B5EF4-FFF2-40B4-BE49-F238E27FC236}">
                    <a16:creationId xmlns:a16="http://schemas.microsoft.com/office/drawing/2014/main" id="{254376E3-3E26-042A-FE5C-4E7F3B4FDE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9" y="1987"/>
                <a:ext cx="15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99B3F4B6-FC51-C2ED-05E9-CF676B0081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8" y="1987"/>
                <a:ext cx="15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C6F736F6-E4B8-6583-2B6F-CBE7D6E8FF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159"/>
                <a:ext cx="72" cy="15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AFE047B9-9C05-5017-3F06-CF9F415390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217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2F85D2A4-B307-48FD-CF28-EE91805F7A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088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960BB355-9E0C-70EF-F62F-48376179BD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1" y="2260"/>
                <a:ext cx="14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8E74A2AE-F688-157C-613C-49713CD908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8" y="2260"/>
                <a:ext cx="15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6294A411-6334-A720-87DB-41AF83AE12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9" y="2260"/>
                <a:ext cx="15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C8431079-C325-900C-804F-8EA9F37E6A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145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037DEB91-66B4-2070-3358-CFD9CB88E3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088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4" name="Freeform 17">
                <a:extLst>
                  <a:ext uri="{FF2B5EF4-FFF2-40B4-BE49-F238E27FC236}">
                    <a16:creationId xmlns:a16="http://schemas.microsoft.com/office/drawing/2014/main" id="{CA979D27-A407-E4B1-46BC-ED296A86F1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217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5" name="Freeform 18">
                <a:extLst>
                  <a:ext uri="{FF2B5EF4-FFF2-40B4-BE49-F238E27FC236}">
                    <a16:creationId xmlns:a16="http://schemas.microsoft.com/office/drawing/2014/main" id="{D96F23DA-FD51-0E30-2119-D37313592D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5" y="2073"/>
                <a:ext cx="172" cy="172"/>
              </a:xfrm>
              <a:custGeom>
                <a:avLst/>
                <a:gdLst>
                  <a:gd name="T0" fmla="*/ 114 w 144"/>
                  <a:gd name="T1" fmla="*/ 144 h 144"/>
                  <a:gd name="T2" fmla="*/ 30 w 144"/>
                  <a:gd name="T3" fmla="*/ 144 h 144"/>
                  <a:gd name="T4" fmla="*/ 0 w 144"/>
                  <a:gd name="T5" fmla="*/ 114 h 144"/>
                  <a:gd name="T6" fmla="*/ 0 w 144"/>
                  <a:gd name="T7" fmla="*/ 30 h 144"/>
                  <a:gd name="T8" fmla="*/ 30 w 144"/>
                  <a:gd name="T9" fmla="*/ 0 h 144"/>
                  <a:gd name="T10" fmla="*/ 114 w 144"/>
                  <a:gd name="T11" fmla="*/ 0 h 144"/>
                  <a:gd name="T12" fmla="*/ 144 w 144"/>
                  <a:gd name="T13" fmla="*/ 30 h 144"/>
                  <a:gd name="T14" fmla="*/ 144 w 144"/>
                  <a:gd name="T15" fmla="*/ 114 h 144"/>
                  <a:gd name="T16" fmla="*/ 114 w 144"/>
                  <a:gd name="T17" fmla="*/ 144 h 144"/>
                  <a:gd name="T18" fmla="*/ 30 w 144"/>
                  <a:gd name="T19" fmla="*/ 12 h 144"/>
                  <a:gd name="T20" fmla="*/ 12 w 144"/>
                  <a:gd name="T21" fmla="*/ 30 h 144"/>
                  <a:gd name="T22" fmla="*/ 12 w 144"/>
                  <a:gd name="T23" fmla="*/ 114 h 144"/>
                  <a:gd name="T24" fmla="*/ 30 w 144"/>
                  <a:gd name="T25" fmla="*/ 132 h 144"/>
                  <a:gd name="T26" fmla="*/ 114 w 144"/>
                  <a:gd name="T27" fmla="*/ 132 h 144"/>
                  <a:gd name="T28" fmla="*/ 132 w 144"/>
                  <a:gd name="T29" fmla="*/ 114 h 144"/>
                  <a:gd name="T30" fmla="*/ 132 w 144"/>
                  <a:gd name="T31" fmla="*/ 30 h 144"/>
                  <a:gd name="T32" fmla="*/ 114 w 144"/>
                  <a:gd name="T33" fmla="*/ 12 h 144"/>
                  <a:gd name="T34" fmla="*/ 30 w 144"/>
                  <a:gd name="T35" fmla="*/ 1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144">
                    <a:moveTo>
                      <a:pt x="114" y="144"/>
                    </a:moveTo>
                    <a:cubicBezTo>
                      <a:pt x="30" y="144"/>
                      <a:pt x="30" y="144"/>
                      <a:pt x="30" y="144"/>
                    </a:cubicBezTo>
                    <a:cubicBezTo>
                      <a:pt x="13" y="144"/>
                      <a:pt x="0" y="131"/>
                      <a:pt x="0" y="114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14"/>
                      <a:pt x="13" y="0"/>
                      <a:pt x="30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130" y="0"/>
                      <a:pt x="144" y="14"/>
                      <a:pt x="144" y="30"/>
                    </a:cubicBezTo>
                    <a:cubicBezTo>
                      <a:pt x="144" y="114"/>
                      <a:pt x="144" y="114"/>
                      <a:pt x="144" y="114"/>
                    </a:cubicBezTo>
                    <a:cubicBezTo>
                      <a:pt x="144" y="131"/>
                      <a:pt x="130" y="144"/>
                      <a:pt x="114" y="144"/>
                    </a:cubicBezTo>
                    <a:close/>
                    <a:moveTo>
                      <a:pt x="30" y="12"/>
                    </a:moveTo>
                    <a:cubicBezTo>
                      <a:pt x="20" y="12"/>
                      <a:pt x="12" y="21"/>
                      <a:pt x="12" y="30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2" y="124"/>
                      <a:pt x="20" y="132"/>
                      <a:pt x="30" y="132"/>
                    </a:cubicBezTo>
                    <a:cubicBezTo>
                      <a:pt x="114" y="132"/>
                      <a:pt x="114" y="132"/>
                      <a:pt x="114" y="132"/>
                    </a:cubicBezTo>
                    <a:cubicBezTo>
                      <a:pt x="124" y="132"/>
                      <a:pt x="132" y="124"/>
                      <a:pt x="132" y="114"/>
                    </a:cubicBezTo>
                    <a:cubicBezTo>
                      <a:pt x="132" y="30"/>
                      <a:pt x="132" y="30"/>
                      <a:pt x="132" y="30"/>
                    </a:cubicBezTo>
                    <a:cubicBezTo>
                      <a:pt x="132" y="21"/>
                      <a:pt x="124" y="12"/>
                      <a:pt x="114" y="12"/>
                    </a:cubicBez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</p:grpSp>
      </p:grpSp>
      <p:sp>
        <p:nvSpPr>
          <p:cNvPr id="223" name="Title 1">
            <a:extLst>
              <a:ext uri="{FF2B5EF4-FFF2-40B4-BE49-F238E27FC236}">
                <a16:creationId xmlns:a16="http://schemas.microsoft.com/office/drawing/2014/main" id="{67B414D4-390F-192B-3D6A-7D2A064E6D50}"/>
              </a:ext>
            </a:extLst>
          </p:cNvPr>
          <p:cNvSpPr txBox="1">
            <a:spLocks/>
          </p:cNvSpPr>
          <p:nvPr/>
        </p:nvSpPr>
        <p:spPr>
          <a:xfrm>
            <a:off x="338546" y="207092"/>
            <a:ext cx="11641970" cy="77613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inden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79600" algn="l"/>
              </a:tabLst>
              <a:defRPr sz="3600" b="1" i="0">
                <a:solidFill>
                  <a:schemeClr val="accent2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pl-PL"/>
              <a:t>AI Industry Hub | </a:t>
            </a:r>
            <a:r>
              <a:rPr lang="pl-PL">
                <a:solidFill>
                  <a:schemeClr val="tx1"/>
                </a:solidFill>
              </a:rPr>
              <a:t>Machine Learning Operations</a:t>
            </a:r>
            <a:endParaRPr lang="en-GB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9616B6C-E4E0-BE14-7F22-E2625BBEC818}"/>
              </a:ext>
            </a:extLst>
          </p:cNvPr>
          <p:cNvSpPr txBox="1"/>
          <p:nvPr/>
        </p:nvSpPr>
        <p:spPr>
          <a:xfrm>
            <a:off x="623877" y="182880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pl-PL" noProof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8119D76-7A2B-41A4-8A8C-87E5A20238E2}"/>
              </a:ext>
            </a:extLst>
          </p:cNvPr>
          <p:cNvSpPr/>
          <p:nvPr/>
        </p:nvSpPr>
        <p:spPr>
          <a:xfrm>
            <a:off x="560346" y="1471229"/>
            <a:ext cx="5535654" cy="2329235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D425C8"/>
                </a:gs>
                <a:gs pos="75000">
                  <a:schemeClr val="bg1"/>
                </a:gs>
              </a:gsLst>
              <a:lin ang="135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r>
              <a:rPr lang="pl-PL" b="1">
                <a:solidFill>
                  <a:srgbClr val="D425C8"/>
                </a:solidFill>
              </a:rPr>
              <a:t>Peop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A9A8B3-9ED4-3266-0F0C-D228EBA3817C}"/>
              </a:ext>
            </a:extLst>
          </p:cNvPr>
          <p:cNvSpPr/>
          <p:nvPr/>
        </p:nvSpPr>
        <p:spPr>
          <a:xfrm>
            <a:off x="6300777" y="1471229"/>
            <a:ext cx="5535654" cy="2329235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FC796F"/>
                </a:gs>
                <a:gs pos="70000">
                  <a:schemeClr val="bg1"/>
                </a:gs>
              </a:gsLst>
              <a:lin ang="189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r"/>
            <a:r>
              <a:rPr lang="pl-PL" b="1">
                <a:solidFill>
                  <a:srgbClr val="FC796F"/>
                </a:solidFill>
              </a:rPr>
              <a:t>Projec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B837C5-044D-E415-AF68-87ABEF286893}"/>
              </a:ext>
            </a:extLst>
          </p:cNvPr>
          <p:cNvSpPr/>
          <p:nvPr/>
        </p:nvSpPr>
        <p:spPr>
          <a:xfrm>
            <a:off x="560346" y="4005943"/>
            <a:ext cx="5535654" cy="2329235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9509B2"/>
                </a:gs>
                <a:gs pos="75000">
                  <a:schemeClr val="bg1"/>
                </a:gs>
              </a:gsLst>
              <a:lin ang="81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b"/>
          <a:lstStyle/>
          <a:p>
            <a:r>
              <a:rPr lang="pl-PL" b="1">
                <a:solidFill>
                  <a:srgbClr val="9509B2"/>
                </a:solidFill>
              </a:rPr>
              <a:t>Capabiliti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B3FF6DF-D7BA-CCEA-5033-24C0A6735C2B}"/>
              </a:ext>
            </a:extLst>
          </p:cNvPr>
          <p:cNvSpPr/>
          <p:nvPr/>
        </p:nvSpPr>
        <p:spPr>
          <a:xfrm>
            <a:off x="6300777" y="4005943"/>
            <a:ext cx="5535654" cy="2329235"/>
          </a:xfrm>
          <a:prstGeom prst="rect">
            <a:avLst/>
          </a:prstGeom>
          <a:noFill/>
          <a:ln w="19050">
            <a:gradFill flip="none" rotWithShape="1">
              <a:gsLst>
                <a:gs pos="0">
                  <a:srgbClr val="EF885F"/>
                </a:gs>
                <a:gs pos="75000">
                  <a:schemeClr val="bg1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b"/>
          <a:lstStyle/>
          <a:p>
            <a:pPr algn="r"/>
            <a:r>
              <a:rPr lang="pl-PL" b="1">
                <a:solidFill>
                  <a:srgbClr val="EF885F"/>
                </a:solidFill>
              </a:rPr>
              <a:t>Initiatives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C2095113-9888-F844-4FE8-2180CBEC96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4947538"/>
              </p:ext>
            </p:extLst>
          </p:nvPr>
        </p:nvGraphicFramePr>
        <p:xfrm>
          <a:off x="3032497" y="4103760"/>
          <a:ext cx="2867026" cy="2133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152DF589-3C17-9AD5-60AE-775B5C979BAC}"/>
              </a:ext>
            </a:extLst>
          </p:cNvPr>
          <p:cNvSpPr txBox="1"/>
          <p:nvPr/>
        </p:nvSpPr>
        <p:spPr>
          <a:xfrm>
            <a:off x="628651" y="4149601"/>
            <a:ext cx="3012029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/>
              <a:t>Successful approach for the </a:t>
            </a:r>
            <a:r>
              <a:rPr lang="en-US" sz="1400" err="1"/>
              <a:t>MLOps</a:t>
            </a:r>
            <a:r>
              <a:rPr lang="en-US" sz="1400"/>
              <a:t> capability requires actions in 3 dimensions​</a:t>
            </a:r>
          </a:p>
          <a:p>
            <a:endParaRPr lang="en-US" sz="1400"/>
          </a:p>
          <a:p>
            <a:r>
              <a:rPr lang="en-US" sz="1400"/>
              <a:t>​</a:t>
            </a:r>
            <a:endParaRPr lang="pl-PL" sz="1400"/>
          </a:p>
        </p:txBody>
      </p:sp>
    </p:spTree>
    <p:extLst>
      <p:ext uri="{BB962C8B-B14F-4D97-AF65-F5344CB8AC3E}">
        <p14:creationId xmlns:p14="http://schemas.microsoft.com/office/powerpoint/2010/main" val="13506000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9A922D-85B4-811C-FDD3-3C6B4CFE81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026A890D-6FC4-0282-F197-6F9F10E597F8}"/>
              </a:ext>
            </a:extLst>
          </p:cNvPr>
          <p:cNvSpPr/>
          <p:nvPr/>
        </p:nvSpPr>
        <p:spPr>
          <a:xfrm>
            <a:off x="0" y="1242498"/>
            <a:ext cx="12192000" cy="1603231"/>
          </a:xfrm>
          <a:prstGeom prst="rect">
            <a:avLst/>
          </a:prstGeom>
          <a:blipFill>
            <a:blip r:embed="rId4"/>
            <a:stretch>
              <a:fillRect t="-78229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5" name="Rectangle 364">
            <a:extLst>
              <a:ext uri="{FF2B5EF4-FFF2-40B4-BE49-F238E27FC236}">
                <a16:creationId xmlns:a16="http://schemas.microsoft.com/office/drawing/2014/main" id="{694D11FA-5E82-4AF3-75D1-660787023EC7}"/>
              </a:ext>
            </a:extLst>
          </p:cNvPr>
          <p:cNvSpPr/>
          <p:nvPr/>
        </p:nvSpPr>
        <p:spPr>
          <a:xfrm>
            <a:off x="1299653" y="6858000"/>
            <a:ext cx="4599870" cy="32133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7B3ADF5-7DA5-31DA-28C8-9C4D786CA0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62" imgH="262" progId="TCLayout.ActiveDocument.1">
                  <p:embed/>
                </p:oleObj>
              </mc:Choice>
              <mc:Fallback>
                <p:oleObj name="think-cell Slide" r:id="rId5" imgW="262" imgH="2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7B3ADF5-7DA5-31DA-28C8-9C4D786CA0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822B8B33-9FFA-880F-73FB-492CAE990083}"/>
              </a:ext>
            </a:extLst>
          </p:cNvPr>
          <p:cNvSpPr txBox="1">
            <a:spLocks/>
          </p:cNvSpPr>
          <p:nvPr/>
        </p:nvSpPr>
        <p:spPr>
          <a:xfrm>
            <a:off x="3422452" y="7257542"/>
            <a:ext cx="2409783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I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nsultants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/>
                <a:ea typeface="+mn-ea"/>
                <a:cs typeface="+mn-cs"/>
              </a:rPr>
              <a:t>in nearshore/offshore locations</a:t>
            </a:r>
            <a:endParaRPr kumimoji="0" lang="pl-PL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5362DA27-69B0-B5E1-18E9-18B70D392522}"/>
              </a:ext>
            </a:extLst>
          </p:cNvPr>
          <p:cNvSpPr txBox="1">
            <a:spLocks/>
          </p:cNvSpPr>
          <p:nvPr/>
        </p:nvSpPr>
        <p:spPr>
          <a:xfrm>
            <a:off x="2258564" y="7251350"/>
            <a:ext cx="1393371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60</a:t>
            </a:r>
            <a:r>
              <a:rPr kumimoji="0" lang="pl-PL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0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+</a:t>
            </a:r>
          </a:p>
        </p:txBody>
      </p:sp>
      <p:sp>
        <p:nvSpPr>
          <p:cNvPr id="73" name="Text Placeholder 9">
            <a:extLst>
              <a:ext uri="{FF2B5EF4-FFF2-40B4-BE49-F238E27FC236}">
                <a16:creationId xmlns:a16="http://schemas.microsoft.com/office/drawing/2014/main" id="{EED006CD-CD84-E3ED-2DF1-D14FDDFFCD6F}"/>
              </a:ext>
            </a:extLst>
          </p:cNvPr>
          <p:cNvSpPr txBox="1">
            <a:spLocks/>
          </p:cNvSpPr>
          <p:nvPr/>
        </p:nvSpPr>
        <p:spPr>
          <a:xfrm>
            <a:off x="1538277" y="8165979"/>
            <a:ext cx="3931064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lping with: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285" name="Group 26">
            <a:extLst>
              <a:ext uri="{FF2B5EF4-FFF2-40B4-BE49-F238E27FC236}">
                <a16:creationId xmlns:a16="http://schemas.microsoft.com/office/drawing/2014/main" id="{6EB038C3-5FFA-F5CC-FD69-EA706EF8D10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575451" y="7054934"/>
            <a:ext cx="761527" cy="689879"/>
            <a:chOff x="3614" y="1720"/>
            <a:chExt cx="454" cy="385"/>
          </a:xfrm>
          <a:solidFill>
            <a:schemeClr val="tx1">
              <a:lumMod val="95000"/>
              <a:lumOff val="5000"/>
            </a:schemeClr>
          </a:solidFill>
        </p:grpSpPr>
        <p:sp>
          <p:nvSpPr>
            <p:cNvPr id="286" name="Freeform 27">
              <a:extLst>
                <a:ext uri="{FF2B5EF4-FFF2-40B4-BE49-F238E27FC236}">
                  <a16:creationId xmlns:a16="http://schemas.microsoft.com/office/drawing/2014/main" id="{9447B50B-EF88-D6C2-1F4F-AB48F3402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" y="1720"/>
              <a:ext cx="142" cy="189"/>
            </a:xfrm>
            <a:custGeom>
              <a:avLst/>
              <a:gdLst>
                <a:gd name="T0" fmla="*/ 10 w 60"/>
                <a:gd name="T1" fmla="*/ 51 h 80"/>
                <a:gd name="T2" fmla="*/ 14 w 60"/>
                <a:gd name="T3" fmla="*/ 64 h 80"/>
                <a:gd name="T4" fmla="*/ 14 w 60"/>
                <a:gd name="T5" fmla="*/ 72 h 80"/>
                <a:gd name="T6" fmla="*/ 30 w 60"/>
                <a:gd name="T7" fmla="*/ 80 h 80"/>
                <a:gd name="T8" fmla="*/ 46 w 60"/>
                <a:gd name="T9" fmla="*/ 72 h 80"/>
                <a:gd name="T10" fmla="*/ 46 w 60"/>
                <a:gd name="T11" fmla="*/ 64 h 80"/>
                <a:gd name="T12" fmla="*/ 50 w 60"/>
                <a:gd name="T13" fmla="*/ 51 h 80"/>
                <a:gd name="T14" fmla="*/ 55 w 60"/>
                <a:gd name="T15" fmla="*/ 50 h 80"/>
                <a:gd name="T16" fmla="*/ 58 w 60"/>
                <a:gd name="T17" fmla="*/ 36 h 80"/>
                <a:gd name="T18" fmla="*/ 54 w 60"/>
                <a:gd name="T19" fmla="*/ 34 h 80"/>
                <a:gd name="T20" fmla="*/ 54 w 60"/>
                <a:gd name="T21" fmla="*/ 21 h 80"/>
                <a:gd name="T22" fmla="*/ 45 w 60"/>
                <a:gd name="T23" fmla="*/ 8 h 80"/>
                <a:gd name="T24" fmla="*/ 30 w 60"/>
                <a:gd name="T25" fmla="*/ 0 h 80"/>
                <a:gd name="T26" fmla="*/ 6 w 60"/>
                <a:gd name="T27" fmla="*/ 20 h 80"/>
                <a:gd name="T28" fmla="*/ 6 w 60"/>
                <a:gd name="T29" fmla="*/ 34 h 80"/>
                <a:gd name="T30" fmla="*/ 2 w 60"/>
                <a:gd name="T31" fmla="*/ 36 h 80"/>
                <a:gd name="T32" fmla="*/ 5 w 60"/>
                <a:gd name="T33" fmla="*/ 50 h 80"/>
                <a:gd name="T34" fmla="*/ 10 w 60"/>
                <a:gd name="T35" fmla="*/ 5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" h="80">
                  <a:moveTo>
                    <a:pt x="10" y="51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30" y="80"/>
                    <a:pt x="30" y="80"/>
                    <a:pt x="30" y="80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1"/>
                    <a:pt x="53" y="51"/>
                    <a:pt x="55" y="50"/>
                  </a:cubicBezTo>
                  <a:cubicBezTo>
                    <a:pt x="58" y="47"/>
                    <a:pt x="60" y="40"/>
                    <a:pt x="58" y="36"/>
                  </a:cubicBezTo>
                  <a:cubicBezTo>
                    <a:pt x="57" y="33"/>
                    <a:pt x="54" y="34"/>
                    <a:pt x="54" y="34"/>
                  </a:cubicBezTo>
                  <a:cubicBezTo>
                    <a:pt x="54" y="34"/>
                    <a:pt x="54" y="28"/>
                    <a:pt x="54" y="21"/>
                  </a:cubicBezTo>
                  <a:cubicBezTo>
                    <a:pt x="54" y="13"/>
                    <a:pt x="52" y="8"/>
                    <a:pt x="45" y="8"/>
                  </a:cubicBezTo>
                  <a:cubicBezTo>
                    <a:pt x="43" y="3"/>
                    <a:pt x="37" y="0"/>
                    <a:pt x="30" y="0"/>
                  </a:cubicBezTo>
                  <a:cubicBezTo>
                    <a:pt x="15" y="0"/>
                    <a:pt x="6" y="9"/>
                    <a:pt x="6" y="20"/>
                  </a:cubicBezTo>
                  <a:cubicBezTo>
                    <a:pt x="6" y="27"/>
                    <a:pt x="6" y="34"/>
                    <a:pt x="6" y="34"/>
                  </a:cubicBezTo>
                  <a:cubicBezTo>
                    <a:pt x="6" y="34"/>
                    <a:pt x="3" y="33"/>
                    <a:pt x="2" y="36"/>
                  </a:cubicBezTo>
                  <a:cubicBezTo>
                    <a:pt x="0" y="40"/>
                    <a:pt x="2" y="47"/>
                    <a:pt x="5" y="50"/>
                  </a:cubicBezTo>
                  <a:cubicBezTo>
                    <a:pt x="7" y="51"/>
                    <a:pt x="10" y="51"/>
                    <a:pt x="10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3DB77740-0341-83E3-2E01-CBB277AEBF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4" y="1767"/>
              <a:ext cx="454" cy="322"/>
            </a:xfrm>
            <a:custGeom>
              <a:avLst/>
              <a:gdLst>
                <a:gd name="T0" fmla="*/ 72 w 192"/>
                <a:gd name="T1" fmla="*/ 61 h 136"/>
                <a:gd name="T2" fmla="*/ 62 w 192"/>
                <a:gd name="T3" fmla="*/ 54 h 136"/>
                <a:gd name="T4" fmla="*/ 120 w 192"/>
                <a:gd name="T5" fmla="*/ 61 h 136"/>
                <a:gd name="T6" fmla="*/ 128 w 192"/>
                <a:gd name="T7" fmla="*/ 56 h 136"/>
                <a:gd name="T8" fmla="*/ 120 w 192"/>
                <a:gd name="T9" fmla="*/ 61 h 136"/>
                <a:gd name="T10" fmla="*/ 44 w 192"/>
                <a:gd name="T11" fmla="*/ 63 h 136"/>
                <a:gd name="T12" fmla="*/ 44 w 192"/>
                <a:gd name="T13" fmla="*/ 70 h 136"/>
                <a:gd name="T14" fmla="*/ 51 w 192"/>
                <a:gd name="T15" fmla="*/ 69 h 136"/>
                <a:gd name="T16" fmla="*/ 52 w 192"/>
                <a:gd name="T17" fmla="*/ 63 h 136"/>
                <a:gd name="T18" fmla="*/ 166 w 192"/>
                <a:gd name="T19" fmla="*/ 46 h 136"/>
                <a:gd name="T20" fmla="*/ 144 w 192"/>
                <a:gd name="T21" fmla="*/ 0 h 136"/>
                <a:gd name="T22" fmla="*/ 128 w 192"/>
                <a:gd name="T23" fmla="*/ 21 h 136"/>
                <a:gd name="T24" fmla="*/ 126 w 192"/>
                <a:gd name="T25" fmla="*/ 48 h 136"/>
                <a:gd name="T26" fmla="*/ 133 w 192"/>
                <a:gd name="T27" fmla="*/ 52 h 136"/>
                <a:gd name="T28" fmla="*/ 146 w 192"/>
                <a:gd name="T29" fmla="*/ 70 h 136"/>
                <a:gd name="T30" fmla="*/ 166 w 192"/>
                <a:gd name="T31" fmla="*/ 46 h 136"/>
                <a:gd name="T32" fmla="*/ 36 w 192"/>
                <a:gd name="T33" fmla="*/ 44 h 136"/>
                <a:gd name="T34" fmla="*/ 48 w 192"/>
                <a:gd name="T35" fmla="*/ 56 h 136"/>
                <a:gd name="T36" fmla="*/ 60 w 192"/>
                <a:gd name="T37" fmla="*/ 44 h 136"/>
                <a:gd name="T38" fmla="*/ 61 w 192"/>
                <a:gd name="T39" fmla="*/ 24 h 136"/>
                <a:gd name="T40" fmla="*/ 64 w 192"/>
                <a:gd name="T41" fmla="*/ 7 h 136"/>
                <a:gd name="T42" fmla="*/ 48 w 192"/>
                <a:gd name="T43" fmla="*/ 0 h 136"/>
                <a:gd name="T44" fmla="*/ 32 w 192"/>
                <a:gd name="T45" fmla="*/ 24 h 136"/>
                <a:gd name="T46" fmla="*/ 32 w 192"/>
                <a:gd name="T47" fmla="*/ 35 h 136"/>
                <a:gd name="T48" fmla="*/ 8 w 192"/>
                <a:gd name="T49" fmla="*/ 63 h 136"/>
                <a:gd name="T50" fmla="*/ 20 w 192"/>
                <a:gd name="T51" fmla="*/ 136 h 136"/>
                <a:gd name="T52" fmla="*/ 34 w 192"/>
                <a:gd name="T53" fmla="*/ 76 h 136"/>
                <a:gd name="T54" fmla="*/ 34 w 192"/>
                <a:gd name="T55" fmla="*/ 54 h 136"/>
                <a:gd name="T56" fmla="*/ 192 w 192"/>
                <a:gd name="T57" fmla="*/ 136 h 136"/>
                <a:gd name="T58" fmla="*/ 160 w 192"/>
                <a:gd name="T59" fmla="*/ 56 h 136"/>
                <a:gd name="T60" fmla="*/ 154 w 192"/>
                <a:gd name="T61" fmla="*/ 72 h 136"/>
                <a:gd name="T62" fmla="*/ 157 w 192"/>
                <a:gd name="T63" fmla="*/ 76 h 136"/>
                <a:gd name="T64" fmla="*/ 158 w 192"/>
                <a:gd name="T65" fmla="*/ 76 h 136"/>
                <a:gd name="T66" fmla="*/ 172 w 192"/>
                <a:gd name="T67" fmla="*/ 129 h 136"/>
                <a:gd name="T68" fmla="*/ 192 w 192"/>
                <a:gd name="T69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136">
                  <a:moveTo>
                    <a:pt x="58" y="66"/>
                  </a:moveTo>
                  <a:cubicBezTo>
                    <a:pt x="62" y="65"/>
                    <a:pt x="67" y="63"/>
                    <a:pt x="72" y="61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67" y="55"/>
                    <a:pt x="62" y="54"/>
                    <a:pt x="62" y="54"/>
                  </a:cubicBezTo>
                  <a:lnTo>
                    <a:pt x="58" y="66"/>
                  </a:lnTo>
                  <a:close/>
                  <a:moveTo>
                    <a:pt x="120" y="61"/>
                  </a:moveTo>
                  <a:cubicBezTo>
                    <a:pt x="121" y="62"/>
                    <a:pt x="123" y="62"/>
                    <a:pt x="124" y="63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56"/>
                    <a:pt x="124" y="57"/>
                    <a:pt x="120" y="59"/>
                  </a:cubicBezTo>
                  <a:lnTo>
                    <a:pt x="120" y="61"/>
                  </a:lnTo>
                  <a:close/>
                  <a:moveTo>
                    <a:pt x="48" y="59"/>
                  </a:moveTo>
                  <a:cubicBezTo>
                    <a:pt x="44" y="63"/>
                    <a:pt x="44" y="63"/>
                    <a:pt x="44" y="63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6" y="70"/>
                    <a:pt x="48" y="70"/>
                    <a:pt x="51" y="69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2" y="63"/>
                    <a:pt x="52" y="63"/>
                    <a:pt x="52" y="63"/>
                  </a:cubicBezTo>
                  <a:lnTo>
                    <a:pt x="48" y="59"/>
                  </a:lnTo>
                  <a:close/>
                  <a:moveTo>
                    <a:pt x="166" y="46"/>
                  </a:moveTo>
                  <a:cubicBezTo>
                    <a:pt x="161" y="39"/>
                    <a:pt x="162" y="26"/>
                    <a:pt x="162" y="26"/>
                  </a:cubicBezTo>
                  <a:cubicBezTo>
                    <a:pt x="162" y="15"/>
                    <a:pt x="162" y="0"/>
                    <a:pt x="144" y="0"/>
                  </a:cubicBezTo>
                  <a:cubicBezTo>
                    <a:pt x="135" y="0"/>
                    <a:pt x="130" y="4"/>
                    <a:pt x="128" y="9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129" y="22"/>
                    <a:pt x="130" y="23"/>
                    <a:pt x="131" y="24"/>
                  </a:cubicBezTo>
                  <a:cubicBezTo>
                    <a:pt x="135" y="32"/>
                    <a:pt x="132" y="43"/>
                    <a:pt x="126" y="48"/>
                  </a:cubicBezTo>
                  <a:cubicBezTo>
                    <a:pt x="126" y="48"/>
                    <a:pt x="126" y="48"/>
                    <a:pt x="126" y="48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41" y="69"/>
                    <a:pt x="141" y="69"/>
                    <a:pt x="141" y="69"/>
                  </a:cubicBezTo>
                  <a:cubicBezTo>
                    <a:pt x="143" y="69"/>
                    <a:pt x="145" y="70"/>
                    <a:pt x="146" y="70"/>
                  </a:cubicBezTo>
                  <a:cubicBezTo>
                    <a:pt x="155" y="52"/>
                    <a:pt x="155" y="52"/>
                    <a:pt x="155" y="52"/>
                  </a:cubicBezTo>
                  <a:lnTo>
                    <a:pt x="166" y="46"/>
                  </a:lnTo>
                  <a:close/>
                  <a:moveTo>
                    <a:pt x="34" y="36"/>
                  </a:moveTo>
                  <a:cubicBezTo>
                    <a:pt x="36" y="44"/>
                    <a:pt x="36" y="44"/>
                    <a:pt x="36" y="44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44"/>
                    <a:pt x="60" y="44"/>
                    <a:pt x="60" y="44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59" y="35"/>
                    <a:pt x="58" y="29"/>
                    <a:pt x="61" y="24"/>
                  </a:cubicBezTo>
                  <a:cubicBezTo>
                    <a:pt x="62" y="23"/>
                    <a:pt x="63" y="22"/>
                    <a:pt x="64" y="21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3" y="6"/>
                    <a:pt x="61" y="5"/>
                    <a:pt x="59" y="5"/>
                  </a:cubicBezTo>
                  <a:cubicBezTo>
                    <a:pt x="57" y="1"/>
                    <a:pt x="53" y="0"/>
                    <a:pt x="48" y="0"/>
                  </a:cubicBezTo>
                  <a:cubicBezTo>
                    <a:pt x="37" y="0"/>
                    <a:pt x="32" y="6"/>
                    <a:pt x="32" y="14"/>
                  </a:cubicBezTo>
                  <a:cubicBezTo>
                    <a:pt x="32" y="19"/>
                    <a:pt x="32" y="24"/>
                    <a:pt x="32" y="24"/>
                  </a:cubicBezTo>
                  <a:cubicBezTo>
                    <a:pt x="32" y="24"/>
                    <a:pt x="31" y="24"/>
                    <a:pt x="30" y="26"/>
                  </a:cubicBezTo>
                  <a:cubicBezTo>
                    <a:pt x="28" y="28"/>
                    <a:pt x="29" y="33"/>
                    <a:pt x="32" y="35"/>
                  </a:cubicBezTo>
                  <a:cubicBezTo>
                    <a:pt x="33" y="36"/>
                    <a:pt x="34" y="36"/>
                    <a:pt x="34" y="36"/>
                  </a:cubicBezTo>
                  <a:close/>
                  <a:moveTo>
                    <a:pt x="8" y="63"/>
                  </a:moveTo>
                  <a:cubicBezTo>
                    <a:pt x="5" y="66"/>
                    <a:pt x="0" y="94"/>
                    <a:pt x="0" y="136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0" y="128"/>
                    <a:pt x="20" y="128"/>
                    <a:pt x="20" y="128"/>
                  </a:cubicBezTo>
                  <a:cubicBezTo>
                    <a:pt x="22" y="103"/>
                    <a:pt x="25" y="83"/>
                    <a:pt x="34" y="76"/>
                  </a:cubicBezTo>
                  <a:cubicBezTo>
                    <a:pt x="35" y="75"/>
                    <a:pt x="36" y="75"/>
                    <a:pt x="40" y="73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10" y="61"/>
                    <a:pt x="8" y="63"/>
                  </a:cubicBezTo>
                  <a:close/>
                  <a:moveTo>
                    <a:pt x="192" y="136"/>
                  </a:moveTo>
                  <a:cubicBezTo>
                    <a:pt x="192" y="94"/>
                    <a:pt x="187" y="69"/>
                    <a:pt x="184" y="66"/>
                  </a:cubicBezTo>
                  <a:cubicBezTo>
                    <a:pt x="182" y="65"/>
                    <a:pt x="160" y="56"/>
                    <a:pt x="160" y="56"/>
                  </a:cubicBezTo>
                  <a:cubicBezTo>
                    <a:pt x="170" y="72"/>
                    <a:pt x="170" y="72"/>
                    <a:pt x="170" y="72"/>
                  </a:cubicBezTo>
                  <a:cubicBezTo>
                    <a:pt x="154" y="72"/>
                    <a:pt x="154" y="72"/>
                    <a:pt x="154" y="72"/>
                  </a:cubicBezTo>
                  <a:cubicBezTo>
                    <a:pt x="153" y="73"/>
                    <a:pt x="153" y="73"/>
                    <a:pt x="153" y="73"/>
                  </a:cubicBezTo>
                  <a:cubicBezTo>
                    <a:pt x="156" y="75"/>
                    <a:pt x="157" y="75"/>
                    <a:pt x="157" y="76"/>
                  </a:cubicBezTo>
                  <a:cubicBezTo>
                    <a:pt x="157" y="76"/>
                    <a:pt x="158" y="76"/>
                    <a:pt x="158" y="76"/>
                  </a:cubicBezTo>
                  <a:cubicBezTo>
                    <a:pt x="158" y="76"/>
                    <a:pt x="158" y="76"/>
                    <a:pt x="158" y="76"/>
                  </a:cubicBezTo>
                  <a:cubicBezTo>
                    <a:pt x="158" y="76"/>
                    <a:pt x="158" y="76"/>
                    <a:pt x="158" y="76"/>
                  </a:cubicBezTo>
                  <a:cubicBezTo>
                    <a:pt x="167" y="83"/>
                    <a:pt x="170" y="105"/>
                    <a:pt x="172" y="129"/>
                  </a:cubicBezTo>
                  <a:cubicBezTo>
                    <a:pt x="172" y="136"/>
                    <a:pt x="172" y="136"/>
                    <a:pt x="172" y="136"/>
                  </a:cubicBezTo>
                  <a:lnTo>
                    <a:pt x="192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  <p:sp>
          <p:nvSpPr>
            <p:cNvPr id="288" name="Freeform 28">
              <a:extLst>
                <a:ext uri="{FF2B5EF4-FFF2-40B4-BE49-F238E27FC236}">
                  <a16:creationId xmlns:a16="http://schemas.microsoft.com/office/drawing/2014/main" id="{20F223A2-2E12-39BC-6CFF-E0A71C219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1" y="1890"/>
              <a:ext cx="321" cy="215"/>
            </a:xfrm>
            <a:custGeom>
              <a:avLst/>
              <a:gdLst>
                <a:gd name="T0" fmla="*/ 125 w 136"/>
                <a:gd name="T1" fmla="*/ 13 h 91"/>
                <a:gd name="T2" fmla="*/ 88 w 136"/>
                <a:gd name="T3" fmla="*/ 0 h 91"/>
                <a:gd name="T4" fmla="*/ 76 w 136"/>
                <a:gd name="T5" fmla="*/ 49 h 91"/>
                <a:gd name="T6" fmla="*/ 76 w 136"/>
                <a:gd name="T7" fmla="*/ 29 h 91"/>
                <a:gd name="T8" fmla="*/ 70 w 136"/>
                <a:gd name="T9" fmla="*/ 19 h 91"/>
                <a:gd name="T10" fmla="*/ 76 w 136"/>
                <a:gd name="T11" fmla="*/ 13 h 91"/>
                <a:gd name="T12" fmla="*/ 68 w 136"/>
                <a:gd name="T13" fmla="*/ 5 h 91"/>
                <a:gd name="T14" fmla="*/ 60 w 136"/>
                <a:gd name="T15" fmla="*/ 13 h 91"/>
                <a:gd name="T16" fmla="*/ 66 w 136"/>
                <a:gd name="T17" fmla="*/ 19 h 91"/>
                <a:gd name="T18" fmla="*/ 60 w 136"/>
                <a:gd name="T19" fmla="*/ 29 h 91"/>
                <a:gd name="T20" fmla="*/ 60 w 136"/>
                <a:gd name="T21" fmla="*/ 49 h 91"/>
                <a:gd name="T22" fmla="*/ 48 w 136"/>
                <a:gd name="T23" fmla="*/ 0 h 91"/>
                <a:gd name="T24" fmla="*/ 11 w 136"/>
                <a:gd name="T25" fmla="*/ 13 h 91"/>
                <a:gd name="T26" fmla="*/ 0 w 136"/>
                <a:gd name="T27" fmla="*/ 91 h 91"/>
                <a:gd name="T28" fmla="*/ 136 w 136"/>
                <a:gd name="T29" fmla="*/ 91 h 91"/>
                <a:gd name="T30" fmla="*/ 125 w 136"/>
                <a:gd name="T31" fmla="*/ 1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6" h="91">
                  <a:moveTo>
                    <a:pt x="125" y="13"/>
                  </a:moveTo>
                  <a:cubicBezTo>
                    <a:pt x="121" y="10"/>
                    <a:pt x="88" y="0"/>
                    <a:pt x="88" y="0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49"/>
                    <a:pt x="60" y="49"/>
                    <a:pt x="60" y="49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15" y="10"/>
                    <a:pt x="11" y="13"/>
                  </a:cubicBezTo>
                  <a:cubicBezTo>
                    <a:pt x="7" y="17"/>
                    <a:pt x="0" y="35"/>
                    <a:pt x="0" y="91"/>
                  </a:cubicBezTo>
                  <a:cubicBezTo>
                    <a:pt x="136" y="91"/>
                    <a:pt x="136" y="91"/>
                    <a:pt x="136" y="91"/>
                  </a:cubicBezTo>
                  <a:cubicBezTo>
                    <a:pt x="136" y="35"/>
                    <a:pt x="129" y="17"/>
                    <a:pt x="12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</p:grpSp>
      <p:pic>
        <p:nvPicPr>
          <p:cNvPr id="290" name="Graphic 289" descr="Scientific Thought outline">
            <a:extLst>
              <a:ext uri="{FF2B5EF4-FFF2-40B4-BE49-F238E27FC236}">
                <a16:creationId xmlns:a16="http://schemas.microsoft.com/office/drawing/2014/main" id="{FA31C136-DCC3-0D7C-4B63-C82AD5B7552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90989" y="9259746"/>
            <a:ext cx="473170" cy="473170"/>
          </a:xfrm>
          <a:prstGeom prst="rect">
            <a:avLst/>
          </a:prstGeom>
        </p:spPr>
      </p:pic>
      <p:pic>
        <p:nvPicPr>
          <p:cNvPr id="292" name="Graphic 291" descr="Coins outline">
            <a:extLst>
              <a:ext uri="{FF2B5EF4-FFF2-40B4-BE49-F238E27FC236}">
                <a16:creationId xmlns:a16="http://schemas.microsoft.com/office/drawing/2014/main" id="{F3E8F15A-5393-5B33-F520-EC5AFB7B376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809954" y="8429616"/>
            <a:ext cx="473170" cy="473170"/>
          </a:xfrm>
          <a:prstGeom prst="rect">
            <a:avLst/>
          </a:prstGeom>
        </p:spPr>
      </p:pic>
      <p:grpSp>
        <p:nvGrpSpPr>
          <p:cNvPr id="322" name="Complexit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5524383-CFB7-68B8-94D5-38713DBE1169}"/>
              </a:ext>
            </a:extLst>
          </p:cNvPr>
          <p:cNvGrpSpPr>
            <a:grpSpLocks noChangeAspect="1"/>
          </p:cNvGrpSpPr>
          <p:nvPr/>
        </p:nvGrpSpPr>
        <p:grpSpPr>
          <a:xfrm>
            <a:off x="1588728" y="9287116"/>
            <a:ext cx="401358" cy="402156"/>
            <a:chOff x="6367463" y="1652588"/>
            <a:chExt cx="796925" cy="798513"/>
          </a:xfrm>
          <a:noFill/>
        </p:grpSpPr>
        <p:sp>
          <p:nvSpPr>
            <p:cNvPr id="323" name="Oval 270">
              <a:extLst>
                <a:ext uri="{FF2B5EF4-FFF2-40B4-BE49-F238E27FC236}">
                  <a16:creationId xmlns:a16="http://schemas.microsoft.com/office/drawing/2014/main" id="{C94FB246-286D-BA64-342D-6A55C6D690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16573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4" name="Oval 271">
              <a:extLst>
                <a:ext uri="{FF2B5EF4-FFF2-40B4-BE49-F238E27FC236}">
                  <a16:creationId xmlns:a16="http://schemas.microsoft.com/office/drawing/2014/main" id="{5EBAE2CE-D5C3-8A0D-9BB1-24ACE258C9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18859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5" name="Oval 272">
              <a:extLst>
                <a:ext uri="{FF2B5EF4-FFF2-40B4-BE49-F238E27FC236}">
                  <a16:creationId xmlns:a16="http://schemas.microsoft.com/office/drawing/2014/main" id="{DC77BFAE-4A15-E715-2527-6DC41B03CA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21145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6" name="Oval 273">
              <a:extLst>
                <a:ext uri="{FF2B5EF4-FFF2-40B4-BE49-F238E27FC236}">
                  <a16:creationId xmlns:a16="http://schemas.microsoft.com/office/drawing/2014/main" id="{FF33A87B-B56D-5A90-7804-32B35E0109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2116138"/>
              <a:ext cx="100013" cy="100013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7" name="Oval 274">
              <a:extLst>
                <a:ext uri="{FF2B5EF4-FFF2-40B4-BE49-F238E27FC236}">
                  <a16:creationId xmlns:a16="http://schemas.microsoft.com/office/drawing/2014/main" id="{BEC74D96-CDA5-F145-0223-258A85E4CF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2344738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8" name="Oval 275">
              <a:extLst>
                <a:ext uri="{FF2B5EF4-FFF2-40B4-BE49-F238E27FC236}">
                  <a16:creationId xmlns:a16="http://schemas.microsoft.com/office/drawing/2014/main" id="{6837CAEB-C905-6190-865A-712C396B8A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1885951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9" name="Oval 276">
              <a:extLst>
                <a:ext uri="{FF2B5EF4-FFF2-40B4-BE49-F238E27FC236}">
                  <a16:creationId xmlns:a16="http://schemas.microsoft.com/office/drawing/2014/main" id="{10BAF30B-F882-17F2-AA3C-A7E8EF994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18859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0" name="Oval 277">
              <a:extLst>
                <a:ext uri="{FF2B5EF4-FFF2-40B4-BE49-F238E27FC236}">
                  <a16:creationId xmlns:a16="http://schemas.microsoft.com/office/drawing/2014/main" id="{C90720A7-6A7F-121E-75C7-567BAC024E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2344738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1" name="Oval 278">
              <a:extLst>
                <a:ext uri="{FF2B5EF4-FFF2-40B4-BE49-F238E27FC236}">
                  <a16:creationId xmlns:a16="http://schemas.microsoft.com/office/drawing/2014/main" id="{48CBB352-70FC-5127-DED4-2E966E5433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1657351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Oval 279">
              <a:extLst>
                <a:ext uri="{FF2B5EF4-FFF2-40B4-BE49-F238E27FC236}">
                  <a16:creationId xmlns:a16="http://schemas.microsoft.com/office/drawing/2014/main" id="{D5A2B088-016F-515E-6689-428B9DC1FC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16573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Oval 280">
              <a:extLst>
                <a:ext uri="{FF2B5EF4-FFF2-40B4-BE49-F238E27FC236}">
                  <a16:creationId xmlns:a16="http://schemas.microsoft.com/office/drawing/2014/main" id="{D029A9D6-0439-D26C-8F6E-4B13915A6A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2116138"/>
              <a:ext cx="100013" cy="100013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4" name="Oval 281">
              <a:extLst>
                <a:ext uri="{FF2B5EF4-FFF2-40B4-BE49-F238E27FC236}">
                  <a16:creationId xmlns:a16="http://schemas.microsoft.com/office/drawing/2014/main" id="{B0748F0A-24D7-DA05-837D-51C2656B1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2344738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5" name="Freeform 282">
              <a:extLst>
                <a:ext uri="{FF2B5EF4-FFF2-40B4-BE49-F238E27FC236}">
                  <a16:creationId xmlns:a16="http://schemas.microsoft.com/office/drawing/2014/main" id="{692433BC-84C8-8915-F86F-1E7E3BEB25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1652588"/>
              <a:ext cx="112713" cy="111125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6"/>
                    <a:pt x="17" y="83"/>
                  </a:cubicBezTo>
                  <a:cubicBezTo>
                    <a:pt x="17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8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6" name="Freeform 283">
              <a:extLst>
                <a:ext uri="{FF2B5EF4-FFF2-40B4-BE49-F238E27FC236}">
                  <a16:creationId xmlns:a16="http://schemas.microsoft.com/office/drawing/2014/main" id="{4884D5AF-8EB9-38CE-E0B2-FBEFB0D8B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1652588"/>
              <a:ext cx="112713" cy="111125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8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7" name="Freeform 284">
              <a:extLst>
                <a:ext uri="{FF2B5EF4-FFF2-40B4-BE49-F238E27FC236}">
                  <a16:creationId xmlns:a16="http://schemas.microsoft.com/office/drawing/2014/main" id="{1DEBC89E-7C56-4DE4-672E-2FEC665911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1652588"/>
              <a:ext cx="111125" cy="111125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2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8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" name="Freeform 285">
              <a:extLst>
                <a:ext uri="{FF2B5EF4-FFF2-40B4-BE49-F238E27FC236}">
                  <a16:creationId xmlns:a16="http://schemas.microsoft.com/office/drawing/2014/main" id="{5568B058-3FC3-0E5B-4E69-3541B63AFC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18811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6"/>
                    <a:pt x="17" y="83"/>
                  </a:cubicBezTo>
                  <a:cubicBezTo>
                    <a:pt x="17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9" name="Freeform 286">
              <a:extLst>
                <a:ext uri="{FF2B5EF4-FFF2-40B4-BE49-F238E27FC236}">
                  <a16:creationId xmlns:a16="http://schemas.microsoft.com/office/drawing/2014/main" id="{74E88BB5-EFFA-2BA7-0432-FC1AE7D70E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18811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0" name="Freeform 287">
              <a:extLst>
                <a:ext uri="{FF2B5EF4-FFF2-40B4-BE49-F238E27FC236}">
                  <a16:creationId xmlns:a16="http://schemas.microsoft.com/office/drawing/2014/main" id="{58D6BFE5-FA2B-1B6C-4440-96D6F014A7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18811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2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1" name="Freeform 288">
              <a:extLst>
                <a:ext uri="{FF2B5EF4-FFF2-40B4-BE49-F238E27FC236}">
                  <a16:creationId xmlns:a16="http://schemas.microsoft.com/office/drawing/2014/main" id="{2465DD46-794D-44C7-ADAA-2686B3A294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21097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7"/>
                    <a:pt x="17" y="83"/>
                  </a:cubicBezTo>
                  <a:cubicBezTo>
                    <a:pt x="17" y="120"/>
                    <a:pt x="46" y="149"/>
                    <a:pt x="83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2" name="Freeform 289">
              <a:extLst>
                <a:ext uri="{FF2B5EF4-FFF2-40B4-BE49-F238E27FC236}">
                  <a16:creationId xmlns:a16="http://schemas.microsoft.com/office/drawing/2014/main" id="{BE68DC01-D29B-C305-808D-AE23914209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21097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49"/>
                    <a:pt x="83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3" name="Freeform 290">
              <a:extLst>
                <a:ext uri="{FF2B5EF4-FFF2-40B4-BE49-F238E27FC236}">
                  <a16:creationId xmlns:a16="http://schemas.microsoft.com/office/drawing/2014/main" id="{1549B1D4-08FE-1AAC-ADB5-599247E200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21097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49"/>
                    <a:pt x="82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4" name="Freeform 291">
              <a:extLst>
                <a:ext uri="{FF2B5EF4-FFF2-40B4-BE49-F238E27FC236}">
                  <a16:creationId xmlns:a16="http://schemas.microsoft.com/office/drawing/2014/main" id="{7B12D3CA-12A8-A865-20E9-F03F7A5FEB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23383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50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7"/>
                    <a:pt x="17" y="83"/>
                  </a:cubicBezTo>
                  <a:cubicBezTo>
                    <a:pt x="17" y="120"/>
                    <a:pt x="46" y="150"/>
                    <a:pt x="83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29" y="0"/>
                    <a:pt x="166" y="38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5" name="Freeform 292">
              <a:extLst>
                <a:ext uri="{FF2B5EF4-FFF2-40B4-BE49-F238E27FC236}">
                  <a16:creationId xmlns:a16="http://schemas.microsoft.com/office/drawing/2014/main" id="{099DF7A9-04C2-CE8C-857A-52F0E7389E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23383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50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50"/>
                    <a:pt x="83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28" y="0"/>
                    <a:pt x="166" y="38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6" name="Freeform 293">
              <a:extLst>
                <a:ext uri="{FF2B5EF4-FFF2-40B4-BE49-F238E27FC236}">
                  <a16:creationId xmlns:a16="http://schemas.microsoft.com/office/drawing/2014/main" id="{A15E6831-8C28-7182-B5F8-60F4FA93C0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23383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50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50"/>
                    <a:pt x="82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2" y="0"/>
                  </a:cubicBezTo>
                  <a:cubicBezTo>
                    <a:pt x="128" y="0"/>
                    <a:pt x="165" y="38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7" name="Rectangle 294">
              <a:extLst>
                <a:ext uri="{FF2B5EF4-FFF2-40B4-BE49-F238E27FC236}">
                  <a16:creationId xmlns:a16="http://schemas.microsoft.com/office/drawing/2014/main" id="{46C9BD0E-A570-3513-3BAE-04E2B59DD0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6725" y="2160588"/>
              <a:ext cx="242888" cy="11113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8" name="Rectangle 295">
              <a:extLst>
                <a:ext uri="{FF2B5EF4-FFF2-40B4-BE49-F238E27FC236}">
                  <a16:creationId xmlns:a16="http://schemas.microsoft.com/office/drawing/2014/main" id="{43AAA6F2-483B-ABA0-4FE0-09200EBCC9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6725" y="1931988"/>
              <a:ext cx="242888" cy="11113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9" name="Freeform 296">
              <a:extLst>
                <a:ext uri="{FF2B5EF4-FFF2-40B4-BE49-F238E27FC236}">
                  <a16:creationId xmlns:a16="http://schemas.microsoft.com/office/drawing/2014/main" id="{6F7390D9-B1BE-73DA-073A-8AA5BF3A7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125" y="1957388"/>
              <a:ext cx="269875" cy="185738"/>
            </a:xfrm>
            <a:custGeom>
              <a:avLst/>
              <a:gdLst>
                <a:gd name="T0" fmla="*/ 4 w 170"/>
                <a:gd name="T1" fmla="*/ 117 h 117"/>
                <a:gd name="T2" fmla="*/ 0 w 170"/>
                <a:gd name="T3" fmla="*/ 111 h 117"/>
                <a:gd name="T4" fmla="*/ 166 w 170"/>
                <a:gd name="T5" fmla="*/ 0 h 117"/>
                <a:gd name="T6" fmla="*/ 170 w 170"/>
                <a:gd name="T7" fmla="*/ 6 h 117"/>
                <a:gd name="T8" fmla="*/ 4 w 170"/>
                <a:gd name="T9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117">
                  <a:moveTo>
                    <a:pt x="4" y="117"/>
                  </a:moveTo>
                  <a:lnTo>
                    <a:pt x="0" y="111"/>
                  </a:lnTo>
                  <a:lnTo>
                    <a:pt x="166" y="0"/>
                  </a:lnTo>
                  <a:lnTo>
                    <a:pt x="170" y="6"/>
                  </a:lnTo>
                  <a:lnTo>
                    <a:pt x="4" y="117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0" name="Freeform 297">
              <a:extLst>
                <a:ext uri="{FF2B5EF4-FFF2-40B4-BE49-F238E27FC236}">
                  <a16:creationId xmlns:a16="http://schemas.microsoft.com/office/drawing/2014/main" id="{9D03F215-D9ED-F8AD-9B4B-44BC7FAB6B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2713" y="1728788"/>
              <a:ext cx="268288" cy="184150"/>
            </a:xfrm>
            <a:custGeom>
              <a:avLst/>
              <a:gdLst>
                <a:gd name="T0" fmla="*/ 4 w 169"/>
                <a:gd name="T1" fmla="*/ 116 h 116"/>
                <a:gd name="T2" fmla="*/ 0 w 169"/>
                <a:gd name="T3" fmla="*/ 110 h 116"/>
                <a:gd name="T4" fmla="*/ 165 w 169"/>
                <a:gd name="T5" fmla="*/ 0 h 116"/>
                <a:gd name="T6" fmla="*/ 169 w 169"/>
                <a:gd name="T7" fmla="*/ 6 h 116"/>
                <a:gd name="T8" fmla="*/ 4 w 169"/>
                <a:gd name="T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116">
                  <a:moveTo>
                    <a:pt x="4" y="116"/>
                  </a:moveTo>
                  <a:lnTo>
                    <a:pt x="0" y="110"/>
                  </a:lnTo>
                  <a:lnTo>
                    <a:pt x="165" y="0"/>
                  </a:lnTo>
                  <a:lnTo>
                    <a:pt x="169" y="6"/>
                  </a:lnTo>
                  <a:lnTo>
                    <a:pt x="4" y="116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1" name="Rectangle 298">
              <a:extLst>
                <a:ext uri="{FF2B5EF4-FFF2-40B4-BE49-F238E27FC236}">
                  <a16:creationId xmlns:a16="http://schemas.microsoft.com/office/drawing/2014/main" id="{56DFB627-890B-C9A0-09EA-F2C4E994DB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3825" y="1701801"/>
              <a:ext cx="242888" cy="12700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2" name="Freeform 299">
              <a:extLst>
                <a:ext uri="{FF2B5EF4-FFF2-40B4-BE49-F238E27FC236}">
                  <a16:creationId xmlns:a16="http://schemas.microsoft.com/office/drawing/2014/main" id="{3FDFC4A7-1677-754C-0CE6-83A12192D2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125" y="2189163"/>
              <a:ext cx="266700" cy="182563"/>
            </a:xfrm>
            <a:custGeom>
              <a:avLst/>
              <a:gdLst>
                <a:gd name="T0" fmla="*/ 164 w 168"/>
                <a:gd name="T1" fmla="*/ 115 h 115"/>
                <a:gd name="T2" fmla="*/ 0 w 168"/>
                <a:gd name="T3" fmla="*/ 6 h 115"/>
                <a:gd name="T4" fmla="*/ 4 w 168"/>
                <a:gd name="T5" fmla="*/ 0 h 115"/>
                <a:gd name="T6" fmla="*/ 168 w 168"/>
                <a:gd name="T7" fmla="*/ 109 h 115"/>
                <a:gd name="T8" fmla="*/ 164 w 168"/>
                <a:gd name="T9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115">
                  <a:moveTo>
                    <a:pt x="164" y="115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168" y="109"/>
                  </a:lnTo>
                  <a:lnTo>
                    <a:pt x="164" y="115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3" name="Rectangle 300">
              <a:extLst>
                <a:ext uri="{FF2B5EF4-FFF2-40B4-BE49-F238E27FC236}">
                  <a16:creationId xmlns:a16="http://schemas.microsoft.com/office/drawing/2014/main" id="{6F3D01E4-D9DB-86E6-E5D3-2353FEB852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4063" y="2216151"/>
              <a:ext cx="11113" cy="128588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4" name="Rectangle 301">
              <a:extLst>
                <a:ext uri="{FF2B5EF4-FFF2-40B4-BE49-F238E27FC236}">
                  <a16:creationId xmlns:a16="http://schemas.microsoft.com/office/drawing/2014/main" id="{5501DDA0-D5DD-C0C6-34EA-84CFBF90CB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4063" y="1758951"/>
              <a:ext cx="11113" cy="127000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55" name="Text Placeholder 9">
            <a:extLst>
              <a:ext uri="{FF2B5EF4-FFF2-40B4-BE49-F238E27FC236}">
                <a16:creationId xmlns:a16="http://schemas.microsoft.com/office/drawing/2014/main" id="{5CAD53DD-411F-AE0C-3EB3-C42D70C42FBD}"/>
              </a:ext>
            </a:extLst>
          </p:cNvPr>
          <p:cNvSpPr txBox="1">
            <a:spLocks/>
          </p:cNvSpPr>
          <p:nvPr/>
        </p:nvSpPr>
        <p:spPr>
          <a:xfrm>
            <a:off x="2221804" y="8595030"/>
            <a:ext cx="1595631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en AI scaling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6" name="Text Placeholder 9">
            <a:extLst>
              <a:ext uri="{FF2B5EF4-FFF2-40B4-BE49-F238E27FC236}">
                <a16:creationId xmlns:a16="http://schemas.microsoft.com/office/drawing/2014/main" id="{57424712-87AB-086B-6D79-B7259E8BBA27}"/>
              </a:ext>
            </a:extLst>
          </p:cNvPr>
          <p:cNvSpPr txBox="1">
            <a:spLocks/>
          </p:cNvSpPr>
          <p:nvPr/>
        </p:nvSpPr>
        <p:spPr>
          <a:xfrm>
            <a:off x="4422458" y="8579240"/>
            <a:ext cx="2074602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monetizatio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7" name="Text Placeholder 9">
            <a:extLst>
              <a:ext uri="{FF2B5EF4-FFF2-40B4-BE49-F238E27FC236}">
                <a16:creationId xmlns:a16="http://schemas.microsoft.com/office/drawing/2014/main" id="{189714DC-66CC-E015-1EB0-53E8E751903C}"/>
              </a:ext>
            </a:extLst>
          </p:cNvPr>
          <p:cNvSpPr txBox="1">
            <a:spLocks/>
          </p:cNvSpPr>
          <p:nvPr/>
        </p:nvSpPr>
        <p:spPr>
          <a:xfrm>
            <a:off x="2236406" y="9343656"/>
            <a:ext cx="1404274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led modelling</a:t>
            </a:r>
            <a:b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&amp; transformatio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8" name="Text Placeholder 9">
            <a:extLst>
              <a:ext uri="{FF2B5EF4-FFF2-40B4-BE49-F238E27FC236}">
                <a16:creationId xmlns:a16="http://schemas.microsoft.com/office/drawing/2014/main" id="{8002FE6B-635F-3822-9E27-987C096309F6}"/>
              </a:ext>
            </a:extLst>
          </p:cNvPr>
          <p:cNvSpPr txBox="1">
            <a:spLocks/>
          </p:cNvSpPr>
          <p:nvPr/>
        </p:nvSpPr>
        <p:spPr>
          <a:xfrm>
            <a:off x="4399723" y="9257088"/>
            <a:ext cx="2182529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science</a:t>
            </a:r>
            <a:b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&amp; MLOp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2A03F88-A342-276E-31D1-42AC0F399802}"/>
              </a:ext>
            </a:extLst>
          </p:cNvPr>
          <p:cNvGrpSpPr>
            <a:grpSpLocks noChangeAspect="1"/>
          </p:cNvGrpSpPr>
          <p:nvPr/>
        </p:nvGrpSpPr>
        <p:grpSpPr>
          <a:xfrm>
            <a:off x="1581445" y="8466448"/>
            <a:ext cx="537346" cy="548260"/>
            <a:chOff x="10258820" y="2140818"/>
            <a:chExt cx="366798" cy="374248"/>
          </a:xfrm>
        </p:grpSpPr>
        <p:pic>
          <p:nvPicPr>
            <p:cNvPr id="5" name="Picture 15">
              <a:extLst>
                <a:ext uri="{FF2B5EF4-FFF2-40B4-BE49-F238E27FC236}">
                  <a16:creationId xmlns:a16="http://schemas.microsoft.com/office/drawing/2014/main" id="{73E34D60-47B7-24FC-FCEC-C58ACB6BB9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58820" y="2140818"/>
              <a:ext cx="307574" cy="3075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034EEF0A-CD73-44B2-E470-CB0E227E786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475107" y="2362873"/>
              <a:ext cx="150511" cy="152193"/>
              <a:chOff x="3482" y="1979"/>
              <a:chExt cx="358" cy="362"/>
            </a:xfrm>
          </p:grpSpPr>
          <p:sp>
            <p:nvSpPr>
              <p:cNvPr id="30" name="AutoShape 3">
                <a:extLst>
                  <a:ext uri="{FF2B5EF4-FFF2-40B4-BE49-F238E27FC236}">
                    <a16:creationId xmlns:a16="http://schemas.microsoft.com/office/drawing/2014/main" id="{83C2DF15-9781-5D02-23A4-2EEE57401B9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3482" y="1979"/>
                <a:ext cx="358" cy="3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2" name="Freeform 5">
                <a:extLst>
                  <a:ext uri="{FF2B5EF4-FFF2-40B4-BE49-F238E27FC236}">
                    <a16:creationId xmlns:a16="http://schemas.microsoft.com/office/drawing/2014/main" id="{8E8413A3-F85A-14DE-E423-203D4E01E5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46" y="2045"/>
                <a:ext cx="230" cy="229"/>
              </a:xfrm>
              <a:custGeom>
                <a:avLst/>
                <a:gdLst>
                  <a:gd name="T0" fmla="*/ 174 w 192"/>
                  <a:gd name="T1" fmla="*/ 192 h 192"/>
                  <a:gd name="T2" fmla="*/ 18 w 192"/>
                  <a:gd name="T3" fmla="*/ 192 h 192"/>
                  <a:gd name="T4" fmla="*/ 0 w 192"/>
                  <a:gd name="T5" fmla="*/ 174 h 192"/>
                  <a:gd name="T6" fmla="*/ 0 w 192"/>
                  <a:gd name="T7" fmla="*/ 18 h 192"/>
                  <a:gd name="T8" fmla="*/ 18 w 192"/>
                  <a:gd name="T9" fmla="*/ 0 h 192"/>
                  <a:gd name="T10" fmla="*/ 174 w 192"/>
                  <a:gd name="T11" fmla="*/ 0 h 192"/>
                  <a:gd name="T12" fmla="*/ 192 w 192"/>
                  <a:gd name="T13" fmla="*/ 18 h 192"/>
                  <a:gd name="T14" fmla="*/ 192 w 192"/>
                  <a:gd name="T15" fmla="*/ 174 h 192"/>
                  <a:gd name="T16" fmla="*/ 174 w 192"/>
                  <a:gd name="T17" fmla="*/ 192 h 192"/>
                  <a:gd name="T18" fmla="*/ 18 w 192"/>
                  <a:gd name="T19" fmla="*/ 12 h 192"/>
                  <a:gd name="T20" fmla="*/ 12 w 192"/>
                  <a:gd name="T21" fmla="*/ 18 h 192"/>
                  <a:gd name="T22" fmla="*/ 12 w 192"/>
                  <a:gd name="T23" fmla="*/ 174 h 192"/>
                  <a:gd name="T24" fmla="*/ 18 w 192"/>
                  <a:gd name="T25" fmla="*/ 180 h 192"/>
                  <a:gd name="T26" fmla="*/ 174 w 192"/>
                  <a:gd name="T27" fmla="*/ 180 h 192"/>
                  <a:gd name="T28" fmla="*/ 180 w 192"/>
                  <a:gd name="T29" fmla="*/ 174 h 192"/>
                  <a:gd name="T30" fmla="*/ 180 w 192"/>
                  <a:gd name="T31" fmla="*/ 18 h 192"/>
                  <a:gd name="T32" fmla="*/ 174 w 192"/>
                  <a:gd name="T33" fmla="*/ 12 h 192"/>
                  <a:gd name="T34" fmla="*/ 18 w 192"/>
                  <a:gd name="T35" fmla="*/ 1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2" h="192">
                    <a:moveTo>
                      <a:pt x="174" y="192"/>
                    </a:moveTo>
                    <a:cubicBezTo>
                      <a:pt x="18" y="192"/>
                      <a:pt x="18" y="192"/>
                      <a:pt x="18" y="192"/>
                    </a:cubicBezTo>
                    <a:cubicBezTo>
                      <a:pt x="8" y="192"/>
                      <a:pt x="0" y="184"/>
                      <a:pt x="0" y="17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9"/>
                      <a:pt x="8" y="0"/>
                      <a:pt x="18" y="0"/>
                    </a:cubicBezTo>
                    <a:cubicBezTo>
                      <a:pt x="174" y="0"/>
                      <a:pt x="174" y="0"/>
                      <a:pt x="174" y="0"/>
                    </a:cubicBezTo>
                    <a:cubicBezTo>
                      <a:pt x="184" y="0"/>
                      <a:pt x="192" y="9"/>
                      <a:pt x="192" y="18"/>
                    </a:cubicBezTo>
                    <a:cubicBezTo>
                      <a:pt x="192" y="174"/>
                      <a:pt x="192" y="174"/>
                      <a:pt x="192" y="174"/>
                    </a:cubicBezTo>
                    <a:cubicBezTo>
                      <a:pt x="192" y="184"/>
                      <a:pt x="184" y="192"/>
                      <a:pt x="174" y="192"/>
                    </a:cubicBezTo>
                    <a:close/>
                    <a:moveTo>
                      <a:pt x="18" y="12"/>
                    </a:moveTo>
                    <a:cubicBezTo>
                      <a:pt x="14" y="12"/>
                      <a:pt x="12" y="15"/>
                      <a:pt x="12" y="18"/>
                    </a:cubicBezTo>
                    <a:cubicBezTo>
                      <a:pt x="12" y="174"/>
                      <a:pt x="12" y="174"/>
                      <a:pt x="12" y="174"/>
                    </a:cubicBezTo>
                    <a:cubicBezTo>
                      <a:pt x="12" y="178"/>
                      <a:pt x="14" y="180"/>
                      <a:pt x="18" y="180"/>
                    </a:cubicBezTo>
                    <a:cubicBezTo>
                      <a:pt x="174" y="180"/>
                      <a:pt x="174" y="180"/>
                      <a:pt x="174" y="180"/>
                    </a:cubicBezTo>
                    <a:cubicBezTo>
                      <a:pt x="177" y="180"/>
                      <a:pt x="180" y="178"/>
                      <a:pt x="180" y="174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80" y="15"/>
                      <a:pt x="177" y="12"/>
                      <a:pt x="174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3" name="Freeform 6">
                <a:extLst>
                  <a:ext uri="{FF2B5EF4-FFF2-40B4-BE49-F238E27FC236}">
                    <a16:creationId xmlns:a16="http://schemas.microsoft.com/office/drawing/2014/main" id="{37D8EF59-F845-34F7-CBD6-8849318456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7" y="1987"/>
                <a:ext cx="14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4" name="Freeform 7">
                <a:extLst>
                  <a:ext uri="{FF2B5EF4-FFF2-40B4-BE49-F238E27FC236}">
                    <a16:creationId xmlns:a16="http://schemas.microsoft.com/office/drawing/2014/main" id="{37F81758-A483-5EB3-C247-F885ACD2C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9" y="1987"/>
                <a:ext cx="15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179D8FDB-0666-B422-A2E5-408C4003E5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8" y="1987"/>
                <a:ext cx="15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2F3E2888-9140-7F6B-296F-C1C76EF943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159"/>
                <a:ext cx="72" cy="15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EB5E1F2D-3E72-E6DC-4677-80BEAA3E0D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217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D30EAA94-E722-FC68-C470-0F34AA53B1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088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4961F0F5-CE4E-53EA-3E8B-F5B259AF7E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1" y="2260"/>
                <a:ext cx="14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371901CF-7669-38E2-2644-B4F6B01BC8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8" y="2260"/>
                <a:ext cx="15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F49DA301-3E15-A75C-BE73-0BD9AD2924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9" y="2260"/>
                <a:ext cx="15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BD3F9335-BE6F-D256-390A-B5FF8D2335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145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5049CD63-3AE1-4677-168B-1484251A78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088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4" name="Freeform 17">
                <a:extLst>
                  <a:ext uri="{FF2B5EF4-FFF2-40B4-BE49-F238E27FC236}">
                    <a16:creationId xmlns:a16="http://schemas.microsoft.com/office/drawing/2014/main" id="{A6053141-A056-A01A-9089-A86FAFBE44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217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5" name="Freeform 18">
                <a:extLst>
                  <a:ext uri="{FF2B5EF4-FFF2-40B4-BE49-F238E27FC236}">
                    <a16:creationId xmlns:a16="http://schemas.microsoft.com/office/drawing/2014/main" id="{9F1DF81E-9827-217E-CFBC-A88E2E43F2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5" y="2073"/>
                <a:ext cx="172" cy="172"/>
              </a:xfrm>
              <a:custGeom>
                <a:avLst/>
                <a:gdLst>
                  <a:gd name="T0" fmla="*/ 114 w 144"/>
                  <a:gd name="T1" fmla="*/ 144 h 144"/>
                  <a:gd name="T2" fmla="*/ 30 w 144"/>
                  <a:gd name="T3" fmla="*/ 144 h 144"/>
                  <a:gd name="T4" fmla="*/ 0 w 144"/>
                  <a:gd name="T5" fmla="*/ 114 h 144"/>
                  <a:gd name="T6" fmla="*/ 0 w 144"/>
                  <a:gd name="T7" fmla="*/ 30 h 144"/>
                  <a:gd name="T8" fmla="*/ 30 w 144"/>
                  <a:gd name="T9" fmla="*/ 0 h 144"/>
                  <a:gd name="T10" fmla="*/ 114 w 144"/>
                  <a:gd name="T11" fmla="*/ 0 h 144"/>
                  <a:gd name="T12" fmla="*/ 144 w 144"/>
                  <a:gd name="T13" fmla="*/ 30 h 144"/>
                  <a:gd name="T14" fmla="*/ 144 w 144"/>
                  <a:gd name="T15" fmla="*/ 114 h 144"/>
                  <a:gd name="T16" fmla="*/ 114 w 144"/>
                  <a:gd name="T17" fmla="*/ 144 h 144"/>
                  <a:gd name="T18" fmla="*/ 30 w 144"/>
                  <a:gd name="T19" fmla="*/ 12 h 144"/>
                  <a:gd name="T20" fmla="*/ 12 w 144"/>
                  <a:gd name="T21" fmla="*/ 30 h 144"/>
                  <a:gd name="T22" fmla="*/ 12 w 144"/>
                  <a:gd name="T23" fmla="*/ 114 h 144"/>
                  <a:gd name="T24" fmla="*/ 30 w 144"/>
                  <a:gd name="T25" fmla="*/ 132 h 144"/>
                  <a:gd name="T26" fmla="*/ 114 w 144"/>
                  <a:gd name="T27" fmla="*/ 132 h 144"/>
                  <a:gd name="T28" fmla="*/ 132 w 144"/>
                  <a:gd name="T29" fmla="*/ 114 h 144"/>
                  <a:gd name="T30" fmla="*/ 132 w 144"/>
                  <a:gd name="T31" fmla="*/ 30 h 144"/>
                  <a:gd name="T32" fmla="*/ 114 w 144"/>
                  <a:gd name="T33" fmla="*/ 12 h 144"/>
                  <a:gd name="T34" fmla="*/ 30 w 144"/>
                  <a:gd name="T35" fmla="*/ 1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144">
                    <a:moveTo>
                      <a:pt x="114" y="144"/>
                    </a:moveTo>
                    <a:cubicBezTo>
                      <a:pt x="30" y="144"/>
                      <a:pt x="30" y="144"/>
                      <a:pt x="30" y="144"/>
                    </a:cubicBezTo>
                    <a:cubicBezTo>
                      <a:pt x="13" y="144"/>
                      <a:pt x="0" y="131"/>
                      <a:pt x="0" y="114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14"/>
                      <a:pt x="13" y="0"/>
                      <a:pt x="30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130" y="0"/>
                      <a:pt x="144" y="14"/>
                      <a:pt x="144" y="30"/>
                    </a:cubicBezTo>
                    <a:cubicBezTo>
                      <a:pt x="144" y="114"/>
                      <a:pt x="144" y="114"/>
                      <a:pt x="144" y="114"/>
                    </a:cubicBezTo>
                    <a:cubicBezTo>
                      <a:pt x="144" y="131"/>
                      <a:pt x="130" y="144"/>
                      <a:pt x="114" y="144"/>
                    </a:cubicBezTo>
                    <a:close/>
                    <a:moveTo>
                      <a:pt x="30" y="12"/>
                    </a:moveTo>
                    <a:cubicBezTo>
                      <a:pt x="20" y="12"/>
                      <a:pt x="12" y="21"/>
                      <a:pt x="12" y="30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2" y="124"/>
                      <a:pt x="20" y="132"/>
                      <a:pt x="30" y="132"/>
                    </a:cubicBezTo>
                    <a:cubicBezTo>
                      <a:pt x="114" y="132"/>
                      <a:pt x="114" y="132"/>
                      <a:pt x="114" y="132"/>
                    </a:cubicBezTo>
                    <a:cubicBezTo>
                      <a:pt x="124" y="132"/>
                      <a:pt x="132" y="124"/>
                      <a:pt x="132" y="114"/>
                    </a:cubicBezTo>
                    <a:cubicBezTo>
                      <a:pt x="132" y="30"/>
                      <a:pt x="132" y="30"/>
                      <a:pt x="132" y="30"/>
                    </a:cubicBezTo>
                    <a:cubicBezTo>
                      <a:pt x="132" y="21"/>
                      <a:pt x="124" y="12"/>
                      <a:pt x="114" y="12"/>
                    </a:cubicBez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</p:grpSp>
      </p:grpSp>
      <p:sp>
        <p:nvSpPr>
          <p:cNvPr id="62" name="Rectangle 3">
            <a:extLst>
              <a:ext uri="{FF2B5EF4-FFF2-40B4-BE49-F238E27FC236}">
                <a16:creationId xmlns:a16="http://schemas.microsoft.com/office/drawing/2014/main" id="{A1D7F4F8-67CE-5416-5F78-FFE7A5CBAA90}"/>
              </a:ext>
            </a:extLst>
          </p:cNvPr>
          <p:cNvSpPr/>
          <p:nvPr/>
        </p:nvSpPr>
        <p:spPr>
          <a:xfrm>
            <a:off x="5505140" y="1057833"/>
            <a:ext cx="3638707" cy="184666"/>
          </a:xfrm>
          <a:prstGeom prst="rect">
            <a:avLst/>
          </a:prstGeom>
          <a:solidFill>
            <a:schemeClr val="bg1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914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1200" b="1" i="0" u="none" strike="noStrike" kern="0" cap="all" spc="0" normalizeH="0" baseline="0" noProof="0">
              <a:ln>
                <a:noFill/>
              </a:ln>
              <a:solidFill>
                <a:srgbClr val="A100FF"/>
              </a:solidFill>
              <a:effectLst/>
              <a:uLnTx/>
              <a:uFillTx/>
              <a:latin typeface="Graphik Black" panose="020B0A03030202060203" pitchFamily="34" charset="-18"/>
              <a:ea typeface="+mn-ea"/>
              <a:cs typeface="+mn-cs"/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59245967-4D75-01E3-9D18-F342378AF6CD}"/>
              </a:ext>
            </a:extLst>
          </p:cNvPr>
          <p:cNvCxnSpPr>
            <a:cxnSpLocks/>
          </p:cNvCxnSpPr>
          <p:nvPr/>
        </p:nvCxnSpPr>
        <p:spPr>
          <a:xfrm>
            <a:off x="5495105" y="1248604"/>
            <a:ext cx="6302996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itle 1">
            <a:extLst>
              <a:ext uri="{FF2B5EF4-FFF2-40B4-BE49-F238E27FC236}">
                <a16:creationId xmlns:a16="http://schemas.microsoft.com/office/drawing/2014/main" id="{2ACF7A89-BBAF-9F73-E2BB-38987B2448A9}"/>
              </a:ext>
            </a:extLst>
          </p:cNvPr>
          <p:cNvSpPr txBox="1">
            <a:spLocks/>
          </p:cNvSpPr>
          <p:nvPr/>
        </p:nvSpPr>
        <p:spPr>
          <a:xfrm>
            <a:off x="338546" y="207092"/>
            <a:ext cx="11641970" cy="77613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inden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79600" algn="l"/>
              </a:tabLst>
              <a:defRPr sz="3600" b="1" i="0">
                <a:solidFill>
                  <a:schemeClr val="accent2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pl-PL"/>
              <a:t>AI Industry Hub | </a:t>
            </a:r>
            <a:r>
              <a:rPr lang="pl-PL">
                <a:solidFill>
                  <a:schemeClr val="tx1"/>
                </a:solidFill>
              </a:rPr>
              <a:t>BI / VIZ</a:t>
            </a:r>
            <a:endParaRPr lang="en-GB">
              <a:solidFill>
                <a:schemeClr val="tx1"/>
              </a:solidFill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F4365164-10D2-A2CA-FCB7-B2CE9F07B671}"/>
              </a:ext>
            </a:extLst>
          </p:cNvPr>
          <p:cNvSpPr/>
          <p:nvPr/>
        </p:nvSpPr>
        <p:spPr>
          <a:xfrm>
            <a:off x="305796" y="1722549"/>
            <a:ext cx="2111636" cy="2043170"/>
          </a:xfrm>
          <a:prstGeom prst="ellipse">
            <a:avLst/>
          </a:prstGeom>
          <a:solidFill>
            <a:schemeClr val="bg1"/>
          </a:solidFill>
          <a:ln w="222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FE7A3C2-EC0B-A56F-6223-40A5A19539B2}"/>
              </a:ext>
            </a:extLst>
          </p:cNvPr>
          <p:cNvSpPr/>
          <p:nvPr/>
        </p:nvSpPr>
        <p:spPr>
          <a:xfrm>
            <a:off x="3403913" y="1722549"/>
            <a:ext cx="2111636" cy="2043170"/>
          </a:xfrm>
          <a:prstGeom prst="ellipse">
            <a:avLst/>
          </a:prstGeom>
          <a:solidFill>
            <a:schemeClr val="bg1"/>
          </a:solidFill>
          <a:ln w="222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3297537-59F1-E6F1-BC39-27D084D84EED}"/>
              </a:ext>
            </a:extLst>
          </p:cNvPr>
          <p:cNvSpPr/>
          <p:nvPr/>
        </p:nvSpPr>
        <p:spPr>
          <a:xfrm>
            <a:off x="6546569" y="1722549"/>
            <a:ext cx="2111636" cy="2043170"/>
          </a:xfrm>
          <a:prstGeom prst="ellipse">
            <a:avLst/>
          </a:prstGeom>
          <a:solidFill>
            <a:schemeClr val="bg1"/>
          </a:solidFill>
          <a:ln w="222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C81F5AB-174D-1083-4332-89EB7A1C02EC}"/>
              </a:ext>
            </a:extLst>
          </p:cNvPr>
          <p:cNvSpPr/>
          <p:nvPr/>
        </p:nvSpPr>
        <p:spPr>
          <a:xfrm>
            <a:off x="9693455" y="1722549"/>
            <a:ext cx="2111636" cy="2043170"/>
          </a:xfrm>
          <a:prstGeom prst="ellipse">
            <a:avLst/>
          </a:prstGeom>
          <a:solidFill>
            <a:schemeClr val="bg1"/>
          </a:solidFill>
          <a:ln w="222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B65993D-7A66-9640-1098-C9EA584FB94D}"/>
              </a:ext>
            </a:extLst>
          </p:cNvPr>
          <p:cNvSpPr txBox="1"/>
          <p:nvPr/>
        </p:nvSpPr>
        <p:spPr>
          <a:xfrm>
            <a:off x="219349" y="3018549"/>
            <a:ext cx="2625204" cy="307352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2800" b="1" cap="all">
                <a:solidFill>
                  <a:srgbClr val="743A9A"/>
                </a:solidFill>
                <a:latin typeface="Arial" panose="020B0604020202020204"/>
              </a:rPr>
              <a:t>4</a:t>
            </a:r>
            <a:r>
              <a:rPr kumimoji="0" lang="en-GB" sz="2800" b="1" i="0" u="none" strike="noStrike" kern="1200" cap="all" spc="0" normalizeH="0" baseline="0" noProof="0">
                <a:ln>
                  <a:noFill/>
                </a:ln>
                <a:solidFill>
                  <a:srgbClr val="743A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+ </a:t>
            </a: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743A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ople</a:t>
            </a:r>
            <a:br>
              <a:rPr kumimoji="0" lang="en-GB" sz="2800" b="1" i="0" u="none" strike="noStrike" kern="1200" cap="all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gularly working on projects as Power BI Developers or Experts collaborating with business users on daily bas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700" b="1" i="0" u="none" strike="noStrike" kern="1200" cap="none" spc="0" normalizeH="0" baseline="0" noProof="0">
                <a:ln>
                  <a:noFill/>
                </a:ln>
                <a:solidFill>
                  <a:srgbClr val="743A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30% </a:t>
            </a: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743A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rtified</a:t>
            </a:r>
            <a:r>
              <a:rPr kumimoji="0" lang="en-GB" sz="2800" b="1" i="0" u="none" strike="noStrike" kern="1200" cap="all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br>
              <a:rPr kumimoji="0" lang="en-GB" sz="2800" b="1" i="0" u="none" strike="noStrike" kern="1200" cap="all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 passing dedicated Microsoft exam</a:t>
            </a:r>
            <a:r>
              <a:rPr kumimoji="0" lang="pl-PL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building their expertise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pic>
        <p:nvPicPr>
          <p:cNvPr id="10" name="Graphic 9" descr="Briefcase with solid fill">
            <a:extLst>
              <a:ext uri="{FF2B5EF4-FFF2-40B4-BE49-F238E27FC236}">
                <a16:creationId xmlns:a16="http://schemas.microsoft.com/office/drawing/2014/main" id="{0BCF2944-1BD3-91F1-3418-CED2D52A5B9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965258" y="1902549"/>
            <a:ext cx="914400" cy="914400"/>
          </a:xfrm>
          <a:prstGeom prst="rect">
            <a:avLst/>
          </a:prstGeom>
        </p:spPr>
      </p:pic>
      <p:pic>
        <p:nvPicPr>
          <p:cNvPr id="11" name="Graphic 10" descr="Users with solid fill">
            <a:extLst>
              <a:ext uri="{FF2B5EF4-FFF2-40B4-BE49-F238E27FC236}">
                <a16:creationId xmlns:a16="http://schemas.microsoft.com/office/drawing/2014/main" id="{3C52C5EE-29E5-20B6-07FA-2218F4C0C8B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54148" y="1902549"/>
            <a:ext cx="914400" cy="9144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50A39DB-B68B-530C-DC49-5358113B7D8B}"/>
              </a:ext>
            </a:extLst>
          </p:cNvPr>
          <p:cNvSpPr txBox="1"/>
          <p:nvPr/>
        </p:nvSpPr>
        <p:spPr>
          <a:xfrm>
            <a:off x="6426724" y="3018549"/>
            <a:ext cx="2556000" cy="279055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all" spc="0" normalizeH="0" baseline="0" noProof="0">
                <a:ln>
                  <a:noFill/>
                </a:ln>
                <a:solidFill>
                  <a:srgbClr val="743A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0+ </a:t>
            </a: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743A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jects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743A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livered for various business functions covering metrics specific for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nan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um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mercia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R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eration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pply Chai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all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all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A26715-6D21-793D-8C82-F795FC0C7210}"/>
              </a:ext>
            </a:extLst>
          </p:cNvPr>
          <p:cNvSpPr txBox="1"/>
          <p:nvPr/>
        </p:nvSpPr>
        <p:spPr>
          <a:xfrm>
            <a:off x="3327088" y="3018549"/>
            <a:ext cx="2539548" cy="321560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2800" b="1" cap="all">
                <a:solidFill>
                  <a:srgbClr val="743A9A"/>
                </a:solidFill>
                <a:latin typeface="Arial" panose="020B0604020202020204"/>
              </a:rPr>
              <a:t>10+</a:t>
            </a:r>
            <a:r>
              <a:rPr kumimoji="0" lang="en-GB" sz="2800" b="1" i="0" u="none" strike="noStrike" kern="1200" cap="all" spc="0" normalizeH="0" baseline="0" noProof="0">
                <a:ln>
                  <a:noFill/>
                </a:ln>
                <a:solidFill>
                  <a:srgbClr val="743A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743A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ients</a:t>
            </a:r>
            <a:r>
              <a:rPr kumimoji="0" lang="en-GB" sz="2800" b="1" i="0" u="none" strike="noStrike" kern="1200" cap="all" spc="0" normalizeH="0" baseline="0" noProof="0">
                <a:ln>
                  <a:noFill/>
                </a:ln>
                <a:solidFill>
                  <a:srgbClr val="743A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br>
              <a:rPr kumimoji="0" lang="en-GB" sz="2800" b="1" i="0" u="none" strike="noStrike" kern="1200" cap="all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ich businesses and day-to-day processes are supported by our reporting solutions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lang="pl-PL" sz="2800" b="1" cap="all">
                <a:solidFill>
                  <a:srgbClr val="7500C0"/>
                </a:solidFill>
                <a:latin typeface="Arial" panose="020B0604020202020204"/>
              </a:rPr>
              <a:t>5+</a:t>
            </a:r>
            <a:r>
              <a:rPr kumimoji="0" lang="en-GB" sz="2800" b="1" i="0" u="none" strike="noStrike" kern="1200" cap="all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743A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ustries</a:t>
            </a:r>
            <a:br>
              <a:rPr kumimoji="0" lang="en-GB" sz="2800" b="1" i="0" u="none" strike="noStrike" kern="1200" cap="all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at we have been working for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tai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umer Goods/FMC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nancial Servic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ustria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il &amp; Gas</a:t>
            </a:r>
            <a:endParaRPr kumimoji="0" lang="en-GB" sz="1400" b="0" i="0" u="none" strike="noStrike" kern="1200" cap="all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4" name="Graphic 13" descr="Bar graph with upward trend with solid fill">
            <a:extLst>
              <a:ext uri="{FF2B5EF4-FFF2-40B4-BE49-F238E27FC236}">
                <a16:creationId xmlns:a16="http://schemas.microsoft.com/office/drawing/2014/main" id="{B6C630FF-D24F-4FAE-220C-7E46E10852E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146884" y="1938549"/>
            <a:ext cx="885492" cy="885492"/>
          </a:xfrm>
          <a:prstGeom prst="rect">
            <a:avLst/>
          </a:prstGeom>
        </p:spPr>
      </p:pic>
      <p:pic>
        <p:nvPicPr>
          <p:cNvPr id="15" name="Graphic 14" descr="Internet Of Things with solid fill">
            <a:extLst>
              <a:ext uri="{FF2B5EF4-FFF2-40B4-BE49-F238E27FC236}">
                <a16:creationId xmlns:a16="http://schemas.microsoft.com/office/drawing/2014/main" id="{C503D942-F111-4992-DACB-014DE7DE5E9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292778" y="1902549"/>
            <a:ext cx="891698" cy="89169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E248C77-BD3C-5A76-C950-7812E6E97013}"/>
              </a:ext>
            </a:extLst>
          </p:cNvPr>
          <p:cNvSpPr txBox="1"/>
          <p:nvPr/>
        </p:nvSpPr>
        <p:spPr>
          <a:xfrm>
            <a:off x="9454020" y="3090549"/>
            <a:ext cx="2592000" cy="331081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743A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ltiple sourc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 data used to create </a:t>
            </a:r>
            <a:r>
              <a:rPr kumimoji="0" lang="pl-PL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orts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maintain one source of truth.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oud solution</a:t>
            </a:r>
            <a:r>
              <a:rPr kumimoji="0" lang="pl-PL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uch a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all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u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ogle Cloud Platfor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owflak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all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P Hana</a:t>
            </a:r>
            <a:br>
              <a:rPr kumimoji="0" lang="en-GB" sz="1400" b="0" i="0" u="none" strike="noStrike" kern="1200" cap="all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en-GB" sz="1400" b="0" i="0" u="none" strike="noStrike" kern="1200" cap="all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 many more on-premise sources as well as </a:t>
            </a:r>
            <a:r>
              <a:rPr kumimoji="0" lang="pl-PL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from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mercial data providers</a:t>
            </a:r>
            <a:r>
              <a:rPr kumimoji="0" lang="pl-PL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e.g. Nielsen, Google Analytics)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br>
              <a:rPr kumimoji="0" lang="en-GB" sz="1400" b="0" i="0" u="none" strike="noStrike" kern="1200" cap="all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en-GB" sz="1400" b="0" i="0" u="none" strike="noStrike" kern="1200" cap="all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all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GB" sz="1400" b="0" i="0" u="none" strike="noStrike" kern="1200" cap="all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en-GB" sz="1400" b="0" i="0" u="none" strike="noStrike" kern="1200" cap="all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all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743A9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Slide Number Placeholder 33">
            <a:extLst>
              <a:ext uri="{FF2B5EF4-FFF2-40B4-BE49-F238E27FC236}">
                <a16:creationId xmlns:a16="http://schemas.microsoft.com/office/drawing/2014/main" id="{84279EA6-C54C-E4FF-5A20-CAB6CC0C7A06}"/>
              </a:ext>
            </a:extLst>
          </p:cNvPr>
          <p:cNvSpPr txBox="1">
            <a:spLocks/>
          </p:cNvSpPr>
          <p:nvPr/>
        </p:nvSpPr>
        <p:spPr>
          <a:xfrm>
            <a:off x="11482058" y="6045405"/>
            <a:ext cx="334195" cy="138499"/>
          </a:xfrm>
          <a:prstGeom prst="rect">
            <a:avLst/>
          </a:prstGeom>
        </p:spPr>
        <p:txBody>
          <a:bodyPr/>
          <a:lstStyle>
            <a:defPPr>
              <a:defRPr lang="en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D558541-60C9-42A2-8392-FF12533A6B7A}" type="slidenum">
              <a:rPr lang="en-US" sz="1000" smtClean="0">
                <a:solidFill>
                  <a:srgbClr val="FFFFFF">
                    <a:lumMod val="65000"/>
                  </a:srgbClr>
                </a:solidFill>
                <a:latin typeface="Arial" panose="020B0604020202020204"/>
              </a:rPr>
              <a:pPr algn="r">
                <a:defRPr/>
              </a:pPr>
              <a:t>24</a:t>
            </a:fld>
            <a:endParaRPr lang="en-US" sz="1000">
              <a:solidFill>
                <a:srgbClr val="FFFFFF">
                  <a:lumMod val="65000"/>
                </a:srgbClr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6427164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>
            <a:extLst>
              <a:ext uri="{FF2B5EF4-FFF2-40B4-BE49-F238E27FC236}">
                <a16:creationId xmlns:a16="http://schemas.microsoft.com/office/drawing/2014/main" id="{2D08AE2D-1E27-FDAD-CA03-F74E16B402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12" r="6545" b="12037"/>
          <a:stretch/>
        </p:blipFill>
        <p:spPr bwMode="auto">
          <a:xfrm>
            <a:off x="6972300" y="0"/>
            <a:ext cx="5219700" cy="6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79C597EC-72D2-ABE2-5B4A-30CF332266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70" r="19918" b="12037"/>
          <a:stretch/>
        </p:blipFill>
        <p:spPr bwMode="auto">
          <a:xfrm>
            <a:off x="0" y="0"/>
            <a:ext cx="47878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F9128FD2-515E-E02D-BB20-539E56FDA444}"/>
              </a:ext>
            </a:extLst>
          </p:cNvPr>
          <p:cNvSpPr/>
          <p:nvPr/>
        </p:nvSpPr>
        <p:spPr>
          <a:xfrm>
            <a:off x="3175000" y="0"/>
            <a:ext cx="54483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77000">
                <a:srgbClr val="000000"/>
              </a:gs>
              <a:gs pos="22000">
                <a:srgbClr val="000000"/>
              </a:gs>
              <a:gs pos="48000">
                <a:schemeClr val="tx1"/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pl-PL" err="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F3037F-6BCE-4D35-9743-958650DE6D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E6FC0B-A397-41D6-91DE-4E7111C86C9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6B22F9D-8F6F-A27D-34B0-7C32F9A428CD}"/>
              </a:ext>
            </a:extLst>
          </p:cNvPr>
          <p:cNvSpPr/>
          <p:nvPr/>
        </p:nvSpPr>
        <p:spPr>
          <a:xfrm>
            <a:off x="0" y="0"/>
            <a:ext cx="12212049" cy="2196888"/>
          </a:xfrm>
          <a:prstGeom prst="rect">
            <a:avLst/>
          </a:prstGeom>
          <a:gradFill>
            <a:gsLst>
              <a:gs pos="2100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pl-PL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F8E20E1-FCB3-4874-2BB3-CD4A6A1824F8}"/>
              </a:ext>
            </a:extLst>
          </p:cNvPr>
          <p:cNvSpPr txBox="1"/>
          <p:nvPr/>
        </p:nvSpPr>
        <p:spPr>
          <a:xfrm>
            <a:off x="4225509" y="1515849"/>
            <a:ext cx="3496090" cy="91440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ctr" defTabSz="228600">
              <a:spcAft>
                <a:spcPts val="1200"/>
              </a:spcAft>
            </a:pPr>
            <a:endParaRPr lang="pl-PL" noProof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21F06AC-44A8-FFE2-F2DB-459CA67EA039}"/>
              </a:ext>
            </a:extLst>
          </p:cNvPr>
          <p:cNvSpPr txBox="1"/>
          <p:nvPr/>
        </p:nvSpPr>
        <p:spPr>
          <a:xfrm>
            <a:off x="4225509" y="4519976"/>
            <a:ext cx="3468335" cy="55282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ctr" defTabSz="228600">
              <a:spcAft>
                <a:spcPts val="1200"/>
              </a:spcAft>
            </a:pPr>
            <a:r>
              <a:rPr lang="pl-PL" sz="2000" b="1">
                <a:solidFill>
                  <a:schemeClr val="bg1"/>
                </a:solidFill>
              </a:rPr>
              <a:t>Additional</a:t>
            </a:r>
            <a:br>
              <a:rPr lang="pl-PL" sz="2000" b="1">
                <a:solidFill>
                  <a:schemeClr val="bg1"/>
                </a:solidFill>
              </a:rPr>
            </a:br>
            <a:r>
              <a:rPr lang="pl-PL" sz="2000" b="1">
                <a:solidFill>
                  <a:schemeClr val="bg1"/>
                </a:solidFill>
              </a:rPr>
              <a:t>details</a:t>
            </a:r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8752644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E8A82B-C4D1-4A09-9EC8-5D93EACE1C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E8A82B-C4D1-4A09-9EC8-5D93EACE1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3" name="Title 1">
            <a:extLst>
              <a:ext uri="{FF2B5EF4-FFF2-40B4-BE49-F238E27FC236}">
                <a16:creationId xmlns:a16="http://schemas.microsoft.com/office/drawing/2014/main" id="{D59545F7-0203-C7F3-1C53-BE4FF3E604E7}"/>
              </a:ext>
            </a:extLst>
          </p:cNvPr>
          <p:cNvSpPr txBox="1">
            <a:spLocks/>
          </p:cNvSpPr>
          <p:nvPr/>
        </p:nvSpPr>
        <p:spPr>
          <a:xfrm>
            <a:off x="338546" y="207092"/>
            <a:ext cx="11641970" cy="77613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inden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79600" algn="l"/>
              </a:tabLst>
              <a:defRPr sz="3600" b="1" i="0">
                <a:solidFill>
                  <a:schemeClr val="accent2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O</a:t>
            </a:r>
            <a:r>
              <a:rPr lang="pl-PL"/>
              <a:t>ur</a:t>
            </a:r>
            <a:r>
              <a:rPr lang="en-US"/>
              <a:t> </a:t>
            </a:r>
            <a:r>
              <a:rPr lang="pl-PL"/>
              <a:t>tools </a:t>
            </a:r>
            <a:r>
              <a:rPr lang="en-US"/>
              <a:t>and </a:t>
            </a:r>
            <a:r>
              <a:rPr lang="en-US">
                <a:solidFill>
                  <a:schemeClr val="tx1"/>
                </a:solidFill>
              </a:rPr>
              <a:t>expertise area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73ECA41-BBBB-6A62-36F0-3D9E960E6943}"/>
              </a:ext>
            </a:extLst>
          </p:cNvPr>
          <p:cNvGrpSpPr/>
          <p:nvPr/>
        </p:nvGrpSpPr>
        <p:grpSpPr>
          <a:xfrm>
            <a:off x="6618027" y="5072501"/>
            <a:ext cx="758936" cy="879448"/>
            <a:chOff x="8785109" y="2648998"/>
            <a:chExt cx="1185728" cy="1518562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D6CF5EF9-0903-657C-EFB7-78B72EE69CB5}"/>
                </a:ext>
              </a:extLst>
            </p:cNvPr>
            <p:cNvSpPr/>
            <p:nvPr/>
          </p:nvSpPr>
          <p:spPr>
            <a:xfrm>
              <a:off x="8785109" y="2981832"/>
              <a:ext cx="1185728" cy="1185728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scene3d>
              <a:camera prst="isometricTopUp"/>
              <a:lightRig rig="threePt" dir="t"/>
            </a:scene3d>
            <a:sp3d extrusionH="101600">
              <a:extrusionClr>
                <a:schemeClr val="bg1">
                  <a:lumMod val="65000"/>
                </a:schemeClr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2DA0B359-37C8-F8E1-C18E-F17A70FB82F5}"/>
                </a:ext>
              </a:extLst>
            </p:cNvPr>
            <p:cNvSpPr/>
            <p:nvPr/>
          </p:nvSpPr>
          <p:spPr>
            <a:xfrm>
              <a:off x="8944095" y="2648998"/>
              <a:ext cx="1026742" cy="1026742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127000" dist="342900" dir="4920000" sx="83000" sy="83000" rotWithShape="0">
                <a:schemeClr val="tx1">
                  <a:alpha val="40000"/>
                </a:schemeClr>
              </a:outerShdw>
            </a:effectLst>
            <a:scene3d>
              <a:camera prst="isometricRightUp"/>
              <a:lightRig rig="threePt" dir="t"/>
            </a:scene3d>
            <a:sp3d extrusionH="152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60</a:t>
              </a:r>
            </a:p>
          </p:txBody>
        </p:sp>
        <p:sp>
          <p:nvSpPr>
            <p:cNvPr id="7" name="Graphic 12" descr="Cloud">
              <a:extLst>
                <a:ext uri="{FF2B5EF4-FFF2-40B4-BE49-F238E27FC236}">
                  <a16:creationId xmlns:a16="http://schemas.microsoft.com/office/drawing/2014/main" id="{41F6358A-7BC8-7063-32DA-F0D308257A99}"/>
                </a:ext>
              </a:extLst>
            </p:cNvPr>
            <p:cNvSpPr/>
            <p:nvPr/>
          </p:nvSpPr>
          <p:spPr>
            <a:xfrm>
              <a:off x="9090993" y="2923746"/>
              <a:ext cx="756000" cy="445038"/>
            </a:xfrm>
            <a:custGeom>
              <a:avLst/>
              <a:gdLst>
                <a:gd name="connsiteX0" fmla="*/ 689427 w 802774"/>
                <a:gd name="connsiteY0" fmla="*/ 227507 h 457059"/>
                <a:gd name="connsiteX1" fmla="*/ 679902 w 802774"/>
                <a:gd name="connsiteY1" fmla="*/ 227507 h 457059"/>
                <a:gd name="connsiteX2" fmla="*/ 679902 w 802774"/>
                <a:gd name="connsiteY2" fmla="*/ 227507 h 457059"/>
                <a:gd name="connsiteX3" fmla="*/ 619895 w 802774"/>
                <a:gd name="connsiteY3" fmla="*/ 111302 h 457059"/>
                <a:gd name="connsiteX4" fmla="*/ 489403 w 802774"/>
                <a:gd name="connsiteY4" fmla="*/ 93204 h 457059"/>
                <a:gd name="connsiteX5" fmla="*/ 296998 w 802774"/>
                <a:gd name="connsiteY5" fmla="*/ 4622 h 457059"/>
                <a:gd name="connsiteX6" fmla="*/ 165552 w 802774"/>
                <a:gd name="connsiteY6" fmla="*/ 170357 h 457059"/>
                <a:gd name="connsiteX7" fmla="*/ 165552 w 802774"/>
                <a:gd name="connsiteY7" fmla="*/ 172262 h 457059"/>
                <a:gd name="connsiteX8" fmla="*/ 28392 w 802774"/>
                <a:gd name="connsiteY8" fmla="*/ 227507 h 457059"/>
                <a:gd name="connsiteX9" fmla="*/ 13152 w 802774"/>
                <a:gd name="connsiteY9" fmla="*/ 374192 h 457059"/>
                <a:gd name="connsiteX10" fmla="*/ 136025 w 802774"/>
                <a:gd name="connsiteY10" fmla="*/ 456107 h 457059"/>
                <a:gd name="connsiteX11" fmla="*/ 136025 w 802774"/>
                <a:gd name="connsiteY11" fmla="*/ 457059 h 457059"/>
                <a:gd name="connsiteX12" fmla="*/ 688475 w 802774"/>
                <a:gd name="connsiteY12" fmla="*/ 457059 h 457059"/>
                <a:gd name="connsiteX13" fmla="*/ 802775 w 802774"/>
                <a:gd name="connsiteY13" fmla="*/ 342759 h 457059"/>
                <a:gd name="connsiteX14" fmla="*/ 689427 w 802774"/>
                <a:gd name="connsiteY14" fmla="*/ 227507 h 457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2774" h="457059">
                  <a:moveTo>
                    <a:pt x="689427" y="227507"/>
                  </a:moveTo>
                  <a:cubicBezTo>
                    <a:pt x="686570" y="227507"/>
                    <a:pt x="682760" y="227507"/>
                    <a:pt x="679902" y="227507"/>
                  </a:cubicBezTo>
                  <a:cubicBezTo>
                    <a:pt x="679902" y="227507"/>
                    <a:pt x="679902" y="227507"/>
                    <a:pt x="679902" y="227507"/>
                  </a:cubicBezTo>
                  <a:cubicBezTo>
                    <a:pt x="679902" y="180834"/>
                    <a:pt x="657043" y="137972"/>
                    <a:pt x="619895" y="111302"/>
                  </a:cubicBezTo>
                  <a:cubicBezTo>
                    <a:pt x="581795" y="84632"/>
                    <a:pt x="533218" y="77964"/>
                    <a:pt x="489403" y="93204"/>
                  </a:cubicBezTo>
                  <a:cubicBezTo>
                    <a:pt x="453208" y="22719"/>
                    <a:pt x="373198" y="-13476"/>
                    <a:pt x="296998" y="4622"/>
                  </a:cubicBezTo>
                  <a:cubicBezTo>
                    <a:pt x="220797" y="22719"/>
                    <a:pt x="165552" y="91299"/>
                    <a:pt x="165552" y="170357"/>
                  </a:cubicBezTo>
                  <a:cubicBezTo>
                    <a:pt x="165552" y="170357"/>
                    <a:pt x="165552" y="171309"/>
                    <a:pt x="165552" y="172262"/>
                  </a:cubicBezTo>
                  <a:cubicBezTo>
                    <a:pt x="113165" y="163689"/>
                    <a:pt x="60777" y="185597"/>
                    <a:pt x="28392" y="227507"/>
                  </a:cubicBezTo>
                  <a:cubicBezTo>
                    <a:pt x="-3040" y="270369"/>
                    <a:pt x="-8755" y="326567"/>
                    <a:pt x="13152" y="374192"/>
                  </a:cubicBezTo>
                  <a:cubicBezTo>
                    <a:pt x="36012" y="421817"/>
                    <a:pt x="83637" y="453249"/>
                    <a:pt x="136025" y="456107"/>
                  </a:cubicBezTo>
                  <a:lnTo>
                    <a:pt x="136025" y="457059"/>
                  </a:lnTo>
                  <a:lnTo>
                    <a:pt x="688475" y="457059"/>
                  </a:lnTo>
                  <a:cubicBezTo>
                    <a:pt x="751340" y="457059"/>
                    <a:pt x="802775" y="405624"/>
                    <a:pt x="802775" y="342759"/>
                  </a:cubicBezTo>
                  <a:cubicBezTo>
                    <a:pt x="802775" y="279894"/>
                    <a:pt x="752293" y="227507"/>
                    <a:pt x="689427" y="227507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  <a:scene3d>
              <a:camera prst="isometricRightUp"/>
              <a:lightRig rig="threePt" dir="t"/>
            </a:scene3d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C56B3E7-EFE3-BC59-E077-5ED5F734F04A}"/>
              </a:ext>
            </a:extLst>
          </p:cNvPr>
          <p:cNvGrpSpPr/>
          <p:nvPr/>
        </p:nvGrpSpPr>
        <p:grpSpPr>
          <a:xfrm>
            <a:off x="905266" y="3275603"/>
            <a:ext cx="759921" cy="878398"/>
            <a:chOff x="3476145" y="3257163"/>
            <a:chExt cx="1185728" cy="1518562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D81C960A-B7C0-511E-FC51-8FC03FF414A5}"/>
                </a:ext>
              </a:extLst>
            </p:cNvPr>
            <p:cNvSpPr/>
            <p:nvPr/>
          </p:nvSpPr>
          <p:spPr>
            <a:xfrm>
              <a:off x="3476145" y="3589997"/>
              <a:ext cx="1185728" cy="1185728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scene3d>
              <a:camera prst="isometricTopUp"/>
              <a:lightRig rig="threePt" dir="t"/>
            </a:scene3d>
            <a:sp3d extrusionH="101600">
              <a:extrusionClr>
                <a:schemeClr val="bg1">
                  <a:lumMod val="65000"/>
                </a:schemeClr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CC03820-D45F-5111-A35E-6D0F4E670A11}"/>
                </a:ext>
              </a:extLst>
            </p:cNvPr>
            <p:cNvSpPr/>
            <p:nvPr/>
          </p:nvSpPr>
          <p:spPr>
            <a:xfrm>
              <a:off x="3635131" y="3257163"/>
              <a:ext cx="1026742" cy="1026742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127000" dist="342900" dir="4920000" sx="83000" sy="83000" rotWithShape="0">
                <a:schemeClr val="tx1">
                  <a:alpha val="40000"/>
                </a:schemeClr>
              </a:outerShdw>
            </a:effectLst>
            <a:scene3d>
              <a:camera prst="isometricRightUp"/>
              <a:lightRig rig="threePt" dir="t"/>
            </a:scene3d>
            <a:sp3d extrusionH="152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Graphic 10" descr="Database">
              <a:extLst>
                <a:ext uri="{FF2B5EF4-FFF2-40B4-BE49-F238E27FC236}">
                  <a16:creationId xmlns:a16="http://schemas.microsoft.com/office/drawing/2014/main" id="{10188073-6AE0-6E4A-F1A7-09E48C47756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769949" y="3384247"/>
              <a:ext cx="756000" cy="756000"/>
            </a:xfrm>
            <a:prstGeom prst="rect">
              <a:avLst/>
            </a:prstGeom>
            <a:scene3d>
              <a:camera prst="isometricRightUp"/>
              <a:lightRig rig="threePt" dir="t"/>
            </a:scene3d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FBC47F0-6B0D-426D-FDD3-510367A8AABF}"/>
              </a:ext>
            </a:extLst>
          </p:cNvPr>
          <p:cNvGrpSpPr/>
          <p:nvPr/>
        </p:nvGrpSpPr>
        <p:grpSpPr>
          <a:xfrm>
            <a:off x="6623171" y="1432503"/>
            <a:ext cx="758936" cy="879448"/>
            <a:chOff x="6408819" y="4264505"/>
            <a:chExt cx="1185728" cy="1550738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0655D028-5524-D8F8-8BEE-76A874A1D266}"/>
                </a:ext>
              </a:extLst>
            </p:cNvPr>
            <p:cNvSpPr/>
            <p:nvPr/>
          </p:nvSpPr>
          <p:spPr>
            <a:xfrm>
              <a:off x="6408819" y="4629515"/>
              <a:ext cx="1185728" cy="1185728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scene3d>
              <a:camera prst="isometricTopUp"/>
              <a:lightRig rig="threePt" dir="t"/>
            </a:scene3d>
            <a:sp3d extrusionH="101600">
              <a:extrusionClr>
                <a:schemeClr val="bg1">
                  <a:lumMod val="65000"/>
                </a:schemeClr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EDD779CE-8E1C-A3F1-5BD7-A9AEC93F450F}"/>
                </a:ext>
              </a:extLst>
            </p:cNvPr>
            <p:cNvSpPr/>
            <p:nvPr/>
          </p:nvSpPr>
          <p:spPr>
            <a:xfrm>
              <a:off x="6542807" y="4264505"/>
              <a:ext cx="1026742" cy="1026742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127000" dist="342900" dir="4920000" sx="83000" sy="83000" rotWithShape="0">
                <a:schemeClr val="tx1">
                  <a:alpha val="40000"/>
                </a:schemeClr>
              </a:outerShdw>
            </a:effectLst>
            <a:scene3d>
              <a:camera prst="isometricRightUp"/>
              <a:lightRig rig="threePt" dir="t"/>
            </a:scene3d>
            <a:sp3d extrusionH="152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0" name="Graphic 29" descr="Bar chart">
              <a:extLst>
                <a:ext uri="{FF2B5EF4-FFF2-40B4-BE49-F238E27FC236}">
                  <a16:creationId xmlns:a16="http://schemas.microsoft.com/office/drawing/2014/main" id="{B8717BA5-43B3-B3E5-8028-CBEB1592FCF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695653" y="4407184"/>
              <a:ext cx="756000" cy="756000"/>
            </a:xfrm>
            <a:prstGeom prst="rect">
              <a:avLst/>
            </a:prstGeom>
            <a:scene3d>
              <a:camera prst="isometricRightUp"/>
              <a:lightRig rig="threePt" dir="t"/>
            </a:scene3d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1F24E771-3347-87D4-CEE7-6C4CF056617C}"/>
              </a:ext>
            </a:extLst>
          </p:cNvPr>
          <p:cNvGrpSpPr/>
          <p:nvPr/>
        </p:nvGrpSpPr>
        <p:grpSpPr>
          <a:xfrm>
            <a:off x="907290" y="5068644"/>
            <a:ext cx="757897" cy="879448"/>
            <a:chOff x="4584429" y="4266426"/>
            <a:chExt cx="1185728" cy="1548817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682FC1C3-77A9-3679-BF23-CCAE9FF81629}"/>
                </a:ext>
              </a:extLst>
            </p:cNvPr>
            <p:cNvSpPr/>
            <p:nvPr/>
          </p:nvSpPr>
          <p:spPr>
            <a:xfrm>
              <a:off x="4584429" y="4629515"/>
              <a:ext cx="1185728" cy="1185728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scene3d>
              <a:camera prst="isometricTopUp"/>
              <a:lightRig rig="threePt" dir="t"/>
            </a:scene3d>
            <a:sp3d extrusionH="101600">
              <a:extrusionClr>
                <a:schemeClr val="bg1">
                  <a:lumMod val="65000"/>
                </a:schemeClr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9D8A4C23-3FA7-DD66-F223-EC0B74ADD1DD}"/>
                </a:ext>
              </a:extLst>
            </p:cNvPr>
            <p:cNvSpPr/>
            <p:nvPr/>
          </p:nvSpPr>
          <p:spPr>
            <a:xfrm>
              <a:off x="4699242" y="4266426"/>
              <a:ext cx="1026742" cy="1026742"/>
            </a:xfrm>
            <a:prstGeom prst="round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>
              <a:outerShdw blurRad="127000" dist="342900" dir="4920000" sx="83000" sy="83000" rotWithShape="0">
                <a:schemeClr val="tx1">
                  <a:alpha val="40000"/>
                </a:schemeClr>
              </a:outerShdw>
            </a:effectLst>
            <a:scene3d>
              <a:camera prst="isometricRightUp"/>
              <a:lightRig rig="threePt" dir="t"/>
            </a:scene3d>
            <a:sp3d extrusionH="152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5" name="Graphic 34" descr="User network">
              <a:extLst>
                <a:ext uri="{FF2B5EF4-FFF2-40B4-BE49-F238E27FC236}">
                  <a16:creationId xmlns:a16="http://schemas.microsoft.com/office/drawing/2014/main" id="{27F43E0C-8511-96B2-6EA9-19FB75599C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846140" y="4396697"/>
              <a:ext cx="756000" cy="756000"/>
            </a:xfrm>
            <a:prstGeom prst="rect">
              <a:avLst/>
            </a:prstGeom>
            <a:scene3d>
              <a:camera prst="isometricRightUp"/>
              <a:lightRig rig="threePt" dir="t"/>
            </a:scene3d>
          </p:spPr>
        </p:pic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9357EA27-2208-2ECD-E4CD-85641F0219DC}"/>
              </a:ext>
            </a:extLst>
          </p:cNvPr>
          <p:cNvSpPr/>
          <p:nvPr/>
        </p:nvSpPr>
        <p:spPr>
          <a:xfrm>
            <a:off x="213604" y="6041963"/>
            <a:ext cx="2049385" cy="30462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ctr" defTabSz="914217" fontAlgn="base">
              <a:lnSpc>
                <a:spcPct val="110000"/>
              </a:lnSpc>
              <a:spcBef>
                <a:spcPts val="800"/>
              </a:spcBef>
            </a:pPr>
            <a:r>
              <a:rPr lang="pl-PL" sz="1200" b="1" cap="all">
                <a:latin typeface="Arial" charset="0"/>
                <a:cs typeface="Arial" charset="0"/>
              </a:rPr>
              <a:t>Data science</a:t>
            </a:r>
            <a:endParaRPr lang="nn-NO" sz="1200" b="1" cap="all">
              <a:latin typeface="Arial" charset="0"/>
              <a:cs typeface="Arial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8692602-34D2-7FD0-9F58-9A9C8ADC31FC}"/>
              </a:ext>
            </a:extLst>
          </p:cNvPr>
          <p:cNvSpPr/>
          <p:nvPr/>
        </p:nvSpPr>
        <p:spPr>
          <a:xfrm>
            <a:off x="358567" y="4250156"/>
            <a:ext cx="1942251" cy="30462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ctr" defTabSz="914217" fontAlgn="base">
              <a:lnSpc>
                <a:spcPct val="110000"/>
              </a:lnSpc>
              <a:spcBef>
                <a:spcPts val="800"/>
              </a:spcBef>
            </a:pPr>
            <a:r>
              <a:rPr lang="pl-PL" sz="1200" b="1" cap="all">
                <a:latin typeface="Arial" charset="0"/>
                <a:cs typeface="Arial" charset="0"/>
              </a:rPr>
              <a:t>Data Engineering</a:t>
            </a:r>
            <a:endParaRPr lang="nn-NO" sz="1200" b="1" cap="all">
              <a:latin typeface="Arial" charset="0"/>
              <a:cs typeface="Arial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79E506B-B078-05CE-3171-EE214197FECF}"/>
              </a:ext>
            </a:extLst>
          </p:cNvPr>
          <p:cNvSpPr/>
          <p:nvPr/>
        </p:nvSpPr>
        <p:spPr>
          <a:xfrm>
            <a:off x="6047774" y="5999819"/>
            <a:ext cx="1942251" cy="30462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ctr" defTabSz="914217" fontAlgn="base">
              <a:lnSpc>
                <a:spcPct val="110000"/>
              </a:lnSpc>
              <a:spcBef>
                <a:spcPts val="800"/>
              </a:spcBef>
            </a:pPr>
            <a:r>
              <a:rPr lang="en-GB" sz="1200" b="1" cap="all" err="1">
                <a:latin typeface="Arial" charset="0"/>
                <a:cs typeface="Arial" charset="0"/>
              </a:rPr>
              <a:t>Ml</a:t>
            </a:r>
            <a:r>
              <a:rPr lang="en-GB" sz="1200" b="1" cap="all">
                <a:latin typeface="Arial" charset="0"/>
                <a:cs typeface="Arial" charset="0"/>
              </a:rPr>
              <a:t> Ops &amp; cloud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F1CAECC-B7EC-C041-123A-651EE43818F3}"/>
              </a:ext>
            </a:extLst>
          </p:cNvPr>
          <p:cNvSpPr/>
          <p:nvPr/>
        </p:nvSpPr>
        <p:spPr>
          <a:xfrm>
            <a:off x="6283244" y="2384755"/>
            <a:ext cx="1942251" cy="30462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defTabSz="914217" fontAlgn="base">
              <a:lnSpc>
                <a:spcPct val="110000"/>
              </a:lnSpc>
              <a:spcBef>
                <a:spcPts val="800"/>
              </a:spcBef>
            </a:pPr>
            <a:r>
              <a:rPr lang="en-GB" sz="1200" b="1" cap="all">
                <a:latin typeface="Arial" charset="0"/>
                <a:cs typeface="Arial" charset="0"/>
              </a:rPr>
              <a:t>Visual analytics</a:t>
            </a:r>
          </a:p>
        </p:txBody>
      </p:sp>
      <p:pic>
        <p:nvPicPr>
          <p:cNvPr id="40" name="Picture 6" descr="Logo&#10;&#10;Description automatically generated">
            <a:extLst>
              <a:ext uri="{FF2B5EF4-FFF2-40B4-BE49-F238E27FC236}">
                <a16:creationId xmlns:a16="http://schemas.microsoft.com/office/drawing/2014/main" id="{4F697446-2033-82A1-DD07-B7561518134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868260" y="4940511"/>
            <a:ext cx="996952" cy="696385"/>
          </a:xfrm>
          <a:prstGeom prst="rect">
            <a:avLst/>
          </a:prstGeom>
        </p:spPr>
      </p:pic>
      <p:pic>
        <p:nvPicPr>
          <p:cNvPr id="41" name="Picture 17" descr="Logo&#10;&#10;Description automatically generated">
            <a:extLst>
              <a:ext uri="{FF2B5EF4-FFF2-40B4-BE49-F238E27FC236}">
                <a16:creationId xmlns:a16="http://schemas.microsoft.com/office/drawing/2014/main" id="{00EFD2E9-8AC2-D913-2E8B-D515DF4F4FC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flipH="1">
            <a:off x="2886128" y="5028272"/>
            <a:ext cx="643466" cy="584361"/>
          </a:xfrm>
          <a:prstGeom prst="rect">
            <a:avLst/>
          </a:prstGeom>
        </p:spPr>
      </p:pic>
      <p:pic>
        <p:nvPicPr>
          <p:cNvPr id="42" name="Graphic 18">
            <a:extLst>
              <a:ext uri="{FF2B5EF4-FFF2-40B4-BE49-F238E27FC236}">
                <a16:creationId xmlns:a16="http://schemas.microsoft.com/office/drawing/2014/main" id="{B885E74A-767A-AB1B-EE1F-11A7ED0C095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505324" y="4801521"/>
            <a:ext cx="1483784" cy="1003300"/>
          </a:xfrm>
          <a:prstGeom prst="rect">
            <a:avLst/>
          </a:prstGeom>
        </p:spPr>
      </p:pic>
      <p:pic>
        <p:nvPicPr>
          <p:cNvPr id="43" name="Graphic 19">
            <a:extLst>
              <a:ext uri="{FF2B5EF4-FFF2-40B4-BE49-F238E27FC236}">
                <a16:creationId xmlns:a16="http://schemas.microsoft.com/office/drawing/2014/main" id="{0CABDEF8-4042-7081-E2AE-8540C2E65E2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262372" y="5695571"/>
            <a:ext cx="880533" cy="531060"/>
          </a:xfrm>
          <a:prstGeom prst="rect">
            <a:avLst/>
          </a:prstGeom>
        </p:spPr>
      </p:pic>
      <p:pic>
        <p:nvPicPr>
          <p:cNvPr id="44" name="Picture 20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EE4504FE-1EA1-0FCC-4446-62D99C70D808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307346" y="5662972"/>
            <a:ext cx="1018117" cy="415630"/>
          </a:xfrm>
          <a:prstGeom prst="rect">
            <a:avLst/>
          </a:prstGeom>
        </p:spPr>
      </p:pic>
      <p:pic>
        <p:nvPicPr>
          <p:cNvPr id="45" name="Graphic 21">
            <a:extLst>
              <a:ext uri="{FF2B5EF4-FFF2-40B4-BE49-F238E27FC236}">
                <a16:creationId xmlns:a16="http://schemas.microsoft.com/office/drawing/2014/main" id="{DD254C42-0D6F-A520-109B-322080E6284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173950" y="5191719"/>
            <a:ext cx="2245785" cy="1532468"/>
          </a:xfrm>
          <a:prstGeom prst="rect">
            <a:avLst/>
          </a:prstGeom>
        </p:spPr>
      </p:pic>
      <p:pic>
        <p:nvPicPr>
          <p:cNvPr id="47" name="Picture 22" descr="Logo&#10;&#10;Description automatically generated">
            <a:extLst>
              <a:ext uri="{FF2B5EF4-FFF2-40B4-BE49-F238E27FC236}">
                <a16:creationId xmlns:a16="http://schemas.microsoft.com/office/drawing/2014/main" id="{EEE319E4-C1A4-759C-1641-A797B0579A16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222408" y="1750752"/>
            <a:ext cx="1563714" cy="312226"/>
          </a:xfrm>
          <a:prstGeom prst="rect">
            <a:avLst/>
          </a:prstGeom>
        </p:spPr>
      </p:pic>
      <p:pic>
        <p:nvPicPr>
          <p:cNvPr id="48" name="Picture 23" descr="Logo&#10;&#10;Description automatically generated">
            <a:extLst>
              <a:ext uri="{FF2B5EF4-FFF2-40B4-BE49-F238E27FC236}">
                <a16:creationId xmlns:a16="http://schemas.microsoft.com/office/drawing/2014/main" id="{EA0AAB4F-B337-631C-BF9D-D5C8ACABD50B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8419170" y="1300045"/>
            <a:ext cx="1208772" cy="327107"/>
          </a:xfrm>
          <a:prstGeom prst="rect">
            <a:avLst/>
          </a:prstGeom>
        </p:spPr>
      </p:pic>
      <p:pic>
        <p:nvPicPr>
          <p:cNvPr id="68" name="Picture 33">
            <a:extLst>
              <a:ext uri="{FF2B5EF4-FFF2-40B4-BE49-F238E27FC236}">
                <a16:creationId xmlns:a16="http://schemas.microsoft.com/office/drawing/2014/main" id="{8C6235C6-7FE5-7591-9CBC-6F05051B10E8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8786541" y="2052208"/>
            <a:ext cx="1372219" cy="736201"/>
          </a:xfrm>
          <a:prstGeom prst="rect">
            <a:avLst/>
          </a:prstGeom>
        </p:spPr>
      </p:pic>
      <p:pic>
        <p:nvPicPr>
          <p:cNvPr id="69" name="Picture 48" descr="Logo&#10;&#10;Description automatically generated">
            <a:extLst>
              <a:ext uri="{FF2B5EF4-FFF2-40B4-BE49-F238E27FC236}">
                <a16:creationId xmlns:a16="http://schemas.microsoft.com/office/drawing/2014/main" id="{0D6EB42A-853E-CBAB-73BE-3414C1CE6EFA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341606" y="2958222"/>
            <a:ext cx="1115814" cy="754052"/>
          </a:xfrm>
          <a:prstGeom prst="rect">
            <a:avLst/>
          </a:prstGeom>
        </p:spPr>
      </p:pic>
      <p:pic>
        <p:nvPicPr>
          <p:cNvPr id="70" name="Picture 50" descr="Text&#10;&#10;Description automatically generated">
            <a:extLst>
              <a:ext uri="{FF2B5EF4-FFF2-40B4-BE49-F238E27FC236}">
                <a16:creationId xmlns:a16="http://schemas.microsoft.com/office/drawing/2014/main" id="{C04A799D-0ADA-5A6D-35E4-29DA9515ECA6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3361861" y="3989342"/>
            <a:ext cx="895816" cy="493974"/>
          </a:xfrm>
          <a:prstGeom prst="rect">
            <a:avLst/>
          </a:prstGeom>
        </p:spPr>
      </p:pic>
      <p:pic>
        <p:nvPicPr>
          <p:cNvPr id="71" name="Picture 51" descr="Logo, company name&#10;&#10;Description automatically generated">
            <a:extLst>
              <a:ext uri="{FF2B5EF4-FFF2-40B4-BE49-F238E27FC236}">
                <a16:creationId xmlns:a16="http://schemas.microsoft.com/office/drawing/2014/main" id="{440D994B-4E4F-AF84-FDC1-0E325AFA6789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2133162" y="3546025"/>
            <a:ext cx="1240368" cy="688764"/>
          </a:xfrm>
          <a:prstGeom prst="rect">
            <a:avLst/>
          </a:prstGeom>
        </p:spPr>
      </p:pic>
      <p:pic>
        <p:nvPicPr>
          <p:cNvPr id="72" name="Picture 52" descr="Logo, company name&#10;&#10;Description automatically generated">
            <a:extLst>
              <a:ext uri="{FF2B5EF4-FFF2-40B4-BE49-F238E27FC236}">
                <a16:creationId xmlns:a16="http://schemas.microsoft.com/office/drawing/2014/main" id="{04F352B0-C34D-1A01-D911-8C7047904E96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3560571" y="3048488"/>
            <a:ext cx="808618" cy="431222"/>
          </a:xfrm>
          <a:prstGeom prst="rect">
            <a:avLst/>
          </a:prstGeom>
        </p:spPr>
      </p:pic>
      <p:pic>
        <p:nvPicPr>
          <p:cNvPr id="73" name="Picture 53" descr="Logo&#10;&#10;Description automatically generated">
            <a:extLst>
              <a:ext uri="{FF2B5EF4-FFF2-40B4-BE49-F238E27FC236}">
                <a16:creationId xmlns:a16="http://schemas.microsoft.com/office/drawing/2014/main" id="{63ED4B0A-4963-4AE5-6C96-7855C6F2C342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3529180" y="3555439"/>
            <a:ext cx="996125" cy="453129"/>
          </a:xfrm>
          <a:prstGeom prst="rect">
            <a:avLst/>
          </a:prstGeom>
        </p:spPr>
      </p:pic>
      <p:pic>
        <p:nvPicPr>
          <p:cNvPr id="74" name="Picture 54" descr="Logo&#10;&#10;Description automatically generated">
            <a:extLst>
              <a:ext uri="{FF2B5EF4-FFF2-40B4-BE49-F238E27FC236}">
                <a16:creationId xmlns:a16="http://schemas.microsoft.com/office/drawing/2014/main" id="{3F99C305-B48B-B58B-EB00-4BDBC729F4D1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4480649" y="4111233"/>
            <a:ext cx="1193232" cy="303858"/>
          </a:xfrm>
          <a:prstGeom prst="rect">
            <a:avLst/>
          </a:prstGeom>
        </p:spPr>
      </p:pic>
      <p:pic>
        <p:nvPicPr>
          <p:cNvPr id="75" name="Picture 55" descr="Text, logo&#10;&#10;Description automatically generated">
            <a:extLst>
              <a:ext uri="{FF2B5EF4-FFF2-40B4-BE49-F238E27FC236}">
                <a16:creationId xmlns:a16="http://schemas.microsoft.com/office/drawing/2014/main" id="{6A8FE20E-F628-E7E4-1C27-15A8097D01E6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9974508" y="1338148"/>
            <a:ext cx="989825" cy="394622"/>
          </a:xfrm>
          <a:prstGeom prst="rect">
            <a:avLst/>
          </a:prstGeom>
        </p:spPr>
      </p:pic>
      <p:pic>
        <p:nvPicPr>
          <p:cNvPr id="76" name="Picture 28" descr="Logo, company name&#10;&#10;Description automatically generated">
            <a:extLst>
              <a:ext uri="{FF2B5EF4-FFF2-40B4-BE49-F238E27FC236}">
                <a16:creationId xmlns:a16="http://schemas.microsoft.com/office/drawing/2014/main" id="{7594BF30-DDE8-AEB7-2F56-CFD73F92076E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10213950" y="1760759"/>
            <a:ext cx="1035494" cy="569848"/>
          </a:xfrm>
          <a:prstGeom prst="rect">
            <a:avLst/>
          </a:prstGeom>
        </p:spPr>
      </p:pic>
      <p:pic>
        <p:nvPicPr>
          <p:cNvPr id="77" name="Picture 10" descr="Microsoft SQL Server Logo PNG Vector (SVG) Free Download">
            <a:extLst>
              <a:ext uri="{FF2B5EF4-FFF2-40B4-BE49-F238E27FC236}">
                <a16:creationId xmlns:a16="http://schemas.microsoft.com/office/drawing/2014/main" id="{9B2F44C4-66CF-ABC9-BC1E-F001C44957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8805" y="3090044"/>
            <a:ext cx="749748" cy="607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2DF6FA2E-D3AB-02F6-C1A5-96FE35AA242E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4759480" y="3754473"/>
            <a:ext cx="925551" cy="252946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7ABBAECF-015E-0E6D-0AA3-2B2A3AEBF0F1}"/>
              </a:ext>
            </a:extLst>
          </p:cNvPr>
          <p:cNvSpPr/>
          <p:nvPr/>
        </p:nvSpPr>
        <p:spPr>
          <a:xfrm>
            <a:off x="484850" y="2991676"/>
            <a:ext cx="5311699" cy="1530000"/>
          </a:xfrm>
          <a:prstGeom prst="rect">
            <a:avLst/>
          </a:prstGeom>
          <a:noFill/>
          <a:ln w="19050">
            <a:solidFill>
              <a:schemeClr val="accent1">
                <a:lumMod val="40000"/>
                <a:lumOff val="60000"/>
              </a:schemeClr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59963E45-962C-5A9D-3D30-2DA0D03430D3}"/>
              </a:ext>
            </a:extLst>
          </p:cNvPr>
          <p:cNvSpPr/>
          <p:nvPr/>
        </p:nvSpPr>
        <p:spPr>
          <a:xfrm>
            <a:off x="484850" y="4850220"/>
            <a:ext cx="5300548" cy="1530000"/>
          </a:xfrm>
          <a:prstGeom prst="rect">
            <a:avLst/>
          </a:prstGeom>
          <a:noFill/>
          <a:ln w="19050">
            <a:solidFill>
              <a:schemeClr val="accent3"/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DF7E8C6-802B-E3A2-3716-9C3F5FAD9ADC}"/>
              </a:ext>
            </a:extLst>
          </p:cNvPr>
          <p:cNvSpPr/>
          <p:nvPr/>
        </p:nvSpPr>
        <p:spPr>
          <a:xfrm>
            <a:off x="6185208" y="4860117"/>
            <a:ext cx="5313600" cy="1530000"/>
          </a:xfrm>
          <a:prstGeom prst="rect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2248CC45-13DE-6235-8174-1F0E9E740751}"/>
              </a:ext>
            </a:extLst>
          </p:cNvPr>
          <p:cNvSpPr/>
          <p:nvPr/>
        </p:nvSpPr>
        <p:spPr>
          <a:xfrm>
            <a:off x="6185208" y="1133709"/>
            <a:ext cx="5313600" cy="1530000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1AAAD5F-E12F-BF46-39F4-E88F8B9B423C}"/>
              </a:ext>
            </a:extLst>
          </p:cNvPr>
          <p:cNvSpPr/>
          <p:nvPr/>
        </p:nvSpPr>
        <p:spPr>
          <a:xfrm>
            <a:off x="6383608" y="4174348"/>
            <a:ext cx="1942251" cy="30462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defTabSz="914217" fontAlgn="base">
              <a:lnSpc>
                <a:spcPct val="110000"/>
              </a:lnSpc>
              <a:spcBef>
                <a:spcPts val="800"/>
              </a:spcBef>
            </a:pPr>
            <a:r>
              <a:rPr lang="pl-PL" sz="1200" b="1" cap="all">
                <a:latin typeface="Arial" charset="0"/>
                <a:cs typeface="Arial" charset="0"/>
              </a:rPr>
              <a:t>AML</a:t>
            </a:r>
            <a:r>
              <a:rPr lang="en-GB" sz="1200" b="1" cap="all">
                <a:latin typeface="Arial" charset="0"/>
                <a:cs typeface="Arial" charset="0"/>
              </a:rPr>
              <a:t> analytics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BE602BFC-2063-C456-CE5A-C7626246B7C4}"/>
              </a:ext>
            </a:extLst>
          </p:cNvPr>
          <p:cNvSpPr/>
          <p:nvPr/>
        </p:nvSpPr>
        <p:spPr>
          <a:xfrm>
            <a:off x="6185208" y="2984819"/>
            <a:ext cx="5313600" cy="1530000"/>
          </a:xfrm>
          <a:prstGeom prst="rect">
            <a:avLst/>
          </a:prstGeom>
          <a:noFill/>
          <a:ln w="19050">
            <a:solidFill>
              <a:schemeClr val="accent6"/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85" name="Picture 84">
            <a:extLst>
              <a:ext uri="{FF2B5EF4-FFF2-40B4-BE49-F238E27FC236}">
                <a16:creationId xmlns:a16="http://schemas.microsoft.com/office/drawing/2014/main" id="{8F60C147-95CD-FC3C-5D9D-55624E794033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9879980" y="3233873"/>
            <a:ext cx="1395063" cy="428727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93ADA1B9-75A8-7A51-0D79-921FA9936174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9179756" y="3725769"/>
            <a:ext cx="1630424" cy="567451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7E494E1F-E8E9-BF3E-4822-A81E804B7318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8107496" y="3364583"/>
            <a:ext cx="1738603" cy="360842"/>
          </a:xfrm>
          <a:prstGeom prst="rect">
            <a:avLst/>
          </a:prstGeom>
        </p:spPr>
      </p:pic>
      <p:grpSp>
        <p:nvGrpSpPr>
          <p:cNvPr id="88" name="Group 87">
            <a:extLst>
              <a:ext uri="{FF2B5EF4-FFF2-40B4-BE49-F238E27FC236}">
                <a16:creationId xmlns:a16="http://schemas.microsoft.com/office/drawing/2014/main" id="{8FCF8A2D-DDBF-5B8F-13AC-505AB92787C0}"/>
              </a:ext>
            </a:extLst>
          </p:cNvPr>
          <p:cNvGrpSpPr/>
          <p:nvPr/>
        </p:nvGrpSpPr>
        <p:grpSpPr>
          <a:xfrm>
            <a:off x="6623171" y="3203243"/>
            <a:ext cx="758936" cy="879448"/>
            <a:chOff x="6408819" y="2063593"/>
            <a:chExt cx="1210726" cy="1532529"/>
          </a:xfrm>
        </p:grpSpPr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71741680-63E0-5726-2C4F-926D3134C50D}"/>
                </a:ext>
              </a:extLst>
            </p:cNvPr>
            <p:cNvSpPr/>
            <p:nvPr/>
          </p:nvSpPr>
          <p:spPr>
            <a:xfrm>
              <a:off x="6408819" y="2410394"/>
              <a:ext cx="1185728" cy="1185728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scene3d>
              <a:camera prst="isometricTopUp"/>
              <a:lightRig rig="threePt" dir="t"/>
            </a:scene3d>
            <a:sp3d extrusionH="101600">
              <a:extrusionClr>
                <a:schemeClr val="bg1">
                  <a:lumMod val="65000"/>
                </a:schemeClr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B5E8495C-F515-52C0-370E-1518A8B85FC7}"/>
                </a:ext>
              </a:extLst>
            </p:cNvPr>
            <p:cNvSpPr/>
            <p:nvPr/>
          </p:nvSpPr>
          <p:spPr>
            <a:xfrm>
              <a:off x="6592803" y="2063593"/>
              <a:ext cx="1026742" cy="1026742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>
              <a:outerShdw blurRad="127000" dist="342900" dir="4920000" sx="83000" sy="83000" rotWithShape="0">
                <a:schemeClr val="tx1">
                  <a:alpha val="40000"/>
                </a:schemeClr>
              </a:outerShdw>
            </a:effectLst>
            <a:scene3d>
              <a:camera prst="isometricRightUp"/>
              <a:lightRig rig="threePt" dir="t"/>
            </a:scene3d>
            <a:sp3d extrusionH="152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1" name="Graphic 90" descr="Money outline">
              <a:extLst>
                <a:ext uri="{FF2B5EF4-FFF2-40B4-BE49-F238E27FC236}">
                  <a16:creationId xmlns:a16="http://schemas.microsoft.com/office/drawing/2014/main" id="{6DB43C54-65A4-E068-C677-1D5A014D62A1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rcRect/>
            <a:stretch/>
          </p:blipFill>
          <p:spPr>
            <a:xfrm>
              <a:off x="6757922" y="2153673"/>
              <a:ext cx="746598" cy="815538"/>
            </a:xfrm>
            <a:prstGeom prst="rect">
              <a:avLst/>
            </a:prstGeom>
            <a:scene3d>
              <a:camera prst="isometricRightUp"/>
              <a:lightRig rig="threePt" dir="t"/>
            </a:scene3d>
          </p:spPr>
        </p:pic>
      </p:grpSp>
      <p:sp>
        <p:nvSpPr>
          <p:cNvPr id="92" name="Rectangle 91">
            <a:extLst>
              <a:ext uri="{FF2B5EF4-FFF2-40B4-BE49-F238E27FC236}">
                <a16:creationId xmlns:a16="http://schemas.microsoft.com/office/drawing/2014/main" id="{2898626F-8F88-BA8E-3D89-029BD86DAAD9}"/>
              </a:ext>
            </a:extLst>
          </p:cNvPr>
          <p:cNvSpPr/>
          <p:nvPr/>
        </p:nvSpPr>
        <p:spPr>
          <a:xfrm>
            <a:off x="447956" y="1158123"/>
            <a:ext cx="5300548" cy="1530000"/>
          </a:xfrm>
          <a:prstGeom prst="rect">
            <a:avLst/>
          </a:prstGeom>
          <a:noFill/>
          <a:ln w="19050">
            <a:solidFill>
              <a:schemeClr val="accent3"/>
            </a:solidFill>
            <a:prstDash val="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C6FF6072-679F-B827-A829-274F76C76291}"/>
              </a:ext>
            </a:extLst>
          </p:cNvPr>
          <p:cNvGrpSpPr/>
          <p:nvPr/>
        </p:nvGrpSpPr>
        <p:grpSpPr>
          <a:xfrm>
            <a:off x="853619" y="1412200"/>
            <a:ext cx="757897" cy="879448"/>
            <a:chOff x="4584429" y="4266426"/>
            <a:chExt cx="1185728" cy="1548817"/>
          </a:xfrm>
        </p:grpSpPr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40E1CE72-37BE-40BF-28C3-BEC1C83663A2}"/>
                </a:ext>
              </a:extLst>
            </p:cNvPr>
            <p:cNvSpPr/>
            <p:nvPr/>
          </p:nvSpPr>
          <p:spPr>
            <a:xfrm>
              <a:off x="4584429" y="4629515"/>
              <a:ext cx="1185728" cy="1185728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scene3d>
              <a:camera prst="isometricTopUp"/>
              <a:lightRig rig="threePt" dir="t"/>
            </a:scene3d>
            <a:sp3d extrusionH="101600">
              <a:extrusionClr>
                <a:schemeClr val="bg1">
                  <a:lumMod val="65000"/>
                </a:schemeClr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" name="Rectangle: Rounded Corners 94">
              <a:extLst>
                <a:ext uri="{FF2B5EF4-FFF2-40B4-BE49-F238E27FC236}">
                  <a16:creationId xmlns:a16="http://schemas.microsoft.com/office/drawing/2014/main" id="{1F80EBE0-52BD-23D3-5289-8EEB25DE77C7}"/>
                </a:ext>
              </a:extLst>
            </p:cNvPr>
            <p:cNvSpPr/>
            <p:nvPr/>
          </p:nvSpPr>
          <p:spPr>
            <a:xfrm>
              <a:off x="4699242" y="4266426"/>
              <a:ext cx="1026742" cy="1026742"/>
            </a:xfrm>
            <a:prstGeom prst="roundRect">
              <a:avLst/>
            </a:prstGeom>
            <a:solidFill>
              <a:schemeClr val="accent6">
                <a:lumMod val="25000"/>
              </a:schemeClr>
            </a:solidFill>
            <a:ln>
              <a:noFill/>
            </a:ln>
            <a:effectLst>
              <a:outerShdw blurRad="127000" dist="342900" dir="4920000" sx="83000" sy="83000" rotWithShape="0">
                <a:schemeClr val="tx1">
                  <a:alpha val="40000"/>
                </a:schemeClr>
              </a:outerShdw>
            </a:effectLst>
            <a:scene3d>
              <a:camera prst="isometricRightUp"/>
              <a:lightRig rig="threePt" dir="t"/>
            </a:scene3d>
            <a:sp3d extrusionH="152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6" name="Rectangle 95">
            <a:extLst>
              <a:ext uri="{FF2B5EF4-FFF2-40B4-BE49-F238E27FC236}">
                <a16:creationId xmlns:a16="http://schemas.microsoft.com/office/drawing/2014/main" id="{52D64EEA-9067-A363-F86C-EFD385E9315C}"/>
              </a:ext>
            </a:extLst>
          </p:cNvPr>
          <p:cNvSpPr/>
          <p:nvPr/>
        </p:nvSpPr>
        <p:spPr>
          <a:xfrm>
            <a:off x="278054" y="2384755"/>
            <a:ext cx="2049385" cy="30462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ctr" defTabSz="914217" fontAlgn="base">
              <a:lnSpc>
                <a:spcPct val="110000"/>
              </a:lnSpc>
              <a:spcBef>
                <a:spcPts val="800"/>
              </a:spcBef>
            </a:pPr>
            <a:r>
              <a:rPr lang="pl-PL" sz="1200" b="1" cap="all">
                <a:latin typeface="Arial" charset="0"/>
                <a:cs typeface="Arial" charset="0"/>
              </a:rPr>
              <a:t>Gen.AI</a:t>
            </a:r>
            <a:endParaRPr lang="nn-NO" sz="1200" b="1" cap="all">
              <a:latin typeface="Arial" charset="0"/>
              <a:cs typeface="Arial" charset="0"/>
            </a:endParaRPr>
          </a:p>
        </p:txBody>
      </p:sp>
      <p:pic>
        <p:nvPicPr>
          <p:cNvPr id="97" name="Picture 96">
            <a:extLst>
              <a:ext uri="{FF2B5EF4-FFF2-40B4-BE49-F238E27FC236}">
                <a16:creationId xmlns:a16="http://schemas.microsoft.com/office/drawing/2014/main" id="{5971086F-C45F-A73D-31AF-BBEDC281C2D4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2367508" y="1313300"/>
            <a:ext cx="2612515" cy="644046"/>
          </a:xfrm>
          <a:prstGeom prst="rect">
            <a:avLst/>
          </a:prstGeom>
        </p:spPr>
      </p:pic>
      <p:pic>
        <p:nvPicPr>
          <p:cNvPr id="98" name="Picture 97" descr="A purple and black logo&#10;&#10;Description automatically generated">
            <a:extLst>
              <a:ext uri="{FF2B5EF4-FFF2-40B4-BE49-F238E27FC236}">
                <a16:creationId xmlns:a16="http://schemas.microsoft.com/office/drawing/2014/main" id="{DAEE4C2D-0765-601D-6308-F8E9D84D5997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3224129" y="2014158"/>
            <a:ext cx="856924" cy="703982"/>
          </a:xfrm>
          <a:prstGeom prst="rect">
            <a:avLst/>
          </a:prstGeom>
          <a:effectLst/>
        </p:spPr>
      </p:pic>
      <p:pic>
        <p:nvPicPr>
          <p:cNvPr id="99" name="Picture 36" descr="Brand assets - Hugging Face">
            <a:extLst>
              <a:ext uri="{FF2B5EF4-FFF2-40B4-BE49-F238E27FC236}">
                <a16:creationId xmlns:a16="http://schemas.microsoft.com/office/drawing/2014/main" id="{1C15A16F-3F64-9E03-B712-62B58433B9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22" b="8622"/>
          <a:stretch/>
        </p:blipFill>
        <p:spPr bwMode="auto">
          <a:xfrm>
            <a:off x="4154809" y="2182734"/>
            <a:ext cx="1472495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2">
            <a:extLst>
              <a:ext uri="{FF2B5EF4-FFF2-40B4-BE49-F238E27FC236}">
                <a16:creationId xmlns:a16="http://schemas.microsoft.com/office/drawing/2014/main" id="{460BF306-B141-F6A4-87B0-687C2BF83E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/>
          <a:srcRect/>
          <a:stretch/>
        </p:blipFill>
        <p:spPr bwMode="auto">
          <a:xfrm>
            <a:off x="1821638" y="2086043"/>
            <a:ext cx="503062" cy="503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1" name="Rectangle: Rounded Corners 100">
            <a:extLst>
              <a:ext uri="{FF2B5EF4-FFF2-40B4-BE49-F238E27FC236}">
                <a16:creationId xmlns:a16="http://schemas.microsoft.com/office/drawing/2014/main" id="{7D578A7D-4E29-8D41-91FA-958C78900F9C}"/>
              </a:ext>
            </a:extLst>
          </p:cNvPr>
          <p:cNvSpPr/>
          <p:nvPr/>
        </p:nvSpPr>
        <p:spPr>
          <a:xfrm>
            <a:off x="2085072" y="2172213"/>
            <a:ext cx="1204378" cy="58217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b="1" i="0" u="none" strike="noStrike" kern="1200" cap="none" spc="0" normalizeH="0" baseline="0" noProof="0">
                <a:ln>
                  <a:noFill/>
                </a:ln>
                <a:solidFill>
                  <a:srgbClr val="460073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aLM2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5F28692C-7F16-1164-42D7-F9C744C104BB}"/>
              </a:ext>
            </a:extLst>
          </p:cNvPr>
          <p:cNvPicPr>
            <a:picLocks noChangeAspect="1"/>
          </p:cNvPicPr>
          <p:nvPr/>
        </p:nvPicPr>
        <p:blipFill rotWithShape="1">
          <a:blip r:embed="rId3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rcRect r="73044" b="17228"/>
          <a:stretch/>
        </p:blipFill>
        <p:spPr>
          <a:xfrm>
            <a:off x="910381" y="1457098"/>
            <a:ext cx="704221" cy="533091"/>
          </a:xfrm>
          <a:prstGeom prst="rect">
            <a:avLst/>
          </a:prstGeom>
          <a:scene3d>
            <a:camera prst="isometricRightUp">
              <a:rot lat="2100000" lon="18899996" rev="0"/>
            </a:camera>
            <a:lightRig rig="threePt" dir="t"/>
          </a:scene3d>
        </p:spPr>
      </p:pic>
      <p:pic>
        <p:nvPicPr>
          <p:cNvPr id="103" name="Picture 51" descr="Logo, company name&#10;&#10;Description automatically generated">
            <a:extLst>
              <a:ext uri="{FF2B5EF4-FFF2-40B4-BE49-F238E27FC236}">
                <a16:creationId xmlns:a16="http://schemas.microsoft.com/office/drawing/2014/main" id="{D0E16EB6-72AC-48F5-3AED-A309697045A5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8304421" y="4975951"/>
            <a:ext cx="1240368" cy="688764"/>
          </a:xfrm>
          <a:prstGeom prst="rect">
            <a:avLst/>
          </a:prstGeom>
        </p:spPr>
      </p:pic>
      <p:pic>
        <p:nvPicPr>
          <p:cNvPr id="104" name="Picture 2" descr="[资源分享] TensorFlow 官方中文版教程来了 - 知乎">
            <a:extLst>
              <a:ext uri="{FF2B5EF4-FFF2-40B4-BE49-F238E27FC236}">
                <a16:creationId xmlns:a16="http://schemas.microsoft.com/office/drawing/2014/main" id="{846A5627-08CB-1681-EDF3-A8F26C87C6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3903" y="5474312"/>
            <a:ext cx="1032994" cy="661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51172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E8A82B-C4D1-4A09-9EC8-5D93EACE1C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E8A82B-C4D1-4A09-9EC8-5D93EACE1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3" name="Title 1">
            <a:extLst>
              <a:ext uri="{FF2B5EF4-FFF2-40B4-BE49-F238E27FC236}">
                <a16:creationId xmlns:a16="http://schemas.microsoft.com/office/drawing/2014/main" id="{D59545F7-0203-C7F3-1C53-BE4FF3E604E7}"/>
              </a:ext>
            </a:extLst>
          </p:cNvPr>
          <p:cNvSpPr txBox="1">
            <a:spLocks/>
          </p:cNvSpPr>
          <p:nvPr/>
        </p:nvSpPr>
        <p:spPr>
          <a:xfrm>
            <a:off x="338546" y="207092"/>
            <a:ext cx="11641970" cy="77613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inden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79600" algn="l"/>
              </a:tabLst>
              <a:defRPr sz="3600" b="1" i="0">
                <a:solidFill>
                  <a:schemeClr val="accent2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We support </a:t>
            </a:r>
            <a:r>
              <a:rPr lang="pl-PL">
                <a:solidFill>
                  <a:schemeClr val="tx1"/>
                </a:solidFill>
              </a:rPr>
              <a:t>all</a:t>
            </a:r>
            <a:r>
              <a:rPr lang="en-US">
                <a:solidFill>
                  <a:schemeClr val="tx1"/>
                </a:solidFill>
              </a:rPr>
              <a:t> industries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9210C829-5FFF-4553-FDE7-348E7C6BD414}"/>
              </a:ext>
            </a:extLst>
          </p:cNvPr>
          <p:cNvSpPr txBox="1">
            <a:spLocks/>
          </p:cNvSpPr>
          <p:nvPr/>
        </p:nvSpPr>
        <p:spPr>
          <a:xfrm>
            <a:off x="11427813" y="6480578"/>
            <a:ext cx="381600" cy="132523"/>
          </a:xfrm>
          <a:prstGeom prst="rect">
            <a:avLst/>
          </a:prstGeom>
        </p:spPr>
        <p:txBody>
          <a:bodyPr/>
          <a:lstStyle>
            <a:defPPr>
              <a:defRPr lang="en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668" fontAlgn="base">
              <a:spcBef>
                <a:spcPct val="0"/>
              </a:spcBef>
              <a:spcAft>
                <a:spcPct val="0"/>
              </a:spcAft>
              <a:defRPr/>
            </a:pPr>
            <a:fld id="{90CBDC3A-D49F-4631-A8C7-55D59B33E5FA}" type="slidenum">
              <a:rPr lang="en-US" smtClean="0">
                <a:solidFill>
                  <a:srgbClr val="000000">
                    <a:alpha val="50000"/>
                  </a:srgbClr>
                </a:solidFill>
                <a:latin typeface="Arial"/>
              </a:rPr>
              <a:pPr defTabSz="913668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US">
              <a:solidFill>
                <a:srgbClr val="000000">
                  <a:alpha val="50000"/>
                </a:srgbClr>
              </a:solidFill>
              <a:latin typeface="Arial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9AE54555-96AC-5F0C-6560-D59D3D8D037D}"/>
              </a:ext>
            </a:extLst>
          </p:cNvPr>
          <p:cNvSpPr txBox="1">
            <a:spLocks/>
          </p:cNvSpPr>
          <p:nvPr/>
        </p:nvSpPr>
        <p:spPr>
          <a:xfrm flipH="1">
            <a:off x="11610136" y="6535542"/>
            <a:ext cx="215816" cy="161788"/>
          </a:xfrm>
          <a:prstGeom prst="rect">
            <a:avLst/>
          </a:prstGeom>
        </p:spPr>
        <p:txBody>
          <a:bodyPr vert="horz" wrap="square" lIns="0" tIns="60892" rIns="0" bIns="60892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>
                    <a:alpha val="50000"/>
                  </a:schemeClr>
                </a:solidFill>
                <a:latin typeface="+mn-lt"/>
                <a:ea typeface="Roboto Light" panose="02000000000000000000" pitchFamily="2" charset="0"/>
                <a:cs typeface="Gotham Medium" pitchFamily="2" charset="0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3047213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656656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4266097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875541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3668">
              <a:defRPr/>
            </a:pPr>
            <a:fld id="{90CBDC3A-D49F-4631-A8C7-55D59B33E5FA}" type="slidenum">
              <a:rPr lang="en-US">
                <a:solidFill>
                  <a:srgbClr val="8A8A8A">
                    <a:alpha val="50000"/>
                  </a:srgbClr>
                </a:solidFill>
                <a:latin typeface="Arial" panose="020B0604020202020204" pitchFamily="34" charset="0"/>
              </a:rPr>
              <a:pPr defTabSz="913668">
                <a:defRPr/>
              </a:pPr>
              <a:t>5</a:t>
            </a:fld>
            <a:endParaRPr lang="en-US">
              <a:solidFill>
                <a:srgbClr val="8A8A8A">
                  <a:alpha val="5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67FF26C9-A56C-7F46-6FCB-04618B1D72EA}"/>
              </a:ext>
            </a:extLst>
          </p:cNvPr>
          <p:cNvSpPr txBox="1">
            <a:spLocks/>
          </p:cNvSpPr>
          <p:nvPr/>
        </p:nvSpPr>
        <p:spPr>
          <a:xfrm>
            <a:off x="7495798" y="6508824"/>
            <a:ext cx="4141956" cy="161962"/>
          </a:xfrm>
          <a:prstGeom prst="rect">
            <a:avLst/>
          </a:prstGeom>
        </p:spPr>
        <p:txBody>
          <a:bodyPr/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3668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chemeClr val="tx1">
                    <a:alpha val="50000"/>
                  </a:schemeClr>
                </a:solidFill>
                <a:latin typeface="Arial"/>
              </a:rPr>
              <a:t>Copyright © 202</a:t>
            </a:r>
            <a:r>
              <a:rPr lang="pl-PL" sz="800">
                <a:solidFill>
                  <a:schemeClr val="tx1">
                    <a:alpha val="50000"/>
                  </a:schemeClr>
                </a:solidFill>
                <a:latin typeface="Arial"/>
              </a:rPr>
              <a:t>2</a:t>
            </a:r>
            <a:r>
              <a:rPr lang="en-GB" sz="800">
                <a:solidFill>
                  <a:schemeClr val="tx1">
                    <a:alpha val="50000"/>
                  </a:schemeClr>
                </a:solidFill>
                <a:latin typeface="Arial"/>
              </a:rPr>
              <a:t> Accenture. All rights reserved.</a:t>
            </a:r>
          </a:p>
        </p:txBody>
      </p:sp>
      <p:graphicFrame>
        <p:nvGraphicFramePr>
          <p:cNvPr id="6" name="Object 2">
            <a:extLst>
              <a:ext uri="{FF2B5EF4-FFF2-40B4-BE49-F238E27FC236}">
                <a16:creationId xmlns:a16="http://schemas.microsoft.com/office/drawing/2014/main" id="{0DBA7A88-A2F3-7107-F0F4-E3C0B978F53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6377744"/>
              </p:ext>
            </p:extLst>
          </p:nvPr>
        </p:nvGraphicFramePr>
        <p:xfrm>
          <a:off x="381000" y="1701757"/>
          <a:ext cx="11437938" cy="4536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F613C63A-8142-288C-D46E-2A743357035E}"/>
              </a:ext>
            </a:extLst>
          </p:cNvPr>
          <p:cNvGrpSpPr/>
          <p:nvPr/>
        </p:nvGrpSpPr>
        <p:grpSpPr>
          <a:xfrm>
            <a:off x="445855" y="4576539"/>
            <a:ext cx="3345095" cy="1458467"/>
            <a:chOff x="357188" y="4941081"/>
            <a:chExt cx="3345095" cy="145846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F58B489-2415-556A-198B-270F3874920D}"/>
                </a:ext>
              </a:extLst>
            </p:cNvPr>
            <p:cNvSpPr txBox="1"/>
            <p:nvPr/>
          </p:nvSpPr>
          <p:spPr>
            <a:xfrm>
              <a:off x="729186" y="4952998"/>
              <a:ext cx="2973097" cy="1446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b="1">
                  <a:solidFill>
                    <a:srgbClr val="7030A0"/>
                  </a:solidFill>
                  <a:cs typeface="Arial" charset="0"/>
                </a:rPr>
                <a:t>H&amp;PS</a:t>
              </a:r>
            </a:p>
            <a:p>
              <a:pPr defTabSz="914217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l-PL" sz="1400" err="1">
                  <a:cs typeface="Arial" charset="0"/>
                </a:rPr>
                <a:t>Our</a:t>
              </a:r>
              <a:r>
                <a:rPr lang="pl-PL" sz="1400">
                  <a:cs typeface="Arial" charset="0"/>
                </a:rPr>
                <a:t> </a:t>
              </a:r>
              <a:r>
                <a:rPr lang="pl-PL" sz="1400" err="1">
                  <a:cs typeface="Arial" charset="0"/>
                </a:rPr>
                <a:t>competences</a:t>
              </a:r>
              <a:r>
                <a:rPr lang="pl-PL" sz="1400">
                  <a:cs typeface="Arial" charset="0"/>
                </a:rPr>
                <a:t> </a:t>
              </a:r>
              <a:r>
                <a:rPr lang="en-GB" sz="1400">
                  <a:cs typeface="Arial" charset="0"/>
                </a:rPr>
                <a:t>in </a:t>
              </a:r>
              <a:r>
                <a:rPr lang="en-GB" sz="1400" b="1">
                  <a:solidFill>
                    <a:srgbClr val="7030A0"/>
                  </a:solidFill>
                  <a:cs typeface="Arial" charset="0"/>
                </a:rPr>
                <a:t>public sector</a:t>
              </a:r>
              <a:r>
                <a:rPr lang="pl-PL" sz="1400" b="1">
                  <a:solidFill>
                    <a:srgbClr val="7030A0"/>
                  </a:solidFill>
                  <a:cs typeface="Arial" charset="0"/>
                </a:rPr>
                <a:t> </a:t>
              </a:r>
              <a:r>
                <a:rPr lang="pl-PL" sz="1400" err="1">
                  <a:cs typeface="Arial" charset="0"/>
                </a:rPr>
                <a:t>are</a:t>
              </a:r>
              <a:r>
                <a:rPr lang="pl-PL" sz="1400">
                  <a:cs typeface="Arial" charset="0"/>
                </a:rPr>
                <a:t> </a:t>
              </a:r>
              <a:r>
                <a:rPr lang="pl-PL" sz="1400" err="1">
                  <a:cs typeface="Arial" charset="0"/>
                </a:rPr>
                <a:t>growing</a:t>
              </a:r>
              <a:r>
                <a:rPr lang="pl-PL" sz="1400">
                  <a:cs typeface="Arial" charset="0"/>
                </a:rPr>
                <a:t> </a:t>
              </a:r>
              <a:r>
                <a:rPr lang="pl-PL" sz="1400" err="1">
                  <a:cs typeface="Arial" charset="0"/>
                </a:rPr>
                <a:t>thanks</a:t>
              </a:r>
              <a:r>
                <a:rPr lang="pl-PL" sz="1400">
                  <a:cs typeface="Arial" charset="0"/>
                </a:rPr>
                <a:t> to </a:t>
              </a:r>
              <a:r>
                <a:rPr lang="pl-PL" sz="1400" err="1">
                  <a:cs typeface="Arial" charset="0"/>
                </a:rPr>
                <a:t>several</a:t>
              </a:r>
              <a:r>
                <a:rPr lang="pl-PL" sz="1400">
                  <a:cs typeface="Arial" charset="0"/>
                </a:rPr>
                <a:t> </a:t>
              </a:r>
              <a:r>
                <a:rPr lang="pl-PL" sz="1400" err="1">
                  <a:cs typeface="Arial" charset="0"/>
                </a:rPr>
                <a:t>project</a:t>
              </a:r>
              <a:r>
                <a:rPr lang="pl-PL" sz="1400">
                  <a:cs typeface="Arial" charset="0"/>
                </a:rPr>
                <a:t> we </a:t>
              </a:r>
              <a:r>
                <a:rPr lang="pl-PL" sz="1400" err="1">
                  <a:cs typeface="Arial" charset="0"/>
                </a:rPr>
                <a:t>are</a:t>
              </a:r>
              <a:r>
                <a:rPr lang="pl-PL" sz="1400">
                  <a:cs typeface="Arial" charset="0"/>
                </a:rPr>
                <a:t> </a:t>
              </a:r>
              <a:r>
                <a:rPr lang="pl-PL" sz="1400" err="1">
                  <a:cs typeface="Arial" charset="0"/>
                </a:rPr>
                <a:t>delivering</a:t>
              </a:r>
              <a:r>
                <a:rPr lang="pl-PL" sz="1400">
                  <a:cs typeface="Arial" charset="0"/>
                </a:rPr>
                <a:t> </a:t>
              </a:r>
              <a:r>
                <a:rPr lang="pl-PL" sz="1400" err="1">
                  <a:cs typeface="Arial" charset="0"/>
                </a:rPr>
                <a:t>including</a:t>
              </a:r>
              <a:r>
                <a:rPr lang="pl-PL" sz="1400">
                  <a:cs typeface="Arial" charset="0"/>
                </a:rPr>
                <a:t> </a:t>
              </a:r>
              <a:r>
                <a:rPr lang="pl-PL" sz="1400" err="1">
                  <a:cs typeface="Arial" charset="0"/>
                </a:rPr>
                <a:t>projects</a:t>
              </a:r>
              <a:r>
                <a:rPr lang="pl-PL" sz="1400">
                  <a:cs typeface="Arial" charset="0"/>
                </a:rPr>
                <a:t> for Police </a:t>
              </a:r>
              <a:r>
                <a:rPr lang="pl-PL" sz="1400" err="1">
                  <a:cs typeface="Arial" charset="0"/>
                </a:rPr>
                <a:t>Forces</a:t>
              </a:r>
              <a:r>
                <a:rPr lang="pl-PL" sz="1400">
                  <a:cs typeface="Arial" charset="0"/>
                </a:rPr>
                <a:t>.</a:t>
              </a:r>
              <a:endParaRPr lang="en-GB" sz="1400">
                <a:cs typeface="Arial" charset="0"/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DCF5A3F0-E888-A82E-778B-D55C83DA8F59}"/>
                </a:ext>
              </a:extLst>
            </p:cNvPr>
            <p:cNvGrpSpPr/>
            <p:nvPr/>
          </p:nvGrpSpPr>
          <p:grpSpPr>
            <a:xfrm>
              <a:off x="357188" y="4941081"/>
              <a:ext cx="396000" cy="396000"/>
              <a:chOff x="448427" y="4522940"/>
              <a:chExt cx="396000" cy="396000"/>
            </a:xfrm>
          </p:grpSpPr>
          <p:sp>
            <p:nvSpPr>
              <p:cNvPr id="10" name="Shape 251">
                <a:extLst>
                  <a:ext uri="{FF2B5EF4-FFF2-40B4-BE49-F238E27FC236}">
                    <a16:creationId xmlns:a16="http://schemas.microsoft.com/office/drawing/2014/main" id="{C56BD288-03CB-ABBE-7FE8-884C801B7FCB}"/>
                  </a:ext>
                </a:extLst>
              </p:cNvPr>
              <p:cNvSpPr/>
              <p:nvPr/>
            </p:nvSpPr>
            <p:spPr>
              <a:xfrm>
                <a:off x="448427" y="4522940"/>
                <a:ext cx="396000" cy="39600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txBody>
              <a:bodyPr lIns="91404" tIns="45689" rIns="91404" bIns="45689" anchor="ctr" anchorCtr="0">
                <a:noAutofit/>
              </a:bodyPr>
              <a:lstStyle/>
              <a:p>
                <a:pPr algn="ctr" defTabSz="914217" fontAlgn="base">
                  <a:buClr>
                    <a:srgbClr val="000000"/>
                  </a:buClr>
                  <a:defRPr/>
                </a:pPr>
                <a:endParaRPr lang="en-GB" sz="600">
                  <a:solidFill>
                    <a:srgbClr val="FFFFFF"/>
                  </a:solidFill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11" name="Obraz 42" descr="ACC-ikonki do PPT-waga.png">
                <a:extLst>
                  <a:ext uri="{FF2B5EF4-FFF2-40B4-BE49-F238E27FC236}">
                    <a16:creationId xmlns:a16="http://schemas.microsoft.com/office/drawing/2014/main" id="{A5F1E536-2C6A-C90E-4447-33069730C62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lum bright="100000" contrast="100000"/>
              </a:blip>
              <a:stretch>
                <a:fillRect/>
              </a:stretch>
            </p:blipFill>
            <p:spPr>
              <a:xfrm>
                <a:off x="528720" y="4612878"/>
                <a:ext cx="236059" cy="205362"/>
              </a:xfrm>
              <a:prstGeom prst="rect">
                <a:avLst/>
              </a:prstGeom>
            </p:spPr>
          </p:pic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22BB3D9-8B38-F04E-77EA-95A3EB8A7780}"/>
              </a:ext>
            </a:extLst>
          </p:cNvPr>
          <p:cNvGrpSpPr/>
          <p:nvPr/>
        </p:nvGrpSpPr>
        <p:grpSpPr>
          <a:xfrm>
            <a:off x="3342810" y="953725"/>
            <a:ext cx="4639768" cy="1033191"/>
            <a:chOff x="539478" y="2245538"/>
            <a:chExt cx="4639768" cy="1033191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E899A3F-80F7-8702-5E6F-7F7A7C876ED1}"/>
                </a:ext>
              </a:extLst>
            </p:cNvPr>
            <p:cNvSpPr txBox="1"/>
            <p:nvPr/>
          </p:nvSpPr>
          <p:spPr>
            <a:xfrm>
              <a:off x="928647" y="2263066"/>
              <a:ext cx="4250599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b="1">
                  <a:solidFill>
                    <a:srgbClr val="7030A0"/>
                  </a:solidFill>
                  <a:cs typeface="Arial" charset="0"/>
                </a:rPr>
                <a:t>CMT</a:t>
              </a:r>
            </a:p>
            <a:p>
              <a:pPr defTabSz="914217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00" b="1">
                  <a:solidFill>
                    <a:srgbClr val="7030A0"/>
                  </a:solidFill>
                  <a:cs typeface="Arial" charset="0"/>
                </a:rPr>
                <a:t>Telecoms </a:t>
              </a:r>
              <a:r>
                <a:rPr lang="en-GB" sz="1400">
                  <a:cs typeface="Arial" charset="0"/>
                </a:rPr>
                <a:t>are one of our core industries</a:t>
              </a:r>
              <a:r>
                <a:rPr lang="pl-PL" sz="1400">
                  <a:cs typeface="Arial" charset="0"/>
                </a:rPr>
                <a:t> where we are engaged in numerous projects on Customer Analytics and Data management.</a:t>
              </a:r>
              <a:endParaRPr lang="en-GB" sz="1400">
                <a:cs typeface="Arial" charset="0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FBC68FF-CFA1-4771-46DD-5C214D8569C6}"/>
                </a:ext>
              </a:extLst>
            </p:cNvPr>
            <p:cNvGrpSpPr/>
            <p:nvPr/>
          </p:nvGrpSpPr>
          <p:grpSpPr>
            <a:xfrm>
              <a:off x="539478" y="2245538"/>
              <a:ext cx="396000" cy="396000"/>
              <a:chOff x="459080" y="2245538"/>
              <a:chExt cx="396000" cy="396000"/>
            </a:xfrm>
          </p:grpSpPr>
          <p:sp>
            <p:nvSpPr>
              <p:cNvPr id="15" name="Shape 251">
                <a:extLst>
                  <a:ext uri="{FF2B5EF4-FFF2-40B4-BE49-F238E27FC236}">
                    <a16:creationId xmlns:a16="http://schemas.microsoft.com/office/drawing/2014/main" id="{F44892DE-BE7C-3BB5-E6CE-2983BBAF3463}"/>
                  </a:ext>
                </a:extLst>
              </p:cNvPr>
              <p:cNvSpPr/>
              <p:nvPr/>
            </p:nvSpPr>
            <p:spPr>
              <a:xfrm>
                <a:off x="459080" y="2245538"/>
                <a:ext cx="396000" cy="39600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txBody>
              <a:bodyPr lIns="91404" tIns="45689" rIns="91404" bIns="45689" anchor="ctr" anchorCtr="0">
                <a:noAutofit/>
              </a:bodyPr>
              <a:lstStyle/>
              <a:p>
                <a:pPr algn="ctr" defTabSz="914217" fontAlgn="base">
                  <a:buClr>
                    <a:srgbClr val="000000"/>
                  </a:buClr>
                  <a:defRPr/>
                </a:pPr>
                <a:endParaRPr lang="en-GB" sz="600">
                  <a:solidFill>
                    <a:srgbClr val="FFFFFF"/>
                  </a:solidFill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16" name="Obraz 22" descr="ACC-ikonki do PPT-antena.png">
                <a:extLst>
                  <a:ext uri="{FF2B5EF4-FFF2-40B4-BE49-F238E27FC236}">
                    <a16:creationId xmlns:a16="http://schemas.microsoft.com/office/drawing/2014/main" id="{3D8BE355-8080-B292-C876-361D1529C6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lum bright="100000" contrast="100000"/>
              </a:blip>
              <a:stretch>
                <a:fillRect/>
              </a:stretch>
            </p:blipFill>
            <p:spPr>
              <a:xfrm>
                <a:off x="560469" y="2337716"/>
                <a:ext cx="213836" cy="215720"/>
              </a:xfrm>
              <a:prstGeom prst="rect">
                <a:avLst/>
              </a:prstGeom>
            </p:spPr>
          </p:pic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983A956-6088-15CA-F59F-3E5011ADD621}"/>
              </a:ext>
            </a:extLst>
          </p:cNvPr>
          <p:cNvGrpSpPr/>
          <p:nvPr/>
        </p:nvGrpSpPr>
        <p:grpSpPr>
          <a:xfrm>
            <a:off x="445855" y="2587273"/>
            <a:ext cx="3181765" cy="1250684"/>
            <a:chOff x="4019383" y="1203641"/>
            <a:chExt cx="3181765" cy="1250684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BE986D7-A577-64CB-1037-93033C3D1BAA}"/>
                </a:ext>
              </a:extLst>
            </p:cNvPr>
            <p:cNvSpPr txBox="1"/>
            <p:nvPr/>
          </p:nvSpPr>
          <p:spPr>
            <a:xfrm>
              <a:off x="4397900" y="1223219"/>
              <a:ext cx="2803248" cy="12311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l-PL" b="1">
                  <a:solidFill>
                    <a:srgbClr val="7030A0"/>
                  </a:solidFill>
                  <a:cs typeface="Arial" charset="0"/>
                </a:rPr>
                <a:t>Products</a:t>
              </a:r>
              <a:endParaRPr lang="en-GB" b="1">
                <a:solidFill>
                  <a:srgbClr val="7030A0"/>
                </a:solidFill>
                <a:cs typeface="Arial" charset="0"/>
              </a:endParaRPr>
            </a:p>
            <a:p>
              <a:pPr defTabSz="914217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l-PL" sz="1400">
                  <a:cs typeface="Arial" charset="0"/>
                </a:rPr>
                <a:t>We realized projects </a:t>
              </a:r>
              <a:r>
                <a:rPr lang="en-GB" sz="1400">
                  <a:cs typeface="Arial" charset="0"/>
                </a:rPr>
                <a:t>for </a:t>
              </a:r>
              <a:r>
                <a:rPr lang="en-GB" sz="1400" b="1">
                  <a:solidFill>
                    <a:srgbClr val="7030A0"/>
                  </a:solidFill>
                  <a:cs typeface="Arial" charset="0"/>
                </a:rPr>
                <a:t>retail</a:t>
              </a:r>
              <a:r>
                <a:rPr lang="en-GB" sz="1400" b="1">
                  <a:solidFill>
                    <a:srgbClr val="FFFFFF"/>
                  </a:solidFill>
                  <a:cs typeface="Arial" charset="0"/>
                </a:rPr>
                <a:t> </a:t>
              </a:r>
              <a:r>
                <a:rPr lang="en-GB" sz="1400">
                  <a:cs typeface="Arial" charset="0"/>
                </a:rPr>
                <a:t>and </a:t>
              </a:r>
              <a:r>
                <a:rPr lang="en-GB" sz="1400" b="1">
                  <a:solidFill>
                    <a:srgbClr val="7030A0"/>
                  </a:solidFill>
                  <a:cs typeface="Arial" charset="0"/>
                </a:rPr>
                <a:t>health &amp; life sciences</a:t>
              </a:r>
              <a:r>
                <a:rPr lang="en-GB" sz="1400">
                  <a:solidFill>
                    <a:srgbClr val="7030A0"/>
                  </a:solidFill>
                  <a:cs typeface="Arial" charset="0"/>
                </a:rPr>
                <a:t> </a:t>
              </a:r>
              <a:r>
                <a:rPr lang="en-GB" sz="1400">
                  <a:cs typeface="Arial" charset="0"/>
                </a:rPr>
                <a:t>industries</a:t>
              </a:r>
              <a:r>
                <a:rPr lang="pl-PL" sz="1400">
                  <a:cs typeface="Arial" charset="0"/>
                </a:rPr>
                <a:t> in Customer and Marketing space.</a:t>
              </a:r>
              <a:endParaRPr lang="en-GB" sz="1400">
                <a:cs typeface="Arial" charset="0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D8E8344E-62CA-106A-F448-30146ED5949C}"/>
                </a:ext>
              </a:extLst>
            </p:cNvPr>
            <p:cNvGrpSpPr/>
            <p:nvPr/>
          </p:nvGrpSpPr>
          <p:grpSpPr>
            <a:xfrm>
              <a:off x="4019383" y="1203641"/>
              <a:ext cx="396000" cy="396000"/>
              <a:chOff x="3990808" y="1260791"/>
              <a:chExt cx="396000" cy="396000"/>
            </a:xfrm>
          </p:grpSpPr>
          <p:sp>
            <p:nvSpPr>
              <p:cNvPr id="20" name="Shape 251">
                <a:extLst>
                  <a:ext uri="{FF2B5EF4-FFF2-40B4-BE49-F238E27FC236}">
                    <a16:creationId xmlns:a16="http://schemas.microsoft.com/office/drawing/2014/main" id="{8A1881F1-4E5F-6243-7AB6-5A274A9F0E03}"/>
                  </a:ext>
                </a:extLst>
              </p:cNvPr>
              <p:cNvSpPr/>
              <p:nvPr/>
            </p:nvSpPr>
            <p:spPr>
              <a:xfrm>
                <a:off x="3990808" y="1260791"/>
                <a:ext cx="396000" cy="39600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txBody>
              <a:bodyPr lIns="91404" tIns="45689" rIns="91404" bIns="45689" anchor="ctr" anchorCtr="0">
                <a:noAutofit/>
              </a:bodyPr>
              <a:lstStyle/>
              <a:p>
                <a:pPr algn="ctr" defTabSz="914217" fontAlgn="base">
                  <a:buClr>
                    <a:srgbClr val="000000"/>
                  </a:buClr>
                  <a:defRPr/>
                </a:pPr>
                <a:endParaRPr lang="en-GB" sz="600">
                  <a:solidFill>
                    <a:srgbClr val="FFFFFF"/>
                  </a:solidFill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21" name="Obraz 32" descr="ACC-ikonki do PPT-produkt.png">
                <a:extLst>
                  <a:ext uri="{FF2B5EF4-FFF2-40B4-BE49-F238E27FC236}">
                    <a16:creationId xmlns:a16="http://schemas.microsoft.com/office/drawing/2014/main" id="{0DDA2718-8C03-26EE-EC8C-DB919AFC37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lum bright="100000" contrast="100000"/>
              </a:blip>
              <a:stretch>
                <a:fillRect/>
              </a:stretch>
            </p:blipFill>
            <p:spPr>
              <a:xfrm>
                <a:off x="4082979" y="1339464"/>
                <a:ext cx="209947" cy="204338"/>
              </a:xfrm>
              <a:prstGeom prst="rect">
                <a:avLst/>
              </a:prstGeom>
            </p:spPr>
          </p:pic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8CC38A1-B149-986D-012C-88D146ACECDD}"/>
              </a:ext>
            </a:extLst>
          </p:cNvPr>
          <p:cNvGrpSpPr/>
          <p:nvPr/>
        </p:nvGrpSpPr>
        <p:grpSpPr>
          <a:xfrm>
            <a:off x="7602485" y="4514189"/>
            <a:ext cx="4244276" cy="1453302"/>
            <a:chOff x="8720903" y="2138745"/>
            <a:chExt cx="4244276" cy="1453302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7696B20-C7BC-AA6E-019B-EED1089A2278}"/>
                </a:ext>
              </a:extLst>
            </p:cNvPr>
            <p:cNvSpPr txBox="1"/>
            <p:nvPr/>
          </p:nvSpPr>
          <p:spPr>
            <a:xfrm>
              <a:off x="9090680" y="2145497"/>
              <a:ext cx="3874499" cy="144655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l-PL" b="1">
                  <a:solidFill>
                    <a:srgbClr val="7030A0"/>
                  </a:solidFill>
                  <a:cs typeface="Arial"/>
                </a:rPr>
                <a:t>Financial Services</a:t>
              </a:r>
              <a:endParaRPr lang="en-GB" b="1">
                <a:solidFill>
                  <a:srgbClr val="7030A0"/>
                </a:solidFill>
                <a:cs typeface="Arial"/>
              </a:endParaRPr>
            </a:p>
            <a:p>
              <a:pPr defTabSz="914217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l-PL" sz="1400">
                  <a:cs typeface="Arial"/>
                </a:rPr>
                <a:t>O</a:t>
              </a:r>
              <a:r>
                <a:rPr lang="en-GB" sz="1400" err="1">
                  <a:cs typeface="Arial"/>
                </a:rPr>
                <a:t>ur</a:t>
              </a:r>
              <a:r>
                <a:rPr lang="en-GB" sz="1400">
                  <a:cs typeface="Arial"/>
                </a:rPr>
                <a:t> main area of experience is</a:t>
              </a:r>
              <a:r>
                <a:rPr lang="en-GB" sz="1400" b="1">
                  <a:cs typeface="Arial"/>
                </a:rPr>
                <a:t> </a:t>
              </a:r>
              <a:r>
                <a:rPr lang="en-GB" sz="1400" b="1">
                  <a:solidFill>
                    <a:srgbClr val="7030A0"/>
                  </a:solidFill>
                  <a:cs typeface="Arial"/>
                </a:rPr>
                <a:t>Banking</a:t>
              </a:r>
              <a:r>
                <a:rPr lang="en-GB" sz="1400" b="1">
                  <a:solidFill>
                    <a:srgbClr val="FFFFFF"/>
                  </a:solidFill>
                  <a:cs typeface="Arial"/>
                </a:rPr>
                <a:t> </a:t>
              </a:r>
              <a:r>
                <a:rPr lang="en-GB" sz="1400">
                  <a:cs typeface="Arial"/>
                </a:rPr>
                <a:t>sector</a:t>
              </a:r>
              <a:r>
                <a:rPr lang="pl-PL" sz="1400">
                  <a:cs typeface="Arial"/>
                </a:rPr>
                <a:t> (</a:t>
              </a:r>
              <a:r>
                <a:rPr lang="pl-PL" sz="1400" err="1">
                  <a:cs typeface="Arial"/>
                </a:rPr>
                <a:t>Risk</a:t>
              </a:r>
              <a:r>
                <a:rPr lang="pl-PL" sz="1400">
                  <a:cs typeface="Arial"/>
                </a:rPr>
                <a:t>, Fraud, AML, </a:t>
              </a:r>
              <a:r>
                <a:rPr lang="pl-PL" sz="1400" err="1">
                  <a:cs typeface="Arial"/>
                </a:rPr>
                <a:t>Customer</a:t>
              </a:r>
              <a:r>
                <a:rPr lang="pl-PL" sz="1400">
                  <a:cs typeface="Arial"/>
                </a:rPr>
                <a:t> Analytics), </a:t>
              </a:r>
              <a:r>
                <a:rPr lang="pl-PL" sz="1400" err="1">
                  <a:cs typeface="Arial"/>
                </a:rPr>
                <a:t>however</a:t>
              </a:r>
              <a:r>
                <a:rPr lang="pl-PL" sz="1400">
                  <a:cs typeface="Arial"/>
                </a:rPr>
                <a:t> we </a:t>
              </a:r>
              <a:r>
                <a:rPr lang="pl-PL" sz="1400" err="1">
                  <a:cs typeface="Arial"/>
                </a:rPr>
                <a:t>have</a:t>
              </a:r>
              <a:r>
                <a:rPr lang="pl-PL" sz="1400">
                  <a:cs typeface="Arial"/>
                </a:rPr>
                <a:t> </a:t>
              </a:r>
              <a:r>
                <a:rPr lang="pl-PL" sz="1400" err="1">
                  <a:cs typeface="Arial"/>
                </a:rPr>
                <a:t>hardened</a:t>
              </a:r>
              <a:r>
                <a:rPr lang="pl-PL" sz="1400">
                  <a:cs typeface="Arial"/>
                </a:rPr>
                <a:t> </a:t>
              </a:r>
              <a:r>
                <a:rPr lang="pl-PL" sz="1400" err="1">
                  <a:cs typeface="Arial"/>
                </a:rPr>
                <a:t>position</a:t>
              </a:r>
              <a:r>
                <a:rPr lang="pl-PL" sz="1400">
                  <a:cs typeface="Arial"/>
                </a:rPr>
                <a:t> </a:t>
              </a:r>
              <a:r>
                <a:rPr lang="en-GB" sz="1400">
                  <a:cs typeface="Arial"/>
                </a:rPr>
                <a:t>with</a:t>
              </a:r>
              <a:r>
                <a:rPr lang="pl-PL" sz="1400">
                  <a:cs typeface="Arial"/>
                </a:rPr>
                <a:t>in</a:t>
              </a:r>
              <a:r>
                <a:rPr lang="en-GB" sz="1400">
                  <a:cs typeface="Arial"/>
                </a:rPr>
                <a:t> </a:t>
              </a:r>
              <a:r>
                <a:rPr lang="en-GB" sz="1400" b="1">
                  <a:solidFill>
                    <a:srgbClr val="7030A0"/>
                  </a:solidFill>
                  <a:cs typeface="Arial"/>
                </a:rPr>
                <a:t>Insurance</a:t>
              </a:r>
              <a:r>
                <a:rPr lang="en-GB" sz="1400">
                  <a:solidFill>
                    <a:srgbClr val="FFFFFF"/>
                  </a:solidFill>
                  <a:cs typeface="Arial"/>
                </a:rPr>
                <a:t> </a:t>
              </a:r>
              <a:r>
                <a:rPr lang="en-GB" sz="1400">
                  <a:cs typeface="Arial"/>
                </a:rPr>
                <a:t>industry</a:t>
              </a:r>
              <a:r>
                <a:rPr lang="pl-PL" sz="1400">
                  <a:cs typeface="Arial"/>
                </a:rPr>
                <a:t> </a:t>
              </a:r>
              <a:r>
                <a:rPr lang="pl-PL" sz="1400" err="1">
                  <a:cs typeface="Arial"/>
                </a:rPr>
                <a:t>providing</a:t>
              </a:r>
              <a:r>
                <a:rPr lang="pl-PL" sz="1400">
                  <a:cs typeface="Arial"/>
                </a:rPr>
                <a:t> </a:t>
              </a:r>
              <a:r>
                <a:rPr lang="pl-PL" sz="1400" err="1">
                  <a:cs typeface="Arial"/>
                </a:rPr>
                <a:t>analytics</a:t>
              </a:r>
              <a:r>
                <a:rPr lang="pl-PL" sz="1400">
                  <a:cs typeface="Arial"/>
                </a:rPr>
                <a:t> </a:t>
              </a:r>
              <a:r>
                <a:rPr lang="pl-PL" sz="1400" err="1">
                  <a:cs typeface="Arial"/>
                </a:rPr>
                <a:t>strategies</a:t>
              </a:r>
              <a:r>
                <a:rPr lang="pl-PL" sz="1400">
                  <a:cs typeface="Arial"/>
                </a:rPr>
                <a:t>, data-</a:t>
              </a:r>
              <a:r>
                <a:rPr lang="pl-PL" sz="1400" err="1">
                  <a:cs typeface="Arial"/>
                </a:rPr>
                <a:t>driven</a:t>
              </a:r>
              <a:r>
                <a:rPr lang="pl-PL" sz="1400">
                  <a:cs typeface="Arial"/>
                </a:rPr>
                <a:t> </a:t>
              </a:r>
              <a:r>
                <a:rPr lang="pl-PL" sz="1400" err="1">
                  <a:cs typeface="Arial"/>
                </a:rPr>
                <a:t>processes</a:t>
              </a:r>
              <a:r>
                <a:rPr lang="pl-PL" sz="1400">
                  <a:cs typeface="Arial"/>
                </a:rPr>
                <a:t> </a:t>
              </a:r>
              <a:r>
                <a:rPr lang="pl-PL" sz="1400" err="1">
                  <a:cs typeface="Arial"/>
                </a:rPr>
                <a:t>optimization</a:t>
              </a:r>
              <a:r>
                <a:rPr lang="pl-PL" sz="1400">
                  <a:cs typeface="Arial"/>
                </a:rPr>
                <a:t>, </a:t>
              </a:r>
              <a:r>
                <a:rPr lang="pl-PL" sz="1400" err="1">
                  <a:cs typeface="Arial"/>
                </a:rPr>
                <a:t>among</a:t>
              </a:r>
              <a:r>
                <a:rPr lang="pl-PL" sz="1400">
                  <a:cs typeface="Arial"/>
                </a:rPr>
                <a:t> </a:t>
              </a:r>
              <a:r>
                <a:rPr lang="pl-PL" sz="1400" err="1">
                  <a:cs typeface="Arial"/>
                </a:rPr>
                <a:t>others</a:t>
              </a:r>
              <a:r>
                <a:rPr lang="pl-PL" sz="1400">
                  <a:cs typeface="Arial"/>
                </a:rPr>
                <a:t>.</a:t>
              </a:r>
              <a:endParaRPr lang="en-GB" sz="1400">
                <a:cs typeface="Arial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EDC0A93C-2D00-72FF-82F1-28448F9250CC}"/>
                </a:ext>
              </a:extLst>
            </p:cNvPr>
            <p:cNvGrpSpPr/>
            <p:nvPr/>
          </p:nvGrpSpPr>
          <p:grpSpPr>
            <a:xfrm>
              <a:off x="8720903" y="2138745"/>
              <a:ext cx="396000" cy="396000"/>
              <a:chOff x="8672493" y="2176845"/>
              <a:chExt cx="396000" cy="396000"/>
            </a:xfrm>
          </p:grpSpPr>
          <p:sp>
            <p:nvSpPr>
              <p:cNvPr id="25" name="Shape 251">
                <a:extLst>
                  <a:ext uri="{FF2B5EF4-FFF2-40B4-BE49-F238E27FC236}">
                    <a16:creationId xmlns:a16="http://schemas.microsoft.com/office/drawing/2014/main" id="{2897F3BA-FDCF-6F1A-C255-E6D9885F30A1}"/>
                  </a:ext>
                </a:extLst>
              </p:cNvPr>
              <p:cNvSpPr/>
              <p:nvPr/>
            </p:nvSpPr>
            <p:spPr>
              <a:xfrm>
                <a:off x="8672493" y="2176845"/>
                <a:ext cx="396000" cy="39600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txBody>
              <a:bodyPr lIns="91404" tIns="45689" rIns="91404" bIns="45689" anchor="ctr" anchorCtr="0">
                <a:noAutofit/>
              </a:bodyPr>
              <a:lstStyle/>
              <a:p>
                <a:pPr algn="ctr" defTabSz="914217" fontAlgn="base">
                  <a:buClr>
                    <a:srgbClr val="000000"/>
                  </a:buClr>
                  <a:defRPr/>
                </a:pPr>
                <a:endParaRPr lang="en-GB" sz="600">
                  <a:solidFill>
                    <a:srgbClr val="FFFFFF"/>
                  </a:solidFill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26" name="Obraz 27" descr="ACC-ikonki do PPT-wykres.png">
                <a:extLst>
                  <a:ext uri="{FF2B5EF4-FFF2-40B4-BE49-F238E27FC236}">
                    <a16:creationId xmlns:a16="http://schemas.microsoft.com/office/drawing/2014/main" id="{4626C1A4-EED3-3BD9-BA48-2D2D3AE42C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lum bright="100000" contrast="100000"/>
              </a:blip>
              <a:stretch>
                <a:fillRect/>
              </a:stretch>
            </p:blipFill>
            <p:spPr>
              <a:xfrm>
                <a:off x="8747033" y="2267385"/>
                <a:ext cx="246921" cy="214921"/>
              </a:xfrm>
              <a:prstGeom prst="rect">
                <a:avLst/>
              </a:prstGeom>
            </p:spPr>
          </p:pic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0AD3D14-F331-E9D4-75B6-90310C9CD307}"/>
              </a:ext>
            </a:extLst>
          </p:cNvPr>
          <p:cNvGrpSpPr/>
          <p:nvPr/>
        </p:nvGrpSpPr>
        <p:grpSpPr>
          <a:xfrm>
            <a:off x="7621430" y="2543627"/>
            <a:ext cx="4204522" cy="1231106"/>
            <a:chOff x="8720903" y="4227234"/>
            <a:chExt cx="4204522" cy="1231106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A9DC606A-1AC2-93C8-2DC9-7F5BB996610A}"/>
                </a:ext>
              </a:extLst>
            </p:cNvPr>
            <p:cNvSpPr txBox="1"/>
            <p:nvPr/>
          </p:nvSpPr>
          <p:spPr>
            <a:xfrm>
              <a:off x="9089109" y="4227234"/>
              <a:ext cx="3836316" cy="12311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217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b="1">
                  <a:solidFill>
                    <a:srgbClr val="7030A0"/>
                  </a:solidFill>
                  <a:cs typeface="Arial" charset="0"/>
                </a:rPr>
                <a:t>Resources</a:t>
              </a:r>
            </a:p>
            <a:p>
              <a:pPr defTabSz="914217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00">
                  <a:cs typeface="Arial" charset="0"/>
                </a:rPr>
                <a:t>We have</a:t>
              </a:r>
              <a:r>
                <a:rPr lang="pl-PL" sz="1400">
                  <a:cs typeface="Arial" charset="0"/>
                </a:rPr>
                <a:t> experience gained by</a:t>
              </a:r>
              <a:r>
                <a:rPr lang="en-GB" sz="1400">
                  <a:cs typeface="Arial" charset="0"/>
                </a:rPr>
                <a:t> deliver</a:t>
              </a:r>
              <a:r>
                <a:rPr lang="pl-PL" sz="1400">
                  <a:cs typeface="Arial" charset="0"/>
                </a:rPr>
                <a:t>ing </a:t>
              </a:r>
              <a:r>
                <a:rPr lang="en-GB" sz="1400">
                  <a:cs typeface="Arial" charset="0"/>
                </a:rPr>
                <a:t>several innovative projects for </a:t>
              </a:r>
              <a:r>
                <a:rPr lang="en-GB" sz="1400" b="1">
                  <a:solidFill>
                    <a:srgbClr val="7030A0"/>
                  </a:solidFill>
                  <a:cs typeface="Arial" charset="0"/>
                </a:rPr>
                <a:t>natural resources </a:t>
              </a:r>
              <a:r>
                <a:rPr lang="en-GB" sz="1400">
                  <a:cs typeface="Arial" charset="0"/>
                </a:rPr>
                <a:t>sector. We also participate in multiple</a:t>
              </a:r>
              <a:r>
                <a:rPr lang="en-GB" sz="1400">
                  <a:solidFill>
                    <a:srgbClr val="FFFFFF"/>
                  </a:solidFill>
                  <a:cs typeface="Arial" charset="0"/>
                </a:rPr>
                <a:t> </a:t>
              </a:r>
              <a:r>
                <a:rPr lang="en-GB" sz="1400" b="1">
                  <a:solidFill>
                    <a:srgbClr val="7030A0"/>
                  </a:solidFill>
                  <a:cs typeface="Arial" charset="0"/>
                </a:rPr>
                <a:t>energy</a:t>
              </a:r>
              <a:r>
                <a:rPr lang="en-GB" sz="1400" b="1">
                  <a:solidFill>
                    <a:srgbClr val="FFFFFF"/>
                  </a:solidFill>
                  <a:cs typeface="Arial" charset="0"/>
                </a:rPr>
                <a:t> </a:t>
              </a:r>
              <a:r>
                <a:rPr lang="en-GB" sz="1400">
                  <a:cs typeface="Arial" charset="0"/>
                </a:rPr>
                <a:t>and </a:t>
              </a:r>
              <a:r>
                <a:rPr lang="en-GB" sz="1400" b="1">
                  <a:solidFill>
                    <a:srgbClr val="7030A0"/>
                  </a:solidFill>
                  <a:cs typeface="Arial" charset="0"/>
                </a:rPr>
                <a:t>utilities</a:t>
              </a:r>
              <a:r>
                <a:rPr lang="en-GB" sz="1400" b="1">
                  <a:solidFill>
                    <a:srgbClr val="FFFFFF"/>
                  </a:solidFill>
                  <a:cs typeface="Arial" charset="0"/>
                </a:rPr>
                <a:t> </a:t>
              </a:r>
              <a:r>
                <a:rPr lang="pl-PL" sz="1400">
                  <a:cs typeface="Arial" charset="0"/>
                </a:rPr>
                <a:t>initiatives.</a:t>
              </a:r>
              <a:endParaRPr lang="en-GB" sz="1400">
                <a:cs typeface="Arial" charset="0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C19F378-48F0-EF9E-45E1-003A882B98BA}"/>
                </a:ext>
              </a:extLst>
            </p:cNvPr>
            <p:cNvGrpSpPr/>
            <p:nvPr/>
          </p:nvGrpSpPr>
          <p:grpSpPr>
            <a:xfrm>
              <a:off x="8720903" y="4228099"/>
              <a:ext cx="396000" cy="396000"/>
              <a:chOff x="8674064" y="4275724"/>
              <a:chExt cx="396000" cy="396000"/>
            </a:xfrm>
          </p:grpSpPr>
          <p:sp>
            <p:nvSpPr>
              <p:cNvPr id="30" name="Shape 251">
                <a:extLst>
                  <a:ext uri="{FF2B5EF4-FFF2-40B4-BE49-F238E27FC236}">
                    <a16:creationId xmlns:a16="http://schemas.microsoft.com/office/drawing/2014/main" id="{EE14256F-1B4B-2C1F-6653-05962DA48650}"/>
                  </a:ext>
                </a:extLst>
              </p:cNvPr>
              <p:cNvSpPr/>
              <p:nvPr/>
            </p:nvSpPr>
            <p:spPr>
              <a:xfrm>
                <a:off x="8674064" y="4275724"/>
                <a:ext cx="396000" cy="39600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txBody>
              <a:bodyPr lIns="91404" tIns="45689" rIns="91404" bIns="45689" anchor="ctr" anchorCtr="0">
                <a:noAutofit/>
              </a:bodyPr>
              <a:lstStyle/>
              <a:p>
                <a:pPr algn="ctr" defTabSz="914217" fontAlgn="base">
                  <a:buClr>
                    <a:srgbClr val="000000"/>
                  </a:buClr>
                  <a:defRPr/>
                </a:pPr>
                <a:endParaRPr lang="en-GB" sz="600">
                  <a:solidFill>
                    <a:srgbClr val="FFFFFF"/>
                  </a:solidFill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31" name="Obraz 37" descr="ACC-ikonki do PPT-rura.png">
                <a:extLst>
                  <a:ext uri="{FF2B5EF4-FFF2-40B4-BE49-F238E27FC236}">
                    <a16:creationId xmlns:a16="http://schemas.microsoft.com/office/drawing/2014/main" id="{2224010E-48C8-56E8-82E6-A567F70009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lum bright="100000" contrast="100000"/>
              </a:blip>
              <a:stretch>
                <a:fillRect/>
              </a:stretch>
            </p:blipFill>
            <p:spPr>
              <a:xfrm>
                <a:off x="8755717" y="4356059"/>
                <a:ext cx="232695" cy="235331"/>
              </a:xfrm>
              <a:prstGeom prst="rect">
                <a:avLst/>
              </a:prstGeom>
            </p:spPr>
          </p:pic>
        </p:grp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10FF85C0-BDA3-8EAC-082A-EA4E2E7E23C8}"/>
              </a:ext>
            </a:extLst>
          </p:cNvPr>
          <p:cNvSpPr txBox="1"/>
          <p:nvPr/>
        </p:nvSpPr>
        <p:spPr>
          <a:xfrm>
            <a:off x="13134109" y="1971577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algn="l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5248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FB5035-7C72-43BF-A8DB-A7280ED54461}"/>
              </a:ext>
            </a:extLst>
          </p:cNvPr>
          <p:cNvSpPr>
            <a:spLocks noGrp="1"/>
          </p:cNvSpPr>
          <p:nvPr>
            <p:ph type="ctrTitle"/>
          </p:nvPr>
        </p:nvSpPr>
        <p:spPr bwMode="white"/>
        <p:txBody>
          <a:bodyPr/>
          <a:lstStyle/>
          <a:p>
            <a:r>
              <a:rPr lang="pl-PL" b="0">
                <a:solidFill>
                  <a:srgbClr val="FFFFFF"/>
                </a:solidFill>
                <a:latin typeface="Graphik"/>
                <a:ea typeface="Calibri"/>
                <a:cs typeface="Calibri"/>
              </a:rPr>
              <a:t>One sliders</a:t>
            </a:r>
            <a:br>
              <a:rPr lang="pl-PL">
                <a:solidFill>
                  <a:srgbClr val="FFFFFF"/>
                </a:solidFill>
                <a:latin typeface="Graphik"/>
                <a:ea typeface="Calibri"/>
                <a:cs typeface="Calibri"/>
              </a:rPr>
            </a:br>
            <a:r>
              <a:rPr lang="pl-PL" b="1">
                <a:solidFill>
                  <a:srgbClr val="FFFFFF"/>
                </a:solidFill>
                <a:latin typeface="Graphik"/>
                <a:ea typeface="Calibri"/>
                <a:cs typeface="Calibri"/>
              </a:rPr>
              <a:t>by Industry</a:t>
            </a:r>
            <a:endParaRPr lang="en-US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C5E85FB-8ADD-2C40-CB9B-2239C6F8F776}"/>
              </a:ext>
            </a:extLst>
          </p:cNvPr>
          <p:cNvSpPr/>
          <p:nvPr/>
        </p:nvSpPr>
        <p:spPr>
          <a:xfrm>
            <a:off x="149629" y="133004"/>
            <a:ext cx="3690851" cy="73152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1050834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Rectangle 364">
            <a:extLst>
              <a:ext uri="{FF2B5EF4-FFF2-40B4-BE49-F238E27FC236}">
                <a16:creationId xmlns:a16="http://schemas.microsoft.com/office/drawing/2014/main" id="{EE782C3F-C94F-3415-05E2-30C77D58C065}"/>
              </a:ext>
            </a:extLst>
          </p:cNvPr>
          <p:cNvSpPr/>
          <p:nvPr/>
        </p:nvSpPr>
        <p:spPr>
          <a:xfrm>
            <a:off x="1299653" y="6858000"/>
            <a:ext cx="4599870" cy="32133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E8A82B-C4D1-4A09-9EC8-5D93EACE1C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E8A82B-C4D1-4A09-9EC8-5D93EACE1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2558906F-C64F-EF33-2CE7-EE97543099D3}"/>
              </a:ext>
            </a:extLst>
          </p:cNvPr>
          <p:cNvSpPr txBox="1">
            <a:spLocks/>
          </p:cNvSpPr>
          <p:nvPr/>
        </p:nvSpPr>
        <p:spPr>
          <a:xfrm>
            <a:off x="3422452" y="7257542"/>
            <a:ext cx="2409783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I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nsultants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/>
                <a:ea typeface="+mn-ea"/>
                <a:cs typeface="+mn-cs"/>
              </a:rPr>
              <a:t>in nearshore/offshore locations</a:t>
            </a:r>
            <a:endParaRPr kumimoji="0" lang="pl-PL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CCCFAC07-3EB2-FA6A-3A82-2958ED1F5B27}"/>
              </a:ext>
            </a:extLst>
          </p:cNvPr>
          <p:cNvSpPr txBox="1">
            <a:spLocks/>
          </p:cNvSpPr>
          <p:nvPr/>
        </p:nvSpPr>
        <p:spPr>
          <a:xfrm>
            <a:off x="2258564" y="7251350"/>
            <a:ext cx="1393371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60</a:t>
            </a:r>
            <a:r>
              <a:rPr kumimoji="0" lang="pl-PL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0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+</a:t>
            </a:r>
          </a:p>
        </p:txBody>
      </p:sp>
      <p:sp>
        <p:nvSpPr>
          <p:cNvPr id="73" name="Text Placeholder 9">
            <a:extLst>
              <a:ext uri="{FF2B5EF4-FFF2-40B4-BE49-F238E27FC236}">
                <a16:creationId xmlns:a16="http://schemas.microsoft.com/office/drawing/2014/main" id="{07F84233-924F-17DC-8C7F-2B01BAB0267E}"/>
              </a:ext>
            </a:extLst>
          </p:cNvPr>
          <p:cNvSpPr txBox="1">
            <a:spLocks/>
          </p:cNvSpPr>
          <p:nvPr/>
        </p:nvSpPr>
        <p:spPr>
          <a:xfrm>
            <a:off x="1538277" y="8165979"/>
            <a:ext cx="3931064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lping with: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285" name="Group 26">
            <a:extLst>
              <a:ext uri="{FF2B5EF4-FFF2-40B4-BE49-F238E27FC236}">
                <a16:creationId xmlns:a16="http://schemas.microsoft.com/office/drawing/2014/main" id="{C592E709-2024-BDF5-944E-3A75936A21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575451" y="7054934"/>
            <a:ext cx="761527" cy="689879"/>
            <a:chOff x="3614" y="1720"/>
            <a:chExt cx="454" cy="385"/>
          </a:xfrm>
          <a:solidFill>
            <a:schemeClr val="tx1">
              <a:lumMod val="95000"/>
              <a:lumOff val="5000"/>
            </a:schemeClr>
          </a:solidFill>
        </p:grpSpPr>
        <p:sp>
          <p:nvSpPr>
            <p:cNvPr id="286" name="Freeform 27">
              <a:extLst>
                <a:ext uri="{FF2B5EF4-FFF2-40B4-BE49-F238E27FC236}">
                  <a16:creationId xmlns:a16="http://schemas.microsoft.com/office/drawing/2014/main" id="{1E597458-4B0B-2C3E-ADE4-343C0D2C06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" y="1720"/>
              <a:ext cx="142" cy="189"/>
            </a:xfrm>
            <a:custGeom>
              <a:avLst/>
              <a:gdLst>
                <a:gd name="T0" fmla="*/ 10 w 60"/>
                <a:gd name="T1" fmla="*/ 51 h 80"/>
                <a:gd name="T2" fmla="*/ 14 w 60"/>
                <a:gd name="T3" fmla="*/ 64 h 80"/>
                <a:gd name="T4" fmla="*/ 14 w 60"/>
                <a:gd name="T5" fmla="*/ 72 h 80"/>
                <a:gd name="T6" fmla="*/ 30 w 60"/>
                <a:gd name="T7" fmla="*/ 80 h 80"/>
                <a:gd name="T8" fmla="*/ 46 w 60"/>
                <a:gd name="T9" fmla="*/ 72 h 80"/>
                <a:gd name="T10" fmla="*/ 46 w 60"/>
                <a:gd name="T11" fmla="*/ 64 h 80"/>
                <a:gd name="T12" fmla="*/ 50 w 60"/>
                <a:gd name="T13" fmla="*/ 51 h 80"/>
                <a:gd name="T14" fmla="*/ 55 w 60"/>
                <a:gd name="T15" fmla="*/ 50 h 80"/>
                <a:gd name="T16" fmla="*/ 58 w 60"/>
                <a:gd name="T17" fmla="*/ 36 h 80"/>
                <a:gd name="T18" fmla="*/ 54 w 60"/>
                <a:gd name="T19" fmla="*/ 34 h 80"/>
                <a:gd name="T20" fmla="*/ 54 w 60"/>
                <a:gd name="T21" fmla="*/ 21 h 80"/>
                <a:gd name="T22" fmla="*/ 45 w 60"/>
                <a:gd name="T23" fmla="*/ 8 h 80"/>
                <a:gd name="T24" fmla="*/ 30 w 60"/>
                <a:gd name="T25" fmla="*/ 0 h 80"/>
                <a:gd name="T26" fmla="*/ 6 w 60"/>
                <a:gd name="T27" fmla="*/ 20 h 80"/>
                <a:gd name="T28" fmla="*/ 6 w 60"/>
                <a:gd name="T29" fmla="*/ 34 h 80"/>
                <a:gd name="T30" fmla="*/ 2 w 60"/>
                <a:gd name="T31" fmla="*/ 36 h 80"/>
                <a:gd name="T32" fmla="*/ 5 w 60"/>
                <a:gd name="T33" fmla="*/ 50 h 80"/>
                <a:gd name="T34" fmla="*/ 10 w 60"/>
                <a:gd name="T35" fmla="*/ 5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" h="80">
                  <a:moveTo>
                    <a:pt x="10" y="51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30" y="80"/>
                    <a:pt x="30" y="80"/>
                    <a:pt x="30" y="80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1"/>
                    <a:pt x="53" y="51"/>
                    <a:pt x="55" y="50"/>
                  </a:cubicBezTo>
                  <a:cubicBezTo>
                    <a:pt x="58" y="47"/>
                    <a:pt x="60" y="40"/>
                    <a:pt x="58" y="36"/>
                  </a:cubicBezTo>
                  <a:cubicBezTo>
                    <a:pt x="57" y="33"/>
                    <a:pt x="54" y="34"/>
                    <a:pt x="54" y="34"/>
                  </a:cubicBezTo>
                  <a:cubicBezTo>
                    <a:pt x="54" y="34"/>
                    <a:pt x="54" y="28"/>
                    <a:pt x="54" y="21"/>
                  </a:cubicBezTo>
                  <a:cubicBezTo>
                    <a:pt x="54" y="13"/>
                    <a:pt x="52" y="8"/>
                    <a:pt x="45" y="8"/>
                  </a:cubicBezTo>
                  <a:cubicBezTo>
                    <a:pt x="43" y="3"/>
                    <a:pt x="37" y="0"/>
                    <a:pt x="30" y="0"/>
                  </a:cubicBezTo>
                  <a:cubicBezTo>
                    <a:pt x="15" y="0"/>
                    <a:pt x="6" y="9"/>
                    <a:pt x="6" y="20"/>
                  </a:cubicBezTo>
                  <a:cubicBezTo>
                    <a:pt x="6" y="27"/>
                    <a:pt x="6" y="34"/>
                    <a:pt x="6" y="34"/>
                  </a:cubicBezTo>
                  <a:cubicBezTo>
                    <a:pt x="6" y="34"/>
                    <a:pt x="3" y="33"/>
                    <a:pt x="2" y="36"/>
                  </a:cubicBezTo>
                  <a:cubicBezTo>
                    <a:pt x="0" y="40"/>
                    <a:pt x="2" y="47"/>
                    <a:pt x="5" y="50"/>
                  </a:cubicBezTo>
                  <a:cubicBezTo>
                    <a:pt x="7" y="51"/>
                    <a:pt x="10" y="51"/>
                    <a:pt x="10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12240E1C-BF45-3896-0413-CF8DDB48CA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4" y="1767"/>
              <a:ext cx="454" cy="322"/>
            </a:xfrm>
            <a:custGeom>
              <a:avLst/>
              <a:gdLst>
                <a:gd name="T0" fmla="*/ 72 w 192"/>
                <a:gd name="T1" fmla="*/ 61 h 136"/>
                <a:gd name="T2" fmla="*/ 62 w 192"/>
                <a:gd name="T3" fmla="*/ 54 h 136"/>
                <a:gd name="T4" fmla="*/ 120 w 192"/>
                <a:gd name="T5" fmla="*/ 61 h 136"/>
                <a:gd name="T6" fmla="*/ 128 w 192"/>
                <a:gd name="T7" fmla="*/ 56 h 136"/>
                <a:gd name="T8" fmla="*/ 120 w 192"/>
                <a:gd name="T9" fmla="*/ 61 h 136"/>
                <a:gd name="T10" fmla="*/ 44 w 192"/>
                <a:gd name="T11" fmla="*/ 63 h 136"/>
                <a:gd name="T12" fmla="*/ 44 w 192"/>
                <a:gd name="T13" fmla="*/ 70 h 136"/>
                <a:gd name="T14" fmla="*/ 51 w 192"/>
                <a:gd name="T15" fmla="*/ 69 h 136"/>
                <a:gd name="T16" fmla="*/ 52 w 192"/>
                <a:gd name="T17" fmla="*/ 63 h 136"/>
                <a:gd name="T18" fmla="*/ 166 w 192"/>
                <a:gd name="T19" fmla="*/ 46 h 136"/>
                <a:gd name="T20" fmla="*/ 144 w 192"/>
                <a:gd name="T21" fmla="*/ 0 h 136"/>
                <a:gd name="T22" fmla="*/ 128 w 192"/>
                <a:gd name="T23" fmla="*/ 21 h 136"/>
                <a:gd name="T24" fmla="*/ 126 w 192"/>
                <a:gd name="T25" fmla="*/ 48 h 136"/>
                <a:gd name="T26" fmla="*/ 133 w 192"/>
                <a:gd name="T27" fmla="*/ 52 h 136"/>
                <a:gd name="T28" fmla="*/ 146 w 192"/>
                <a:gd name="T29" fmla="*/ 70 h 136"/>
                <a:gd name="T30" fmla="*/ 166 w 192"/>
                <a:gd name="T31" fmla="*/ 46 h 136"/>
                <a:gd name="T32" fmla="*/ 36 w 192"/>
                <a:gd name="T33" fmla="*/ 44 h 136"/>
                <a:gd name="T34" fmla="*/ 48 w 192"/>
                <a:gd name="T35" fmla="*/ 56 h 136"/>
                <a:gd name="T36" fmla="*/ 60 w 192"/>
                <a:gd name="T37" fmla="*/ 44 h 136"/>
                <a:gd name="T38" fmla="*/ 61 w 192"/>
                <a:gd name="T39" fmla="*/ 24 h 136"/>
                <a:gd name="T40" fmla="*/ 64 w 192"/>
                <a:gd name="T41" fmla="*/ 7 h 136"/>
                <a:gd name="T42" fmla="*/ 48 w 192"/>
                <a:gd name="T43" fmla="*/ 0 h 136"/>
                <a:gd name="T44" fmla="*/ 32 w 192"/>
                <a:gd name="T45" fmla="*/ 24 h 136"/>
                <a:gd name="T46" fmla="*/ 32 w 192"/>
                <a:gd name="T47" fmla="*/ 35 h 136"/>
                <a:gd name="T48" fmla="*/ 8 w 192"/>
                <a:gd name="T49" fmla="*/ 63 h 136"/>
                <a:gd name="T50" fmla="*/ 20 w 192"/>
                <a:gd name="T51" fmla="*/ 136 h 136"/>
                <a:gd name="T52" fmla="*/ 34 w 192"/>
                <a:gd name="T53" fmla="*/ 76 h 136"/>
                <a:gd name="T54" fmla="*/ 34 w 192"/>
                <a:gd name="T55" fmla="*/ 54 h 136"/>
                <a:gd name="T56" fmla="*/ 192 w 192"/>
                <a:gd name="T57" fmla="*/ 136 h 136"/>
                <a:gd name="T58" fmla="*/ 160 w 192"/>
                <a:gd name="T59" fmla="*/ 56 h 136"/>
                <a:gd name="T60" fmla="*/ 154 w 192"/>
                <a:gd name="T61" fmla="*/ 72 h 136"/>
                <a:gd name="T62" fmla="*/ 157 w 192"/>
                <a:gd name="T63" fmla="*/ 76 h 136"/>
                <a:gd name="T64" fmla="*/ 158 w 192"/>
                <a:gd name="T65" fmla="*/ 76 h 136"/>
                <a:gd name="T66" fmla="*/ 172 w 192"/>
                <a:gd name="T67" fmla="*/ 129 h 136"/>
                <a:gd name="T68" fmla="*/ 192 w 192"/>
                <a:gd name="T69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136">
                  <a:moveTo>
                    <a:pt x="58" y="66"/>
                  </a:moveTo>
                  <a:cubicBezTo>
                    <a:pt x="62" y="65"/>
                    <a:pt x="67" y="63"/>
                    <a:pt x="72" y="61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67" y="55"/>
                    <a:pt x="62" y="54"/>
                    <a:pt x="62" y="54"/>
                  </a:cubicBezTo>
                  <a:lnTo>
                    <a:pt x="58" y="66"/>
                  </a:lnTo>
                  <a:close/>
                  <a:moveTo>
                    <a:pt x="120" y="61"/>
                  </a:moveTo>
                  <a:cubicBezTo>
                    <a:pt x="121" y="62"/>
                    <a:pt x="123" y="62"/>
                    <a:pt x="124" y="63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56"/>
                    <a:pt x="124" y="57"/>
                    <a:pt x="120" y="59"/>
                  </a:cubicBezTo>
                  <a:lnTo>
                    <a:pt x="120" y="61"/>
                  </a:lnTo>
                  <a:close/>
                  <a:moveTo>
                    <a:pt x="48" y="59"/>
                  </a:moveTo>
                  <a:cubicBezTo>
                    <a:pt x="44" y="63"/>
                    <a:pt x="44" y="63"/>
                    <a:pt x="44" y="63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6" y="70"/>
                    <a:pt x="48" y="70"/>
                    <a:pt x="51" y="69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2" y="63"/>
                    <a:pt x="52" y="63"/>
                    <a:pt x="52" y="63"/>
                  </a:cubicBezTo>
                  <a:lnTo>
                    <a:pt x="48" y="59"/>
                  </a:lnTo>
                  <a:close/>
                  <a:moveTo>
                    <a:pt x="166" y="46"/>
                  </a:moveTo>
                  <a:cubicBezTo>
                    <a:pt x="161" y="39"/>
                    <a:pt x="162" y="26"/>
                    <a:pt x="162" y="26"/>
                  </a:cubicBezTo>
                  <a:cubicBezTo>
                    <a:pt x="162" y="15"/>
                    <a:pt x="162" y="0"/>
                    <a:pt x="144" y="0"/>
                  </a:cubicBezTo>
                  <a:cubicBezTo>
                    <a:pt x="135" y="0"/>
                    <a:pt x="130" y="4"/>
                    <a:pt x="128" y="9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129" y="22"/>
                    <a:pt x="130" y="23"/>
                    <a:pt x="131" y="24"/>
                  </a:cubicBezTo>
                  <a:cubicBezTo>
                    <a:pt x="135" y="32"/>
                    <a:pt x="132" y="43"/>
                    <a:pt x="126" y="48"/>
                  </a:cubicBezTo>
                  <a:cubicBezTo>
                    <a:pt x="126" y="48"/>
                    <a:pt x="126" y="48"/>
                    <a:pt x="126" y="48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41" y="69"/>
                    <a:pt x="141" y="69"/>
                    <a:pt x="141" y="69"/>
                  </a:cubicBezTo>
                  <a:cubicBezTo>
                    <a:pt x="143" y="69"/>
                    <a:pt x="145" y="70"/>
                    <a:pt x="146" y="70"/>
                  </a:cubicBezTo>
                  <a:cubicBezTo>
                    <a:pt x="155" y="52"/>
                    <a:pt x="155" y="52"/>
                    <a:pt x="155" y="52"/>
                  </a:cubicBezTo>
                  <a:lnTo>
                    <a:pt x="166" y="46"/>
                  </a:lnTo>
                  <a:close/>
                  <a:moveTo>
                    <a:pt x="34" y="36"/>
                  </a:moveTo>
                  <a:cubicBezTo>
                    <a:pt x="36" y="44"/>
                    <a:pt x="36" y="44"/>
                    <a:pt x="36" y="44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44"/>
                    <a:pt x="60" y="44"/>
                    <a:pt x="60" y="44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59" y="35"/>
                    <a:pt x="58" y="29"/>
                    <a:pt x="61" y="24"/>
                  </a:cubicBezTo>
                  <a:cubicBezTo>
                    <a:pt x="62" y="23"/>
                    <a:pt x="63" y="22"/>
                    <a:pt x="64" y="21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3" y="6"/>
                    <a:pt x="61" y="5"/>
                    <a:pt x="59" y="5"/>
                  </a:cubicBezTo>
                  <a:cubicBezTo>
                    <a:pt x="57" y="1"/>
                    <a:pt x="53" y="0"/>
                    <a:pt x="48" y="0"/>
                  </a:cubicBezTo>
                  <a:cubicBezTo>
                    <a:pt x="37" y="0"/>
                    <a:pt x="32" y="6"/>
                    <a:pt x="32" y="14"/>
                  </a:cubicBezTo>
                  <a:cubicBezTo>
                    <a:pt x="32" y="19"/>
                    <a:pt x="32" y="24"/>
                    <a:pt x="32" y="24"/>
                  </a:cubicBezTo>
                  <a:cubicBezTo>
                    <a:pt x="32" y="24"/>
                    <a:pt x="31" y="24"/>
                    <a:pt x="30" y="26"/>
                  </a:cubicBezTo>
                  <a:cubicBezTo>
                    <a:pt x="28" y="28"/>
                    <a:pt x="29" y="33"/>
                    <a:pt x="32" y="35"/>
                  </a:cubicBezTo>
                  <a:cubicBezTo>
                    <a:pt x="33" y="36"/>
                    <a:pt x="34" y="36"/>
                    <a:pt x="34" y="36"/>
                  </a:cubicBezTo>
                  <a:close/>
                  <a:moveTo>
                    <a:pt x="8" y="63"/>
                  </a:moveTo>
                  <a:cubicBezTo>
                    <a:pt x="5" y="66"/>
                    <a:pt x="0" y="94"/>
                    <a:pt x="0" y="136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0" y="128"/>
                    <a:pt x="20" y="128"/>
                    <a:pt x="20" y="128"/>
                  </a:cubicBezTo>
                  <a:cubicBezTo>
                    <a:pt x="22" y="103"/>
                    <a:pt x="25" y="83"/>
                    <a:pt x="34" y="76"/>
                  </a:cubicBezTo>
                  <a:cubicBezTo>
                    <a:pt x="35" y="75"/>
                    <a:pt x="36" y="75"/>
                    <a:pt x="40" y="73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10" y="61"/>
                    <a:pt x="8" y="63"/>
                  </a:cubicBezTo>
                  <a:close/>
                  <a:moveTo>
                    <a:pt x="192" y="136"/>
                  </a:moveTo>
                  <a:cubicBezTo>
                    <a:pt x="192" y="94"/>
                    <a:pt x="187" y="69"/>
                    <a:pt x="184" y="66"/>
                  </a:cubicBezTo>
                  <a:cubicBezTo>
                    <a:pt x="182" y="65"/>
                    <a:pt x="160" y="56"/>
                    <a:pt x="160" y="56"/>
                  </a:cubicBezTo>
                  <a:cubicBezTo>
                    <a:pt x="170" y="72"/>
                    <a:pt x="170" y="72"/>
                    <a:pt x="170" y="72"/>
                  </a:cubicBezTo>
                  <a:cubicBezTo>
                    <a:pt x="154" y="72"/>
                    <a:pt x="154" y="72"/>
                    <a:pt x="154" y="72"/>
                  </a:cubicBezTo>
                  <a:cubicBezTo>
                    <a:pt x="153" y="73"/>
                    <a:pt x="153" y="73"/>
                    <a:pt x="153" y="73"/>
                  </a:cubicBezTo>
                  <a:cubicBezTo>
                    <a:pt x="156" y="75"/>
                    <a:pt x="157" y="75"/>
                    <a:pt x="157" y="76"/>
                  </a:cubicBezTo>
                  <a:cubicBezTo>
                    <a:pt x="157" y="76"/>
                    <a:pt x="158" y="76"/>
                    <a:pt x="158" y="76"/>
                  </a:cubicBezTo>
                  <a:cubicBezTo>
                    <a:pt x="158" y="76"/>
                    <a:pt x="158" y="76"/>
                    <a:pt x="158" y="76"/>
                  </a:cubicBezTo>
                  <a:cubicBezTo>
                    <a:pt x="158" y="76"/>
                    <a:pt x="158" y="76"/>
                    <a:pt x="158" y="76"/>
                  </a:cubicBezTo>
                  <a:cubicBezTo>
                    <a:pt x="167" y="83"/>
                    <a:pt x="170" y="105"/>
                    <a:pt x="172" y="129"/>
                  </a:cubicBezTo>
                  <a:cubicBezTo>
                    <a:pt x="172" y="136"/>
                    <a:pt x="172" y="136"/>
                    <a:pt x="172" y="136"/>
                  </a:cubicBezTo>
                  <a:lnTo>
                    <a:pt x="192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  <p:sp>
          <p:nvSpPr>
            <p:cNvPr id="288" name="Freeform 28">
              <a:extLst>
                <a:ext uri="{FF2B5EF4-FFF2-40B4-BE49-F238E27FC236}">
                  <a16:creationId xmlns:a16="http://schemas.microsoft.com/office/drawing/2014/main" id="{94001647-9682-1B67-73A5-EAC89D040F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1" y="1890"/>
              <a:ext cx="321" cy="215"/>
            </a:xfrm>
            <a:custGeom>
              <a:avLst/>
              <a:gdLst>
                <a:gd name="T0" fmla="*/ 125 w 136"/>
                <a:gd name="T1" fmla="*/ 13 h 91"/>
                <a:gd name="T2" fmla="*/ 88 w 136"/>
                <a:gd name="T3" fmla="*/ 0 h 91"/>
                <a:gd name="T4" fmla="*/ 76 w 136"/>
                <a:gd name="T5" fmla="*/ 49 h 91"/>
                <a:gd name="T6" fmla="*/ 76 w 136"/>
                <a:gd name="T7" fmla="*/ 29 h 91"/>
                <a:gd name="T8" fmla="*/ 70 w 136"/>
                <a:gd name="T9" fmla="*/ 19 h 91"/>
                <a:gd name="T10" fmla="*/ 76 w 136"/>
                <a:gd name="T11" fmla="*/ 13 h 91"/>
                <a:gd name="T12" fmla="*/ 68 w 136"/>
                <a:gd name="T13" fmla="*/ 5 h 91"/>
                <a:gd name="T14" fmla="*/ 60 w 136"/>
                <a:gd name="T15" fmla="*/ 13 h 91"/>
                <a:gd name="T16" fmla="*/ 66 w 136"/>
                <a:gd name="T17" fmla="*/ 19 h 91"/>
                <a:gd name="T18" fmla="*/ 60 w 136"/>
                <a:gd name="T19" fmla="*/ 29 h 91"/>
                <a:gd name="T20" fmla="*/ 60 w 136"/>
                <a:gd name="T21" fmla="*/ 49 h 91"/>
                <a:gd name="T22" fmla="*/ 48 w 136"/>
                <a:gd name="T23" fmla="*/ 0 h 91"/>
                <a:gd name="T24" fmla="*/ 11 w 136"/>
                <a:gd name="T25" fmla="*/ 13 h 91"/>
                <a:gd name="T26" fmla="*/ 0 w 136"/>
                <a:gd name="T27" fmla="*/ 91 h 91"/>
                <a:gd name="T28" fmla="*/ 136 w 136"/>
                <a:gd name="T29" fmla="*/ 91 h 91"/>
                <a:gd name="T30" fmla="*/ 125 w 136"/>
                <a:gd name="T31" fmla="*/ 1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6" h="91">
                  <a:moveTo>
                    <a:pt x="125" y="13"/>
                  </a:moveTo>
                  <a:cubicBezTo>
                    <a:pt x="121" y="10"/>
                    <a:pt x="88" y="0"/>
                    <a:pt x="88" y="0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49"/>
                    <a:pt x="60" y="49"/>
                    <a:pt x="60" y="49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15" y="10"/>
                    <a:pt x="11" y="13"/>
                  </a:cubicBezTo>
                  <a:cubicBezTo>
                    <a:pt x="7" y="17"/>
                    <a:pt x="0" y="35"/>
                    <a:pt x="0" y="91"/>
                  </a:cubicBezTo>
                  <a:cubicBezTo>
                    <a:pt x="136" y="91"/>
                    <a:pt x="136" y="91"/>
                    <a:pt x="136" y="91"/>
                  </a:cubicBezTo>
                  <a:cubicBezTo>
                    <a:pt x="136" y="35"/>
                    <a:pt x="129" y="17"/>
                    <a:pt x="12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</p:grpSp>
      <p:pic>
        <p:nvPicPr>
          <p:cNvPr id="290" name="Graphic 289" descr="Scientific Thought outline">
            <a:extLst>
              <a:ext uri="{FF2B5EF4-FFF2-40B4-BE49-F238E27FC236}">
                <a16:creationId xmlns:a16="http://schemas.microsoft.com/office/drawing/2014/main" id="{A92FE2FC-13DD-475A-F953-02B5245EEF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989" y="9259746"/>
            <a:ext cx="473170" cy="473170"/>
          </a:xfrm>
          <a:prstGeom prst="rect">
            <a:avLst/>
          </a:prstGeom>
        </p:spPr>
      </p:pic>
      <p:pic>
        <p:nvPicPr>
          <p:cNvPr id="292" name="Graphic 291" descr="Coins outline">
            <a:extLst>
              <a:ext uri="{FF2B5EF4-FFF2-40B4-BE49-F238E27FC236}">
                <a16:creationId xmlns:a16="http://schemas.microsoft.com/office/drawing/2014/main" id="{071ED58D-8075-DC35-A51C-0A966E4EEB3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09954" y="8429616"/>
            <a:ext cx="473170" cy="473170"/>
          </a:xfrm>
          <a:prstGeom prst="rect">
            <a:avLst/>
          </a:prstGeom>
        </p:spPr>
      </p:pic>
      <p:grpSp>
        <p:nvGrpSpPr>
          <p:cNvPr id="322" name="Complexit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4B734C9-8C10-BD6D-1466-D4E1DCCD4817}"/>
              </a:ext>
            </a:extLst>
          </p:cNvPr>
          <p:cNvGrpSpPr>
            <a:grpSpLocks noChangeAspect="1"/>
          </p:cNvGrpSpPr>
          <p:nvPr/>
        </p:nvGrpSpPr>
        <p:grpSpPr>
          <a:xfrm>
            <a:off x="1588728" y="9287116"/>
            <a:ext cx="401358" cy="402156"/>
            <a:chOff x="6367463" y="1652588"/>
            <a:chExt cx="796925" cy="798513"/>
          </a:xfrm>
          <a:noFill/>
        </p:grpSpPr>
        <p:sp>
          <p:nvSpPr>
            <p:cNvPr id="323" name="Oval 270">
              <a:extLst>
                <a:ext uri="{FF2B5EF4-FFF2-40B4-BE49-F238E27FC236}">
                  <a16:creationId xmlns:a16="http://schemas.microsoft.com/office/drawing/2014/main" id="{8750AA29-2872-B963-05A6-D70F0D6A37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16573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4" name="Oval 271">
              <a:extLst>
                <a:ext uri="{FF2B5EF4-FFF2-40B4-BE49-F238E27FC236}">
                  <a16:creationId xmlns:a16="http://schemas.microsoft.com/office/drawing/2014/main" id="{5641A773-1700-1DEC-E12E-DD4A5E1ECE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18859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5" name="Oval 272">
              <a:extLst>
                <a:ext uri="{FF2B5EF4-FFF2-40B4-BE49-F238E27FC236}">
                  <a16:creationId xmlns:a16="http://schemas.microsoft.com/office/drawing/2014/main" id="{6A47D83E-017B-A64E-921E-ACF46B8905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21145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6" name="Oval 273">
              <a:extLst>
                <a:ext uri="{FF2B5EF4-FFF2-40B4-BE49-F238E27FC236}">
                  <a16:creationId xmlns:a16="http://schemas.microsoft.com/office/drawing/2014/main" id="{DEFBD32A-9BC6-512F-FD17-5D2B57ECFA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2116138"/>
              <a:ext cx="100013" cy="100013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7" name="Oval 274">
              <a:extLst>
                <a:ext uri="{FF2B5EF4-FFF2-40B4-BE49-F238E27FC236}">
                  <a16:creationId xmlns:a16="http://schemas.microsoft.com/office/drawing/2014/main" id="{66602972-9E17-55D9-4167-11BFE7D0BE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2344738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8" name="Oval 275">
              <a:extLst>
                <a:ext uri="{FF2B5EF4-FFF2-40B4-BE49-F238E27FC236}">
                  <a16:creationId xmlns:a16="http://schemas.microsoft.com/office/drawing/2014/main" id="{EABD3B47-385A-E4AC-4011-553F7897BA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1885951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9" name="Oval 276">
              <a:extLst>
                <a:ext uri="{FF2B5EF4-FFF2-40B4-BE49-F238E27FC236}">
                  <a16:creationId xmlns:a16="http://schemas.microsoft.com/office/drawing/2014/main" id="{8982B920-6253-3859-6E4B-30202BBCA3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18859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0" name="Oval 277">
              <a:extLst>
                <a:ext uri="{FF2B5EF4-FFF2-40B4-BE49-F238E27FC236}">
                  <a16:creationId xmlns:a16="http://schemas.microsoft.com/office/drawing/2014/main" id="{B80FE0E5-451D-E0FD-D09C-72879BA12B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2344738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1" name="Oval 278">
              <a:extLst>
                <a:ext uri="{FF2B5EF4-FFF2-40B4-BE49-F238E27FC236}">
                  <a16:creationId xmlns:a16="http://schemas.microsoft.com/office/drawing/2014/main" id="{1F4155F9-76D6-2D08-C4B2-EA95F3E7CE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1657351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Oval 279">
              <a:extLst>
                <a:ext uri="{FF2B5EF4-FFF2-40B4-BE49-F238E27FC236}">
                  <a16:creationId xmlns:a16="http://schemas.microsoft.com/office/drawing/2014/main" id="{6E4F0129-F63B-E196-B212-AF1CFAA91C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16573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Oval 280">
              <a:extLst>
                <a:ext uri="{FF2B5EF4-FFF2-40B4-BE49-F238E27FC236}">
                  <a16:creationId xmlns:a16="http://schemas.microsoft.com/office/drawing/2014/main" id="{099C5B32-2BA6-7920-0373-B4A137F276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2116138"/>
              <a:ext cx="100013" cy="100013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4" name="Oval 281">
              <a:extLst>
                <a:ext uri="{FF2B5EF4-FFF2-40B4-BE49-F238E27FC236}">
                  <a16:creationId xmlns:a16="http://schemas.microsoft.com/office/drawing/2014/main" id="{0D3C2AFE-C62A-E710-882F-6159EBA0A9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2344738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5" name="Freeform 282">
              <a:extLst>
                <a:ext uri="{FF2B5EF4-FFF2-40B4-BE49-F238E27FC236}">
                  <a16:creationId xmlns:a16="http://schemas.microsoft.com/office/drawing/2014/main" id="{238333B1-AE3E-C787-6296-EC600B925A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1652588"/>
              <a:ext cx="112713" cy="111125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6"/>
                    <a:pt x="17" y="83"/>
                  </a:cubicBezTo>
                  <a:cubicBezTo>
                    <a:pt x="17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8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6" name="Freeform 283">
              <a:extLst>
                <a:ext uri="{FF2B5EF4-FFF2-40B4-BE49-F238E27FC236}">
                  <a16:creationId xmlns:a16="http://schemas.microsoft.com/office/drawing/2014/main" id="{CFC185DC-AF0C-BEB4-5BE0-7D4948CF57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1652588"/>
              <a:ext cx="112713" cy="111125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8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7" name="Freeform 284">
              <a:extLst>
                <a:ext uri="{FF2B5EF4-FFF2-40B4-BE49-F238E27FC236}">
                  <a16:creationId xmlns:a16="http://schemas.microsoft.com/office/drawing/2014/main" id="{F25F9C7C-DDD9-3448-C85D-7A51CA003B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1652588"/>
              <a:ext cx="111125" cy="111125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2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8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" name="Freeform 285">
              <a:extLst>
                <a:ext uri="{FF2B5EF4-FFF2-40B4-BE49-F238E27FC236}">
                  <a16:creationId xmlns:a16="http://schemas.microsoft.com/office/drawing/2014/main" id="{97FA3557-F089-7B05-6F0A-D6FA34477F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18811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6"/>
                    <a:pt x="17" y="83"/>
                  </a:cubicBezTo>
                  <a:cubicBezTo>
                    <a:pt x="17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9" name="Freeform 286">
              <a:extLst>
                <a:ext uri="{FF2B5EF4-FFF2-40B4-BE49-F238E27FC236}">
                  <a16:creationId xmlns:a16="http://schemas.microsoft.com/office/drawing/2014/main" id="{D5CA1230-DFE3-9ED2-DBD0-D8AF595CE9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18811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0" name="Freeform 287">
              <a:extLst>
                <a:ext uri="{FF2B5EF4-FFF2-40B4-BE49-F238E27FC236}">
                  <a16:creationId xmlns:a16="http://schemas.microsoft.com/office/drawing/2014/main" id="{41912A39-5FF7-4BBA-7A07-D2A2A694F4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18811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2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1" name="Freeform 288">
              <a:extLst>
                <a:ext uri="{FF2B5EF4-FFF2-40B4-BE49-F238E27FC236}">
                  <a16:creationId xmlns:a16="http://schemas.microsoft.com/office/drawing/2014/main" id="{DBC9F78C-5169-5CAC-8925-53AE657034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21097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7"/>
                    <a:pt x="17" y="83"/>
                  </a:cubicBezTo>
                  <a:cubicBezTo>
                    <a:pt x="17" y="120"/>
                    <a:pt x="46" y="149"/>
                    <a:pt x="83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2" name="Freeform 289">
              <a:extLst>
                <a:ext uri="{FF2B5EF4-FFF2-40B4-BE49-F238E27FC236}">
                  <a16:creationId xmlns:a16="http://schemas.microsoft.com/office/drawing/2014/main" id="{C0CEF2FC-EFBB-0FB0-F63F-BAA62766A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21097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49"/>
                    <a:pt x="83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3" name="Freeform 290">
              <a:extLst>
                <a:ext uri="{FF2B5EF4-FFF2-40B4-BE49-F238E27FC236}">
                  <a16:creationId xmlns:a16="http://schemas.microsoft.com/office/drawing/2014/main" id="{246F591D-74E8-D293-506D-98B26A4853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21097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49"/>
                    <a:pt x="82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4" name="Freeform 291">
              <a:extLst>
                <a:ext uri="{FF2B5EF4-FFF2-40B4-BE49-F238E27FC236}">
                  <a16:creationId xmlns:a16="http://schemas.microsoft.com/office/drawing/2014/main" id="{8E1A3E17-B212-6627-3429-A0E7707EE4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23383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50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7"/>
                    <a:pt x="17" y="83"/>
                  </a:cubicBezTo>
                  <a:cubicBezTo>
                    <a:pt x="17" y="120"/>
                    <a:pt x="46" y="150"/>
                    <a:pt x="83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29" y="0"/>
                    <a:pt x="166" y="38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5" name="Freeform 292">
              <a:extLst>
                <a:ext uri="{FF2B5EF4-FFF2-40B4-BE49-F238E27FC236}">
                  <a16:creationId xmlns:a16="http://schemas.microsoft.com/office/drawing/2014/main" id="{476FD096-7B07-A81A-D4F2-FDB411ECBC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23383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50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50"/>
                    <a:pt x="83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28" y="0"/>
                    <a:pt x="166" y="38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6" name="Freeform 293">
              <a:extLst>
                <a:ext uri="{FF2B5EF4-FFF2-40B4-BE49-F238E27FC236}">
                  <a16:creationId xmlns:a16="http://schemas.microsoft.com/office/drawing/2014/main" id="{C5138855-CC2E-FAD6-E1C7-DB5A06A093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23383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50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50"/>
                    <a:pt x="82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2" y="0"/>
                  </a:cubicBezTo>
                  <a:cubicBezTo>
                    <a:pt x="128" y="0"/>
                    <a:pt x="165" y="38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7" name="Rectangle 294">
              <a:extLst>
                <a:ext uri="{FF2B5EF4-FFF2-40B4-BE49-F238E27FC236}">
                  <a16:creationId xmlns:a16="http://schemas.microsoft.com/office/drawing/2014/main" id="{228C2AB2-8A51-1D85-1CB3-F60A5153B5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6725" y="2160588"/>
              <a:ext cx="242888" cy="11113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8" name="Rectangle 295">
              <a:extLst>
                <a:ext uri="{FF2B5EF4-FFF2-40B4-BE49-F238E27FC236}">
                  <a16:creationId xmlns:a16="http://schemas.microsoft.com/office/drawing/2014/main" id="{3D4404BC-B98D-F67F-9E56-50E96BC67A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6725" y="1931988"/>
              <a:ext cx="242888" cy="11113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9" name="Freeform 296">
              <a:extLst>
                <a:ext uri="{FF2B5EF4-FFF2-40B4-BE49-F238E27FC236}">
                  <a16:creationId xmlns:a16="http://schemas.microsoft.com/office/drawing/2014/main" id="{739C4033-8B2B-7244-F177-7D5E8E375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125" y="1957388"/>
              <a:ext cx="269875" cy="185738"/>
            </a:xfrm>
            <a:custGeom>
              <a:avLst/>
              <a:gdLst>
                <a:gd name="T0" fmla="*/ 4 w 170"/>
                <a:gd name="T1" fmla="*/ 117 h 117"/>
                <a:gd name="T2" fmla="*/ 0 w 170"/>
                <a:gd name="T3" fmla="*/ 111 h 117"/>
                <a:gd name="T4" fmla="*/ 166 w 170"/>
                <a:gd name="T5" fmla="*/ 0 h 117"/>
                <a:gd name="T6" fmla="*/ 170 w 170"/>
                <a:gd name="T7" fmla="*/ 6 h 117"/>
                <a:gd name="T8" fmla="*/ 4 w 170"/>
                <a:gd name="T9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117">
                  <a:moveTo>
                    <a:pt x="4" y="117"/>
                  </a:moveTo>
                  <a:lnTo>
                    <a:pt x="0" y="111"/>
                  </a:lnTo>
                  <a:lnTo>
                    <a:pt x="166" y="0"/>
                  </a:lnTo>
                  <a:lnTo>
                    <a:pt x="170" y="6"/>
                  </a:lnTo>
                  <a:lnTo>
                    <a:pt x="4" y="117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0" name="Freeform 297">
              <a:extLst>
                <a:ext uri="{FF2B5EF4-FFF2-40B4-BE49-F238E27FC236}">
                  <a16:creationId xmlns:a16="http://schemas.microsoft.com/office/drawing/2014/main" id="{B93FBDB0-3853-0FD6-EF68-64718CC5E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2713" y="1728788"/>
              <a:ext cx="268288" cy="184150"/>
            </a:xfrm>
            <a:custGeom>
              <a:avLst/>
              <a:gdLst>
                <a:gd name="T0" fmla="*/ 4 w 169"/>
                <a:gd name="T1" fmla="*/ 116 h 116"/>
                <a:gd name="T2" fmla="*/ 0 w 169"/>
                <a:gd name="T3" fmla="*/ 110 h 116"/>
                <a:gd name="T4" fmla="*/ 165 w 169"/>
                <a:gd name="T5" fmla="*/ 0 h 116"/>
                <a:gd name="T6" fmla="*/ 169 w 169"/>
                <a:gd name="T7" fmla="*/ 6 h 116"/>
                <a:gd name="T8" fmla="*/ 4 w 169"/>
                <a:gd name="T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116">
                  <a:moveTo>
                    <a:pt x="4" y="116"/>
                  </a:moveTo>
                  <a:lnTo>
                    <a:pt x="0" y="110"/>
                  </a:lnTo>
                  <a:lnTo>
                    <a:pt x="165" y="0"/>
                  </a:lnTo>
                  <a:lnTo>
                    <a:pt x="169" y="6"/>
                  </a:lnTo>
                  <a:lnTo>
                    <a:pt x="4" y="116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1" name="Rectangle 298">
              <a:extLst>
                <a:ext uri="{FF2B5EF4-FFF2-40B4-BE49-F238E27FC236}">
                  <a16:creationId xmlns:a16="http://schemas.microsoft.com/office/drawing/2014/main" id="{0B92437C-17D3-A394-A185-CC25F9103F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3825" y="1701801"/>
              <a:ext cx="242888" cy="12700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2" name="Freeform 299">
              <a:extLst>
                <a:ext uri="{FF2B5EF4-FFF2-40B4-BE49-F238E27FC236}">
                  <a16:creationId xmlns:a16="http://schemas.microsoft.com/office/drawing/2014/main" id="{BAE73AC4-167A-CBBB-5235-55916C1E4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125" y="2189163"/>
              <a:ext cx="266700" cy="182563"/>
            </a:xfrm>
            <a:custGeom>
              <a:avLst/>
              <a:gdLst>
                <a:gd name="T0" fmla="*/ 164 w 168"/>
                <a:gd name="T1" fmla="*/ 115 h 115"/>
                <a:gd name="T2" fmla="*/ 0 w 168"/>
                <a:gd name="T3" fmla="*/ 6 h 115"/>
                <a:gd name="T4" fmla="*/ 4 w 168"/>
                <a:gd name="T5" fmla="*/ 0 h 115"/>
                <a:gd name="T6" fmla="*/ 168 w 168"/>
                <a:gd name="T7" fmla="*/ 109 h 115"/>
                <a:gd name="T8" fmla="*/ 164 w 168"/>
                <a:gd name="T9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115">
                  <a:moveTo>
                    <a:pt x="164" y="115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168" y="109"/>
                  </a:lnTo>
                  <a:lnTo>
                    <a:pt x="164" y="115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3" name="Rectangle 300">
              <a:extLst>
                <a:ext uri="{FF2B5EF4-FFF2-40B4-BE49-F238E27FC236}">
                  <a16:creationId xmlns:a16="http://schemas.microsoft.com/office/drawing/2014/main" id="{0FCB488A-D2D1-1AC4-CB34-053B485385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4063" y="2216151"/>
              <a:ext cx="11113" cy="128588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4" name="Rectangle 301">
              <a:extLst>
                <a:ext uri="{FF2B5EF4-FFF2-40B4-BE49-F238E27FC236}">
                  <a16:creationId xmlns:a16="http://schemas.microsoft.com/office/drawing/2014/main" id="{B92F33E3-309E-BBE9-4D18-7380D66378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4063" y="1758951"/>
              <a:ext cx="11113" cy="127000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55" name="Text Placeholder 9">
            <a:extLst>
              <a:ext uri="{FF2B5EF4-FFF2-40B4-BE49-F238E27FC236}">
                <a16:creationId xmlns:a16="http://schemas.microsoft.com/office/drawing/2014/main" id="{520DE371-5AF1-F8FF-8707-45EE4454FB90}"/>
              </a:ext>
            </a:extLst>
          </p:cNvPr>
          <p:cNvSpPr txBox="1">
            <a:spLocks/>
          </p:cNvSpPr>
          <p:nvPr/>
        </p:nvSpPr>
        <p:spPr>
          <a:xfrm>
            <a:off x="2221804" y="8595030"/>
            <a:ext cx="1595631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en AI scaling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6" name="Text Placeholder 9">
            <a:extLst>
              <a:ext uri="{FF2B5EF4-FFF2-40B4-BE49-F238E27FC236}">
                <a16:creationId xmlns:a16="http://schemas.microsoft.com/office/drawing/2014/main" id="{45893D60-F6F4-C53C-3A02-E32909DD2E69}"/>
              </a:ext>
            </a:extLst>
          </p:cNvPr>
          <p:cNvSpPr txBox="1">
            <a:spLocks/>
          </p:cNvSpPr>
          <p:nvPr/>
        </p:nvSpPr>
        <p:spPr>
          <a:xfrm>
            <a:off x="4422458" y="8579240"/>
            <a:ext cx="2074602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monetizatio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7" name="Text Placeholder 9">
            <a:extLst>
              <a:ext uri="{FF2B5EF4-FFF2-40B4-BE49-F238E27FC236}">
                <a16:creationId xmlns:a16="http://schemas.microsoft.com/office/drawing/2014/main" id="{E15DB0F8-FBE2-D8CC-A4FB-F6A6E1AAAE0A}"/>
              </a:ext>
            </a:extLst>
          </p:cNvPr>
          <p:cNvSpPr txBox="1">
            <a:spLocks/>
          </p:cNvSpPr>
          <p:nvPr/>
        </p:nvSpPr>
        <p:spPr>
          <a:xfrm>
            <a:off x="2236406" y="9343656"/>
            <a:ext cx="1404274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led modelling</a:t>
            </a:r>
            <a:b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&amp; transformatio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8" name="Text Placeholder 9">
            <a:extLst>
              <a:ext uri="{FF2B5EF4-FFF2-40B4-BE49-F238E27FC236}">
                <a16:creationId xmlns:a16="http://schemas.microsoft.com/office/drawing/2014/main" id="{DDA5DDE7-3083-CDF4-FE22-D3B32B014AAD}"/>
              </a:ext>
            </a:extLst>
          </p:cNvPr>
          <p:cNvSpPr txBox="1">
            <a:spLocks/>
          </p:cNvSpPr>
          <p:nvPr/>
        </p:nvSpPr>
        <p:spPr>
          <a:xfrm>
            <a:off x="4399723" y="9257088"/>
            <a:ext cx="2182529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science</a:t>
            </a:r>
            <a:b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&amp; MLOp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0B02FCB-7E30-92CF-CD77-808E9C6C0E12}"/>
              </a:ext>
            </a:extLst>
          </p:cNvPr>
          <p:cNvGrpSpPr>
            <a:grpSpLocks noChangeAspect="1"/>
          </p:cNvGrpSpPr>
          <p:nvPr/>
        </p:nvGrpSpPr>
        <p:grpSpPr>
          <a:xfrm>
            <a:off x="1581445" y="8466448"/>
            <a:ext cx="537346" cy="548260"/>
            <a:chOff x="10258820" y="2140818"/>
            <a:chExt cx="366798" cy="374248"/>
          </a:xfrm>
        </p:grpSpPr>
        <p:pic>
          <p:nvPicPr>
            <p:cNvPr id="5" name="Picture 15">
              <a:extLst>
                <a:ext uri="{FF2B5EF4-FFF2-40B4-BE49-F238E27FC236}">
                  <a16:creationId xmlns:a16="http://schemas.microsoft.com/office/drawing/2014/main" id="{BEC42C73-505A-B9B3-F678-B09427999B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58820" y="2140818"/>
              <a:ext cx="307574" cy="3075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99E2FCC-DFCD-B7CA-664F-15A9FC9E47F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475107" y="2362873"/>
              <a:ext cx="150511" cy="152193"/>
              <a:chOff x="3482" y="1979"/>
              <a:chExt cx="358" cy="362"/>
            </a:xfrm>
          </p:grpSpPr>
          <p:sp>
            <p:nvSpPr>
              <p:cNvPr id="30" name="AutoShape 3">
                <a:extLst>
                  <a:ext uri="{FF2B5EF4-FFF2-40B4-BE49-F238E27FC236}">
                    <a16:creationId xmlns:a16="http://schemas.microsoft.com/office/drawing/2014/main" id="{56D7674C-01B8-FA42-FD21-27A27CC19321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3482" y="1979"/>
                <a:ext cx="358" cy="3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2" name="Freeform 5">
                <a:extLst>
                  <a:ext uri="{FF2B5EF4-FFF2-40B4-BE49-F238E27FC236}">
                    <a16:creationId xmlns:a16="http://schemas.microsoft.com/office/drawing/2014/main" id="{02BDD43F-1A64-F293-2644-D1EA3A98C6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46" y="2045"/>
                <a:ext cx="230" cy="229"/>
              </a:xfrm>
              <a:custGeom>
                <a:avLst/>
                <a:gdLst>
                  <a:gd name="T0" fmla="*/ 174 w 192"/>
                  <a:gd name="T1" fmla="*/ 192 h 192"/>
                  <a:gd name="T2" fmla="*/ 18 w 192"/>
                  <a:gd name="T3" fmla="*/ 192 h 192"/>
                  <a:gd name="T4" fmla="*/ 0 w 192"/>
                  <a:gd name="T5" fmla="*/ 174 h 192"/>
                  <a:gd name="T6" fmla="*/ 0 w 192"/>
                  <a:gd name="T7" fmla="*/ 18 h 192"/>
                  <a:gd name="T8" fmla="*/ 18 w 192"/>
                  <a:gd name="T9" fmla="*/ 0 h 192"/>
                  <a:gd name="T10" fmla="*/ 174 w 192"/>
                  <a:gd name="T11" fmla="*/ 0 h 192"/>
                  <a:gd name="T12" fmla="*/ 192 w 192"/>
                  <a:gd name="T13" fmla="*/ 18 h 192"/>
                  <a:gd name="T14" fmla="*/ 192 w 192"/>
                  <a:gd name="T15" fmla="*/ 174 h 192"/>
                  <a:gd name="T16" fmla="*/ 174 w 192"/>
                  <a:gd name="T17" fmla="*/ 192 h 192"/>
                  <a:gd name="T18" fmla="*/ 18 w 192"/>
                  <a:gd name="T19" fmla="*/ 12 h 192"/>
                  <a:gd name="T20" fmla="*/ 12 w 192"/>
                  <a:gd name="T21" fmla="*/ 18 h 192"/>
                  <a:gd name="T22" fmla="*/ 12 w 192"/>
                  <a:gd name="T23" fmla="*/ 174 h 192"/>
                  <a:gd name="T24" fmla="*/ 18 w 192"/>
                  <a:gd name="T25" fmla="*/ 180 h 192"/>
                  <a:gd name="T26" fmla="*/ 174 w 192"/>
                  <a:gd name="T27" fmla="*/ 180 h 192"/>
                  <a:gd name="T28" fmla="*/ 180 w 192"/>
                  <a:gd name="T29" fmla="*/ 174 h 192"/>
                  <a:gd name="T30" fmla="*/ 180 w 192"/>
                  <a:gd name="T31" fmla="*/ 18 h 192"/>
                  <a:gd name="T32" fmla="*/ 174 w 192"/>
                  <a:gd name="T33" fmla="*/ 12 h 192"/>
                  <a:gd name="T34" fmla="*/ 18 w 192"/>
                  <a:gd name="T35" fmla="*/ 1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2" h="192">
                    <a:moveTo>
                      <a:pt x="174" y="192"/>
                    </a:moveTo>
                    <a:cubicBezTo>
                      <a:pt x="18" y="192"/>
                      <a:pt x="18" y="192"/>
                      <a:pt x="18" y="192"/>
                    </a:cubicBezTo>
                    <a:cubicBezTo>
                      <a:pt x="8" y="192"/>
                      <a:pt x="0" y="184"/>
                      <a:pt x="0" y="17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9"/>
                      <a:pt x="8" y="0"/>
                      <a:pt x="18" y="0"/>
                    </a:cubicBezTo>
                    <a:cubicBezTo>
                      <a:pt x="174" y="0"/>
                      <a:pt x="174" y="0"/>
                      <a:pt x="174" y="0"/>
                    </a:cubicBezTo>
                    <a:cubicBezTo>
                      <a:pt x="184" y="0"/>
                      <a:pt x="192" y="9"/>
                      <a:pt x="192" y="18"/>
                    </a:cubicBezTo>
                    <a:cubicBezTo>
                      <a:pt x="192" y="174"/>
                      <a:pt x="192" y="174"/>
                      <a:pt x="192" y="174"/>
                    </a:cubicBezTo>
                    <a:cubicBezTo>
                      <a:pt x="192" y="184"/>
                      <a:pt x="184" y="192"/>
                      <a:pt x="174" y="192"/>
                    </a:cubicBezTo>
                    <a:close/>
                    <a:moveTo>
                      <a:pt x="18" y="12"/>
                    </a:moveTo>
                    <a:cubicBezTo>
                      <a:pt x="14" y="12"/>
                      <a:pt x="12" y="15"/>
                      <a:pt x="12" y="18"/>
                    </a:cubicBezTo>
                    <a:cubicBezTo>
                      <a:pt x="12" y="174"/>
                      <a:pt x="12" y="174"/>
                      <a:pt x="12" y="174"/>
                    </a:cubicBezTo>
                    <a:cubicBezTo>
                      <a:pt x="12" y="178"/>
                      <a:pt x="14" y="180"/>
                      <a:pt x="18" y="180"/>
                    </a:cubicBezTo>
                    <a:cubicBezTo>
                      <a:pt x="174" y="180"/>
                      <a:pt x="174" y="180"/>
                      <a:pt x="174" y="180"/>
                    </a:cubicBezTo>
                    <a:cubicBezTo>
                      <a:pt x="177" y="180"/>
                      <a:pt x="180" y="178"/>
                      <a:pt x="180" y="174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80" y="15"/>
                      <a:pt x="177" y="12"/>
                      <a:pt x="174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3" name="Freeform 6">
                <a:extLst>
                  <a:ext uri="{FF2B5EF4-FFF2-40B4-BE49-F238E27FC236}">
                    <a16:creationId xmlns:a16="http://schemas.microsoft.com/office/drawing/2014/main" id="{5ACA7CCF-D8E5-F461-D897-8F8B1ACCDE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7" y="1987"/>
                <a:ext cx="14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4" name="Freeform 7">
                <a:extLst>
                  <a:ext uri="{FF2B5EF4-FFF2-40B4-BE49-F238E27FC236}">
                    <a16:creationId xmlns:a16="http://schemas.microsoft.com/office/drawing/2014/main" id="{DA7FCD83-1A31-2783-B006-E94B12E175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9" y="1987"/>
                <a:ext cx="15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C564A4A5-7BA5-3E2B-9C9B-B196458058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8" y="1987"/>
                <a:ext cx="15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232F9287-6B2F-2BBA-A60E-C6DB0F1D6F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159"/>
                <a:ext cx="72" cy="15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5C3C1E82-6E1A-7E80-11DE-E803700622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217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93A8DE0F-276E-0F23-BEE5-DA1BB47F55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088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BF9FC08A-B4B5-8F36-AC96-F028036F72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1" y="2260"/>
                <a:ext cx="14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CC31D09A-932E-9099-C77A-DED0AF0B49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8" y="2260"/>
                <a:ext cx="15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EC5637C0-6F96-F43C-8F96-879339D29B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9" y="2260"/>
                <a:ext cx="15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385621BC-3E7A-7EF0-37C2-CC410CF25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145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EE7A0448-B2D9-EEC4-33CA-08B824B7F4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088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4" name="Freeform 17">
                <a:extLst>
                  <a:ext uri="{FF2B5EF4-FFF2-40B4-BE49-F238E27FC236}">
                    <a16:creationId xmlns:a16="http://schemas.microsoft.com/office/drawing/2014/main" id="{4B0AF812-181D-6EA3-35F4-C78C79B6F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217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5" name="Freeform 18">
                <a:extLst>
                  <a:ext uri="{FF2B5EF4-FFF2-40B4-BE49-F238E27FC236}">
                    <a16:creationId xmlns:a16="http://schemas.microsoft.com/office/drawing/2014/main" id="{45E430B0-9863-78C2-5C35-BB65D0C9FE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5" y="2073"/>
                <a:ext cx="172" cy="172"/>
              </a:xfrm>
              <a:custGeom>
                <a:avLst/>
                <a:gdLst>
                  <a:gd name="T0" fmla="*/ 114 w 144"/>
                  <a:gd name="T1" fmla="*/ 144 h 144"/>
                  <a:gd name="T2" fmla="*/ 30 w 144"/>
                  <a:gd name="T3" fmla="*/ 144 h 144"/>
                  <a:gd name="T4" fmla="*/ 0 w 144"/>
                  <a:gd name="T5" fmla="*/ 114 h 144"/>
                  <a:gd name="T6" fmla="*/ 0 w 144"/>
                  <a:gd name="T7" fmla="*/ 30 h 144"/>
                  <a:gd name="T8" fmla="*/ 30 w 144"/>
                  <a:gd name="T9" fmla="*/ 0 h 144"/>
                  <a:gd name="T10" fmla="*/ 114 w 144"/>
                  <a:gd name="T11" fmla="*/ 0 h 144"/>
                  <a:gd name="T12" fmla="*/ 144 w 144"/>
                  <a:gd name="T13" fmla="*/ 30 h 144"/>
                  <a:gd name="T14" fmla="*/ 144 w 144"/>
                  <a:gd name="T15" fmla="*/ 114 h 144"/>
                  <a:gd name="T16" fmla="*/ 114 w 144"/>
                  <a:gd name="T17" fmla="*/ 144 h 144"/>
                  <a:gd name="T18" fmla="*/ 30 w 144"/>
                  <a:gd name="T19" fmla="*/ 12 h 144"/>
                  <a:gd name="T20" fmla="*/ 12 w 144"/>
                  <a:gd name="T21" fmla="*/ 30 h 144"/>
                  <a:gd name="T22" fmla="*/ 12 w 144"/>
                  <a:gd name="T23" fmla="*/ 114 h 144"/>
                  <a:gd name="T24" fmla="*/ 30 w 144"/>
                  <a:gd name="T25" fmla="*/ 132 h 144"/>
                  <a:gd name="T26" fmla="*/ 114 w 144"/>
                  <a:gd name="T27" fmla="*/ 132 h 144"/>
                  <a:gd name="T28" fmla="*/ 132 w 144"/>
                  <a:gd name="T29" fmla="*/ 114 h 144"/>
                  <a:gd name="T30" fmla="*/ 132 w 144"/>
                  <a:gd name="T31" fmla="*/ 30 h 144"/>
                  <a:gd name="T32" fmla="*/ 114 w 144"/>
                  <a:gd name="T33" fmla="*/ 12 h 144"/>
                  <a:gd name="T34" fmla="*/ 30 w 144"/>
                  <a:gd name="T35" fmla="*/ 1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144">
                    <a:moveTo>
                      <a:pt x="114" y="144"/>
                    </a:moveTo>
                    <a:cubicBezTo>
                      <a:pt x="30" y="144"/>
                      <a:pt x="30" y="144"/>
                      <a:pt x="30" y="144"/>
                    </a:cubicBezTo>
                    <a:cubicBezTo>
                      <a:pt x="13" y="144"/>
                      <a:pt x="0" y="131"/>
                      <a:pt x="0" y="114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14"/>
                      <a:pt x="13" y="0"/>
                      <a:pt x="30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130" y="0"/>
                      <a:pt x="144" y="14"/>
                      <a:pt x="144" y="30"/>
                    </a:cubicBezTo>
                    <a:cubicBezTo>
                      <a:pt x="144" y="114"/>
                      <a:pt x="144" y="114"/>
                      <a:pt x="144" y="114"/>
                    </a:cubicBezTo>
                    <a:cubicBezTo>
                      <a:pt x="144" y="131"/>
                      <a:pt x="130" y="144"/>
                      <a:pt x="114" y="144"/>
                    </a:cubicBezTo>
                    <a:close/>
                    <a:moveTo>
                      <a:pt x="30" y="12"/>
                    </a:moveTo>
                    <a:cubicBezTo>
                      <a:pt x="20" y="12"/>
                      <a:pt x="12" y="21"/>
                      <a:pt x="12" y="30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2" y="124"/>
                      <a:pt x="20" y="132"/>
                      <a:pt x="30" y="132"/>
                    </a:cubicBezTo>
                    <a:cubicBezTo>
                      <a:pt x="114" y="132"/>
                      <a:pt x="114" y="132"/>
                      <a:pt x="114" y="132"/>
                    </a:cubicBezTo>
                    <a:cubicBezTo>
                      <a:pt x="124" y="132"/>
                      <a:pt x="132" y="124"/>
                      <a:pt x="132" y="114"/>
                    </a:cubicBezTo>
                    <a:cubicBezTo>
                      <a:pt x="132" y="30"/>
                      <a:pt x="132" y="30"/>
                      <a:pt x="132" y="30"/>
                    </a:cubicBezTo>
                    <a:cubicBezTo>
                      <a:pt x="132" y="21"/>
                      <a:pt x="124" y="12"/>
                      <a:pt x="114" y="12"/>
                    </a:cubicBez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</p:grpSp>
      </p:grpSp>
      <p:sp>
        <p:nvSpPr>
          <p:cNvPr id="223" name="Title 1">
            <a:extLst>
              <a:ext uri="{FF2B5EF4-FFF2-40B4-BE49-F238E27FC236}">
                <a16:creationId xmlns:a16="http://schemas.microsoft.com/office/drawing/2014/main" id="{D59545F7-0203-C7F3-1C53-BE4FF3E604E7}"/>
              </a:ext>
            </a:extLst>
          </p:cNvPr>
          <p:cNvSpPr txBox="1">
            <a:spLocks/>
          </p:cNvSpPr>
          <p:nvPr/>
        </p:nvSpPr>
        <p:spPr>
          <a:xfrm>
            <a:off x="338546" y="207092"/>
            <a:ext cx="11641970" cy="77613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inden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79600" algn="l"/>
              </a:tabLst>
              <a:defRPr sz="3600" b="1" i="0">
                <a:solidFill>
                  <a:schemeClr val="accent2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pl-PL"/>
              <a:t>AI Industry Hub | </a:t>
            </a:r>
            <a:r>
              <a:rPr lang="pl-PL">
                <a:solidFill>
                  <a:schemeClr val="tx1"/>
                </a:solidFill>
              </a:rPr>
              <a:t>Financial Services</a:t>
            </a:r>
            <a:endParaRPr lang="en-GB">
              <a:solidFill>
                <a:schemeClr val="tx1"/>
              </a:solidFill>
            </a:endParaRPr>
          </a:p>
        </p:txBody>
      </p:sp>
      <p:graphicFrame>
        <p:nvGraphicFramePr>
          <p:cNvPr id="2" name="Chart Placeholder 7">
            <a:extLst>
              <a:ext uri="{FF2B5EF4-FFF2-40B4-BE49-F238E27FC236}">
                <a16:creationId xmlns:a16="http://schemas.microsoft.com/office/drawing/2014/main" id="{8E7A8C16-F0C3-B830-1F6E-43D9DBAEBC3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62673797"/>
              </p:ext>
            </p:extLst>
          </p:nvPr>
        </p:nvGraphicFramePr>
        <p:xfrm>
          <a:off x="716991" y="4304509"/>
          <a:ext cx="2958839" cy="1970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FB7EB223-BBA9-5A8B-2440-5F4A1ACB8407}"/>
              </a:ext>
            </a:extLst>
          </p:cNvPr>
          <p:cNvSpPr txBox="1"/>
          <p:nvPr/>
        </p:nvSpPr>
        <p:spPr>
          <a:xfrm>
            <a:off x="458658" y="2005895"/>
            <a:ext cx="23672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b="1"/>
              <a:t>Team breakdown (Head count)</a:t>
            </a:r>
          </a:p>
        </p:txBody>
      </p:sp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DA8290FA-8141-7713-515C-35623ACA9428}"/>
              </a:ext>
            </a:extLst>
          </p:cNvPr>
          <p:cNvSpPr/>
          <p:nvPr/>
        </p:nvSpPr>
        <p:spPr>
          <a:xfrm>
            <a:off x="4196834" y="2065623"/>
            <a:ext cx="7372088" cy="4220670"/>
          </a:xfrm>
          <a:prstGeom prst="wedgeRectCallout">
            <a:avLst>
              <a:gd name="adj1" fmla="val -75389"/>
              <a:gd name="adj2" fmla="val 25054"/>
            </a:avLst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  <a:prstDash val="sysDot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D29541-E8D8-E797-BE3A-7A30ACFC91E2}"/>
              </a:ext>
            </a:extLst>
          </p:cNvPr>
          <p:cNvSpPr txBox="1"/>
          <p:nvPr/>
        </p:nvSpPr>
        <p:spPr>
          <a:xfrm>
            <a:off x="5212947" y="2188544"/>
            <a:ext cx="54314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APPLIED INTELLIGENCE WARSAW  </a:t>
            </a:r>
          </a:p>
          <a:p>
            <a:pPr algn="ctr"/>
            <a:r>
              <a:rPr lang="en-GB" sz="1200">
                <a:solidFill>
                  <a:schemeClr val="accent1"/>
                </a:solidFill>
                <a:latin typeface="Arial Black" panose="020B0A04020102020204" pitchFamily="34" charset="0"/>
              </a:rPr>
              <a:t>FINANCIAL SERVICES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655453C9-16D9-F93E-E99C-7CECA2DF5BA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6956856"/>
              </p:ext>
            </p:extLst>
          </p:nvPr>
        </p:nvGraphicFramePr>
        <p:xfrm>
          <a:off x="4550465" y="4418065"/>
          <a:ext cx="2030170" cy="1552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EB303D03-B640-3622-3496-9723B46D67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97851938"/>
              </p:ext>
            </p:extLst>
          </p:nvPr>
        </p:nvGraphicFramePr>
        <p:xfrm>
          <a:off x="7055997" y="4422993"/>
          <a:ext cx="2016000" cy="15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A5F166E8-5B94-8931-D96F-28B16FF9858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13210375"/>
              </p:ext>
            </p:extLst>
          </p:nvPr>
        </p:nvGraphicFramePr>
        <p:xfrm>
          <a:off x="9547358" y="4422993"/>
          <a:ext cx="1512000" cy="15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55A09025-86D6-0D1B-B946-8EACB0342C78}"/>
              </a:ext>
            </a:extLst>
          </p:cNvPr>
          <p:cNvSpPr txBox="1"/>
          <p:nvPr/>
        </p:nvSpPr>
        <p:spPr>
          <a:xfrm>
            <a:off x="4358725" y="2615788"/>
            <a:ext cx="1155072" cy="11358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tIns="36000" bIns="144000" rtlCol="0" anchor="ctr">
            <a:spAutoFit/>
          </a:bodyPr>
          <a:lstStyle/>
          <a:p>
            <a:pPr algn="ctr"/>
            <a:r>
              <a:rPr lang="en-GB" sz="3200" b="1">
                <a:solidFill>
                  <a:schemeClr val="accent1"/>
                </a:solidFill>
                <a:latin typeface="Arial Black" panose="020B0A04020102020204" pitchFamily="34" charset="0"/>
              </a:rPr>
              <a:t>34</a:t>
            </a:r>
          </a:p>
          <a:p>
            <a:pPr algn="ctr"/>
            <a:r>
              <a:rPr lang="en-GB" sz="1000" b="1">
                <a:latin typeface="+mj-lt"/>
              </a:rPr>
              <a:t>Professionals experienced in Bankin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1D263DB-10CB-877D-D728-B10C248FEB22}"/>
              </a:ext>
            </a:extLst>
          </p:cNvPr>
          <p:cNvSpPr txBox="1"/>
          <p:nvPr/>
        </p:nvSpPr>
        <p:spPr>
          <a:xfrm>
            <a:off x="8014774" y="2588473"/>
            <a:ext cx="1155072" cy="11358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tIns="36000" bIns="144000" rtlCol="0" anchor="ctr">
            <a:spAutoFit/>
          </a:bodyPr>
          <a:lstStyle/>
          <a:p>
            <a:pPr algn="ctr"/>
            <a:r>
              <a:rPr lang="en-GB" sz="3200" b="1">
                <a:solidFill>
                  <a:schemeClr val="accent1"/>
                </a:solidFill>
                <a:latin typeface="Arial Black" panose="020B0A04020102020204" pitchFamily="34" charset="0"/>
              </a:rPr>
              <a:t>30</a:t>
            </a:r>
          </a:p>
          <a:p>
            <a:pPr algn="ctr"/>
            <a:r>
              <a:rPr lang="en-GB" sz="1000" b="1">
                <a:latin typeface="+mj-lt"/>
              </a:rPr>
              <a:t>Professionals experienced in Insurance</a:t>
            </a:r>
          </a:p>
        </p:txBody>
      </p:sp>
      <p:graphicFrame>
        <p:nvGraphicFramePr>
          <p:cNvPr id="16" name="Table 9">
            <a:extLst>
              <a:ext uri="{FF2B5EF4-FFF2-40B4-BE49-F238E27FC236}">
                <a16:creationId xmlns:a16="http://schemas.microsoft.com/office/drawing/2014/main" id="{37C5FDCF-8DE1-8093-BB2F-F249079BC4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311272"/>
              </p:ext>
            </p:extLst>
          </p:nvPr>
        </p:nvGraphicFramePr>
        <p:xfrm>
          <a:off x="9412093" y="2833975"/>
          <a:ext cx="1944000" cy="11730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288749998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3286731264"/>
                    </a:ext>
                  </a:extLst>
                </a:gridCol>
              </a:tblGrid>
              <a:tr h="293266">
                <a:tc>
                  <a:txBody>
                    <a:bodyPr/>
                    <a:lstStyle/>
                    <a:p>
                      <a:r>
                        <a:rPr lang="en-GB" sz="600" b="1" noProof="0"/>
                        <a:t>Claim fraud analytic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600" b="1" noProof="0"/>
                        <a:t>Data model</a:t>
                      </a:r>
                      <a:r>
                        <a:rPr lang="pl-PL" sz="600" b="1" noProof="0"/>
                        <a:t>l</a:t>
                      </a:r>
                      <a:r>
                        <a:rPr lang="en-GB" sz="600" b="1" noProof="0"/>
                        <a:t>ing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9373039"/>
                  </a:ext>
                </a:extLst>
              </a:tr>
              <a:tr h="293266">
                <a:tc>
                  <a:txBody>
                    <a:bodyPr/>
                    <a:lstStyle/>
                    <a:p>
                      <a:r>
                        <a:rPr lang="en-GB" sz="600" b="1" noProof="0"/>
                        <a:t>Analytical Underwriting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600" b="1" noProof="0"/>
                        <a:t>Customer Analytic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923662"/>
                  </a:ext>
                </a:extLst>
              </a:tr>
              <a:tr h="293266">
                <a:tc>
                  <a:txBody>
                    <a:bodyPr/>
                    <a:lstStyle/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600" b="1" noProof="0"/>
                        <a:t>MIS and Sales Incentivatio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600" b="1" noProof="0"/>
                        <a:t>DWH and data modelling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7875686"/>
                  </a:ext>
                </a:extLst>
              </a:tr>
              <a:tr h="293266">
                <a:tc>
                  <a:txBody>
                    <a:bodyPr/>
                    <a:lstStyle/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600" b="1" noProof="0"/>
                        <a:t>IFRS (8, 17)</a:t>
                      </a:r>
                    </a:p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600" b="1" noProof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600" b="1" noProof="0"/>
                        <a:t>System Integratio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69006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05F336E2-2EE1-5671-2608-360D7377C07C}"/>
              </a:ext>
            </a:extLst>
          </p:cNvPr>
          <p:cNvSpPr txBox="1"/>
          <p:nvPr/>
        </p:nvSpPr>
        <p:spPr>
          <a:xfrm>
            <a:off x="4459042" y="5970175"/>
            <a:ext cx="2065726" cy="3972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tIns="36000" bIns="144000" rtlCol="0" anchor="ctr">
            <a:spAutoFit/>
          </a:bodyPr>
          <a:lstStyle/>
          <a:p>
            <a:pPr algn="ctr"/>
            <a:r>
              <a:rPr lang="en-GB" sz="700"/>
              <a:t>Also available: </a:t>
            </a:r>
            <a:r>
              <a:rPr lang="en-GB" sz="700" err="1"/>
              <a:t>Matlab</a:t>
            </a:r>
            <a:r>
              <a:rPr lang="en-GB" sz="700"/>
              <a:t>, Simulink, SPSS, STATISTICA. STATA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4C66AD8-EF51-2FCB-7B8C-CA61C7B778EC}"/>
              </a:ext>
            </a:extLst>
          </p:cNvPr>
          <p:cNvSpPr txBox="1"/>
          <p:nvPr/>
        </p:nvSpPr>
        <p:spPr>
          <a:xfrm>
            <a:off x="6824785" y="5970175"/>
            <a:ext cx="2065726" cy="2894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tIns="36000" bIns="144000" rtlCol="0" anchor="ctr">
            <a:spAutoFit/>
          </a:bodyPr>
          <a:lstStyle/>
          <a:p>
            <a:pPr algn="ctr"/>
            <a:r>
              <a:rPr lang="en-GB" sz="700"/>
              <a:t>Also available: Hive, SSIS,  </a:t>
            </a:r>
          </a:p>
        </p:txBody>
      </p:sp>
      <p:graphicFrame>
        <p:nvGraphicFramePr>
          <p:cNvPr id="19" name="Chart Placeholder 7">
            <a:extLst>
              <a:ext uri="{FF2B5EF4-FFF2-40B4-BE49-F238E27FC236}">
                <a16:creationId xmlns:a16="http://schemas.microsoft.com/office/drawing/2014/main" id="{E9A32DC7-7E52-60BB-36E5-A269DF80DB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3291822"/>
              </p:ext>
            </p:extLst>
          </p:nvPr>
        </p:nvGraphicFramePr>
        <p:xfrm>
          <a:off x="455023" y="2223846"/>
          <a:ext cx="3741811" cy="19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E658F1D0-74CD-721C-05FA-C69ABEA66AA5}"/>
              </a:ext>
            </a:extLst>
          </p:cNvPr>
          <p:cNvSpPr txBox="1"/>
          <p:nvPr/>
        </p:nvSpPr>
        <p:spPr>
          <a:xfrm>
            <a:off x="1321915" y="3151051"/>
            <a:ext cx="623569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algn="l"/>
            <a:r>
              <a:rPr lang="en-GB" sz="1100" b="1"/>
              <a:t>Func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F268472-B173-5102-3A78-F188D7BE9C01}"/>
              </a:ext>
            </a:extLst>
          </p:cNvPr>
          <p:cNvSpPr txBox="1"/>
          <p:nvPr/>
        </p:nvSpPr>
        <p:spPr>
          <a:xfrm>
            <a:off x="1347563" y="5249141"/>
            <a:ext cx="597921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algn="l"/>
            <a:r>
              <a:rPr lang="en-GB" sz="1100" b="1"/>
              <a:t>Industry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4A4F12B-7CD8-7A69-024F-B5885AA78102}"/>
              </a:ext>
            </a:extLst>
          </p:cNvPr>
          <p:cNvGrpSpPr/>
          <p:nvPr/>
        </p:nvGrpSpPr>
        <p:grpSpPr>
          <a:xfrm>
            <a:off x="9248562" y="2845998"/>
            <a:ext cx="197684" cy="230801"/>
            <a:chOff x="1925742" y="253379"/>
            <a:chExt cx="622110" cy="726324"/>
          </a:xfrm>
        </p:grpSpPr>
        <p:sp>
          <p:nvSpPr>
            <p:cNvPr id="23" name="Arrow: Chevron 22">
              <a:extLst>
                <a:ext uri="{FF2B5EF4-FFF2-40B4-BE49-F238E27FC236}">
                  <a16:creationId xmlns:a16="http://schemas.microsoft.com/office/drawing/2014/main" id="{6579FC19-3243-396D-B7F6-CE1527C4B72C}"/>
                </a:ext>
              </a:extLst>
            </p:cNvPr>
            <p:cNvSpPr/>
            <p:nvPr/>
          </p:nvSpPr>
          <p:spPr>
            <a:xfrm rot="16200000">
              <a:off x="2020948" y="601631"/>
              <a:ext cx="446619" cy="309525"/>
            </a:xfrm>
            <a:prstGeom prst="chevron">
              <a:avLst>
                <a:gd name="adj" fmla="val 18695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24" name="Star: 32 Points 23">
              <a:extLst>
                <a:ext uri="{FF2B5EF4-FFF2-40B4-BE49-F238E27FC236}">
                  <a16:creationId xmlns:a16="http://schemas.microsoft.com/office/drawing/2014/main" id="{6502FCD0-B0B8-60B7-2775-A37CFB833B38}"/>
                </a:ext>
              </a:extLst>
            </p:cNvPr>
            <p:cNvSpPr/>
            <p:nvPr/>
          </p:nvSpPr>
          <p:spPr>
            <a:xfrm>
              <a:off x="1925742" y="253379"/>
              <a:ext cx="622110" cy="622110"/>
            </a:xfrm>
            <a:prstGeom prst="star32">
              <a:avLst>
                <a:gd name="adj" fmla="val 43754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B9855C1-6ACC-EFB7-5862-D3346AEDCE05}"/>
                </a:ext>
              </a:extLst>
            </p:cNvPr>
            <p:cNvSpPr/>
            <p:nvPr/>
          </p:nvSpPr>
          <p:spPr>
            <a:xfrm>
              <a:off x="2010317" y="337954"/>
              <a:ext cx="452961" cy="452961"/>
            </a:xfrm>
            <a:prstGeom prst="ellipse">
              <a:avLst/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C5E026D-0D74-76CE-F59F-3B6BDC1F23F2}"/>
              </a:ext>
            </a:extLst>
          </p:cNvPr>
          <p:cNvGrpSpPr/>
          <p:nvPr/>
        </p:nvGrpSpPr>
        <p:grpSpPr>
          <a:xfrm>
            <a:off x="9248561" y="3113804"/>
            <a:ext cx="197684" cy="230801"/>
            <a:chOff x="1925742" y="253379"/>
            <a:chExt cx="622110" cy="726324"/>
          </a:xfrm>
          <a:solidFill>
            <a:schemeClr val="bg1">
              <a:lumMod val="65000"/>
            </a:schemeClr>
          </a:solidFill>
        </p:grpSpPr>
        <p:sp>
          <p:nvSpPr>
            <p:cNvPr id="27" name="Arrow: Chevron 26">
              <a:extLst>
                <a:ext uri="{FF2B5EF4-FFF2-40B4-BE49-F238E27FC236}">
                  <a16:creationId xmlns:a16="http://schemas.microsoft.com/office/drawing/2014/main" id="{AE696E6A-2783-5B72-38C7-111729D6FD30}"/>
                </a:ext>
              </a:extLst>
            </p:cNvPr>
            <p:cNvSpPr/>
            <p:nvPr/>
          </p:nvSpPr>
          <p:spPr>
            <a:xfrm rot="16200000">
              <a:off x="2020948" y="601631"/>
              <a:ext cx="446619" cy="309525"/>
            </a:xfrm>
            <a:prstGeom prst="chevron">
              <a:avLst>
                <a:gd name="adj" fmla="val 18695"/>
              </a:avLst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28" name="Star: 32 Points 27">
              <a:extLst>
                <a:ext uri="{FF2B5EF4-FFF2-40B4-BE49-F238E27FC236}">
                  <a16:creationId xmlns:a16="http://schemas.microsoft.com/office/drawing/2014/main" id="{72E46876-33BC-D2FE-5685-46D75AB50D9A}"/>
                </a:ext>
              </a:extLst>
            </p:cNvPr>
            <p:cNvSpPr/>
            <p:nvPr/>
          </p:nvSpPr>
          <p:spPr>
            <a:xfrm>
              <a:off x="1925742" y="253379"/>
              <a:ext cx="622110" cy="622110"/>
            </a:xfrm>
            <a:prstGeom prst="star32">
              <a:avLst>
                <a:gd name="adj" fmla="val 43754"/>
              </a:avLst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EDAE8BA-8702-E375-68F2-5690177392C5}"/>
                </a:ext>
              </a:extLst>
            </p:cNvPr>
            <p:cNvSpPr/>
            <p:nvPr/>
          </p:nvSpPr>
          <p:spPr>
            <a:xfrm>
              <a:off x="2010317" y="337954"/>
              <a:ext cx="452961" cy="452961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BB8E189-DAAB-93FD-EFA9-51E0F5649930}"/>
              </a:ext>
            </a:extLst>
          </p:cNvPr>
          <p:cNvGrpSpPr/>
          <p:nvPr/>
        </p:nvGrpSpPr>
        <p:grpSpPr>
          <a:xfrm>
            <a:off x="9234682" y="3694083"/>
            <a:ext cx="197684" cy="230801"/>
            <a:chOff x="1925742" y="253379"/>
            <a:chExt cx="622110" cy="726324"/>
          </a:xfrm>
          <a:solidFill>
            <a:srgbClr val="CC6600"/>
          </a:solidFill>
        </p:grpSpPr>
        <p:sp>
          <p:nvSpPr>
            <p:cNvPr id="48" name="Arrow: Chevron 47">
              <a:extLst>
                <a:ext uri="{FF2B5EF4-FFF2-40B4-BE49-F238E27FC236}">
                  <a16:creationId xmlns:a16="http://schemas.microsoft.com/office/drawing/2014/main" id="{E44FC789-789C-C4A7-7CE6-A2DCECDC6EA3}"/>
                </a:ext>
              </a:extLst>
            </p:cNvPr>
            <p:cNvSpPr/>
            <p:nvPr/>
          </p:nvSpPr>
          <p:spPr>
            <a:xfrm rot="16200000">
              <a:off x="2020948" y="601631"/>
              <a:ext cx="446619" cy="309525"/>
            </a:xfrm>
            <a:prstGeom prst="chevron">
              <a:avLst>
                <a:gd name="adj" fmla="val 18695"/>
              </a:avLst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49" name="Star: 32 Points 48">
              <a:extLst>
                <a:ext uri="{FF2B5EF4-FFF2-40B4-BE49-F238E27FC236}">
                  <a16:creationId xmlns:a16="http://schemas.microsoft.com/office/drawing/2014/main" id="{0D94A9F0-393B-CAF9-9E20-6B883A5E10DF}"/>
                </a:ext>
              </a:extLst>
            </p:cNvPr>
            <p:cNvSpPr/>
            <p:nvPr/>
          </p:nvSpPr>
          <p:spPr>
            <a:xfrm>
              <a:off x="1925742" y="253379"/>
              <a:ext cx="622110" cy="622110"/>
            </a:xfrm>
            <a:prstGeom prst="star32">
              <a:avLst>
                <a:gd name="adj" fmla="val 43754"/>
              </a:avLst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AA280C8-E03B-3E6C-9661-21EC347BAEB0}"/>
                </a:ext>
              </a:extLst>
            </p:cNvPr>
            <p:cNvSpPr/>
            <p:nvPr/>
          </p:nvSpPr>
          <p:spPr>
            <a:xfrm>
              <a:off x="2010317" y="337954"/>
              <a:ext cx="452961" cy="452961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6B34604-3F94-1F03-EFAC-9992CA09FE88}"/>
              </a:ext>
            </a:extLst>
          </p:cNvPr>
          <p:cNvGrpSpPr/>
          <p:nvPr/>
        </p:nvGrpSpPr>
        <p:grpSpPr>
          <a:xfrm>
            <a:off x="9248562" y="3410431"/>
            <a:ext cx="197684" cy="230801"/>
            <a:chOff x="1925742" y="253379"/>
            <a:chExt cx="622110" cy="726324"/>
          </a:xfrm>
        </p:grpSpPr>
        <p:sp>
          <p:nvSpPr>
            <p:cNvPr id="52" name="Arrow: Chevron 51">
              <a:extLst>
                <a:ext uri="{FF2B5EF4-FFF2-40B4-BE49-F238E27FC236}">
                  <a16:creationId xmlns:a16="http://schemas.microsoft.com/office/drawing/2014/main" id="{D3B1BA21-8D9E-557F-F0EE-02968EBFD377}"/>
                </a:ext>
              </a:extLst>
            </p:cNvPr>
            <p:cNvSpPr/>
            <p:nvPr/>
          </p:nvSpPr>
          <p:spPr>
            <a:xfrm rot="16200000">
              <a:off x="2020948" y="601631"/>
              <a:ext cx="446619" cy="309525"/>
            </a:xfrm>
            <a:prstGeom prst="chevron">
              <a:avLst>
                <a:gd name="adj" fmla="val 18695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53" name="Star: 32 Points 52">
              <a:extLst>
                <a:ext uri="{FF2B5EF4-FFF2-40B4-BE49-F238E27FC236}">
                  <a16:creationId xmlns:a16="http://schemas.microsoft.com/office/drawing/2014/main" id="{133A3EC6-64DF-3546-E4FC-DB537976E2B5}"/>
                </a:ext>
              </a:extLst>
            </p:cNvPr>
            <p:cNvSpPr/>
            <p:nvPr/>
          </p:nvSpPr>
          <p:spPr>
            <a:xfrm>
              <a:off x="1925742" y="253379"/>
              <a:ext cx="622110" cy="622110"/>
            </a:xfrm>
            <a:prstGeom prst="star32">
              <a:avLst>
                <a:gd name="adj" fmla="val 43754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B5FA8937-B6DB-7197-3C9A-EC8B2911802C}"/>
                </a:ext>
              </a:extLst>
            </p:cNvPr>
            <p:cNvSpPr/>
            <p:nvPr/>
          </p:nvSpPr>
          <p:spPr>
            <a:xfrm>
              <a:off x="2010317" y="337954"/>
              <a:ext cx="452961" cy="452961"/>
            </a:xfrm>
            <a:prstGeom prst="ellipse">
              <a:avLst/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6CC8144E-A265-916E-1019-AA692D50F97C}"/>
              </a:ext>
            </a:extLst>
          </p:cNvPr>
          <p:cNvGrpSpPr/>
          <p:nvPr/>
        </p:nvGrpSpPr>
        <p:grpSpPr>
          <a:xfrm>
            <a:off x="10248061" y="2845998"/>
            <a:ext cx="197684" cy="230801"/>
            <a:chOff x="1925742" y="253379"/>
            <a:chExt cx="622110" cy="726324"/>
          </a:xfrm>
        </p:grpSpPr>
        <p:sp>
          <p:nvSpPr>
            <p:cNvPr id="56" name="Arrow: Chevron 55">
              <a:extLst>
                <a:ext uri="{FF2B5EF4-FFF2-40B4-BE49-F238E27FC236}">
                  <a16:creationId xmlns:a16="http://schemas.microsoft.com/office/drawing/2014/main" id="{BE38C3A1-EE1F-D515-6FFD-C0B3920980D1}"/>
                </a:ext>
              </a:extLst>
            </p:cNvPr>
            <p:cNvSpPr/>
            <p:nvPr/>
          </p:nvSpPr>
          <p:spPr>
            <a:xfrm rot="16200000">
              <a:off x="2020948" y="601631"/>
              <a:ext cx="446619" cy="309525"/>
            </a:xfrm>
            <a:prstGeom prst="chevron">
              <a:avLst>
                <a:gd name="adj" fmla="val 18695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57" name="Star: 32 Points 56">
              <a:extLst>
                <a:ext uri="{FF2B5EF4-FFF2-40B4-BE49-F238E27FC236}">
                  <a16:creationId xmlns:a16="http://schemas.microsoft.com/office/drawing/2014/main" id="{5CA731DD-04EA-2B45-3FDE-D54EF5CEEB5C}"/>
                </a:ext>
              </a:extLst>
            </p:cNvPr>
            <p:cNvSpPr/>
            <p:nvPr/>
          </p:nvSpPr>
          <p:spPr>
            <a:xfrm>
              <a:off x="1925742" y="253379"/>
              <a:ext cx="622110" cy="622110"/>
            </a:xfrm>
            <a:prstGeom prst="star32">
              <a:avLst>
                <a:gd name="adj" fmla="val 43754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7B4629FA-AA03-D116-782C-D469ABCB4078}"/>
                </a:ext>
              </a:extLst>
            </p:cNvPr>
            <p:cNvSpPr/>
            <p:nvPr/>
          </p:nvSpPr>
          <p:spPr>
            <a:xfrm>
              <a:off x="2010317" y="337954"/>
              <a:ext cx="452961" cy="452961"/>
            </a:xfrm>
            <a:prstGeom prst="ellipse">
              <a:avLst/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56C5907-8571-D465-1B2F-7BEC4490E4FB}"/>
              </a:ext>
            </a:extLst>
          </p:cNvPr>
          <p:cNvGrpSpPr/>
          <p:nvPr/>
        </p:nvGrpSpPr>
        <p:grpSpPr>
          <a:xfrm>
            <a:off x="10248061" y="3129985"/>
            <a:ext cx="197684" cy="230801"/>
            <a:chOff x="1925742" y="253379"/>
            <a:chExt cx="622110" cy="726324"/>
          </a:xfrm>
        </p:grpSpPr>
        <p:sp>
          <p:nvSpPr>
            <p:cNvPr id="60" name="Arrow: Chevron 59">
              <a:extLst>
                <a:ext uri="{FF2B5EF4-FFF2-40B4-BE49-F238E27FC236}">
                  <a16:creationId xmlns:a16="http://schemas.microsoft.com/office/drawing/2014/main" id="{3BBE87F6-834B-AD03-6D9E-57973BE4360C}"/>
                </a:ext>
              </a:extLst>
            </p:cNvPr>
            <p:cNvSpPr/>
            <p:nvPr/>
          </p:nvSpPr>
          <p:spPr>
            <a:xfrm rot="16200000">
              <a:off x="2020948" y="601631"/>
              <a:ext cx="446619" cy="309525"/>
            </a:xfrm>
            <a:prstGeom prst="chevron">
              <a:avLst>
                <a:gd name="adj" fmla="val 18695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61" name="Star: 32 Points 60">
              <a:extLst>
                <a:ext uri="{FF2B5EF4-FFF2-40B4-BE49-F238E27FC236}">
                  <a16:creationId xmlns:a16="http://schemas.microsoft.com/office/drawing/2014/main" id="{FE49ABBE-0D4A-D13A-92D0-2E175C80F16A}"/>
                </a:ext>
              </a:extLst>
            </p:cNvPr>
            <p:cNvSpPr/>
            <p:nvPr/>
          </p:nvSpPr>
          <p:spPr>
            <a:xfrm>
              <a:off x="1925742" y="253379"/>
              <a:ext cx="622110" cy="622110"/>
            </a:xfrm>
            <a:prstGeom prst="star32">
              <a:avLst>
                <a:gd name="adj" fmla="val 43754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6ECFAD77-D14A-B2B0-57FE-927E930B9D60}"/>
                </a:ext>
              </a:extLst>
            </p:cNvPr>
            <p:cNvSpPr/>
            <p:nvPr/>
          </p:nvSpPr>
          <p:spPr>
            <a:xfrm>
              <a:off x="2010317" y="337954"/>
              <a:ext cx="452961" cy="452961"/>
            </a:xfrm>
            <a:prstGeom prst="ellipse">
              <a:avLst/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4F50DCF1-470E-53D7-274F-2FAB462A62E0}"/>
              </a:ext>
            </a:extLst>
          </p:cNvPr>
          <p:cNvGrpSpPr/>
          <p:nvPr/>
        </p:nvGrpSpPr>
        <p:grpSpPr>
          <a:xfrm>
            <a:off x="10248061" y="3426610"/>
            <a:ext cx="197684" cy="230801"/>
            <a:chOff x="1925742" y="253379"/>
            <a:chExt cx="622110" cy="726324"/>
          </a:xfrm>
        </p:grpSpPr>
        <p:sp>
          <p:nvSpPr>
            <p:cNvPr id="66" name="Arrow: Chevron 65">
              <a:extLst>
                <a:ext uri="{FF2B5EF4-FFF2-40B4-BE49-F238E27FC236}">
                  <a16:creationId xmlns:a16="http://schemas.microsoft.com/office/drawing/2014/main" id="{478C27D0-FE16-97D0-52DB-1609841126DD}"/>
                </a:ext>
              </a:extLst>
            </p:cNvPr>
            <p:cNvSpPr/>
            <p:nvPr/>
          </p:nvSpPr>
          <p:spPr>
            <a:xfrm rot="16200000">
              <a:off x="2020948" y="601631"/>
              <a:ext cx="446619" cy="309525"/>
            </a:xfrm>
            <a:prstGeom prst="chevron">
              <a:avLst>
                <a:gd name="adj" fmla="val 18695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67" name="Star: 32 Points 66">
              <a:extLst>
                <a:ext uri="{FF2B5EF4-FFF2-40B4-BE49-F238E27FC236}">
                  <a16:creationId xmlns:a16="http://schemas.microsoft.com/office/drawing/2014/main" id="{9D866909-F52D-FC45-F8EB-CAA86C870929}"/>
                </a:ext>
              </a:extLst>
            </p:cNvPr>
            <p:cNvSpPr/>
            <p:nvPr/>
          </p:nvSpPr>
          <p:spPr>
            <a:xfrm>
              <a:off x="1925742" y="253379"/>
              <a:ext cx="622110" cy="622110"/>
            </a:xfrm>
            <a:prstGeom prst="star32">
              <a:avLst>
                <a:gd name="adj" fmla="val 43754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D582FC26-54A9-0282-FD95-E8DBEC2A0B46}"/>
                </a:ext>
              </a:extLst>
            </p:cNvPr>
            <p:cNvSpPr/>
            <p:nvPr/>
          </p:nvSpPr>
          <p:spPr>
            <a:xfrm>
              <a:off x="2010317" y="337954"/>
              <a:ext cx="452961" cy="452961"/>
            </a:xfrm>
            <a:prstGeom prst="ellipse">
              <a:avLst/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F32C0E74-32B3-9D41-148B-E1A26BA0FA3E}"/>
              </a:ext>
            </a:extLst>
          </p:cNvPr>
          <p:cNvSpPr/>
          <p:nvPr/>
        </p:nvSpPr>
        <p:spPr>
          <a:xfrm>
            <a:off x="9190779" y="2721573"/>
            <a:ext cx="2185275" cy="1377714"/>
          </a:xfrm>
          <a:prstGeom prst="wedgeRectCallout">
            <a:avLst>
              <a:gd name="adj1" fmla="val -54963"/>
              <a:gd name="adj2" fmla="val -33506"/>
            </a:avLst>
          </a:prstGeom>
          <a:noFill/>
          <a:ln w="12700">
            <a:solidFill>
              <a:schemeClr val="bg1">
                <a:lumMod val="50000"/>
              </a:schemeClr>
            </a:solidFill>
            <a:prstDash val="sysDot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71" name="Table 9">
            <a:extLst>
              <a:ext uri="{FF2B5EF4-FFF2-40B4-BE49-F238E27FC236}">
                <a16:creationId xmlns:a16="http://schemas.microsoft.com/office/drawing/2014/main" id="{DA514A66-A37F-23CC-B752-45153A251D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7528097"/>
              </p:ext>
            </p:extLst>
          </p:nvPr>
        </p:nvGraphicFramePr>
        <p:xfrm>
          <a:off x="5747963" y="2833975"/>
          <a:ext cx="1944000" cy="11730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288749998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3286731264"/>
                    </a:ext>
                  </a:extLst>
                </a:gridCol>
              </a:tblGrid>
              <a:tr h="293266">
                <a:tc>
                  <a:txBody>
                    <a:bodyPr/>
                    <a:lstStyle/>
                    <a:p>
                      <a:r>
                        <a:rPr lang="en-GB" sz="600" b="1" noProof="0"/>
                        <a:t>Credit Risk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600" b="1" noProof="0"/>
                        <a:t>IFRS 9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9373039"/>
                  </a:ext>
                </a:extLst>
              </a:tr>
              <a:tr h="293266">
                <a:tc>
                  <a:txBody>
                    <a:bodyPr/>
                    <a:lstStyle/>
                    <a:p>
                      <a:r>
                        <a:rPr lang="en-GB" sz="600" b="1" noProof="0"/>
                        <a:t>Market Risk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600" b="1" noProof="0"/>
                        <a:t>DWH and data modelling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923662"/>
                  </a:ext>
                </a:extLst>
              </a:tr>
              <a:tr h="293266">
                <a:tc>
                  <a:txBody>
                    <a:bodyPr/>
                    <a:lstStyle/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600" b="1" noProof="0"/>
                        <a:t>Fraud Analysi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600" b="1" noProof="0"/>
                        <a:t>System Integratio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7875686"/>
                  </a:ext>
                </a:extLst>
              </a:tr>
              <a:tr h="293266">
                <a:tc>
                  <a:txBody>
                    <a:bodyPr/>
                    <a:lstStyle/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600" b="1" noProof="0"/>
                        <a:t>Customer </a:t>
                      </a:r>
                    </a:p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600" b="1" noProof="0"/>
                        <a:t>Analytic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600" b="1" noProof="0"/>
                        <a:t>MI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69006"/>
                  </a:ext>
                </a:extLst>
              </a:tr>
            </a:tbl>
          </a:graphicData>
        </a:graphic>
      </p:graphicFrame>
      <p:grpSp>
        <p:nvGrpSpPr>
          <p:cNvPr id="74" name="Group 73">
            <a:extLst>
              <a:ext uri="{FF2B5EF4-FFF2-40B4-BE49-F238E27FC236}">
                <a16:creationId xmlns:a16="http://schemas.microsoft.com/office/drawing/2014/main" id="{8FEB2E01-A02C-481E-4122-D119711C84C6}"/>
              </a:ext>
            </a:extLst>
          </p:cNvPr>
          <p:cNvGrpSpPr/>
          <p:nvPr/>
        </p:nvGrpSpPr>
        <p:grpSpPr>
          <a:xfrm>
            <a:off x="5570552" y="3694083"/>
            <a:ext cx="197684" cy="230801"/>
            <a:chOff x="1925742" y="253379"/>
            <a:chExt cx="622110" cy="726324"/>
          </a:xfrm>
          <a:solidFill>
            <a:srgbClr val="FFC000"/>
          </a:solidFill>
        </p:grpSpPr>
        <p:sp>
          <p:nvSpPr>
            <p:cNvPr id="75" name="Arrow: Chevron 74">
              <a:extLst>
                <a:ext uri="{FF2B5EF4-FFF2-40B4-BE49-F238E27FC236}">
                  <a16:creationId xmlns:a16="http://schemas.microsoft.com/office/drawing/2014/main" id="{564D2832-23E9-4AFE-A6C0-C7D96489E26D}"/>
                </a:ext>
              </a:extLst>
            </p:cNvPr>
            <p:cNvSpPr/>
            <p:nvPr/>
          </p:nvSpPr>
          <p:spPr>
            <a:xfrm rot="16200000">
              <a:off x="2020948" y="601631"/>
              <a:ext cx="446619" cy="309525"/>
            </a:xfrm>
            <a:prstGeom prst="chevron">
              <a:avLst>
                <a:gd name="adj" fmla="val 18695"/>
              </a:avLst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76" name="Star: 32 Points 75">
              <a:extLst>
                <a:ext uri="{FF2B5EF4-FFF2-40B4-BE49-F238E27FC236}">
                  <a16:creationId xmlns:a16="http://schemas.microsoft.com/office/drawing/2014/main" id="{DE4977D7-6E21-7185-75B4-8A98B97A4BC1}"/>
                </a:ext>
              </a:extLst>
            </p:cNvPr>
            <p:cNvSpPr/>
            <p:nvPr/>
          </p:nvSpPr>
          <p:spPr>
            <a:xfrm>
              <a:off x="1925742" y="253379"/>
              <a:ext cx="622110" cy="622110"/>
            </a:xfrm>
            <a:prstGeom prst="star32">
              <a:avLst>
                <a:gd name="adj" fmla="val 43754"/>
              </a:avLst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281B9794-CDE8-FF1B-ED2B-ABC1E5FCE980}"/>
                </a:ext>
              </a:extLst>
            </p:cNvPr>
            <p:cNvSpPr/>
            <p:nvPr/>
          </p:nvSpPr>
          <p:spPr>
            <a:xfrm>
              <a:off x="2010317" y="337954"/>
              <a:ext cx="452961" cy="452961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BF7191FD-DB10-B264-251C-1A6C3D701ED1}"/>
              </a:ext>
            </a:extLst>
          </p:cNvPr>
          <p:cNvGrpSpPr/>
          <p:nvPr/>
        </p:nvGrpSpPr>
        <p:grpSpPr>
          <a:xfrm>
            <a:off x="5584432" y="3410431"/>
            <a:ext cx="197684" cy="230801"/>
            <a:chOff x="1925742" y="253379"/>
            <a:chExt cx="622110" cy="726324"/>
          </a:xfrm>
        </p:grpSpPr>
        <p:sp>
          <p:nvSpPr>
            <p:cNvPr id="79" name="Arrow: Chevron 78">
              <a:extLst>
                <a:ext uri="{FF2B5EF4-FFF2-40B4-BE49-F238E27FC236}">
                  <a16:creationId xmlns:a16="http://schemas.microsoft.com/office/drawing/2014/main" id="{88838CC4-2724-C233-2F92-089B0F679403}"/>
                </a:ext>
              </a:extLst>
            </p:cNvPr>
            <p:cNvSpPr/>
            <p:nvPr/>
          </p:nvSpPr>
          <p:spPr>
            <a:xfrm rot="16200000">
              <a:off x="2020948" y="601631"/>
              <a:ext cx="446619" cy="309525"/>
            </a:xfrm>
            <a:prstGeom prst="chevron">
              <a:avLst>
                <a:gd name="adj" fmla="val 18695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80" name="Star: 32 Points 79">
              <a:extLst>
                <a:ext uri="{FF2B5EF4-FFF2-40B4-BE49-F238E27FC236}">
                  <a16:creationId xmlns:a16="http://schemas.microsoft.com/office/drawing/2014/main" id="{728EC46A-5CF7-1CB1-4E2A-025E5153B2F9}"/>
                </a:ext>
              </a:extLst>
            </p:cNvPr>
            <p:cNvSpPr/>
            <p:nvPr/>
          </p:nvSpPr>
          <p:spPr>
            <a:xfrm>
              <a:off x="1925742" y="253379"/>
              <a:ext cx="622110" cy="622110"/>
            </a:xfrm>
            <a:prstGeom prst="star32">
              <a:avLst>
                <a:gd name="adj" fmla="val 43754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5CFF3B81-ECEB-D05E-1733-510CC279AB1A}"/>
                </a:ext>
              </a:extLst>
            </p:cNvPr>
            <p:cNvSpPr/>
            <p:nvPr/>
          </p:nvSpPr>
          <p:spPr>
            <a:xfrm>
              <a:off x="2010317" y="337954"/>
              <a:ext cx="452961" cy="452961"/>
            </a:xfrm>
            <a:prstGeom prst="ellipse">
              <a:avLst/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2162F00D-FB0C-4350-CB50-B4D86F4D8E57}"/>
              </a:ext>
            </a:extLst>
          </p:cNvPr>
          <p:cNvGrpSpPr/>
          <p:nvPr/>
        </p:nvGrpSpPr>
        <p:grpSpPr>
          <a:xfrm>
            <a:off x="6583931" y="2849189"/>
            <a:ext cx="197684" cy="230801"/>
            <a:chOff x="1925742" y="253379"/>
            <a:chExt cx="622110" cy="726324"/>
          </a:xfrm>
          <a:solidFill>
            <a:schemeClr val="bg1">
              <a:lumMod val="65000"/>
            </a:schemeClr>
          </a:solidFill>
        </p:grpSpPr>
        <p:sp>
          <p:nvSpPr>
            <p:cNvPr id="83" name="Arrow: Chevron 82">
              <a:extLst>
                <a:ext uri="{FF2B5EF4-FFF2-40B4-BE49-F238E27FC236}">
                  <a16:creationId xmlns:a16="http://schemas.microsoft.com/office/drawing/2014/main" id="{1CDAEFF1-3188-9505-D4C6-DD70B7EBF101}"/>
                </a:ext>
              </a:extLst>
            </p:cNvPr>
            <p:cNvSpPr/>
            <p:nvPr/>
          </p:nvSpPr>
          <p:spPr>
            <a:xfrm rot="16200000">
              <a:off x="2020948" y="601631"/>
              <a:ext cx="446619" cy="309525"/>
            </a:xfrm>
            <a:prstGeom prst="chevron">
              <a:avLst>
                <a:gd name="adj" fmla="val 18695"/>
              </a:avLst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84" name="Star: 32 Points 83">
              <a:extLst>
                <a:ext uri="{FF2B5EF4-FFF2-40B4-BE49-F238E27FC236}">
                  <a16:creationId xmlns:a16="http://schemas.microsoft.com/office/drawing/2014/main" id="{26FCAAE7-3C9B-B380-BC57-A62C5CDD63C0}"/>
                </a:ext>
              </a:extLst>
            </p:cNvPr>
            <p:cNvSpPr/>
            <p:nvPr/>
          </p:nvSpPr>
          <p:spPr>
            <a:xfrm>
              <a:off x="1925742" y="253379"/>
              <a:ext cx="622110" cy="622110"/>
            </a:xfrm>
            <a:prstGeom prst="star32">
              <a:avLst>
                <a:gd name="adj" fmla="val 43754"/>
              </a:avLst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11FB0C84-3BCC-6830-4B58-436A748B05F2}"/>
                </a:ext>
              </a:extLst>
            </p:cNvPr>
            <p:cNvSpPr/>
            <p:nvPr/>
          </p:nvSpPr>
          <p:spPr>
            <a:xfrm>
              <a:off x="2010317" y="337954"/>
              <a:ext cx="452961" cy="452961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BCFB937-A1A3-B4DA-CA87-0B978EE1C3A3}"/>
              </a:ext>
            </a:extLst>
          </p:cNvPr>
          <p:cNvGrpSpPr/>
          <p:nvPr/>
        </p:nvGrpSpPr>
        <p:grpSpPr>
          <a:xfrm>
            <a:off x="6585360" y="3682507"/>
            <a:ext cx="197684" cy="230801"/>
            <a:chOff x="1925742" y="253379"/>
            <a:chExt cx="622110" cy="726324"/>
          </a:xfrm>
        </p:grpSpPr>
        <p:sp>
          <p:nvSpPr>
            <p:cNvPr id="87" name="Arrow: Chevron 86">
              <a:extLst>
                <a:ext uri="{FF2B5EF4-FFF2-40B4-BE49-F238E27FC236}">
                  <a16:creationId xmlns:a16="http://schemas.microsoft.com/office/drawing/2014/main" id="{164EA525-D2CF-EF5E-6A15-E4A086854B91}"/>
                </a:ext>
              </a:extLst>
            </p:cNvPr>
            <p:cNvSpPr/>
            <p:nvPr/>
          </p:nvSpPr>
          <p:spPr>
            <a:xfrm rot="16200000">
              <a:off x="2020948" y="601631"/>
              <a:ext cx="446619" cy="309525"/>
            </a:xfrm>
            <a:prstGeom prst="chevron">
              <a:avLst>
                <a:gd name="adj" fmla="val 18695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88" name="Star: 32 Points 87">
              <a:extLst>
                <a:ext uri="{FF2B5EF4-FFF2-40B4-BE49-F238E27FC236}">
                  <a16:creationId xmlns:a16="http://schemas.microsoft.com/office/drawing/2014/main" id="{CCA1C90B-D419-FD31-7BA9-23E66F0C1953}"/>
                </a:ext>
              </a:extLst>
            </p:cNvPr>
            <p:cNvSpPr/>
            <p:nvPr/>
          </p:nvSpPr>
          <p:spPr>
            <a:xfrm>
              <a:off x="1925742" y="253379"/>
              <a:ext cx="622110" cy="622110"/>
            </a:xfrm>
            <a:prstGeom prst="star32">
              <a:avLst>
                <a:gd name="adj" fmla="val 43754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7DD870C8-7621-4EDD-B8DB-40EF5E59D62D}"/>
                </a:ext>
              </a:extLst>
            </p:cNvPr>
            <p:cNvSpPr/>
            <p:nvPr/>
          </p:nvSpPr>
          <p:spPr>
            <a:xfrm>
              <a:off x="2010317" y="337954"/>
              <a:ext cx="452961" cy="452961"/>
            </a:xfrm>
            <a:prstGeom prst="ellipse">
              <a:avLst/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2F78220C-91FD-A442-3D13-510A6FCABFDE}"/>
              </a:ext>
            </a:extLst>
          </p:cNvPr>
          <p:cNvGrpSpPr/>
          <p:nvPr/>
        </p:nvGrpSpPr>
        <p:grpSpPr>
          <a:xfrm>
            <a:off x="6583931" y="3129985"/>
            <a:ext cx="197684" cy="230801"/>
            <a:chOff x="1925742" y="253379"/>
            <a:chExt cx="622110" cy="726324"/>
          </a:xfrm>
        </p:grpSpPr>
        <p:sp>
          <p:nvSpPr>
            <p:cNvPr id="91" name="Arrow: Chevron 90">
              <a:extLst>
                <a:ext uri="{FF2B5EF4-FFF2-40B4-BE49-F238E27FC236}">
                  <a16:creationId xmlns:a16="http://schemas.microsoft.com/office/drawing/2014/main" id="{5EEB5578-46F3-96B7-BC09-D9D71CC62FB6}"/>
                </a:ext>
              </a:extLst>
            </p:cNvPr>
            <p:cNvSpPr/>
            <p:nvPr/>
          </p:nvSpPr>
          <p:spPr>
            <a:xfrm rot="16200000">
              <a:off x="2020948" y="601631"/>
              <a:ext cx="446619" cy="309525"/>
            </a:xfrm>
            <a:prstGeom prst="chevron">
              <a:avLst>
                <a:gd name="adj" fmla="val 18695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92" name="Star: 32 Points 91">
              <a:extLst>
                <a:ext uri="{FF2B5EF4-FFF2-40B4-BE49-F238E27FC236}">
                  <a16:creationId xmlns:a16="http://schemas.microsoft.com/office/drawing/2014/main" id="{FDCAB4B9-1344-5C77-6424-4BBA1585C5BC}"/>
                </a:ext>
              </a:extLst>
            </p:cNvPr>
            <p:cNvSpPr/>
            <p:nvPr/>
          </p:nvSpPr>
          <p:spPr>
            <a:xfrm>
              <a:off x="1925742" y="253379"/>
              <a:ext cx="622110" cy="622110"/>
            </a:xfrm>
            <a:prstGeom prst="star32">
              <a:avLst>
                <a:gd name="adj" fmla="val 43754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26AD0EF7-B3B9-561E-9BAF-3C6740606ED7}"/>
                </a:ext>
              </a:extLst>
            </p:cNvPr>
            <p:cNvSpPr/>
            <p:nvPr/>
          </p:nvSpPr>
          <p:spPr>
            <a:xfrm>
              <a:off x="2010317" y="337954"/>
              <a:ext cx="452961" cy="452961"/>
            </a:xfrm>
            <a:prstGeom prst="ellipse">
              <a:avLst/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1A73401A-0D7B-F638-BF7B-EDD42440A1FC}"/>
              </a:ext>
            </a:extLst>
          </p:cNvPr>
          <p:cNvGrpSpPr/>
          <p:nvPr/>
        </p:nvGrpSpPr>
        <p:grpSpPr>
          <a:xfrm>
            <a:off x="6583931" y="3426610"/>
            <a:ext cx="197684" cy="230801"/>
            <a:chOff x="1925742" y="253379"/>
            <a:chExt cx="622110" cy="726324"/>
          </a:xfrm>
        </p:grpSpPr>
        <p:sp>
          <p:nvSpPr>
            <p:cNvPr id="95" name="Arrow: Chevron 94">
              <a:extLst>
                <a:ext uri="{FF2B5EF4-FFF2-40B4-BE49-F238E27FC236}">
                  <a16:creationId xmlns:a16="http://schemas.microsoft.com/office/drawing/2014/main" id="{4668B272-371B-40EB-48CE-3DB406E8D1FF}"/>
                </a:ext>
              </a:extLst>
            </p:cNvPr>
            <p:cNvSpPr/>
            <p:nvPr/>
          </p:nvSpPr>
          <p:spPr>
            <a:xfrm rot="16200000">
              <a:off x="2020948" y="601631"/>
              <a:ext cx="446619" cy="309525"/>
            </a:xfrm>
            <a:prstGeom prst="chevron">
              <a:avLst>
                <a:gd name="adj" fmla="val 18695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96" name="Star: 32 Points 95">
              <a:extLst>
                <a:ext uri="{FF2B5EF4-FFF2-40B4-BE49-F238E27FC236}">
                  <a16:creationId xmlns:a16="http://schemas.microsoft.com/office/drawing/2014/main" id="{58C7FCA5-56AC-73CA-F136-285B93C1E11B}"/>
                </a:ext>
              </a:extLst>
            </p:cNvPr>
            <p:cNvSpPr/>
            <p:nvPr/>
          </p:nvSpPr>
          <p:spPr>
            <a:xfrm>
              <a:off x="1925742" y="253379"/>
              <a:ext cx="622110" cy="622110"/>
            </a:xfrm>
            <a:prstGeom prst="star32">
              <a:avLst>
                <a:gd name="adj" fmla="val 43754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2AB7C8D8-3C4C-A477-3E83-2628C6AD202D}"/>
                </a:ext>
              </a:extLst>
            </p:cNvPr>
            <p:cNvSpPr/>
            <p:nvPr/>
          </p:nvSpPr>
          <p:spPr>
            <a:xfrm>
              <a:off x="2010317" y="337954"/>
              <a:ext cx="452961" cy="452961"/>
            </a:xfrm>
            <a:prstGeom prst="ellipse">
              <a:avLst/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98" name="Speech Bubble: Rectangle 97">
            <a:extLst>
              <a:ext uri="{FF2B5EF4-FFF2-40B4-BE49-F238E27FC236}">
                <a16:creationId xmlns:a16="http://schemas.microsoft.com/office/drawing/2014/main" id="{8BE48602-111B-5698-E262-0FDB6E18E0E3}"/>
              </a:ext>
            </a:extLst>
          </p:cNvPr>
          <p:cNvSpPr/>
          <p:nvPr/>
        </p:nvSpPr>
        <p:spPr>
          <a:xfrm>
            <a:off x="5526649" y="2721572"/>
            <a:ext cx="2185275" cy="1377715"/>
          </a:xfrm>
          <a:prstGeom prst="wedgeRectCallout">
            <a:avLst>
              <a:gd name="adj1" fmla="val -54963"/>
              <a:gd name="adj2" fmla="val -33506"/>
            </a:avLst>
          </a:prstGeom>
          <a:noFill/>
          <a:ln w="12700">
            <a:solidFill>
              <a:schemeClr val="bg1">
                <a:lumMod val="50000"/>
              </a:schemeClr>
            </a:solidFill>
            <a:prstDash val="sysDot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BBA5C9F2-09C1-4AA1-8824-E73C6205F9D5}"/>
              </a:ext>
            </a:extLst>
          </p:cNvPr>
          <p:cNvGrpSpPr/>
          <p:nvPr/>
        </p:nvGrpSpPr>
        <p:grpSpPr>
          <a:xfrm>
            <a:off x="5584432" y="2826942"/>
            <a:ext cx="197684" cy="230801"/>
            <a:chOff x="1925742" y="253379"/>
            <a:chExt cx="622110" cy="726324"/>
          </a:xfrm>
        </p:grpSpPr>
        <p:sp>
          <p:nvSpPr>
            <p:cNvPr id="100" name="Arrow: Chevron 99">
              <a:extLst>
                <a:ext uri="{FF2B5EF4-FFF2-40B4-BE49-F238E27FC236}">
                  <a16:creationId xmlns:a16="http://schemas.microsoft.com/office/drawing/2014/main" id="{767270E9-F52F-EBD3-4A0A-C281C7BDF090}"/>
                </a:ext>
              </a:extLst>
            </p:cNvPr>
            <p:cNvSpPr/>
            <p:nvPr/>
          </p:nvSpPr>
          <p:spPr>
            <a:xfrm rot="16200000">
              <a:off x="2020948" y="601631"/>
              <a:ext cx="446619" cy="309525"/>
            </a:xfrm>
            <a:prstGeom prst="chevron">
              <a:avLst>
                <a:gd name="adj" fmla="val 18695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01" name="Star: 32 Points 100">
              <a:extLst>
                <a:ext uri="{FF2B5EF4-FFF2-40B4-BE49-F238E27FC236}">
                  <a16:creationId xmlns:a16="http://schemas.microsoft.com/office/drawing/2014/main" id="{561FF47B-E8C1-78F6-AB77-3C1F0BAA8B96}"/>
                </a:ext>
              </a:extLst>
            </p:cNvPr>
            <p:cNvSpPr/>
            <p:nvPr/>
          </p:nvSpPr>
          <p:spPr>
            <a:xfrm>
              <a:off x="1925742" y="253379"/>
              <a:ext cx="622110" cy="622110"/>
            </a:xfrm>
            <a:prstGeom prst="star32">
              <a:avLst>
                <a:gd name="adj" fmla="val 43754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41FDE543-5F8D-79B7-ED9C-04A27A338A97}"/>
                </a:ext>
              </a:extLst>
            </p:cNvPr>
            <p:cNvSpPr/>
            <p:nvPr/>
          </p:nvSpPr>
          <p:spPr>
            <a:xfrm>
              <a:off x="2010317" y="337954"/>
              <a:ext cx="452961" cy="452961"/>
            </a:xfrm>
            <a:prstGeom prst="ellipse">
              <a:avLst/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E7DD0F7B-8703-CBF7-4C44-7DD148C05F91}"/>
              </a:ext>
            </a:extLst>
          </p:cNvPr>
          <p:cNvGrpSpPr/>
          <p:nvPr/>
        </p:nvGrpSpPr>
        <p:grpSpPr>
          <a:xfrm>
            <a:off x="5584432" y="3139673"/>
            <a:ext cx="197684" cy="230801"/>
            <a:chOff x="1925742" y="253379"/>
            <a:chExt cx="622110" cy="726324"/>
          </a:xfrm>
          <a:solidFill>
            <a:srgbClr val="CC6600"/>
          </a:solidFill>
        </p:grpSpPr>
        <p:sp>
          <p:nvSpPr>
            <p:cNvPr id="104" name="Arrow: Chevron 103">
              <a:extLst>
                <a:ext uri="{FF2B5EF4-FFF2-40B4-BE49-F238E27FC236}">
                  <a16:creationId xmlns:a16="http://schemas.microsoft.com/office/drawing/2014/main" id="{7DD5AA71-2000-A754-2657-4B1A38ECA99B}"/>
                </a:ext>
              </a:extLst>
            </p:cNvPr>
            <p:cNvSpPr/>
            <p:nvPr/>
          </p:nvSpPr>
          <p:spPr>
            <a:xfrm rot="16200000">
              <a:off x="2020948" y="601631"/>
              <a:ext cx="446619" cy="309525"/>
            </a:xfrm>
            <a:prstGeom prst="chevron">
              <a:avLst>
                <a:gd name="adj" fmla="val 18695"/>
              </a:avLst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05" name="Star: 32 Points 104">
              <a:extLst>
                <a:ext uri="{FF2B5EF4-FFF2-40B4-BE49-F238E27FC236}">
                  <a16:creationId xmlns:a16="http://schemas.microsoft.com/office/drawing/2014/main" id="{2A887DC5-258C-C668-C431-C11A0C117323}"/>
                </a:ext>
              </a:extLst>
            </p:cNvPr>
            <p:cNvSpPr/>
            <p:nvPr/>
          </p:nvSpPr>
          <p:spPr>
            <a:xfrm>
              <a:off x="1925742" y="253379"/>
              <a:ext cx="622110" cy="622110"/>
            </a:xfrm>
            <a:prstGeom prst="star32">
              <a:avLst>
                <a:gd name="adj" fmla="val 43754"/>
              </a:avLst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B08D7EA3-5C7E-2206-3DDA-8F9908B35A03}"/>
                </a:ext>
              </a:extLst>
            </p:cNvPr>
            <p:cNvSpPr/>
            <p:nvPr/>
          </p:nvSpPr>
          <p:spPr>
            <a:xfrm>
              <a:off x="2010317" y="337954"/>
              <a:ext cx="452961" cy="452961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5CC64D59-5099-75E5-E3CF-2F20506515CD}"/>
              </a:ext>
            </a:extLst>
          </p:cNvPr>
          <p:cNvGrpSpPr/>
          <p:nvPr/>
        </p:nvGrpSpPr>
        <p:grpSpPr>
          <a:xfrm>
            <a:off x="10248061" y="3703404"/>
            <a:ext cx="197684" cy="230801"/>
            <a:chOff x="1925742" y="253379"/>
            <a:chExt cx="622110" cy="726324"/>
          </a:xfrm>
        </p:grpSpPr>
        <p:sp>
          <p:nvSpPr>
            <p:cNvPr id="108" name="Arrow: Chevron 107">
              <a:extLst>
                <a:ext uri="{FF2B5EF4-FFF2-40B4-BE49-F238E27FC236}">
                  <a16:creationId xmlns:a16="http://schemas.microsoft.com/office/drawing/2014/main" id="{38340560-EFA5-924A-BE99-A62CA2E9BAA5}"/>
                </a:ext>
              </a:extLst>
            </p:cNvPr>
            <p:cNvSpPr/>
            <p:nvPr/>
          </p:nvSpPr>
          <p:spPr>
            <a:xfrm rot="16200000">
              <a:off x="2020948" y="601631"/>
              <a:ext cx="446619" cy="309525"/>
            </a:xfrm>
            <a:prstGeom prst="chevron">
              <a:avLst>
                <a:gd name="adj" fmla="val 18695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09" name="Star: 32 Points 108">
              <a:extLst>
                <a:ext uri="{FF2B5EF4-FFF2-40B4-BE49-F238E27FC236}">
                  <a16:creationId xmlns:a16="http://schemas.microsoft.com/office/drawing/2014/main" id="{E2DA38E2-DB97-5D0D-F80E-0FED77033095}"/>
                </a:ext>
              </a:extLst>
            </p:cNvPr>
            <p:cNvSpPr/>
            <p:nvPr/>
          </p:nvSpPr>
          <p:spPr>
            <a:xfrm>
              <a:off x="1925742" y="253379"/>
              <a:ext cx="622110" cy="622110"/>
            </a:xfrm>
            <a:prstGeom prst="star32">
              <a:avLst>
                <a:gd name="adj" fmla="val 43754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5B325149-5CEA-2C2F-97C9-E015D6B6616A}"/>
                </a:ext>
              </a:extLst>
            </p:cNvPr>
            <p:cNvSpPr/>
            <p:nvPr/>
          </p:nvSpPr>
          <p:spPr>
            <a:xfrm>
              <a:off x="2010317" y="337954"/>
              <a:ext cx="452961" cy="452961"/>
            </a:xfrm>
            <a:prstGeom prst="ellipse">
              <a:avLst/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4624CC94-2AA9-D6AD-7887-BE3A18D55933}"/>
              </a:ext>
            </a:extLst>
          </p:cNvPr>
          <p:cNvGrpSpPr/>
          <p:nvPr/>
        </p:nvGrpSpPr>
        <p:grpSpPr>
          <a:xfrm>
            <a:off x="10615670" y="6346875"/>
            <a:ext cx="138660" cy="161887"/>
            <a:chOff x="1925742" y="253379"/>
            <a:chExt cx="622110" cy="726324"/>
          </a:xfrm>
          <a:solidFill>
            <a:schemeClr val="bg1">
              <a:lumMod val="65000"/>
            </a:schemeClr>
          </a:solidFill>
        </p:grpSpPr>
        <p:sp>
          <p:nvSpPr>
            <p:cNvPr id="112" name="Arrow: Chevron 111">
              <a:extLst>
                <a:ext uri="{FF2B5EF4-FFF2-40B4-BE49-F238E27FC236}">
                  <a16:creationId xmlns:a16="http://schemas.microsoft.com/office/drawing/2014/main" id="{49CE7AD3-61FE-92F5-90F7-14D42C4A1D51}"/>
                </a:ext>
              </a:extLst>
            </p:cNvPr>
            <p:cNvSpPr/>
            <p:nvPr/>
          </p:nvSpPr>
          <p:spPr>
            <a:xfrm rot="16200000">
              <a:off x="2020948" y="601631"/>
              <a:ext cx="446619" cy="309525"/>
            </a:xfrm>
            <a:prstGeom prst="chevron">
              <a:avLst>
                <a:gd name="adj" fmla="val 18695"/>
              </a:avLst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13" name="Star: 32 Points 112">
              <a:extLst>
                <a:ext uri="{FF2B5EF4-FFF2-40B4-BE49-F238E27FC236}">
                  <a16:creationId xmlns:a16="http://schemas.microsoft.com/office/drawing/2014/main" id="{436F5C55-8517-C02F-140A-C1F9075D4999}"/>
                </a:ext>
              </a:extLst>
            </p:cNvPr>
            <p:cNvSpPr/>
            <p:nvPr/>
          </p:nvSpPr>
          <p:spPr>
            <a:xfrm>
              <a:off x="1925742" y="253379"/>
              <a:ext cx="622110" cy="622110"/>
            </a:xfrm>
            <a:prstGeom prst="star32">
              <a:avLst>
                <a:gd name="adj" fmla="val 43754"/>
              </a:avLst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55179846-2140-6323-1992-BF8FEA99BFA4}"/>
                </a:ext>
              </a:extLst>
            </p:cNvPr>
            <p:cNvSpPr/>
            <p:nvPr/>
          </p:nvSpPr>
          <p:spPr>
            <a:xfrm>
              <a:off x="2010317" y="337954"/>
              <a:ext cx="452961" cy="452961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CEBAA119-4E2B-A3F8-F099-2589D7B46CAC}"/>
              </a:ext>
            </a:extLst>
          </p:cNvPr>
          <p:cNvGrpSpPr/>
          <p:nvPr/>
        </p:nvGrpSpPr>
        <p:grpSpPr>
          <a:xfrm>
            <a:off x="10045926" y="6347014"/>
            <a:ext cx="138660" cy="161887"/>
            <a:chOff x="1925742" y="253379"/>
            <a:chExt cx="622110" cy="726324"/>
          </a:xfrm>
        </p:grpSpPr>
        <p:sp>
          <p:nvSpPr>
            <p:cNvPr id="116" name="Arrow: Chevron 115">
              <a:extLst>
                <a:ext uri="{FF2B5EF4-FFF2-40B4-BE49-F238E27FC236}">
                  <a16:creationId xmlns:a16="http://schemas.microsoft.com/office/drawing/2014/main" id="{7BB4E78D-2C83-D43B-5DA0-BC98E65B87E8}"/>
                </a:ext>
              </a:extLst>
            </p:cNvPr>
            <p:cNvSpPr/>
            <p:nvPr/>
          </p:nvSpPr>
          <p:spPr>
            <a:xfrm rot="16200000">
              <a:off x="2020948" y="601631"/>
              <a:ext cx="446619" cy="309525"/>
            </a:xfrm>
            <a:prstGeom prst="chevron">
              <a:avLst>
                <a:gd name="adj" fmla="val 18695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17" name="Star: 32 Points 116">
              <a:extLst>
                <a:ext uri="{FF2B5EF4-FFF2-40B4-BE49-F238E27FC236}">
                  <a16:creationId xmlns:a16="http://schemas.microsoft.com/office/drawing/2014/main" id="{C4825E9D-BCF0-F5CD-C4EA-838D3CE7BC02}"/>
                </a:ext>
              </a:extLst>
            </p:cNvPr>
            <p:cNvSpPr/>
            <p:nvPr/>
          </p:nvSpPr>
          <p:spPr>
            <a:xfrm>
              <a:off x="1925742" y="253379"/>
              <a:ext cx="622110" cy="622110"/>
            </a:xfrm>
            <a:prstGeom prst="star32">
              <a:avLst>
                <a:gd name="adj" fmla="val 43754"/>
              </a:avLst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F4D8EE0A-FB11-BCBA-46A3-90C8ED07CB04}"/>
                </a:ext>
              </a:extLst>
            </p:cNvPr>
            <p:cNvSpPr/>
            <p:nvPr/>
          </p:nvSpPr>
          <p:spPr>
            <a:xfrm>
              <a:off x="2010317" y="337954"/>
              <a:ext cx="452961" cy="452961"/>
            </a:xfrm>
            <a:prstGeom prst="ellipse">
              <a:avLst/>
            </a:prstGeom>
            <a:solidFill>
              <a:srgbClr val="FFCC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838F39A0-7BDF-51B3-B1D4-9DBC83EEDB25}"/>
              </a:ext>
            </a:extLst>
          </p:cNvPr>
          <p:cNvGrpSpPr/>
          <p:nvPr/>
        </p:nvGrpSpPr>
        <p:grpSpPr>
          <a:xfrm>
            <a:off x="11263828" y="6337316"/>
            <a:ext cx="138660" cy="161887"/>
            <a:chOff x="1925742" y="253379"/>
            <a:chExt cx="622110" cy="726324"/>
          </a:xfrm>
          <a:solidFill>
            <a:srgbClr val="CC6600"/>
          </a:solidFill>
        </p:grpSpPr>
        <p:sp>
          <p:nvSpPr>
            <p:cNvPr id="120" name="Arrow: Chevron 119">
              <a:extLst>
                <a:ext uri="{FF2B5EF4-FFF2-40B4-BE49-F238E27FC236}">
                  <a16:creationId xmlns:a16="http://schemas.microsoft.com/office/drawing/2014/main" id="{EC024CE1-3DD5-6AB0-B221-FF8F76FC483D}"/>
                </a:ext>
              </a:extLst>
            </p:cNvPr>
            <p:cNvSpPr/>
            <p:nvPr/>
          </p:nvSpPr>
          <p:spPr>
            <a:xfrm rot="16200000">
              <a:off x="2020948" y="601631"/>
              <a:ext cx="446619" cy="309525"/>
            </a:xfrm>
            <a:prstGeom prst="chevron">
              <a:avLst>
                <a:gd name="adj" fmla="val 18695"/>
              </a:avLst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21" name="Star: 32 Points 120">
              <a:extLst>
                <a:ext uri="{FF2B5EF4-FFF2-40B4-BE49-F238E27FC236}">
                  <a16:creationId xmlns:a16="http://schemas.microsoft.com/office/drawing/2014/main" id="{BF2FE029-3A3A-E7B9-4A19-55F3B5E98599}"/>
                </a:ext>
              </a:extLst>
            </p:cNvPr>
            <p:cNvSpPr/>
            <p:nvPr/>
          </p:nvSpPr>
          <p:spPr>
            <a:xfrm>
              <a:off x="1925742" y="253379"/>
              <a:ext cx="622110" cy="622110"/>
            </a:xfrm>
            <a:prstGeom prst="star32">
              <a:avLst>
                <a:gd name="adj" fmla="val 43754"/>
              </a:avLst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F1E459D9-1DEB-598D-BA07-04269095E242}"/>
                </a:ext>
              </a:extLst>
            </p:cNvPr>
            <p:cNvSpPr/>
            <p:nvPr/>
          </p:nvSpPr>
          <p:spPr>
            <a:xfrm>
              <a:off x="2010317" y="337954"/>
              <a:ext cx="452961" cy="452961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23" name="TextBox 122">
            <a:extLst>
              <a:ext uri="{FF2B5EF4-FFF2-40B4-BE49-F238E27FC236}">
                <a16:creationId xmlns:a16="http://schemas.microsoft.com/office/drawing/2014/main" id="{3BCD47CC-403A-D581-B5C0-0D406FBF0531}"/>
              </a:ext>
            </a:extLst>
          </p:cNvPr>
          <p:cNvSpPr txBox="1"/>
          <p:nvPr/>
        </p:nvSpPr>
        <p:spPr>
          <a:xfrm>
            <a:off x="10128047" y="6341367"/>
            <a:ext cx="492306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600"/>
              <a:t>High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F23AAF0D-7B59-0855-DF3B-DDACEACFB4D9}"/>
              </a:ext>
            </a:extLst>
          </p:cNvPr>
          <p:cNvSpPr txBox="1"/>
          <p:nvPr/>
        </p:nvSpPr>
        <p:spPr>
          <a:xfrm>
            <a:off x="6730680" y="6363056"/>
            <a:ext cx="335478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600"/>
              <a:t>Qualitative assessment of domain knowledge and number of experts in the AAI Team</a:t>
            </a:r>
            <a:endParaRPr lang="en-GB" sz="1400"/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29CB5304-EDFE-CCCD-F47E-497EC45F096D}"/>
              </a:ext>
            </a:extLst>
          </p:cNvPr>
          <p:cNvSpPr txBox="1"/>
          <p:nvPr/>
        </p:nvSpPr>
        <p:spPr>
          <a:xfrm>
            <a:off x="10695074" y="6341367"/>
            <a:ext cx="56875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600"/>
              <a:t>Moderate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D8C2DD75-E2CF-1864-99B4-732AFACBF82B}"/>
              </a:ext>
            </a:extLst>
          </p:cNvPr>
          <p:cNvSpPr txBox="1"/>
          <p:nvPr/>
        </p:nvSpPr>
        <p:spPr>
          <a:xfrm>
            <a:off x="11359852" y="6341367"/>
            <a:ext cx="56875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600"/>
              <a:t>Low</a:t>
            </a:r>
          </a:p>
        </p:txBody>
      </p:sp>
    </p:spTree>
    <p:extLst>
      <p:ext uri="{BB962C8B-B14F-4D97-AF65-F5344CB8AC3E}">
        <p14:creationId xmlns:p14="http://schemas.microsoft.com/office/powerpoint/2010/main" val="29360930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Rectangle 364">
            <a:extLst>
              <a:ext uri="{FF2B5EF4-FFF2-40B4-BE49-F238E27FC236}">
                <a16:creationId xmlns:a16="http://schemas.microsoft.com/office/drawing/2014/main" id="{EE782C3F-C94F-3415-05E2-30C77D58C065}"/>
              </a:ext>
            </a:extLst>
          </p:cNvPr>
          <p:cNvSpPr/>
          <p:nvPr/>
        </p:nvSpPr>
        <p:spPr>
          <a:xfrm>
            <a:off x="1299653" y="6858000"/>
            <a:ext cx="4599870" cy="32133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E8A82B-C4D1-4A09-9EC8-5D93EACE1C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E8A82B-C4D1-4A09-9EC8-5D93EACE1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2558906F-C64F-EF33-2CE7-EE97543099D3}"/>
              </a:ext>
            </a:extLst>
          </p:cNvPr>
          <p:cNvSpPr txBox="1">
            <a:spLocks/>
          </p:cNvSpPr>
          <p:nvPr/>
        </p:nvSpPr>
        <p:spPr>
          <a:xfrm>
            <a:off x="3422452" y="7257542"/>
            <a:ext cx="2409783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I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nsultants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/>
                <a:ea typeface="+mn-ea"/>
                <a:cs typeface="+mn-cs"/>
              </a:rPr>
              <a:t>in nearshore/offshore locations</a:t>
            </a:r>
            <a:endParaRPr kumimoji="0" lang="pl-PL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2" name="Text Placeholder 9">
            <a:extLst>
              <a:ext uri="{FF2B5EF4-FFF2-40B4-BE49-F238E27FC236}">
                <a16:creationId xmlns:a16="http://schemas.microsoft.com/office/drawing/2014/main" id="{CCCFAC07-3EB2-FA6A-3A82-2958ED1F5B27}"/>
              </a:ext>
            </a:extLst>
          </p:cNvPr>
          <p:cNvSpPr txBox="1">
            <a:spLocks/>
          </p:cNvSpPr>
          <p:nvPr/>
        </p:nvSpPr>
        <p:spPr>
          <a:xfrm>
            <a:off x="2258564" y="7251350"/>
            <a:ext cx="1393371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60</a:t>
            </a:r>
            <a:r>
              <a:rPr kumimoji="0" lang="pl-PL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0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+</a:t>
            </a:r>
          </a:p>
        </p:txBody>
      </p:sp>
      <p:sp>
        <p:nvSpPr>
          <p:cNvPr id="73" name="Text Placeholder 9">
            <a:extLst>
              <a:ext uri="{FF2B5EF4-FFF2-40B4-BE49-F238E27FC236}">
                <a16:creationId xmlns:a16="http://schemas.microsoft.com/office/drawing/2014/main" id="{07F84233-924F-17DC-8C7F-2B01BAB0267E}"/>
              </a:ext>
            </a:extLst>
          </p:cNvPr>
          <p:cNvSpPr txBox="1">
            <a:spLocks/>
          </p:cNvSpPr>
          <p:nvPr/>
        </p:nvSpPr>
        <p:spPr>
          <a:xfrm>
            <a:off x="1538277" y="8165979"/>
            <a:ext cx="3931064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lping with: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285" name="Group 26">
            <a:extLst>
              <a:ext uri="{FF2B5EF4-FFF2-40B4-BE49-F238E27FC236}">
                <a16:creationId xmlns:a16="http://schemas.microsoft.com/office/drawing/2014/main" id="{C592E709-2024-BDF5-944E-3A75936A21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575451" y="7054934"/>
            <a:ext cx="761527" cy="689879"/>
            <a:chOff x="3614" y="1720"/>
            <a:chExt cx="454" cy="385"/>
          </a:xfrm>
          <a:solidFill>
            <a:schemeClr val="tx1">
              <a:lumMod val="95000"/>
              <a:lumOff val="5000"/>
            </a:schemeClr>
          </a:solidFill>
        </p:grpSpPr>
        <p:sp>
          <p:nvSpPr>
            <p:cNvPr id="286" name="Freeform 27">
              <a:extLst>
                <a:ext uri="{FF2B5EF4-FFF2-40B4-BE49-F238E27FC236}">
                  <a16:creationId xmlns:a16="http://schemas.microsoft.com/office/drawing/2014/main" id="{1E597458-4B0B-2C3E-ADE4-343C0D2C06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" y="1720"/>
              <a:ext cx="142" cy="189"/>
            </a:xfrm>
            <a:custGeom>
              <a:avLst/>
              <a:gdLst>
                <a:gd name="T0" fmla="*/ 10 w 60"/>
                <a:gd name="T1" fmla="*/ 51 h 80"/>
                <a:gd name="T2" fmla="*/ 14 w 60"/>
                <a:gd name="T3" fmla="*/ 64 h 80"/>
                <a:gd name="T4" fmla="*/ 14 w 60"/>
                <a:gd name="T5" fmla="*/ 72 h 80"/>
                <a:gd name="T6" fmla="*/ 30 w 60"/>
                <a:gd name="T7" fmla="*/ 80 h 80"/>
                <a:gd name="T8" fmla="*/ 46 w 60"/>
                <a:gd name="T9" fmla="*/ 72 h 80"/>
                <a:gd name="T10" fmla="*/ 46 w 60"/>
                <a:gd name="T11" fmla="*/ 64 h 80"/>
                <a:gd name="T12" fmla="*/ 50 w 60"/>
                <a:gd name="T13" fmla="*/ 51 h 80"/>
                <a:gd name="T14" fmla="*/ 55 w 60"/>
                <a:gd name="T15" fmla="*/ 50 h 80"/>
                <a:gd name="T16" fmla="*/ 58 w 60"/>
                <a:gd name="T17" fmla="*/ 36 h 80"/>
                <a:gd name="T18" fmla="*/ 54 w 60"/>
                <a:gd name="T19" fmla="*/ 34 h 80"/>
                <a:gd name="T20" fmla="*/ 54 w 60"/>
                <a:gd name="T21" fmla="*/ 21 h 80"/>
                <a:gd name="T22" fmla="*/ 45 w 60"/>
                <a:gd name="T23" fmla="*/ 8 h 80"/>
                <a:gd name="T24" fmla="*/ 30 w 60"/>
                <a:gd name="T25" fmla="*/ 0 h 80"/>
                <a:gd name="T26" fmla="*/ 6 w 60"/>
                <a:gd name="T27" fmla="*/ 20 h 80"/>
                <a:gd name="T28" fmla="*/ 6 w 60"/>
                <a:gd name="T29" fmla="*/ 34 h 80"/>
                <a:gd name="T30" fmla="*/ 2 w 60"/>
                <a:gd name="T31" fmla="*/ 36 h 80"/>
                <a:gd name="T32" fmla="*/ 5 w 60"/>
                <a:gd name="T33" fmla="*/ 50 h 80"/>
                <a:gd name="T34" fmla="*/ 10 w 60"/>
                <a:gd name="T35" fmla="*/ 5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" h="80">
                  <a:moveTo>
                    <a:pt x="10" y="51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30" y="80"/>
                    <a:pt x="30" y="80"/>
                    <a:pt x="30" y="80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1"/>
                    <a:pt x="53" y="51"/>
                    <a:pt x="55" y="50"/>
                  </a:cubicBezTo>
                  <a:cubicBezTo>
                    <a:pt x="58" y="47"/>
                    <a:pt x="60" y="40"/>
                    <a:pt x="58" y="36"/>
                  </a:cubicBezTo>
                  <a:cubicBezTo>
                    <a:pt x="57" y="33"/>
                    <a:pt x="54" y="34"/>
                    <a:pt x="54" y="34"/>
                  </a:cubicBezTo>
                  <a:cubicBezTo>
                    <a:pt x="54" y="34"/>
                    <a:pt x="54" y="28"/>
                    <a:pt x="54" y="21"/>
                  </a:cubicBezTo>
                  <a:cubicBezTo>
                    <a:pt x="54" y="13"/>
                    <a:pt x="52" y="8"/>
                    <a:pt x="45" y="8"/>
                  </a:cubicBezTo>
                  <a:cubicBezTo>
                    <a:pt x="43" y="3"/>
                    <a:pt x="37" y="0"/>
                    <a:pt x="30" y="0"/>
                  </a:cubicBezTo>
                  <a:cubicBezTo>
                    <a:pt x="15" y="0"/>
                    <a:pt x="6" y="9"/>
                    <a:pt x="6" y="20"/>
                  </a:cubicBezTo>
                  <a:cubicBezTo>
                    <a:pt x="6" y="27"/>
                    <a:pt x="6" y="34"/>
                    <a:pt x="6" y="34"/>
                  </a:cubicBezTo>
                  <a:cubicBezTo>
                    <a:pt x="6" y="34"/>
                    <a:pt x="3" y="33"/>
                    <a:pt x="2" y="36"/>
                  </a:cubicBezTo>
                  <a:cubicBezTo>
                    <a:pt x="0" y="40"/>
                    <a:pt x="2" y="47"/>
                    <a:pt x="5" y="50"/>
                  </a:cubicBezTo>
                  <a:cubicBezTo>
                    <a:pt x="7" y="51"/>
                    <a:pt x="10" y="51"/>
                    <a:pt x="10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12240E1C-BF45-3896-0413-CF8DDB48CA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4" y="1767"/>
              <a:ext cx="454" cy="322"/>
            </a:xfrm>
            <a:custGeom>
              <a:avLst/>
              <a:gdLst>
                <a:gd name="T0" fmla="*/ 72 w 192"/>
                <a:gd name="T1" fmla="*/ 61 h 136"/>
                <a:gd name="T2" fmla="*/ 62 w 192"/>
                <a:gd name="T3" fmla="*/ 54 h 136"/>
                <a:gd name="T4" fmla="*/ 120 w 192"/>
                <a:gd name="T5" fmla="*/ 61 h 136"/>
                <a:gd name="T6" fmla="*/ 128 w 192"/>
                <a:gd name="T7" fmla="*/ 56 h 136"/>
                <a:gd name="T8" fmla="*/ 120 w 192"/>
                <a:gd name="T9" fmla="*/ 61 h 136"/>
                <a:gd name="T10" fmla="*/ 44 w 192"/>
                <a:gd name="T11" fmla="*/ 63 h 136"/>
                <a:gd name="T12" fmla="*/ 44 w 192"/>
                <a:gd name="T13" fmla="*/ 70 h 136"/>
                <a:gd name="T14" fmla="*/ 51 w 192"/>
                <a:gd name="T15" fmla="*/ 69 h 136"/>
                <a:gd name="T16" fmla="*/ 52 w 192"/>
                <a:gd name="T17" fmla="*/ 63 h 136"/>
                <a:gd name="T18" fmla="*/ 166 w 192"/>
                <a:gd name="T19" fmla="*/ 46 h 136"/>
                <a:gd name="T20" fmla="*/ 144 w 192"/>
                <a:gd name="T21" fmla="*/ 0 h 136"/>
                <a:gd name="T22" fmla="*/ 128 w 192"/>
                <a:gd name="T23" fmla="*/ 21 h 136"/>
                <a:gd name="T24" fmla="*/ 126 w 192"/>
                <a:gd name="T25" fmla="*/ 48 h 136"/>
                <a:gd name="T26" fmla="*/ 133 w 192"/>
                <a:gd name="T27" fmla="*/ 52 h 136"/>
                <a:gd name="T28" fmla="*/ 146 w 192"/>
                <a:gd name="T29" fmla="*/ 70 h 136"/>
                <a:gd name="T30" fmla="*/ 166 w 192"/>
                <a:gd name="T31" fmla="*/ 46 h 136"/>
                <a:gd name="T32" fmla="*/ 36 w 192"/>
                <a:gd name="T33" fmla="*/ 44 h 136"/>
                <a:gd name="T34" fmla="*/ 48 w 192"/>
                <a:gd name="T35" fmla="*/ 56 h 136"/>
                <a:gd name="T36" fmla="*/ 60 w 192"/>
                <a:gd name="T37" fmla="*/ 44 h 136"/>
                <a:gd name="T38" fmla="*/ 61 w 192"/>
                <a:gd name="T39" fmla="*/ 24 h 136"/>
                <a:gd name="T40" fmla="*/ 64 w 192"/>
                <a:gd name="T41" fmla="*/ 7 h 136"/>
                <a:gd name="T42" fmla="*/ 48 w 192"/>
                <a:gd name="T43" fmla="*/ 0 h 136"/>
                <a:gd name="T44" fmla="*/ 32 w 192"/>
                <a:gd name="T45" fmla="*/ 24 h 136"/>
                <a:gd name="T46" fmla="*/ 32 w 192"/>
                <a:gd name="T47" fmla="*/ 35 h 136"/>
                <a:gd name="T48" fmla="*/ 8 w 192"/>
                <a:gd name="T49" fmla="*/ 63 h 136"/>
                <a:gd name="T50" fmla="*/ 20 w 192"/>
                <a:gd name="T51" fmla="*/ 136 h 136"/>
                <a:gd name="T52" fmla="*/ 34 w 192"/>
                <a:gd name="T53" fmla="*/ 76 h 136"/>
                <a:gd name="T54" fmla="*/ 34 w 192"/>
                <a:gd name="T55" fmla="*/ 54 h 136"/>
                <a:gd name="T56" fmla="*/ 192 w 192"/>
                <a:gd name="T57" fmla="*/ 136 h 136"/>
                <a:gd name="T58" fmla="*/ 160 w 192"/>
                <a:gd name="T59" fmla="*/ 56 h 136"/>
                <a:gd name="T60" fmla="*/ 154 w 192"/>
                <a:gd name="T61" fmla="*/ 72 h 136"/>
                <a:gd name="T62" fmla="*/ 157 w 192"/>
                <a:gd name="T63" fmla="*/ 76 h 136"/>
                <a:gd name="T64" fmla="*/ 158 w 192"/>
                <a:gd name="T65" fmla="*/ 76 h 136"/>
                <a:gd name="T66" fmla="*/ 172 w 192"/>
                <a:gd name="T67" fmla="*/ 129 h 136"/>
                <a:gd name="T68" fmla="*/ 192 w 192"/>
                <a:gd name="T69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136">
                  <a:moveTo>
                    <a:pt x="58" y="66"/>
                  </a:moveTo>
                  <a:cubicBezTo>
                    <a:pt x="62" y="65"/>
                    <a:pt x="67" y="63"/>
                    <a:pt x="72" y="61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67" y="55"/>
                    <a:pt x="62" y="54"/>
                    <a:pt x="62" y="54"/>
                  </a:cubicBezTo>
                  <a:lnTo>
                    <a:pt x="58" y="66"/>
                  </a:lnTo>
                  <a:close/>
                  <a:moveTo>
                    <a:pt x="120" y="61"/>
                  </a:moveTo>
                  <a:cubicBezTo>
                    <a:pt x="121" y="62"/>
                    <a:pt x="123" y="62"/>
                    <a:pt x="124" y="63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56"/>
                    <a:pt x="124" y="57"/>
                    <a:pt x="120" y="59"/>
                  </a:cubicBezTo>
                  <a:lnTo>
                    <a:pt x="120" y="61"/>
                  </a:lnTo>
                  <a:close/>
                  <a:moveTo>
                    <a:pt x="48" y="59"/>
                  </a:moveTo>
                  <a:cubicBezTo>
                    <a:pt x="44" y="63"/>
                    <a:pt x="44" y="63"/>
                    <a:pt x="44" y="63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6" y="70"/>
                    <a:pt x="48" y="70"/>
                    <a:pt x="51" y="69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2" y="63"/>
                    <a:pt x="52" y="63"/>
                    <a:pt x="52" y="63"/>
                  </a:cubicBezTo>
                  <a:lnTo>
                    <a:pt x="48" y="59"/>
                  </a:lnTo>
                  <a:close/>
                  <a:moveTo>
                    <a:pt x="166" y="46"/>
                  </a:moveTo>
                  <a:cubicBezTo>
                    <a:pt x="161" y="39"/>
                    <a:pt x="162" y="26"/>
                    <a:pt x="162" y="26"/>
                  </a:cubicBezTo>
                  <a:cubicBezTo>
                    <a:pt x="162" y="15"/>
                    <a:pt x="162" y="0"/>
                    <a:pt x="144" y="0"/>
                  </a:cubicBezTo>
                  <a:cubicBezTo>
                    <a:pt x="135" y="0"/>
                    <a:pt x="130" y="4"/>
                    <a:pt x="128" y="9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129" y="22"/>
                    <a:pt x="130" y="23"/>
                    <a:pt x="131" y="24"/>
                  </a:cubicBezTo>
                  <a:cubicBezTo>
                    <a:pt x="135" y="32"/>
                    <a:pt x="132" y="43"/>
                    <a:pt x="126" y="48"/>
                  </a:cubicBezTo>
                  <a:cubicBezTo>
                    <a:pt x="126" y="48"/>
                    <a:pt x="126" y="48"/>
                    <a:pt x="126" y="48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41" y="69"/>
                    <a:pt x="141" y="69"/>
                    <a:pt x="141" y="69"/>
                  </a:cubicBezTo>
                  <a:cubicBezTo>
                    <a:pt x="143" y="69"/>
                    <a:pt x="145" y="70"/>
                    <a:pt x="146" y="70"/>
                  </a:cubicBezTo>
                  <a:cubicBezTo>
                    <a:pt x="155" y="52"/>
                    <a:pt x="155" y="52"/>
                    <a:pt x="155" y="52"/>
                  </a:cubicBezTo>
                  <a:lnTo>
                    <a:pt x="166" y="46"/>
                  </a:lnTo>
                  <a:close/>
                  <a:moveTo>
                    <a:pt x="34" y="36"/>
                  </a:moveTo>
                  <a:cubicBezTo>
                    <a:pt x="36" y="44"/>
                    <a:pt x="36" y="44"/>
                    <a:pt x="36" y="44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44"/>
                    <a:pt x="60" y="44"/>
                    <a:pt x="60" y="44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59" y="35"/>
                    <a:pt x="58" y="29"/>
                    <a:pt x="61" y="24"/>
                  </a:cubicBezTo>
                  <a:cubicBezTo>
                    <a:pt x="62" y="23"/>
                    <a:pt x="63" y="22"/>
                    <a:pt x="64" y="21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3" y="6"/>
                    <a:pt x="61" y="5"/>
                    <a:pt x="59" y="5"/>
                  </a:cubicBezTo>
                  <a:cubicBezTo>
                    <a:pt x="57" y="1"/>
                    <a:pt x="53" y="0"/>
                    <a:pt x="48" y="0"/>
                  </a:cubicBezTo>
                  <a:cubicBezTo>
                    <a:pt x="37" y="0"/>
                    <a:pt x="32" y="6"/>
                    <a:pt x="32" y="14"/>
                  </a:cubicBezTo>
                  <a:cubicBezTo>
                    <a:pt x="32" y="19"/>
                    <a:pt x="32" y="24"/>
                    <a:pt x="32" y="24"/>
                  </a:cubicBezTo>
                  <a:cubicBezTo>
                    <a:pt x="32" y="24"/>
                    <a:pt x="31" y="24"/>
                    <a:pt x="30" y="26"/>
                  </a:cubicBezTo>
                  <a:cubicBezTo>
                    <a:pt x="28" y="28"/>
                    <a:pt x="29" y="33"/>
                    <a:pt x="32" y="35"/>
                  </a:cubicBezTo>
                  <a:cubicBezTo>
                    <a:pt x="33" y="36"/>
                    <a:pt x="34" y="36"/>
                    <a:pt x="34" y="36"/>
                  </a:cubicBezTo>
                  <a:close/>
                  <a:moveTo>
                    <a:pt x="8" y="63"/>
                  </a:moveTo>
                  <a:cubicBezTo>
                    <a:pt x="5" y="66"/>
                    <a:pt x="0" y="94"/>
                    <a:pt x="0" y="136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0" y="128"/>
                    <a:pt x="20" y="128"/>
                    <a:pt x="20" y="128"/>
                  </a:cubicBezTo>
                  <a:cubicBezTo>
                    <a:pt x="22" y="103"/>
                    <a:pt x="25" y="83"/>
                    <a:pt x="34" y="76"/>
                  </a:cubicBezTo>
                  <a:cubicBezTo>
                    <a:pt x="35" y="75"/>
                    <a:pt x="36" y="75"/>
                    <a:pt x="40" y="73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10" y="61"/>
                    <a:pt x="8" y="63"/>
                  </a:cubicBezTo>
                  <a:close/>
                  <a:moveTo>
                    <a:pt x="192" y="136"/>
                  </a:moveTo>
                  <a:cubicBezTo>
                    <a:pt x="192" y="94"/>
                    <a:pt x="187" y="69"/>
                    <a:pt x="184" y="66"/>
                  </a:cubicBezTo>
                  <a:cubicBezTo>
                    <a:pt x="182" y="65"/>
                    <a:pt x="160" y="56"/>
                    <a:pt x="160" y="56"/>
                  </a:cubicBezTo>
                  <a:cubicBezTo>
                    <a:pt x="170" y="72"/>
                    <a:pt x="170" y="72"/>
                    <a:pt x="170" y="72"/>
                  </a:cubicBezTo>
                  <a:cubicBezTo>
                    <a:pt x="154" y="72"/>
                    <a:pt x="154" y="72"/>
                    <a:pt x="154" y="72"/>
                  </a:cubicBezTo>
                  <a:cubicBezTo>
                    <a:pt x="153" y="73"/>
                    <a:pt x="153" y="73"/>
                    <a:pt x="153" y="73"/>
                  </a:cubicBezTo>
                  <a:cubicBezTo>
                    <a:pt x="156" y="75"/>
                    <a:pt x="157" y="75"/>
                    <a:pt x="157" y="76"/>
                  </a:cubicBezTo>
                  <a:cubicBezTo>
                    <a:pt x="157" y="76"/>
                    <a:pt x="158" y="76"/>
                    <a:pt x="158" y="76"/>
                  </a:cubicBezTo>
                  <a:cubicBezTo>
                    <a:pt x="158" y="76"/>
                    <a:pt x="158" y="76"/>
                    <a:pt x="158" y="76"/>
                  </a:cubicBezTo>
                  <a:cubicBezTo>
                    <a:pt x="158" y="76"/>
                    <a:pt x="158" y="76"/>
                    <a:pt x="158" y="76"/>
                  </a:cubicBezTo>
                  <a:cubicBezTo>
                    <a:pt x="167" y="83"/>
                    <a:pt x="170" y="105"/>
                    <a:pt x="172" y="129"/>
                  </a:cubicBezTo>
                  <a:cubicBezTo>
                    <a:pt x="172" y="136"/>
                    <a:pt x="172" y="136"/>
                    <a:pt x="172" y="136"/>
                  </a:cubicBezTo>
                  <a:lnTo>
                    <a:pt x="192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  <p:sp>
          <p:nvSpPr>
            <p:cNvPr id="288" name="Freeform 28">
              <a:extLst>
                <a:ext uri="{FF2B5EF4-FFF2-40B4-BE49-F238E27FC236}">
                  <a16:creationId xmlns:a16="http://schemas.microsoft.com/office/drawing/2014/main" id="{94001647-9682-1B67-73A5-EAC89D040F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1" y="1890"/>
              <a:ext cx="321" cy="215"/>
            </a:xfrm>
            <a:custGeom>
              <a:avLst/>
              <a:gdLst>
                <a:gd name="T0" fmla="*/ 125 w 136"/>
                <a:gd name="T1" fmla="*/ 13 h 91"/>
                <a:gd name="T2" fmla="*/ 88 w 136"/>
                <a:gd name="T3" fmla="*/ 0 h 91"/>
                <a:gd name="T4" fmla="*/ 76 w 136"/>
                <a:gd name="T5" fmla="*/ 49 h 91"/>
                <a:gd name="T6" fmla="*/ 76 w 136"/>
                <a:gd name="T7" fmla="*/ 29 h 91"/>
                <a:gd name="T8" fmla="*/ 70 w 136"/>
                <a:gd name="T9" fmla="*/ 19 h 91"/>
                <a:gd name="T10" fmla="*/ 76 w 136"/>
                <a:gd name="T11" fmla="*/ 13 h 91"/>
                <a:gd name="T12" fmla="*/ 68 w 136"/>
                <a:gd name="T13" fmla="*/ 5 h 91"/>
                <a:gd name="T14" fmla="*/ 60 w 136"/>
                <a:gd name="T15" fmla="*/ 13 h 91"/>
                <a:gd name="T16" fmla="*/ 66 w 136"/>
                <a:gd name="T17" fmla="*/ 19 h 91"/>
                <a:gd name="T18" fmla="*/ 60 w 136"/>
                <a:gd name="T19" fmla="*/ 29 h 91"/>
                <a:gd name="T20" fmla="*/ 60 w 136"/>
                <a:gd name="T21" fmla="*/ 49 h 91"/>
                <a:gd name="T22" fmla="*/ 48 w 136"/>
                <a:gd name="T23" fmla="*/ 0 h 91"/>
                <a:gd name="T24" fmla="*/ 11 w 136"/>
                <a:gd name="T25" fmla="*/ 13 h 91"/>
                <a:gd name="T26" fmla="*/ 0 w 136"/>
                <a:gd name="T27" fmla="*/ 91 h 91"/>
                <a:gd name="T28" fmla="*/ 136 w 136"/>
                <a:gd name="T29" fmla="*/ 91 h 91"/>
                <a:gd name="T30" fmla="*/ 125 w 136"/>
                <a:gd name="T31" fmla="*/ 1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6" h="91">
                  <a:moveTo>
                    <a:pt x="125" y="13"/>
                  </a:moveTo>
                  <a:cubicBezTo>
                    <a:pt x="121" y="10"/>
                    <a:pt x="88" y="0"/>
                    <a:pt x="88" y="0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49"/>
                    <a:pt x="60" y="49"/>
                    <a:pt x="60" y="49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15" y="10"/>
                    <a:pt x="11" y="13"/>
                  </a:cubicBezTo>
                  <a:cubicBezTo>
                    <a:pt x="7" y="17"/>
                    <a:pt x="0" y="35"/>
                    <a:pt x="0" y="91"/>
                  </a:cubicBezTo>
                  <a:cubicBezTo>
                    <a:pt x="136" y="91"/>
                    <a:pt x="136" y="91"/>
                    <a:pt x="136" y="91"/>
                  </a:cubicBezTo>
                  <a:cubicBezTo>
                    <a:pt x="136" y="35"/>
                    <a:pt x="129" y="17"/>
                    <a:pt x="12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endParaRPr>
            </a:p>
          </p:txBody>
        </p:sp>
      </p:grpSp>
      <p:pic>
        <p:nvPicPr>
          <p:cNvPr id="290" name="Graphic 289" descr="Scientific Thought outline">
            <a:extLst>
              <a:ext uri="{FF2B5EF4-FFF2-40B4-BE49-F238E27FC236}">
                <a16:creationId xmlns:a16="http://schemas.microsoft.com/office/drawing/2014/main" id="{A92FE2FC-13DD-475A-F953-02B5245EEF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989" y="9259746"/>
            <a:ext cx="473170" cy="473170"/>
          </a:xfrm>
          <a:prstGeom prst="rect">
            <a:avLst/>
          </a:prstGeom>
        </p:spPr>
      </p:pic>
      <p:pic>
        <p:nvPicPr>
          <p:cNvPr id="292" name="Graphic 291" descr="Coins outline">
            <a:extLst>
              <a:ext uri="{FF2B5EF4-FFF2-40B4-BE49-F238E27FC236}">
                <a16:creationId xmlns:a16="http://schemas.microsoft.com/office/drawing/2014/main" id="{071ED58D-8075-DC35-A51C-0A966E4EEB3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09954" y="8429616"/>
            <a:ext cx="473170" cy="473170"/>
          </a:xfrm>
          <a:prstGeom prst="rect">
            <a:avLst/>
          </a:prstGeom>
        </p:spPr>
      </p:pic>
      <p:grpSp>
        <p:nvGrpSpPr>
          <p:cNvPr id="322" name="Complexit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4B734C9-8C10-BD6D-1466-D4E1DCCD4817}"/>
              </a:ext>
            </a:extLst>
          </p:cNvPr>
          <p:cNvGrpSpPr>
            <a:grpSpLocks noChangeAspect="1"/>
          </p:cNvGrpSpPr>
          <p:nvPr/>
        </p:nvGrpSpPr>
        <p:grpSpPr>
          <a:xfrm>
            <a:off x="1588728" y="9287116"/>
            <a:ext cx="401358" cy="402156"/>
            <a:chOff x="6367463" y="1652588"/>
            <a:chExt cx="796925" cy="798513"/>
          </a:xfrm>
          <a:noFill/>
        </p:grpSpPr>
        <p:sp>
          <p:nvSpPr>
            <p:cNvPr id="323" name="Oval 270">
              <a:extLst>
                <a:ext uri="{FF2B5EF4-FFF2-40B4-BE49-F238E27FC236}">
                  <a16:creationId xmlns:a16="http://schemas.microsoft.com/office/drawing/2014/main" id="{8750AA29-2872-B963-05A6-D70F0D6A37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16573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4" name="Oval 271">
              <a:extLst>
                <a:ext uri="{FF2B5EF4-FFF2-40B4-BE49-F238E27FC236}">
                  <a16:creationId xmlns:a16="http://schemas.microsoft.com/office/drawing/2014/main" id="{5641A773-1700-1DEC-E12E-DD4A5E1ECE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18859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5" name="Oval 272">
              <a:extLst>
                <a:ext uri="{FF2B5EF4-FFF2-40B4-BE49-F238E27FC236}">
                  <a16:creationId xmlns:a16="http://schemas.microsoft.com/office/drawing/2014/main" id="{6A47D83E-017B-A64E-921E-ACF46B8905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21145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6" name="Oval 273">
              <a:extLst>
                <a:ext uri="{FF2B5EF4-FFF2-40B4-BE49-F238E27FC236}">
                  <a16:creationId xmlns:a16="http://schemas.microsoft.com/office/drawing/2014/main" id="{DEFBD32A-9BC6-512F-FD17-5D2B57ECFA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2116138"/>
              <a:ext cx="100013" cy="100013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7" name="Oval 274">
              <a:extLst>
                <a:ext uri="{FF2B5EF4-FFF2-40B4-BE49-F238E27FC236}">
                  <a16:creationId xmlns:a16="http://schemas.microsoft.com/office/drawing/2014/main" id="{66602972-9E17-55D9-4167-11BFE7D0BE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2344738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8" name="Oval 275">
              <a:extLst>
                <a:ext uri="{FF2B5EF4-FFF2-40B4-BE49-F238E27FC236}">
                  <a16:creationId xmlns:a16="http://schemas.microsoft.com/office/drawing/2014/main" id="{EABD3B47-385A-E4AC-4011-553F7897BA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1885951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9" name="Oval 276">
              <a:extLst>
                <a:ext uri="{FF2B5EF4-FFF2-40B4-BE49-F238E27FC236}">
                  <a16:creationId xmlns:a16="http://schemas.microsoft.com/office/drawing/2014/main" id="{8982B920-6253-3859-6E4B-30202BBCA3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18859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0" name="Oval 277">
              <a:extLst>
                <a:ext uri="{FF2B5EF4-FFF2-40B4-BE49-F238E27FC236}">
                  <a16:creationId xmlns:a16="http://schemas.microsoft.com/office/drawing/2014/main" id="{B80FE0E5-451D-E0FD-D09C-72879BA12B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2344738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1" name="Oval 278">
              <a:extLst>
                <a:ext uri="{FF2B5EF4-FFF2-40B4-BE49-F238E27FC236}">
                  <a16:creationId xmlns:a16="http://schemas.microsoft.com/office/drawing/2014/main" id="{1F4155F9-76D6-2D08-C4B2-EA95F3E7CE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1657351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Oval 279">
              <a:extLst>
                <a:ext uri="{FF2B5EF4-FFF2-40B4-BE49-F238E27FC236}">
                  <a16:creationId xmlns:a16="http://schemas.microsoft.com/office/drawing/2014/main" id="{6E4F0129-F63B-E196-B212-AF1CFAA91C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613" y="1657351"/>
              <a:ext cx="100013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Oval 280">
              <a:extLst>
                <a:ext uri="{FF2B5EF4-FFF2-40B4-BE49-F238E27FC236}">
                  <a16:creationId xmlns:a16="http://schemas.microsoft.com/office/drawing/2014/main" id="{099C5B32-2BA6-7920-0373-B4A137F276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713" y="2116138"/>
              <a:ext cx="100013" cy="100013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4" name="Oval 281">
              <a:extLst>
                <a:ext uri="{FF2B5EF4-FFF2-40B4-BE49-F238E27FC236}">
                  <a16:creationId xmlns:a16="http://schemas.microsoft.com/office/drawing/2014/main" id="{0D3C2AFE-C62A-E710-882F-6159EBA0A9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2225" y="2344738"/>
              <a:ext cx="101600" cy="101600"/>
            </a:xfrm>
            <a:prstGeom prst="ellipse">
              <a:avLst/>
            </a:pr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5" name="Freeform 282">
              <a:extLst>
                <a:ext uri="{FF2B5EF4-FFF2-40B4-BE49-F238E27FC236}">
                  <a16:creationId xmlns:a16="http://schemas.microsoft.com/office/drawing/2014/main" id="{238333B1-AE3E-C787-6296-EC600B925A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1652588"/>
              <a:ext cx="112713" cy="111125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6"/>
                    <a:pt x="17" y="83"/>
                  </a:cubicBezTo>
                  <a:cubicBezTo>
                    <a:pt x="17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8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6" name="Freeform 283">
              <a:extLst>
                <a:ext uri="{FF2B5EF4-FFF2-40B4-BE49-F238E27FC236}">
                  <a16:creationId xmlns:a16="http://schemas.microsoft.com/office/drawing/2014/main" id="{CFC185DC-AF0C-BEB4-5BE0-7D4948CF57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1652588"/>
              <a:ext cx="112713" cy="111125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8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7" name="Freeform 284">
              <a:extLst>
                <a:ext uri="{FF2B5EF4-FFF2-40B4-BE49-F238E27FC236}">
                  <a16:creationId xmlns:a16="http://schemas.microsoft.com/office/drawing/2014/main" id="{F25F9C7C-DDD9-3448-C85D-7A51CA003B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1652588"/>
              <a:ext cx="111125" cy="111125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2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8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" name="Freeform 285">
              <a:extLst>
                <a:ext uri="{FF2B5EF4-FFF2-40B4-BE49-F238E27FC236}">
                  <a16:creationId xmlns:a16="http://schemas.microsoft.com/office/drawing/2014/main" id="{97FA3557-F089-7B05-6F0A-D6FA34477F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18811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6"/>
                    <a:pt x="17" y="83"/>
                  </a:cubicBezTo>
                  <a:cubicBezTo>
                    <a:pt x="17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9" name="Freeform 286">
              <a:extLst>
                <a:ext uri="{FF2B5EF4-FFF2-40B4-BE49-F238E27FC236}">
                  <a16:creationId xmlns:a16="http://schemas.microsoft.com/office/drawing/2014/main" id="{D5CA1230-DFE3-9ED2-DBD0-D8AF595CE9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18811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3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0" name="Freeform 287">
              <a:extLst>
                <a:ext uri="{FF2B5EF4-FFF2-40B4-BE49-F238E27FC236}">
                  <a16:creationId xmlns:a16="http://schemas.microsoft.com/office/drawing/2014/main" id="{41912A39-5FF7-4BBA-7A07-D2A2A694F4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18811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6"/>
                    <a:pt x="16" y="83"/>
                  </a:cubicBezTo>
                  <a:cubicBezTo>
                    <a:pt x="16" y="119"/>
                    <a:pt x="46" y="149"/>
                    <a:pt x="82" y="149"/>
                  </a:cubicBezTo>
                  <a:cubicBezTo>
                    <a:pt x="119" y="149"/>
                    <a:pt x="149" y="119"/>
                    <a:pt x="149" y="83"/>
                  </a:cubicBezTo>
                  <a:cubicBezTo>
                    <a:pt x="149" y="46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1" name="Freeform 288">
              <a:extLst>
                <a:ext uri="{FF2B5EF4-FFF2-40B4-BE49-F238E27FC236}">
                  <a16:creationId xmlns:a16="http://schemas.microsoft.com/office/drawing/2014/main" id="{DBC9F78C-5169-5CAC-8925-53AE657034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21097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7"/>
                    <a:pt x="17" y="83"/>
                  </a:cubicBezTo>
                  <a:cubicBezTo>
                    <a:pt x="17" y="120"/>
                    <a:pt x="46" y="149"/>
                    <a:pt x="83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2" name="Freeform 289">
              <a:extLst>
                <a:ext uri="{FF2B5EF4-FFF2-40B4-BE49-F238E27FC236}">
                  <a16:creationId xmlns:a16="http://schemas.microsoft.com/office/drawing/2014/main" id="{C0CEF2FC-EFBB-0FB0-F63F-BAA62766A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21097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49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49"/>
                    <a:pt x="83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6" y="37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3" name="Freeform 290">
              <a:extLst>
                <a:ext uri="{FF2B5EF4-FFF2-40B4-BE49-F238E27FC236}">
                  <a16:creationId xmlns:a16="http://schemas.microsoft.com/office/drawing/2014/main" id="{246F591D-74E8-D293-506D-98B26A4853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21097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49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49"/>
                    <a:pt x="82" y="149"/>
                  </a:cubicBezTo>
                  <a:cubicBezTo>
                    <a:pt x="119" y="149"/>
                    <a:pt x="149" y="120"/>
                    <a:pt x="149" y="83"/>
                  </a:cubicBezTo>
                  <a:cubicBezTo>
                    <a:pt x="149" y="47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4" name="Freeform 291">
              <a:extLst>
                <a:ext uri="{FF2B5EF4-FFF2-40B4-BE49-F238E27FC236}">
                  <a16:creationId xmlns:a16="http://schemas.microsoft.com/office/drawing/2014/main" id="{8E1A3E17-B212-6627-3429-A0E7707EE4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23383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7 w 166"/>
                <a:gd name="T3" fmla="*/ 83 h 166"/>
                <a:gd name="T4" fmla="*/ 83 w 166"/>
                <a:gd name="T5" fmla="*/ 150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7" y="47"/>
                    <a:pt x="17" y="83"/>
                  </a:cubicBezTo>
                  <a:cubicBezTo>
                    <a:pt x="17" y="120"/>
                    <a:pt x="46" y="150"/>
                    <a:pt x="83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29" y="0"/>
                    <a:pt x="166" y="38"/>
                    <a:pt x="166" y="83"/>
                  </a:cubicBezTo>
                  <a:cubicBezTo>
                    <a:pt x="166" y="129"/>
                    <a:pt x="129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5" name="Freeform 292">
              <a:extLst>
                <a:ext uri="{FF2B5EF4-FFF2-40B4-BE49-F238E27FC236}">
                  <a16:creationId xmlns:a16="http://schemas.microsoft.com/office/drawing/2014/main" id="{476FD096-7B07-A81A-D4F2-FDB411ECBC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2338388"/>
              <a:ext cx="112713" cy="112713"/>
            </a:xfrm>
            <a:custGeom>
              <a:avLst/>
              <a:gdLst>
                <a:gd name="T0" fmla="*/ 83 w 166"/>
                <a:gd name="T1" fmla="*/ 17 h 166"/>
                <a:gd name="T2" fmla="*/ 16 w 166"/>
                <a:gd name="T3" fmla="*/ 83 h 166"/>
                <a:gd name="T4" fmla="*/ 83 w 166"/>
                <a:gd name="T5" fmla="*/ 150 h 166"/>
                <a:gd name="T6" fmla="*/ 149 w 166"/>
                <a:gd name="T7" fmla="*/ 83 h 166"/>
                <a:gd name="T8" fmla="*/ 83 w 166"/>
                <a:gd name="T9" fmla="*/ 17 h 166"/>
                <a:gd name="T10" fmla="*/ 83 w 166"/>
                <a:gd name="T11" fmla="*/ 166 h 166"/>
                <a:gd name="T12" fmla="*/ 0 w 166"/>
                <a:gd name="T13" fmla="*/ 83 h 166"/>
                <a:gd name="T14" fmla="*/ 83 w 166"/>
                <a:gd name="T15" fmla="*/ 0 h 166"/>
                <a:gd name="T16" fmla="*/ 166 w 166"/>
                <a:gd name="T17" fmla="*/ 83 h 166"/>
                <a:gd name="T18" fmla="*/ 83 w 166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6">
                  <a:moveTo>
                    <a:pt x="83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50"/>
                    <a:pt x="83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3" y="17"/>
                  </a:cubicBezTo>
                  <a:close/>
                  <a:moveTo>
                    <a:pt x="83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3" y="0"/>
                  </a:cubicBezTo>
                  <a:cubicBezTo>
                    <a:pt x="128" y="0"/>
                    <a:pt x="166" y="38"/>
                    <a:pt x="166" y="83"/>
                  </a:cubicBezTo>
                  <a:cubicBezTo>
                    <a:pt x="166" y="129"/>
                    <a:pt x="128" y="166"/>
                    <a:pt x="83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6" name="Freeform 293">
              <a:extLst>
                <a:ext uri="{FF2B5EF4-FFF2-40B4-BE49-F238E27FC236}">
                  <a16:creationId xmlns:a16="http://schemas.microsoft.com/office/drawing/2014/main" id="{C5138855-CC2E-FAD6-E1C7-DB5A06A093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3263" y="2338388"/>
              <a:ext cx="111125" cy="112713"/>
            </a:xfrm>
            <a:custGeom>
              <a:avLst/>
              <a:gdLst>
                <a:gd name="T0" fmla="*/ 82 w 165"/>
                <a:gd name="T1" fmla="*/ 17 h 166"/>
                <a:gd name="T2" fmla="*/ 16 w 165"/>
                <a:gd name="T3" fmla="*/ 83 h 166"/>
                <a:gd name="T4" fmla="*/ 82 w 165"/>
                <a:gd name="T5" fmla="*/ 150 h 166"/>
                <a:gd name="T6" fmla="*/ 149 w 165"/>
                <a:gd name="T7" fmla="*/ 83 h 166"/>
                <a:gd name="T8" fmla="*/ 82 w 165"/>
                <a:gd name="T9" fmla="*/ 17 h 166"/>
                <a:gd name="T10" fmla="*/ 82 w 165"/>
                <a:gd name="T11" fmla="*/ 166 h 166"/>
                <a:gd name="T12" fmla="*/ 0 w 165"/>
                <a:gd name="T13" fmla="*/ 83 h 166"/>
                <a:gd name="T14" fmla="*/ 82 w 165"/>
                <a:gd name="T15" fmla="*/ 0 h 166"/>
                <a:gd name="T16" fmla="*/ 165 w 165"/>
                <a:gd name="T17" fmla="*/ 83 h 166"/>
                <a:gd name="T18" fmla="*/ 82 w 165"/>
                <a:gd name="T1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7"/>
                  </a:moveTo>
                  <a:cubicBezTo>
                    <a:pt x="46" y="17"/>
                    <a:pt x="16" y="47"/>
                    <a:pt x="16" y="83"/>
                  </a:cubicBezTo>
                  <a:cubicBezTo>
                    <a:pt x="16" y="120"/>
                    <a:pt x="46" y="150"/>
                    <a:pt x="82" y="150"/>
                  </a:cubicBezTo>
                  <a:cubicBezTo>
                    <a:pt x="119" y="150"/>
                    <a:pt x="149" y="120"/>
                    <a:pt x="149" y="83"/>
                  </a:cubicBezTo>
                  <a:cubicBezTo>
                    <a:pt x="149" y="47"/>
                    <a:pt x="119" y="17"/>
                    <a:pt x="82" y="17"/>
                  </a:cubicBezTo>
                  <a:close/>
                  <a:moveTo>
                    <a:pt x="82" y="166"/>
                  </a:moveTo>
                  <a:cubicBezTo>
                    <a:pt x="37" y="166"/>
                    <a:pt x="0" y="129"/>
                    <a:pt x="0" y="83"/>
                  </a:cubicBezTo>
                  <a:cubicBezTo>
                    <a:pt x="0" y="38"/>
                    <a:pt x="37" y="0"/>
                    <a:pt x="82" y="0"/>
                  </a:cubicBezTo>
                  <a:cubicBezTo>
                    <a:pt x="128" y="0"/>
                    <a:pt x="165" y="38"/>
                    <a:pt x="165" y="83"/>
                  </a:cubicBezTo>
                  <a:cubicBezTo>
                    <a:pt x="165" y="129"/>
                    <a:pt x="128" y="166"/>
                    <a:pt x="82" y="166"/>
                  </a:cubicBez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7" name="Rectangle 294">
              <a:extLst>
                <a:ext uri="{FF2B5EF4-FFF2-40B4-BE49-F238E27FC236}">
                  <a16:creationId xmlns:a16="http://schemas.microsoft.com/office/drawing/2014/main" id="{228C2AB2-8A51-1D85-1CB3-F60A5153B5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6725" y="2160588"/>
              <a:ext cx="242888" cy="11113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8" name="Rectangle 295">
              <a:extLst>
                <a:ext uri="{FF2B5EF4-FFF2-40B4-BE49-F238E27FC236}">
                  <a16:creationId xmlns:a16="http://schemas.microsoft.com/office/drawing/2014/main" id="{3D4404BC-B98D-F67F-9E56-50E96BC67A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6725" y="1931988"/>
              <a:ext cx="242888" cy="11113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9" name="Freeform 296">
              <a:extLst>
                <a:ext uri="{FF2B5EF4-FFF2-40B4-BE49-F238E27FC236}">
                  <a16:creationId xmlns:a16="http://schemas.microsoft.com/office/drawing/2014/main" id="{739C4033-8B2B-7244-F177-7D5E8E375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125" y="1957388"/>
              <a:ext cx="269875" cy="185738"/>
            </a:xfrm>
            <a:custGeom>
              <a:avLst/>
              <a:gdLst>
                <a:gd name="T0" fmla="*/ 4 w 170"/>
                <a:gd name="T1" fmla="*/ 117 h 117"/>
                <a:gd name="T2" fmla="*/ 0 w 170"/>
                <a:gd name="T3" fmla="*/ 111 h 117"/>
                <a:gd name="T4" fmla="*/ 166 w 170"/>
                <a:gd name="T5" fmla="*/ 0 h 117"/>
                <a:gd name="T6" fmla="*/ 170 w 170"/>
                <a:gd name="T7" fmla="*/ 6 h 117"/>
                <a:gd name="T8" fmla="*/ 4 w 170"/>
                <a:gd name="T9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117">
                  <a:moveTo>
                    <a:pt x="4" y="117"/>
                  </a:moveTo>
                  <a:lnTo>
                    <a:pt x="0" y="111"/>
                  </a:lnTo>
                  <a:lnTo>
                    <a:pt x="166" y="0"/>
                  </a:lnTo>
                  <a:lnTo>
                    <a:pt x="170" y="6"/>
                  </a:lnTo>
                  <a:lnTo>
                    <a:pt x="4" y="117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0" name="Freeform 297">
              <a:extLst>
                <a:ext uri="{FF2B5EF4-FFF2-40B4-BE49-F238E27FC236}">
                  <a16:creationId xmlns:a16="http://schemas.microsoft.com/office/drawing/2014/main" id="{B93FBDB0-3853-0FD6-EF68-64718CC5E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2713" y="1728788"/>
              <a:ext cx="268288" cy="184150"/>
            </a:xfrm>
            <a:custGeom>
              <a:avLst/>
              <a:gdLst>
                <a:gd name="T0" fmla="*/ 4 w 169"/>
                <a:gd name="T1" fmla="*/ 116 h 116"/>
                <a:gd name="T2" fmla="*/ 0 w 169"/>
                <a:gd name="T3" fmla="*/ 110 h 116"/>
                <a:gd name="T4" fmla="*/ 165 w 169"/>
                <a:gd name="T5" fmla="*/ 0 h 116"/>
                <a:gd name="T6" fmla="*/ 169 w 169"/>
                <a:gd name="T7" fmla="*/ 6 h 116"/>
                <a:gd name="T8" fmla="*/ 4 w 169"/>
                <a:gd name="T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116">
                  <a:moveTo>
                    <a:pt x="4" y="116"/>
                  </a:moveTo>
                  <a:lnTo>
                    <a:pt x="0" y="110"/>
                  </a:lnTo>
                  <a:lnTo>
                    <a:pt x="165" y="0"/>
                  </a:lnTo>
                  <a:lnTo>
                    <a:pt x="169" y="6"/>
                  </a:lnTo>
                  <a:lnTo>
                    <a:pt x="4" y="116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1" name="Rectangle 298">
              <a:extLst>
                <a:ext uri="{FF2B5EF4-FFF2-40B4-BE49-F238E27FC236}">
                  <a16:creationId xmlns:a16="http://schemas.microsoft.com/office/drawing/2014/main" id="{0B92437C-17D3-A394-A185-CC25F9103F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3825" y="1701801"/>
              <a:ext cx="242888" cy="12700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2" name="Freeform 299">
              <a:extLst>
                <a:ext uri="{FF2B5EF4-FFF2-40B4-BE49-F238E27FC236}">
                  <a16:creationId xmlns:a16="http://schemas.microsoft.com/office/drawing/2014/main" id="{BAE73AC4-167A-CBBB-5235-55916C1E4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125" y="2189163"/>
              <a:ext cx="266700" cy="182563"/>
            </a:xfrm>
            <a:custGeom>
              <a:avLst/>
              <a:gdLst>
                <a:gd name="T0" fmla="*/ 164 w 168"/>
                <a:gd name="T1" fmla="*/ 115 h 115"/>
                <a:gd name="T2" fmla="*/ 0 w 168"/>
                <a:gd name="T3" fmla="*/ 6 h 115"/>
                <a:gd name="T4" fmla="*/ 4 w 168"/>
                <a:gd name="T5" fmla="*/ 0 h 115"/>
                <a:gd name="T6" fmla="*/ 168 w 168"/>
                <a:gd name="T7" fmla="*/ 109 h 115"/>
                <a:gd name="T8" fmla="*/ 164 w 168"/>
                <a:gd name="T9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115">
                  <a:moveTo>
                    <a:pt x="164" y="115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168" y="109"/>
                  </a:lnTo>
                  <a:lnTo>
                    <a:pt x="164" y="115"/>
                  </a:lnTo>
                  <a:close/>
                </a:path>
              </a:pathLst>
            </a:custGeom>
            <a:grpFill/>
            <a:ln w="9525">
              <a:solidFill>
                <a:schemeClr val="dk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3" name="Rectangle 300">
              <a:extLst>
                <a:ext uri="{FF2B5EF4-FFF2-40B4-BE49-F238E27FC236}">
                  <a16:creationId xmlns:a16="http://schemas.microsoft.com/office/drawing/2014/main" id="{0FCB488A-D2D1-1AC4-CB34-053B485385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4063" y="2216151"/>
              <a:ext cx="11113" cy="128588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4" name="Rectangle 301">
              <a:extLst>
                <a:ext uri="{FF2B5EF4-FFF2-40B4-BE49-F238E27FC236}">
                  <a16:creationId xmlns:a16="http://schemas.microsoft.com/office/drawing/2014/main" id="{B92F33E3-309E-BBE9-4D18-7380D66378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4063" y="1758951"/>
              <a:ext cx="11113" cy="127000"/>
            </a:xfrm>
            <a:prstGeom prst="rect">
              <a:avLst/>
            </a:prstGeom>
            <a:grpFill/>
            <a:ln w="9525">
              <a:solidFill>
                <a:schemeClr val="dk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55" name="Text Placeholder 9">
            <a:extLst>
              <a:ext uri="{FF2B5EF4-FFF2-40B4-BE49-F238E27FC236}">
                <a16:creationId xmlns:a16="http://schemas.microsoft.com/office/drawing/2014/main" id="{520DE371-5AF1-F8FF-8707-45EE4454FB90}"/>
              </a:ext>
            </a:extLst>
          </p:cNvPr>
          <p:cNvSpPr txBox="1">
            <a:spLocks/>
          </p:cNvSpPr>
          <p:nvPr/>
        </p:nvSpPr>
        <p:spPr>
          <a:xfrm>
            <a:off x="2221804" y="8595030"/>
            <a:ext cx="1595631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en AI scaling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6" name="Text Placeholder 9">
            <a:extLst>
              <a:ext uri="{FF2B5EF4-FFF2-40B4-BE49-F238E27FC236}">
                <a16:creationId xmlns:a16="http://schemas.microsoft.com/office/drawing/2014/main" id="{45893D60-F6F4-C53C-3A02-E32909DD2E69}"/>
              </a:ext>
            </a:extLst>
          </p:cNvPr>
          <p:cNvSpPr txBox="1">
            <a:spLocks/>
          </p:cNvSpPr>
          <p:nvPr/>
        </p:nvSpPr>
        <p:spPr>
          <a:xfrm>
            <a:off x="4422458" y="8579240"/>
            <a:ext cx="2074602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monetizatio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7" name="Text Placeholder 9">
            <a:extLst>
              <a:ext uri="{FF2B5EF4-FFF2-40B4-BE49-F238E27FC236}">
                <a16:creationId xmlns:a16="http://schemas.microsoft.com/office/drawing/2014/main" id="{E15DB0F8-FBE2-D8CC-A4FB-F6A6E1AAAE0A}"/>
              </a:ext>
            </a:extLst>
          </p:cNvPr>
          <p:cNvSpPr txBox="1">
            <a:spLocks/>
          </p:cNvSpPr>
          <p:nvPr/>
        </p:nvSpPr>
        <p:spPr>
          <a:xfrm>
            <a:off x="2236406" y="9343656"/>
            <a:ext cx="1404274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led modelling</a:t>
            </a:r>
            <a:b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&amp; transformatio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58" name="Text Placeholder 9">
            <a:extLst>
              <a:ext uri="{FF2B5EF4-FFF2-40B4-BE49-F238E27FC236}">
                <a16:creationId xmlns:a16="http://schemas.microsoft.com/office/drawing/2014/main" id="{DDA5DDE7-3083-CDF4-FE22-D3B32B014AAD}"/>
              </a:ext>
            </a:extLst>
          </p:cNvPr>
          <p:cNvSpPr txBox="1">
            <a:spLocks/>
          </p:cNvSpPr>
          <p:nvPr/>
        </p:nvSpPr>
        <p:spPr>
          <a:xfrm>
            <a:off x="4399723" y="9257088"/>
            <a:ext cx="2182529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lvl="1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50" b="1"/>
            </a:lvl2pPr>
            <a:lvl3pPr marL="18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000"/>
            </a:lvl3pPr>
            <a:lvl4pPr marL="360000" indent="-180000">
              <a:lnSpc>
                <a:spcPct val="100000"/>
              </a:lnSpc>
              <a:spcBef>
                <a:spcPts val="800"/>
              </a:spcBef>
              <a:buFont typeface="Graphik" panose="020B0503030202060203" pitchFamily="34" charset="0"/>
              <a:buChar char="–"/>
              <a:defRPr sz="1400"/>
            </a:lvl4pPr>
            <a:lvl5pPr marL="540000" indent="-18000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ata science</a:t>
            </a:r>
            <a:b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&amp; MLOp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0B02FCB-7E30-92CF-CD77-808E9C6C0E12}"/>
              </a:ext>
            </a:extLst>
          </p:cNvPr>
          <p:cNvGrpSpPr>
            <a:grpSpLocks noChangeAspect="1"/>
          </p:cNvGrpSpPr>
          <p:nvPr/>
        </p:nvGrpSpPr>
        <p:grpSpPr>
          <a:xfrm>
            <a:off x="1581445" y="8466448"/>
            <a:ext cx="537346" cy="548260"/>
            <a:chOff x="10258820" y="2140818"/>
            <a:chExt cx="366798" cy="374248"/>
          </a:xfrm>
        </p:grpSpPr>
        <p:pic>
          <p:nvPicPr>
            <p:cNvPr id="5" name="Picture 15">
              <a:extLst>
                <a:ext uri="{FF2B5EF4-FFF2-40B4-BE49-F238E27FC236}">
                  <a16:creationId xmlns:a16="http://schemas.microsoft.com/office/drawing/2014/main" id="{BEC42C73-505A-B9B3-F678-B09427999B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58820" y="2140818"/>
              <a:ext cx="307574" cy="3075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99E2FCC-DFCD-B7CA-664F-15A9FC9E47F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475107" y="2362873"/>
              <a:ext cx="150511" cy="152193"/>
              <a:chOff x="3482" y="1979"/>
              <a:chExt cx="358" cy="362"/>
            </a:xfrm>
          </p:grpSpPr>
          <p:sp>
            <p:nvSpPr>
              <p:cNvPr id="30" name="AutoShape 3">
                <a:extLst>
                  <a:ext uri="{FF2B5EF4-FFF2-40B4-BE49-F238E27FC236}">
                    <a16:creationId xmlns:a16="http://schemas.microsoft.com/office/drawing/2014/main" id="{56D7674C-01B8-FA42-FD21-27A27CC19321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3482" y="1979"/>
                <a:ext cx="358" cy="3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2" name="Freeform 5">
                <a:extLst>
                  <a:ext uri="{FF2B5EF4-FFF2-40B4-BE49-F238E27FC236}">
                    <a16:creationId xmlns:a16="http://schemas.microsoft.com/office/drawing/2014/main" id="{02BDD43F-1A64-F293-2644-D1EA3A98C6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46" y="2045"/>
                <a:ext cx="230" cy="229"/>
              </a:xfrm>
              <a:custGeom>
                <a:avLst/>
                <a:gdLst>
                  <a:gd name="T0" fmla="*/ 174 w 192"/>
                  <a:gd name="T1" fmla="*/ 192 h 192"/>
                  <a:gd name="T2" fmla="*/ 18 w 192"/>
                  <a:gd name="T3" fmla="*/ 192 h 192"/>
                  <a:gd name="T4" fmla="*/ 0 w 192"/>
                  <a:gd name="T5" fmla="*/ 174 h 192"/>
                  <a:gd name="T6" fmla="*/ 0 w 192"/>
                  <a:gd name="T7" fmla="*/ 18 h 192"/>
                  <a:gd name="T8" fmla="*/ 18 w 192"/>
                  <a:gd name="T9" fmla="*/ 0 h 192"/>
                  <a:gd name="T10" fmla="*/ 174 w 192"/>
                  <a:gd name="T11" fmla="*/ 0 h 192"/>
                  <a:gd name="T12" fmla="*/ 192 w 192"/>
                  <a:gd name="T13" fmla="*/ 18 h 192"/>
                  <a:gd name="T14" fmla="*/ 192 w 192"/>
                  <a:gd name="T15" fmla="*/ 174 h 192"/>
                  <a:gd name="T16" fmla="*/ 174 w 192"/>
                  <a:gd name="T17" fmla="*/ 192 h 192"/>
                  <a:gd name="T18" fmla="*/ 18 w 192"/>
                  <a:gd name="T19" fmla="*/ 12 h 192"/>
                  <a:gd name="T20" fmla="*/ 12 w 192"/>
                  <a:gd name="T21" fmla="*/ 18 h 192"/>
                  <a:gd name="T22" fmla="*/ 12 w 192"/>
                  <a:gd name="T23" fmla="*/ 174 h 192"/>
                  <a:gd name="T24" fmla="*/ 18 w 192"/>
                  <a:gd name="T25" fmla="*/ 180 h 192"/>
                  <a:gd name="T26" fmla="*/ 174 w 192"/>
                  <a:gd name="T27" fmla="*/ 180 h 192"/>
                  <a:gd name="T28" fmla="*/ 180 w 192"/>
                  <a:gd name="T29" fmla="*/ 174 h 192"/>
                  <a:gd name="T30" fmla="*/ 180 w 192"/>
                  <a:gd name="T31" fmla="*/ 18 h 192"/>
                  <a:gd name="T32" fmla="*/ 174 w 192"/>
                  <a:gd name="T33" fmla="*/ 12 h 192"/>
                  <a:gd name="T34" fmla="*/ 18 w 192"/>
                  <a:gd name="T35" fmla="*/ 1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2" h="192">
                    <a:moveTo>
                      <a:pt x="174" y="192"/>
                    </a:moveTo>
                    <a:cubicBezTo>
                      <a:pt x="18" y="192"/>
                      <a:pt x="18" y="192"/>
                      <a:pt x="18" y="192"/>
                    </a:cubicBezTo>
                    <a:cubicBezTo>
                      <a:pt x="8" y="192"/>
                      <a:pt x="0" y="184"/>
                      <a:pt x="0" y="17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9"/>
                      <a:pt x="8" y="0"/>
                      <a:pt x="18" y="0"/>
                    </a:cubicBezTo>
                    <a:cubicBezTo>
                      <a:pt x="174" y="0"/>
                      <a:pt x="174" y="0"/>
                      <a:pt x="174" y="0"/>
                    </a:cubicBezTo>
                    <a:cubicBezTo>
                      <a:pt x="184" y="0"/>
                      <a:pt x="192" y="9"/>
                      <a:pt x="192" y="18"/>
                    </a:cubicBezTo>
                    <a:cubicBezTo>
                      <a:pt x="192" y="174"/>
                      <a:pt x="192" y="174"/>
                      <a:pt x="192" y="174"/>
                    </a:cubicBezTo>
                    <a:cubicBezTo>
                      <a:pt x="192" y="184"/>
                      <a:pt x="184" y="192"/>
                      <a:pt x="174" y="192"/>
                    </a:cubicBezTo>
                    <a:close/>
                    <a:moveTo>
                      <a:pt x="18" y="12"/>
                    </a:moveTo>
                    <a:cubicBezTo>
                      <a:pt x="14" y="12"/>
                      <a:pt x="12" y="15"/>
                      <a:pt x="12" y="18"/>
                    </a:cubicBezTo>
                    <a:cubicBezTo>
                      <a:pt x="12" y="174"/>
                      <a:pt x="12" y="174"/>
                      <a:pt x="12" y="174"/>
                    </a:cubicBezTo>
                    <a:cubicBezTo>
                      <a:pt x="12" y="178"/>
                      <a:pt x="14" y="180"/>
                      <a:pt x="18" y="180"/>
                    </a:cubicBezTo>
                    <a:cubicBezTo>
                      <a:pt x="174" y="180"/>
                      <a:pt x="174" y="180"/>
                      <a:pt x="174" y="180"/>
                    </a:cubicBezTo>
                    <a:cubicBezTo>
                      <a:pt x="177" y="180"/>
                      <a:pt x="180" y="178"/>
                      <a:pt x="180" y="174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80" y="15"/>
                      <a:pt x="177" y="12"/>
                      <a:pt x="174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3" name="Freeform 6">
                <a:extLst>
                  <a:ext uri="{FF2B5EF4-FFF2-40B4-BE49-F238E27FC236}">
                    <a16:creationId xmlns:a16="http://schemas.microsoft.com/office/drawing/2014/main" id="{5ACA7CCF-D8E5-F461-D897-8F8B1ACCDE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7" y="1987"/>
                <a:ext cx="14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4" name="Freeform 7">
                <a:extLst>
                  <a:ext uri="{FF2B5EF4-FFF2-40B4-BE49-F238E27FC236}">
                    <a16:creationId xmlns:a16="http://schemas.microsoft.com/office/drawing/2014/main" id="{DA7FCD83-1A31-2783-B006-E94B12E175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9" y="1987"/>
                <a:ext cx="15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C564A4A5-7BA5-3E2B-9C9B-B196458058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8" y="1987"/>
                <a:ext cx="15" cy="72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232F9287-6B2F-2BBA-A60E-C6DB0F1D6F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159"/>
                <a:ext cx="72" cy="15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5C3C1E82-6E1A-7E80-11DE-E803700622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217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93A8DE0F-276E-0F23-BEE5-DA1BB47F55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2088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BF9FC08A-B4B5-8F36-AC96-F028036F72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1" y="2260"/>
                <a:ext cx="14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CC31D09A-932E-9099-C77A-DED0AF0B49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8" y="2260"/>
                <a:ext cx="15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EC5637C0-6F96-F43C-8F96-879339D29B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9" y="2260"/>
                <a:ext cx="15" cy="71"/>
              </a:xfrm>
              <a:custGeom>
                <a:avLst/>
                <a:gdLst>
                  <a:gd name="T0" fmla="*/ 6 w 12"/>
                  <a:gd name="T1" fmla="*/ 60 h 60"/>
                  <a:gd name="T2" fmla="*/ 0 w 12"/>
                  <a:gd name="T3" fmla="*/ 54 h 60"/>
                  <a:gd name="T4" fmla="*/ 0 w 12"/>
                  <a:gd name="T5" fmla="*/ 6 h 60"/>
                  <a:gd name="T6" fmla="*/ 6 w 12"/>
                  <a:gd name="T7" fmla="*/ 0 h 60"/>
                  <a:gd name="T8" fmla="*/ 12 w 12"/>
                  <a:gd name="T9" fmla="*/ 6 h 60"/>
                  <a:gd name="T10" fmla="*/ 12 w 12"/>
                  <a:gd name="T11" fmla="*/ 54 h 60"/>
                  <a:gd name="T12" fmla="*/ 6 w 12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0">
                    <a:moveTo>
                      <a:pt x="6" y="60"/>
                    </a:moveTo>
                    <a:cubicBezTo>
                      <a:pt x="2" y="60"/>
                      <a:pt x="0" y="58"/>
                      <a:pt x="0" y="5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8"/>
                      <a:pt x="9" y="60"/>
                      <a:pt x="6" y="60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385621BC-3E7A-7EF0-37C2-CC410CF25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145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EE7A0448-B2D9-EEC4-33CA-08B824B7F4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088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4" name="Freeform 17">
                <a:extLst>
                  <a:ext uri="{FF2B5EF4-FFF2-40B4-BE49-F238E27FC236}">
                    <a16:creationId xmlns:a16="http://schemas.microsoft.com/office/drawing/2014/main" id="{4B0AF812-181D-6EA3-35F4-C78C79B6F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" y="2217"/>
                <a:ext cx="72" cy="14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"/>
                      <a:pt x="57" y="12"/>
                      <a:pt x="54" y="12"/>
                    </a:cubicBez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5" name="Freeform 18">
                <a:extLst>
                  <a:ext uri="{FF2B5EF4-FFF2-40B4-BE49-F238E27FC236}">
                    <a16:creationId xmlns:a16="http://schemas.microsoft.com/office/drawing/2014/main" id="{45E430B0-9863-78C2-5C35-BB65D0C9FE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5" y="2073"/>
                <a:ext cx="172" cy="172"/>
              </a:xfrm>
              <a:custGeom>
                <a:avLst/>
                <a:gdLst>
                  <a:gd name="T0" fmla="*/ 114 w 144"/>
                  <a:gd name="T1" fmla="*/ 144 h 144"/>
                  <a:gd name="T2" fmla="*/ 30 w 144"/>
                  <a:gd name="T3" fmla="*/ 144 h 144"/>
                  <a:gd name="T4" fmla="*/ 0 w 144"/>
                  <a:gd name="T5" fmla="*/ 114 h 144"/>
                  <a:gd name="T6" fmla="*/ 0 w 144"/>
                  <a:gd name="T7" fmla="*/ 30 h 144"/>
                  <a:gd name="T8" fmla="*/ 30 w 144"/>
                  <a:gd name="T9" fmla="*/ 0 h 144"/>
                  <a:gd name="T10" fmla="*/ 114 w 144"/>
                  <a:gd name="T11" fmla="*/ 0 h 144"/>
                  <a:gd name="T12" fmla="*/ 144 w 144"/>
                  <a:gd name="T13" fmla="*/ 30 h 144"/>
                  <a:gd name="T14" fmla="*/ 144 w 144"/>
                  <a:gd name="T15" fmla="*/ 114 h 144"/>
                  <a:gd name="T16" fmla="*/ 114 w 144"/>
                  <a:gd name="T17" fmla="*/ 144 h 144"/>
                  <a:gd name="T18" fmla="*/ 30 w 144"/>
                  <a:gd name="T19" fmla="*/ 12 h 144"/>
                  <a:gd name="T20" fmla="*/ 12 w 144"/>
                  <a:gd name="T21" fmla="*/ 30 h 144"/>
                  <a:gd name="T22" fmla="*/ 12 w 144"/>
                  <a:gd name="T23" fmla="*/ 114 h 144"/>
                  <a:gd name="T24" fmla="*/ 30 w 144"/>
                  <a:gd name="T25" fmla="*/ 132 h 144"/>
                  <a:gd name="T26" fmla="*/ 114 w 144"/>
                  <a:gd name="T27" fmla="*/ 132 h 144"/>
                  <a:gd name="T28" fmla="*/ 132 w 144"/>
                  <a:gd name="T29" fmla="*/ 114 h 144"/>
                  <a:gd name="T30" fmla="*/ 132 w 144"/>
                  <a:gd name="T31" fmla="*/ 30 h 144"/>
                  <a:gd name="T32" fmla="*/ 114 w 144"/>
                  <a:gd name="T33" fmla="*/ 12 h 144"/>
                  <a:gd name="T34" fmla="*/ 30 w 144"/>
                  <a:gd name="T35" fmla="*/ 1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144">
                    <a:moveTo>
                      <a:pt x="114" y="144"/>
                    </a:moveTo>
                    <a:cubicBezTo>
                      <a:pt x="30" y="144"/>
                      <a:pt x="30" y="144"/>
                      <a:pt x="30" y="144"/>
                    </a:cubicBezTo>
                    <a:cubicBezTo>
                      <a:pt x="13" y="144"/>
                      <a:pt x="0" y="131"/>
                      <a:pt x="0" y="114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14"/>
                      <a:pt x="13" y="0"/>
                      <a:pt x="30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130" y="0"/>
                      <a:pt x="144" y="14"/>
                      <a:pt x="144" y="30"/>
                    </a:cubicBezTo>
                    <a:cubicBezTo>
                      <a:pt x="144" y="114"/>
                      <a:pt x="144" y="114"/>
                      <a:pt x="144" y="114"/>
                    </a:cubicBezTo>
                    <a:cubicBezTo>
                      <a:pt x="144" y="131"/>
                      <a:pt x="130" y="144"/>
                      <a:pt x="114" y="144"/>
                    </a:cubicBezTo>
                    <a:close/>
                    <a:moveTo>
                      <a:pt x="30" y="12"/>
                    </a:moveTo>
                    <a:cubicBezTo>
                      <a:pt x="20" y="12"/>
                      <a:pt x="12" y="21"/>
                      <a:pt x="12" y="30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2" y="124"/>
                      <a:pt x="20" y="132"/>
                      <a:pt x="30" y="132"/>
                    </a:cubicBezTo>
                    <a:cubicBezTo>
                      <a:pt x="114" y="132"/>
                      <a:pt x="114" y="132"/>
                      <a:pt x="114" y="132"/>
                    </a:cubicBezTo>
                    <a:cubicBezTo>
                      <a:pt x="124" y="132"/>
                      <a:pt x="132" y="124"/>
                      <a:pt x="132" y="114"/>
                    </a:cubicBezTo>
                    <a:cubicBezTo>
                      <a:pt x="132" y="30"/>
                      <a:pt x="132" y="30"/>
                      <a:pt x="132" y="30"/>
                    </a:cubicBezTo>
                    <a:cubicBezTo>
                      <a:pt x="132" y="21"/>
                      <a:pt x="124" y="12"/>
                      <a:pt x="114" y="12"/>
                    </a:cubicBez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010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</p:grpSp>
      </p:grpSp>
      <p:sp>
        <p:nvSpPr>
          <p:cNvPr id="62" name="Rectangle 3">
            <a:extLst>
              <a:ext uri="{FF2B5EF4-FFF2-40B4-BE49-F238E27FC236}">
                <a16:creationId xmlns:a16="http://schemas.microsoft.com/office/drawing/2014/main" id="{49AF690D-26F3-1CDB-6F4D-838976866FF7}"/>
              </a:ext>
            </a:extLst>
          </p:cNvPr>
          <p:cNvSpPr/>
          <p:nvPr/>
        </p:nvSpPr>
        <p:spPr>
          <a:xfrm>
            <a:off x="5505140" y="1057833"/>
            <a:ext cx="3638707" cy="184666"/>
          </a:xfrm>
          <a:prstGeom prst="rect">
            <a:avLst/>
          </a:prstGeom>
          <a:solidFill>
            <a:schemeClr val="bg1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914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pl-PL" sz="1200" b="1" i="0" u="none" strike="noStrike" kern="0" cap="all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Graphik Black" panose="020B0A03030202060203" pitchFamily="34" charset="-18"/>
                <a:ea typeface="+mn-ea"/>
                <a:cs typeface="+mn-cs"/>
              </a:rPr>
              <a:t>Lorem ipsum</a:t>
            </a:r>
            <a:endParaRPr kumimoji="0" lang="en-US" sz="1200" b="1" i="0" u="none" strike="noStrike" kern="0" cap="all" spc="0" normalizeH="0" baseline="0" noProof="0">
              <a:ln>
                <a:noFill/>
              </a:ln>
              <a:solidFill>
                <a:srgbClr val="A100FF"/>
              </a:solidFill>
              <a:effectLst/>
              <a:uLnTx/>
              <a:uFillTx/>
              <a:latin typeface="Graphik Black" panose="020B0A03030202060203" pitchFamily="34" charset="-18"/>
              <a:ea typeface="+mn-ea"/>
              <a:cs typeface="+mn-cs"/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A63BB6E-9EAD-115F-0A81-2D2042F29EFF}"/>
              </a:ext>
            </a:extLst>
          </p:cNvPr>
          <p:cNvCxnSpPr>
            <a:cxnSpLocks/>
          </p:cNvCxnSpPr>
          <p:nvPr/>
        </p:nvCxnSpPr>
        <p:spPr>
          <a:xfrm>
            <a:off x="5495105" y="1248604"/>
            <a:ext cx="6302996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itle 1">
            <a:extLst>
              <a:ext uri="{FF2B5EF4-FFF2-40B4-BE49-F238E27FC236}">
                <a16:creationId xmlns:a16="http://schemas.microsoft.com/office/drawing/2014/main" id="{D59545F7-0203-C7F3-1C53-BE4FF3E604E7}"/>
              </a:ext>
            </a:extLst>
          </p:cNvPr>
          <p:cNvSpPr txBox="1">
            <a:spLocks/>
          </p:cNvSpPr>
          <p:nvPr/>
        </p:nvSpPr>
        <p:spPr>
          <a:xfrm>
            <a:off x="338546" y="207092"/>
            <a:ext cx="11641970" cy="77613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inden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79600" algn="l"/>
              </a:tabLst>
              <a:defRPr sz="3600" b="1" i="0">
                <a:solidFill>
                  <a:schemeClr val="accent2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pl-PL"/>
              <a:t>AI Industry Hub | </a:t>
            </a:r>
            <a:r>
              <a:rPr lang="pl-PL">
                <a:solidFill>
                  <a:schemeClr val="tx1"/>
                </a:solidFill>
              </a:rPr>
              <a:t>Products &amp; Retail</a:t>
            </a:r>
            <a:endParaRPr lang="en-GB">
              <a:solidFill>
                <a:schemeClr val="tx1"/>
              </a:solidFill>
            </a:endParaRPr>
          </a:p>
        </p:txBody>
      </p:sp>
      <p:sp>
        <p:nvSpPr>
          <p:cNvPr id="2" name="TextBox 20">
            <a:extLst>
              <a:ext uri="{FF2B5EF4-FFF2-40B4-BE49-F238E27FC236}">
                <a16:creationId xmlns:a16="http://schemas.microsoft.com/office/drawing/2014/main" id="{E4A59EE8-B11F-853E-A295-C920583F7CF0}"/>
              </a:ext>
            </a:extLst>
          </p:cNvPr>
          <p:cNvSpPr txBox="1"/>
          <p:nvPr/>
        </p:nvSpPr>
        <p:spPr>
          <a:xfrm>
            <a:off x="491650" y="1577533"/>
            <a:ext cx="2539548" cy="321560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0" lang="pl-PL" sz="2400" b="1" i="0" u="none" strike="noStrike" kern="1200" spc="0" normalizeH="0" noProof="0">
                <a:ln>
                  <a:noFill/>
                </a:ln>
                <a:solidFill>
                  <a:srgbClr val="743A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ucts being one of our top 3 industri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t>Supporting international retail chain in building cloud analytics solu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t>Multiple experiences in CG&amp;S and retail area in analytics, visualisation, analytics operating model, data modelling, customer analytics and mo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en-GB" sz="1400" b="0" i="0" u="none" strike="noStrike" kern="1200" cap="all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Box 32">
            <a:extLst>
              <a:ext uri="{FF2B5EF4-FFF2-40B4-BE49-F238E27FC236}">
                <a16:creationId xmlns:a16="http://schemas.microsoft.com/office/drawing/2014/main" id="{53F78C0F-BC02-B6B4-A340-5E29CBB346FB}"/>
              </a:ext>
            </a:extLst>
          </p:cNvPr>
          <p:cNvSpPr txBox="1"/>
          <p:nvPr/>
        </p:nvSpPr>
        <p:spPr>
          <a:xfrm>
            <a:off x="3599588" y="1599459"/>
            <a:ext cx="3501331" cy="331081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743A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pabilities</a:t>
            </a:r>
            <a:endParaRPr kumimoji="0" lang="pl-PL" sz="2400" b="1" i="0" u="none" strike="noStrike" kern="1200" cap="none" spc="0" normalizeH="0" baseline="0" noProof="0">
              <a:ln>
                <a:noFill/>
              </a:ln>
              <a:solidFill>
                <a:srgbClr val="743A9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l-PL" sz="1200" b="1" i="0" u="none" strike="noStrike" kern="1200" cap="none" spc="0" normalizeH="0" baseline="0" noProof="0">
              <a:ln>
                <a:noFill/>
              </a:ln>
              <a:solidFill>
                <a:srgbClr val="743A9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" b="1" i="0" u="none" strike="noStrike" kern="1200" cap="none" spc="0" normalizeH="0" baseline="0" noProof="0">
              <a:ln>
                <a:noFill/>
              </a:ln>
              <a:solidFill>
                <a:srgbClr val="743A9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t>Pricing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t>Supply chain</a:t>
            </a:r>
            <a:r>
              <a:rPr lang="pl-PL" sz="140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t> &amp;</a:t>
            </a:r>
            <a:r>
              <a:rPr lang="en-US" sz="140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t> wastage analytic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t>Demand </a:t>
            </a:r>
            <a:r>
              <a:rPr lang="pl-PL" sz="140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t>f</a:t>
            </a:r>
            <a:r>
              <a:rPr lang="en-US" sz="140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t>or</a:t>
            </a:r>
            <a:r>
              <a:rPr lang="pl-PL" sz="140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t>e</a:t>
            </a:r>
            <a:r>
              <a:rPr lang="en-US" sz="140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t>casting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t>Promotion optimiza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t>Marketing mix modelling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t>Assortment optimiza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t>Recommendation system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pl-PL" sz="140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t>Omnichannel analytics</a:t>
            </a:r>
            <a:endParaRPr lang="en-GB" sz="1400">
              <a:solidFill>
                <a:srgbClr val="000000">
                  <a:lumMod val="50000"/>
                  <a:lumOff val="50000"/>
                </a:srgbClr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5379766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Freeform 116">
            <a:extLst>
              <a:ext uri="{FF2B5EF4-FFF2-40B4-BE49-F238E27FC236}">
                <a16:creationId xmlns:a16="http://schemas.microsoft.com/office/drawing/2014/main" id="{548D2E87-AF52-BC12-8500-38AFAC290EA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259994" y="2172007"/>
            <a:ext cx="460361" cy="547017"/>
          </a:xfrm>
          <a:custGeom>
            <a:avLst/>
            <a:gdLst>
              <a:gd name="T0" fmla="*/ 56 w 80"/>
              <a:gd name="T1" fmla="*/ 74 h 96"/>
              <a:gd name="T2" fmla="*/ 59 w 80"/>
              <a:gd name="T3" fmla="*/ 69 h 96"/>
              <a:gd name="T4" fmla="*/ 50 w 80"/>
              <a:gd name="T5" fmla="*/ 63 h 96"/>
              <a:gd name="T6" fmla="*/ 44 w 80"/>
              <a:gd name="T7" fmla="*/ 56 h 96"/>
              <a:gd name="T8" fmla="*/ 34 w 80"/>
              <a:gd name="T9" fmla="*/ 61 h 96"/>
              <a:gd name="T10" fmla="*/ 25 w 80"/>
              <a:gd name="T11" fmla="*/ 63 h 96"/>
              <a:gd name="T12" fmla="*/ 21 w 80"/>
              <a:gd name="T13" fmla="*/ 72 h 96"/>
              <a:gd name="T14" fmla="*/ 21 w 80"/>
              <a:gd name="T15" fmla="*/ 80 h 96"/>
              <a:gd name="T16" fmla="*/ 25 w 80"/>
              <a:gd name="T17" fmla="*/ 89 h 96"/>
              <a:gd name="T18" fmla="*/ 30 w 80"/>
              <a:gd name="T19" fmla="*/ 89 h 96"/>
              <a:gd name="T20" fmla="*/ 36 w 80"/>
              <a:gd name="T21" fmla="*/ 96 h 96"/>
              <a:gd name="T22" fmla="*/ 46 w 80"/>
              <a:gd name="T23" fmla="*/ 91 h 96"/>
              <a:gd name="T24" fmla="*/ 54 w 80"/>
              <a:gd name="T25" fmla="*/ 90 h 96"/>
              <a:gd name="T26" fmla="*/ 60 w 80"/>
              <a:gd name="T27" fmla="*/ 81 h 96"/>
              <a:gd name="T28" fmla="*/ 51 w 80"/>
              <a:gd name="T29" fmla="*/ 84 h 96"/>
              <a:gd name="T30" fmla="*/ 42 w 80"/>
              <a:gd name="T31" fmla="*/ 89 h 96"/>
              <a:gd name="T32" fmla="*/ 38 w 80"/>
              <a:gd name="T33" fmla="*/ 89 h 96"/>
              <a:gd name="T34" fmla="*/ 29 w 80"/>
              <a:gd name="T35" fmla="*/ 84 h 96"/>
              <a:gd name="T36" fmla="*/ 27 w 80"/>
              <a:gd name="T37" fmla="*/ 81 h 96"/>
              <a:gd name="T38" fmla="*/ 27 w 80"/>
              <a:gd name="T39" fmla="*/ 71 h 96"/>
              <a:gd name="T40" fmla="*/ 29 w 80"/>
              <a:gd name="T41" fmla="*/ 68 h 96"/>
              <a:gd name="T42" fmla="*/ 38 w 80"/>
              <a:gd name="T43" fmla="*/ 63 h 96"/>
              <a:gd name="T44" fmla="*/ 42 w 80"/>
              <a:gd name="T45" fmla="*/ 63 h 96"/>
              <a:gd name="T46" fmla="*/ 51 w 80"/>
              <a:gd name="T47" fmla="*/ 68 h 96"/>
              <a:gd name="T48" fmla="*/ 53 w 80"/>
              <a:gd name="T49" fmla="*/ 71 h 96"/>
              <a:gd name="T50" fmla="*/ 53 w 80"/>
              <a:gd name="T51" fmla="*/ 81 h 96"/>
              <a:gd name="T52" fmla="*/ 40 w 80"/>
              <a:gd name="T53" fmla="*/ 68 h 96"/>
              <a:gd name="T54" fmla="*/ 48 w 80"/>
              <a:gd name="T55" fmla="*/ 76 h 96"/>
              <a:gd name="T56" fmla="*/ 36 w 80"/>
              <a:gd name="T57" fmla="*/ 76 h 96"/>
              <a:gd name="T58" fmla="*/ 40 w 80"/>
              <a:gd name="T59" fmla="*/ 80 h 96"/>
              <a:gd name="T60" fmla="*/ 68 w 80"/>
              <a:gd name="T61" fmla="*/ 31 h 96"/>
              <a:gd name="T62" fmla="*/ 53 w 80"/>
              <a:gd name="T63" fmla="*/ 3 h 96"/>
              <a:gd name="T64" fmla="*/ 43 w 80"/>
              <a:gd name="T65" fmla="*/ 8 h 96"/>
              <a:gd name="T66" fmla="*/ 30 w 80"/>
              <a:gd name="T67" fmla="*/ 1 h 96"/>
              <a:gd name="T68" fmla="*/ 32 w 80"/>
              <a:gd name="T69" fmla="*/ 9 h 96"/>
              <a:gd name="T70" fmla="*/ 14 w 80"/>
              <a:gd name="T71" fmla="*/ 32 h 96"/>
              <a:gd name="T72" fmla="*/ 17 w 80"/>
              <a:gd name="T73" fmla="*/ 28 h 96"/>
              <a:gd name="T74" fmla="*/ 36 w 80"/>
              <a:gd name="T75" fmla="*/ 20 h 96"/>
              <a:gd name="T76" fmla="*/ 32 w 80"/>
              <a:gd name="T77" fmla="*/ 20 h 96"/>
              <a:gd name="T78" fmla="*/ 48 w 80"/>
              <a:gd name="T79" fmla="*/ 24 h 96"/>
              <a:gd name="T80" fmla="*/ 80 w 80"/>
              <a:gd name="T81" fmla="*/ 46 h 96"/>
              <a:gd name="T82" fmla="*/ 76 w 80"/>
              <a:gd name="T83" fmla="*/ 78 h 96"/>
              <a:gd name="T84" fmla="*/ 68 w 80"/>
              <a:gd name="T85" fmla="*/ 40 h 96"/>
              <a:gd name="T86" fmla="*/ 62 w 80"/>
              <a:gd name="T87" fmla="*/ 80 h 96"/>
              <a:gd name="T88" fmla="*/ 64 w 80"/>
              <a:gd name="T89" fmla="*/ 40 h 96"/>
              <a:gd name="T90" fmla="*/ 18 w 80"/>
              <a:gd name="T91" fmla="*/ 76 h 96"/>
              <a:gd name="T92" fmla="*/ 12 w 80"/>
              <a:gd name="T93" fmla="*/ 78 h 96"/>
              <a:gd name="T94" fmla="*/ 4 w 80"/>
              <a:gd name="T95" fmla="*/ 46 h 96"/>
              <a:gd name="T96" fmla="*/ 0 w 80"/>
              <a:gd name="T97" fmla="*/ 78 h 96"/>
              <a:gd name="T98" fmla="*/ 14 w 80"/>
              <a:gd name="T99" fmla="*/ 36 h 96"/>
              <a:gd name="T100" fmla="*/ 80 w 80"/>
              <a:gd name="T101" fmla="*/ 4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0" h="96">
                <a:moveTo>
                  <a:pt x="59" y="80"/>
                </a:moveTo>
                <a:cubicBezTo>
                  <a:pt x="56" y="78"/>
                  <a:pt x="56" y="78"/>
                  <a:pt x="56" y="78"/>
                </a:cubicBezTo>
                <a:cubicBezTo>
                  <a:pt x="56" y="77"/>
                  <a:pt x="56" y="75"/>
                  <a:pt x="56" y="74"/>
                </a:cubicBezTo>
                <a:cubicBezTo>
                  <a:pt x="59" y="72"/>
                  <a:pt x="59" y="72"/>
                  <a:pt x="59" y="72"/>
                </a:cubicBezTo>
                <a:cubicBezTo>
                  <a:pt x="59" y="72"/>
                  <a:pt x="59" y="72"/>
                  <a:pt x="60" y="71"/>
                </a:cubicBezTo>
                <a:cubicBezTo>
                  <a:pt x="60" y="70"/>
                  <a:pt x="60" y="70"/>
                  <a:pt x="59" y="69"/>
                </a:cubicBezTo>
                <a:cubicBezTo>
                  <a:pt x="55" y="63"/>
                  <a:pt x="55" y="63"/>
                  <a:pt x="55" y="63"/>
                </a:cubicBezTo>
                <a:cubicBezTo>
                  <a:pt x="55" y="62"/>
                  <a:pt x="54" y="61"/>
                  <a:pt x="53" y="62"/>
                </a:cubicBezTo>
                <a:cubicBezTo>
                  <a:pt x="50" y="63"/>
                  <a:pt x="50" y="63"/>
                  <a:pt x="50" y="63"/>
                </a:cubicBezTo>
                <a:cubicBezTo>
                  <a:pt x="49" y="63"/>
                  <a:pt x="47" y="62"/>
                  <a:pt x="46" y="61"/>
                </a:cubicBezTo>
                <a:cubicBezTo>
                  <a:pt x="46" y="58"/>
                  <a:pt x="46" y="58"/>
                  <a:pt x="46" y="58"/>
                </a:cubicBezTo>
                <a:cubicBezTo>
                  <a:pt x="46" y="57"/>
                  <a:pt x="45" y="56"/>
                  <a:pt x="44" y="56"/>
                </a:cubicBezTo>
                <a:cubicBezTo>
                  <a:pt x="36" y="56"/>
                  <a:pt x="36" y="56"/>
                  <a:pt x="36" y="56"/>
                </a:cubicBezTo>
                <a:cubicBezTo>
                  <a:pt x="35" y="56"/>
                  <a:pt x="34" y="57"/>
                  <a:pt x="34" y="58"/>
                </a:cubicBezTo>
                <a:cubicBezTo>
                  <a:pt x="34" y="61"/>
                  <a:pt x="34" y="61"/>
                  <a:pt x="34" y="61"/>
                </a:cubicBezTo>
                <a:cubicBezTo>
                  <a:pt x="33" y="62"/>
                  <a:pt x="31" y="63"/>
                  <a:pt x="30" y="63"/>
                </a:cubicBezTo>
                <a:cubicBezTo>
                  <a:pt x="27" y="62"/>
                  <a:pt x="27" y="62"/>
                  <a:pt x="27" y="62"/>
                </a:cubicBezTo>
                <a:cubicBezTo>
                  <a:pt x="26" y="61"/>
                  <a:pt x="25" y="62"/>
                  <a:pt x="25" y="63"/>
                </a:cubicBezTo>
                <a:cubicBezTo>
                  <a:pt x="21" y="69"/>
                  <a:pt x="21" y="69"/>
                  <a:pt x="21" y="69"/>
                </a:cubicBezTo>
                <a:cubicBezTo>
                  <a:pt x="20" y="70"/>
                  <a:pt x="20" y="70"/>
                  <a:pt x="20" y="71"/>
                </a:cubicBezTo>
                <a:cubicBezTo>
                  <a:pt x="21" y="72"/>
                  <a:pt x="21" y="72"/>
                  <a:pt x="21" y="72"/>
                </a:cubicBezTo>
                <a:cubicBezTo>
                  <a:pt x="24" y="74"/>
                  <a:pt x="24" y="74"/>
                  <a:pt x="24" y="74"/>
                </a:cubicBezTo>
                <a:cubicBezTo>
                  <a:pt x="24" y="75"/>
                  <a:pt x="24" y="77"/>
                  <a:pt x="24" y="78"/>
                </a:cubicBezTo>
                <a:cubicBezTo>
                  <a:pt x="21" y="80"/>
                  <a:pt x="21" y="80"/>
                  <a:pt x="21" y="80"/>
                </a:cubicBezTo>
                <a:cubicBezTo>
                  <a:pt x="21" y="80"/>
                  <a:pt x="21" y="81"/>
                  <a:pt x="20" y="81"/>
                </a:cubicBezTo>
                <a:cubicBezTo>
                  <a:pt x="20" y="82"/>
                  <a:pt x="20" y="82"/>
                  <a:pt x="21" y="83"/>
                </a:cubicBezTo>
                <a:cubicBezTo>
                  <a:pt x="25" y="89"/>
                  <a:pt x="25" y="89"/>
                  <a:pt x="25" y="89"/>
                </a:cubicBezTo>
                <a:cubicBezTo>
                  <a:pt x="25" y="90"/>
                  <a:pt x="25" y="90"/>
                  <a:pt x="26" y="90"/>
                </a:cubicBezTo>
                <a:cubicBezTo>
                  <a:pt x="26" y="91"/>
                  <a:pt x="27" y="90"/>
                  <a:pt x="27" y="90"/>
                </a:cubicBezTo>
                <a:cubicBezTo>
                  <a:pt x="30" y="89"/>
                  <a:pt x="30" y="89"/>
                  <a:pt x="30" y="89"/>
                </a:cubicBezTo>
                <a:cubicBezTo>
                  <a:pt x="31" y="89"/>
                  <a:pt x="33" y="90"/>
                  <a:pt x="34" y="91"/>
                </a:cubicBezTo>
                <a:cubicBezTo>
                  <a:pt x="34" y="94"/>
                  <a:pt x="34" y="94"/>
                  <a:pt x="34" y="94"/>
                </a:cubicBezTo>
                <a:cubicBezTo>
                  <a:pt x="34" y="95"/>
                  <a:pt x="35" y="96"/>
                  <a:pt x="36" y="96"/>
                </a:cubicBezTo>
                <a:cubicBezTo>
                  <a:pt x="44" y="96"/>
                  <a:pt x="44" y="96"/>
                  <a:pt x="44" y="96"/>
                </a:cubicBezTo>
                <a:cubicBezTo>
                  <a:pt x="45" y="96"/>
                  <a:pt x="46" y="95"/>
                  <a:pt x="46" y="94"/>
                </a:cubicBezTo>
                <a:cubicBezTo>
                  <a:pt x="46" y="91"/>
                  <a:pt x="46" y="91"/>
                  <a:pt x="46" y="91"/>
                </a:cubicBezTo>
                <a:cubicBezTo>
                  <a:pt x="47" y="90"/>
                  <a:pt x="49" y="89"/>
                  <a:pt x="50" y="89"/>
                </a:cubicBezTo>
                <a:cubicBezTo>
                  <a:pt x="53" y="90"/>
                  <a:pt x="53" y="90"/>
                  <a:pt x="53" y="90"/>
                </a:cubicBezTo>
                <a:cubicBezTo>
                  <a:pt x="53" y="90"/>
                  <a:pt x="54" y="91"/>
                  <a:pt x="54" y="90"/>
                </a:cubicBezTo>
                <a:cubicBezTo>
                  <a:pt x="55" y="90"/>
                  <a:pt x="55" y="90"/>
                  <a:pt x="55" y="89"/>
                </a:cubicBezTo>
                <a:cubicBezTo>
                  <a:pt x="59" y="83"/>
                  <a:pt x="59" y="83"/>
                  <a:pt x="59" y="83"/>
                </a:cubicBezTo>
                <a:cubicBezTo>
                  <a:pt x="60" y="82"/>
                  <a:pt x="60" y="82"/>
                  <a:pt x="60" y="81"/>
                </a:cubicBezTo>
                <a:cubicBezTo>
                  <a:pt x="59" y="81"/>
                  <a:pt x="59" y="80"/>
                  <a:pt x="59" y="80"/>
                </a:cubicBezTo>
                <a:close/>
                <a:moveTo>
                  <a:pt x="53" y="86"/>
                </a:moveTo>
                <a:cubicBezTo>
                  <a:pt x="51" y="84"/>
                  <a:pt x="51" y="84"/>
                  <a:pt x="51" y="84"/>
                </a:cubicBezTo>
                <a:cubicBezTo>
                  <a:pt x="50" y="84"/>
                  <a:pt x="49" y="84"/>
                  <a:pt x="48" y="85"/>
                </a:cubicBezTo>
                <a:cubicBezTo>
                  <a:pt x="47" y="86"/>
                  <a:pt x="45" y="87"/>
                  <a:pt x="43" y="87"/>
                </a:cubicBezTo>
                <a:cubicBezTo>
                  <a:pt x="43" y="88"/>
                  <a:pt x="42" y="88"/>
                  <a:pt x="42" y="89"/>
                </a:cubicBezTo>
                <a:cubicBezTo>
                  <a:pt x="42" y="92"/>
                  <a:pt x="42" y="92"/>
                  <a:pt x="42" y="92"/>
                </a:cubicBezTo>
                <a:cubicBezTo>
                  <a:pt x="38" y="92"/>
                  <a:pt x="38" y="92"/>
                  <a:pt x="38" y="92"/>
                </a:cubicBezTo>
                <a:cubicBezTo>
                  <a:pt x="38" y="89"/>
                  <a:pt x="38" y="89"/>
                  <a:pt x="38" y="89"/>
                </a:cubicBezTo>
                <a:cubicBezTo>
                  <a:pt x="38" y="88"/>
                  <a:pt x="37" y="88"/>
                  <a:pt x="37" y="87"/>
                </a:cubicBezTo>
                <a:cubicBezTo>
                  <a:pt x="35" y="87"/>
                  <a:pt x="33" y="86"/>
                  <a:pt x="32" y="85"/>
                </a:cubicBezTo>
                <a:cubicBezTo>
                  <a:pt x="31" y="84"/>
                  <a:pt x="30" y="84"/>
                  <a:pt x="29" y="84"/>
                </a:cubicBezTo>
                <a:cubicBezTo>
                  <a:pt x="27" y="86"/>
                  <a:pt x="27" y="86"/>
                  <a:pt x="27" y="86"/>
                </a:cubicBezTo>
                <a:cubicBezTo>
                  <a:pt x="25" y="82"/>
                  <a:pt x="25" y="82"/>
                  <a:pt x="25" y="82"/>
                </a:cubicBezTo>
                <a:cubicBezTo>
                  <a:pt x="27" y="81"/>
                  <a:pt x="27" y="81"/>
                  <a:pt x="27" y="81"/>
                </a:cubicBezTo>
                <a:cubicBezTo>
                  <a:pt x="28" y="81"/>
                  <a:pt x="29" y="80"/>
                  <a:pt x="28" y="79"/>
                </a:cubicBezTo>
                <a:cubicBezTo>
                  <a:pt x="28" y="77"/>
                  <a:pt x="28" y="75"/>
                  <a:pt x="28" y="73"/>
                </a:cubicBezTo>
                <a:cubicBezTo>
                  <a:pt x="29" y="72"/>
                  <a:pt x="28" y="71"/>
                  <a:pt x="27" y="71"/>
                </a:cubicBezTo>
                <a:cubicBezTo>
                  <a:pt x="25" y="70"/>
                  <a:pt x="25" y="70"/>
                  <a:pt x="25" y="70"/>
                </a:cubicBezTo>
                <a:cubicBezTo>
                  <a:pt x="27" y="66"/>
                  <a:pt x="27" y="66"/>
                  <a:pt x="27" y="66"/>
                </a:cubicBezTo>
                <a:cubicBezTo>
                  <a:pt x="29" y="68"/>
                  <a:pt x="29" y="68"/>
                  <a:pt x="29" y="68"/>
                </a:cubicBezTo>
                <a:cubicBezTo>
                  <a:pt x="30" y="68"/>
                  <a:pt x="31" y="68"/>
                  <a:pt x="32" y="67"/>
                </a:cubicBezTo>
                <a:cubicBezTo>
                  <a:pt x="33" y="66"/>
                  <a:pt x="35" y="65"/>
                  <a:pt x="37" y="65"/>
                </a:cubicBezTo>
                <a:cubicBezTo>
                  <a:pt x="37" y="64"/>
                  <a:pt x="38" y="64"/>
                  <a:pt x="38" y="63"/>
                </a:cubicBezTo>
                <a:cubicBezTo>
                  <a:pt x="38" y="60"/>
                  <a:pt x="38" y="60"/>
                  <a:pt x="38" y="60"/>
                </a:cubicBezTo>
                <a:cubicBezTo>
                  <a:pt x="42" y="60"/>
                  <a:pt x="42" y="60"/>
                  <a:pt x="42" y="60"/>
                </a:cubicBezTo>
                <a:cubicBezTo>
                  <a:pt x="42" y="63"/>
                  <a:pt x="42" y="63"/>
                  <a:pt x="42" y="63"/>
                </a:cubicBezTo>
                <a:cubicBezTo>
                  <a:pt x="42" y="64"/>
                  <a:pt x="43" y="64"/>
                  <a:pt x="43" y="65"/>
                </a:cubicBezTo>
                <a:cubicBezTo>
                  <a:pt x="45" y="65"/>
                  <a:pt x="47" y="66"/>
                  <a:pt x="48" y="67"/>
                </a:cubicBezTo>
                <a:cubicBezTo>
                  <a:pt x="49" y="68"/>
                  <a:pt x="50" y="68"/>
                  <a:pt x="51" y="68"/>
                </a:cubicBezTo>
                <a:cubicBezTo>
                  <a:pt x="53" y="66"/>
                  <a:pt x="53" y="66"/>
                  <a:pt x="53" y="66"/>
                </a:cubicBezTo>
                <a:cubicBezTo>
                  <a:pt x="55" y="70"/>
                  <a:pt x="55" y="70"/>
                  <a:pt x="55" y="70"/>
                </a:cubicBezTo>
                <a:cubicBezTo>
                  <a:pt x="53" y="71"/>
                  <a:pt x="53" y="71"/>
                  <a:pt x="53" y="71"/>
                </a:cubicBezTo>
                <a:cubicBezTo>
                  <a:pt x="52" y="71"/>
                  <a:pt x="51" y="72"/>
                  <a:pt x="52" y="73"/>
                </a:cubicBezTo>
                <a:cubicBezTo>
                  <a:pt x="52" y="75"/>
                  <a:pt x="52" y="77"/>
                  <a:pt x="52" y="79"/>
                </a:cubicBezTo>
                <a:cubicBezTo>
                  <a:pt x="51" y="80"/>
                  <a:pt x="52" y="81"/>
                  <a:pt x="53" y="81"/>
                </a:cubicBezTo>
                <a:cubicBezTo>
                  <a:pt x="55" y="82"/>
                  <a:pt x="55" y="82"/>
                  <a:pt x="55" y="82"/>
                </a:cubicBezTo>
                <a:lnTo>
                  <a:pt x="53" y="86"/>
                </a:lnTo>
                <a:close/>
                <a:moveTo>
                  <a:pt x="40" y="68"/>
                </a:moveTo>
                <a:cubicBezTo>
                  <a:pt x="36" y="68"/>
                  <a:pt x="32" y="72"/>
                  <a:pt x="32" y="76"/>
                </a:cubicBezTo>
                <a:cubicBezTo>
                  <a:pt x="32" y="80"/>
                  <a:pt x="36" y="84"/>
                  <a:pt x="40" y="84"/>
                </a:cubicBezTo>
                <a:cubicBezTo>
                  <a:pt x="44" y="84"/>
                  <a:pt x="48" y="80"/>
                  <a:pt x="48" y="76"/>
                </a:cubicBezTo>
                <a:cubicBezTo>
                  <a:pt x="48" y="72"/>
                  <a:pt x="44" y="68"/>
                  <a:pt x="40" y="68"/>
                </a:cubicBezTo>
                <a:close/>
                <a:moveTo>
                  <a:pt x="40" y="80"/>
                </a:moveTo>
                <a:cubicBezTo>
                  <a:pt x="38" y="80"/>
                  <a:pt x="36" y="78"/>
                  <a:pt x="36" y="76"/>
                </a:cubicBezTo>
                <a:cubicBezTo>
                  <a:pt x="36" y="74"/>
                  <a:pt x="38" y="72"/>
                  <a:pt x="40" y="72"/>
                </a:cubicBezTo>
                <a:cubicBezTo>
                  <a:pt x="42" y="72"/>
                  <a:pt x="44" y="74"/>
                  <a:pt x="44" y="76"/>
                </a:cubicBezTo>
                <a:cubicBezTo>
                  <a:pt x="44" y="78"/>
                  <a:pt x="42" y="80"/>
                  <a:pt x="40" y="80"/>
                </a:cubicBezTo>
                <a:close/>
                <a:moveTo>
                  <a:pt x="14" y="32"/>
                </a:moveTo>
                <a:cubicBezTo>
                  <a:pt x="66" y="32"/>
                  <a:pt x="66" y="32"/>
                  <a:pt x="66" y="32"/>
                </a:cubicBezTo>
                <a:cubicBezTo>
                  <a:pt x="67" y="32"/>
                  <a:pt x="67" y="32"/>
                  <a:pt x="68" y="31"/>
                </a:cubicBezTo>
                <a:cubicBezTo>
                  <a:pt x="68" y="31"/>
                  <a:pt x="68" y="30"/>
                  <a:pt x="68" y="30"/>
                </a:cubicBezTo>
                <a:cubicBezTo>
                  <a:pt x="66" y="19"/>
                  <a:pt x="58" y="12"/>
                  <a:pt x="48" y="9"/>
                </a:cubicBezTo>
                <a:cubicBezTo>
                  <a:pt x="53" y="3"/>
                  <a:pt x="53" y="3"/>
                  <a:pt x="53" y="3"/>
                </a:cubicBezTo>
                <a:cubicBezTo>
                  <a:pt x="54" y="3"/>
                  <a:pt x="54" y="1"/>
                  <a:pt x="53" y="1"/>
                </a:cubicBezTo>
                <a:cubicBezTo>
                  <a:pt x="52" y="0"/>
                  <a:pt x="51" y="0"/>
                  <a:pt x="50" y="1"/>
                </a:cubicBezTo>
                <a:cubicBezTo>
                  <a:pt x="43" y="8"/>
                  <a:pt x="43" y="8"/>
                  <a:pt x="43" y="8"/>
                </a:cubicBezTo>
                <a:cubicBezTo>
                  <a:pt x="42" y="8"/>
                  <a:pt x="41" y="8"/>
                  <a:pt x="40" y="8"/>
                </a:cubicBezTo>
                <a:cubicBezTo>
                  <a:pt x="39" y="8"/>
                  <a:pt x="38" y="8"/>
                  <a:pt x="37" y="8"/>
                </a:cubicBezTo>
                <a:cubicBezTo>
                  <a:pt x="30" y="1"/>
                  <a:pt x="30" y="1"/>
                  <a:pt x="30" y="1"/>
                </a:cubicBezTo>
                <a:cubicBezTo>
                  <a:pt x="29" y="0"/>
                  <a:pt x="28" y="0"/>
                  <a:pt x="27" y="1"/>
                </a:cubicBezTo>
                <a:cubicBezTo>
                  <a:pt x="26" y="1"/>
                  <a:pt x="26" y="3"/>
                  <a:pt x="27" y="3"/>
                </a:cubicBezTo>
                <a:cubicBezTo>
                  <a:pt x="32" y="9"/>
                  <a:pt x="32" y="9"/>
                  <a:pt x="32" y="9"/>
                </a:cubicBezTo>
                <a:cubicBezTo>
                  <a:pt x="22" y="12"/>
                  <a:pt x="14" y="19"/>
                  <a:pt x="12" y="30"/>
                </a:cubicBezTo>
                <a:cubicBezTo>
                  <a:pt x="12" y="30"/>
                  <a:pt x="12" y="31"/>
                  <a:pt x="12" y="31"/>
                </a:cubicBezTo>
                <a:cubicBezTo>
                  <a:pt x="13" y="32"/>
                  <a:pt x="13" y="32"/>
                  <a:pt x="14" y="32"/>
                </a:cubicBezTo>
                <a:close/>
                <a:moveTo>
                  <a:pt x="40" y="12"/>
                </a:moveTo>
                <a:cubicBezTo>
                  <a:pt x="51" y="12"/>
                  <a:pt x="60" y="18"/>
                  <a:pt x="63" y="28"/>
                </a:cubicBezTo>
                <a:cubicBezTo>
                  <a:pt x="17" y="28"/>
                  <a:pt x="17" y="28"/>
                  <a:pt x="17" y="28"/>
                </a:cubicBezTo>
                <a:cubicBezTo>
                  <a:pt x="20" y="18"/>
                  <a:pt x="29" y="12"/>
                  <a:pt x="40" y="12"/>
                </a:cubicBezTo>
                <a:close/>
                <a:moveTo>
                  <a:pt x="32" y="20"/>
                </a:moveTo>
                <a:cubicBezTo>
                  <a:pt x="36" y="20"/>
                  <a:pt x="36" y="20"/>
                  <a:pt x="36" y="20"/>
                </a:cubicBezTo>
                <a:cubicBezTo>
                  <a:pt x="36" y="24"/>
                  <a:pt x="36" y="24"/>
                  <a:pt x="36" y="24"/>
                </a:cubicBezTo>
                <a:cubicBezTo>
                  <a:pt x="32" y="24"/>
                  <a:pt x="32" y="24"/>
                  <a:pt x="32" y="24"/>
                </a:cubicBezTo>
                <a:lnTo>
                  <a:pt x="32" y="20"/>
                </a:lnTo>
                <a:close/>
                <a:moveTo>
                  <a:pt x="44" y="20"/>
                </a:moveTo>
                <a:cubicBezTo>
                  <a:pt x="48" y="20"/>
                  <a:pt x="48" y="20"/>
                  <a:pt x="48" y="20"/>
                </a:cubicBezTo>
                <a:cubicBezTo>
                  <a:pt x="48" y="24"/>
                  <a:pt x="48" y="24"/>
                  <a:pt x="48" y="24"/>
                </a:cubicBezTo>
                <a:cubicBezTo>
                  <a:pt x="44" y="24"/>
                  <a:pt x="44" y="24"/>
                  <a:pt x="44" y="24"/>
                </a:cubicBezTo>
                <a:lnTo>
                  <a:pt x="44" y="20"/>
                </a:lnTo>
                <a:close/>
                <a:moveTo>
                  <a:pt x="80" y="46"/>
                </a:moveTo>
                <a:cubicBezTo>
                  <a:pt x="80" y="78"/>
                  <a:pt x="80" y="78"/>
                  <a:pt x="80" y="78"/>
                </a:cubicBezTo>
                <a:cubicBezTo>
                  <a:pt x="80" y="79"/>
                  <a:pt x="79" y="80"/>
                  <a:pt x="78" y="80"/>
                </a:cubicBezTo>
                <a:cubicBezTo>
                  <a:pt x="77" y="80"/>
                  <a:pt x="76" y="79"/>
                  <a:pt x="76" y="78"/>
                </a:cubicBezTo>
                <a:cubicBezTo>
                  <a:pt x="76" y="46"/>
                  <a:pt x="76" y="46"/>
                  <a:pt x="76" y="46"/>
                </a:cubicBezTo>
                <a:cubicBezTo>
                  <a:pt x="76" y="44"/>
                  <a:pt x="75" y="40"/>
                  <a:pt x="72" y="40"/>
                </a:cubicBezTo>
                <a:cubicBezTo>
                  <a:pt x="68" y="40"/>
                  <a:pt x="68" y="40"/>
                  <a:pt x="68" y="40"/>
                </a:cubicBezTo>
                <a:cubicBezTo>
                  <a:pt x="68" y="78"/>
                  <a:pt x="68" y="78"/>
                  <a:pt x="68" y="78"/>
                </a:cubicBezTo>
                <a:cubicBezTo>
                  <a:pt x="68" y="79"/>
                  <a:pt x="67" y="80"/>
                  <a:pt x="66" y="80"/>
                </a:cubicBezTo>
                <a:cubicBezTo>
                  <a:pt x="62" y="80"/>
                  <a:pt x="62" y="80"/>
                  <a:pt x="62" y="80"/>
                </a:cubicBezTo>
                <a:cubicBezTo>
                  <a:pt x="62" y="76"/>
                  <a:pt x="62" y="76"/>
                  <a:pt x="62" y="76"/>
                </a:cubicBezTo>
                <a:cubicBezTo>
                  <a:pt x="64" y="76"/>
                  <a:pt x="64" y="76"/>
                  <a:pt x="64" y="76"/>
                </a:cubicBezTo>
                <a:cubicBezTo>
                  <a:pt x="64" y="40"/>
                  <a:pt x="64" y="40"/>
                  <a:pt x="64" y="40"/>
                </a:cubicBezTo>
                <a:cubicBezTo>
                  <a:pt x="16" y="40"/>
                  <a:pt x="16" y="40"/>
                  <a:pt x="16" y="40"/>
                </a:cubicBezTo>
                <a:cubicBezTo>
                  <a:pt x="16" y="76"/>
                  <a:pt x="16" y="76"/>
                  <a:pt x="16" y="76"/>
                </a:cubicBezTo>
                <a:cubicBezTo>
                  <a:pt x="18" y="76"/>
                  <a:pt x="18" y="76"/>
                  <a:pt x="18" y="76"/>
                </a:cubicBezTo>
                <a:cubicBezTo>
                  <a:pt x="18" y="80"/>
                  <a:pt x="18" y="80"/>
                  <a:pt x="18" y="80"/>
                </a:cubicBezTo>
                <a:cubicBezTo>
                  <a:pt x="14" y="80"/>
                  <a:pt x="14" y="80"/>
                  <a:pt x="14" y="80"/>
                </a:cubicBezTo>
                <a:cubicBezTo>
                  <a:pt x="13" y="80"/>
                  <a:pt x="12" y="79"/>
                  <a:pt x="12" y="78"/>
                </a:cubicBezTo>
                <a:cubicBezTo>
                  <a:pt x="12" y="40"/>
                  <a:pt x="12" y="40"/>
                  <a:pt x="12" y="40"/>
                </a:cubicBezTo>
                <a:cubicBezTo>
                  <a:pt x="8" y="40"/>
                  <a:pt x="8" y="40"/>
                  <a:pt x="8" y="40"/>
                </a:cubicBezTo>
                <a:cubicBezTo>
                  <a:pt x="5" y="40"/>
                  <a:pt x="4" y="44"/>
                  <a:pt x="4" y="46"/>
                </a:cubicBezTo>
                <a:cubicBezTo>
                  <a:pt x="4" y="78"/>
                  <a:pt x="4" y="78"/>
                  <a:pt x="4" y="78"/>
                </a:cubicBezTo>
                <a:cubicBezTo>
                  <a:pt x="4" y="79"/>
                  <a:pt x="3" y="80"/>
                  <a:pt x="2" y="80"/>
                </a:cubicBezTo>
                <a:cubicBezTo>
                  <a:pt x="1" y="80"/>
                  <a:pt x="0" y="79"/>
                  <a:pt x="0" y="78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41"/>
                  <a:pt x="3" y="36"/>
                  <a:pt x="8" y="36"/>
                </a:cubicBezTo>
                <a:cubicBezTo>
                  <a:pt x="14" y="36"/>
                  <a:pt x="14" y="36"/>
                  <a:pt x="14" y="36"/>
                </a:cubicBezTo>
                <a:cubicBezTo>
                  <a:pt x="66" y="36"/>
                  <a:pt x="66" y="36"/>
                  <a:pt x="66" y="36"/>
                </a:cubicBezTo>
                <a:cubicBezTo>
                  <a:pt x="72" y="36"/>
                  <a:pt x="72" y="36"/>
                  <a:pt x="72" y="36"/>
                </a:cubicBezTo>
                <a:cubicBezTo>
                  <a:pt x="77" y="36"/>
                  <a:pt x="80" y="41"/>
                  <a:pt x="80" y="46"/>
                </a:cubicBezTo>
                <a:close/>
              </a:path>
            </a:pathLst>
          </a:custGeom>
          <a:solidFill>
            <a:srgbClr val="DCA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cs typeface="Arial" charset="0"/>
            </a:endParaRPr>
          </a:p>
        </p:txBody>
      </p:sp>
      <p:grpSp>
        <p:nvGrpSpPr>
          <p:cNvPr id="90" name="Group 72">
            <a:extLst>
              <a:ext uri="{FF2B5EF4-FFF2-40B4-BE49-F238E27FC236}">
                <a16:creationId xmlns:a16="http://schemas.microsoft.com/office/drawing/2014/main" id="{55EB581C-41A2-4DEB-5D34-36260665DA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46764" y="4353597"/>
            <a:ext cx="338850" cy="453570"/>
            <a:chOff x="3489" y="1716"/>
            <a:chExt cx="319" cy="427"/>
          </a:xfrm>
          <a:solidFill>
            <a:srgbClr val="DCAFFF"/>
          </a:solidFill>
        </p:grpSpPr>
        <p:sp>
          <p:nvSpPr>
            <p:cNvPr id="91" name="Freeform 73">
              <a:extLst>
                <a:ext uri="{FF2B5EF4-FFF2-40B4-BE49-F238E27FC236}">
                  <a16:creationId xmlns:a16="http://schemas.microsoft.com/office/drawing/2014/main" id="{FAF56D2E-68FC-2CA0-C103-18575923C5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716"/>
              <a:ext cx="319" cy="196"/>
            </a:xfrm>
            <a:custGeom>
              <a:avLst/>
              <a:gdLst>
                <a:gd name="T0" fmla="*/ 41 w 216"/>
                <a:gd name="T1" fmla="*/ 132 h 132"/>
                <a:gd name="T2" fmla="*/ 10 w 216"/>
                <a:gd name="T3" fmla="*/ 120 h 132"/>
                <a:gd name="T4" fmla="*/ 0 w 216"/>
                <a:gd name="T5" fmla="*/ 94 h 132"/>
                <a:gd name="T6" fmla="*/ 14 w 216"/>
                <a:gd name="T7" fmla="*/ 65 h 132"/>
                <a:gd name="T8" fmla="*/ 41 w 216"/>
                <a:gd name="T9" fmla="*/ 56 h 132"/>
                <a:gd name="T10" fmla="*/ 108 w 216"/>
                <a:gd name="T11" fmla="*/ 0 h 132"/>
                <a:gd name="T12" fmla="*/ 168 w 216"/>
                <a:gd name="T13" fmla="*/ 34 h 132"/>
                <a:gd name="T14" fmla="*/ 201 w 216"/>
                <a:gd name="T15" fmla="*/ 49 h 132"/>
                <a:gd name="T16" fmla="*/ 216 w 216"/>
                <a:gd name="T17" fmla="*/ 83 h 132"/>
                <a:gd name="T18" fmla="*/ 171 w 216"/>
                <a:gd name="T19" fmla="*/ 132 h 132"/>
                <a:gd name="T20" fmla="*/ 170 w 216"/>
                <a:gd name="T21" fmla="*/ 132 h 132"/>
                <a:gd name="T22" fmla="*/ 41 w 216"/>
                <a:gd name="T23" fmla="*/ 132 h 132"/>
                <a:gd name="T24" fmla="*/ 41 w 216"/>
                <a:gd name="T25" fmla="*/ 132 h 132"/>
                <a:gd name="T26" fmla="*/ 39 w 216"/>
                <a:gd name="T27" fmla="*/ 68 h 132"/>
                <a:gd name="T28" fmla="*/ 21 w 216"/>
                <a:gd name="T29" fmla="*/ 74 h 132"/>
                <a:gd name="T30" fmla="*/ 12 w 216"/>
                <a:gd name="T31" fmla="*/ 94 h 132"/>
                <a:gd name="T32" fmla="*/ 18 w 216"/>
                <a:gd name="T33" fmla="*/ 112 h 132"/>
                <a:gd name="T34" fmla="*/ 41 w 216"/>
                <a:gd name="T35" fmla="*/ 120 h 132"/>
                <a:gd name="T36" fmla="*/ 170 w 216"/>
                <a:gd name="T37" fmla="*/ 120 h 132"/>
                <a:gd name="T38" fmla="*/ 204 w 216"/>
                <a:gd name="T39" fmla="*/ 83 h 132"/>
                <a:gd name="T40" fmla="*/ 193 w 216"/>
                <a:gd name="T41" fmla="*/ 57 h 132"/>
                <a:gd name="T42" fmla="*/ 164 w 216"/>
                <a:gd name="T43" fmla="*/ 46 h 132"/>
                <a:gd name="T44" fmla="*/ 159 w 216"/>
                <a:gd name="T45" fmla="*/ 43 h 132"/>
                <a:gd name="T46" fmla="*/ 108 w 216"/>
                <a:gd name="T47" fmla="*/ 12 h 132"/>
                <a:gd name="T48" fmla="*/ 52 w 216"/>
                <a:gd name="T49" fmla="*/ 63 h 132"/>
                <a:gd name="T50" fmla="*/ 50 w 216"/>
                <a:gd name="T51" fmla="*/ 67 h 132"/>
                <a:gd name="T52" fmla="*/ 45 w 216"/>
                <a:gd name="T53" fmla="*/ 68 h 132"/>
                <a:gd name="T54" fmla="*/ 39 w 216"/>
                <a:gd name="T55" fmla="*/ 6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16" h="132">
                  <a:moveTo>
                    <a:pt x="41" y="132"/>
                  </a:moveTo>
                  <a:cubicBezTo>
                    <a:pt x="39" y="132"/>
                    <a:pt x="22" y="132"/>
                    <a:pt x="10" y="120"/>
                  </a:cubicBezTo>
                  <a:cubicBezTo>
                    <a:pt x="3" y="114"/>
                    <a:pt x="0" y="105"/>
                    <a:pt x="0" y="94"/>
                  </a:cubicBezTo>
                  <a:cubicBezTo>
                    <a:pt x="0" y="83"/>
                    <a:pt x="5" y="72"/>
                    <a:pt x="14" y="65"/>
                  </a:cubicBezTo>
                  <a:cubicBezTo>
                    <a:pt x="21" y="59"/>
                    <a:pt x="31" y="55"/>
                    <a:pt x="41" y="56"/>
                  </a:cubicBezTo>
                  <a:cubicBezTo>
                    <a:pt x="46" y="24"/>
                    <a:pt x="74" y="0"/>
                    <a:pt x="108" y="0"/>
                  </a:cubicBezTo>
                  <a:cubicBezTo>
                    <a:pt x="133" y="0"/>
                    <a:pt x="156" y="13"/>
                    <a:pt x="168" y="34"/>
                  </a:cubicBezTo>
                  <a:cubicBezTo>
                    <a:pt x="180" y="35"/>
                    <a:pt x="192" y="40"/>
                    <a:pt x="201" y="49"/>
                  </a:cubicBezTo>
                  <a:cubicBezTo>
                    <a:pt x="211" y="58"/>
                    <a:pt x="216" y="70"/>
                    <a:pt x="216" y="83"/>
                  </a:cubicBezTo>
                  <a:cubicBezTo>
                    <a:pt x="216" y="117"/>
                    <a:pt x="186" y="130"/>
                    <a:pt x="171" y="132"/>
                  </a:cubicBezTo>
                  <a:cubicBezTo>
                    <a:pt x="170" y="132"/>
                    <a:pt x="170" y="132"/>
                    <a:pt x="170" y="132"/>
                  </a:cubicBezTo>
                  <a:cubicBezTo>
                    <a:pt x="41" y="132"/>
                    <a:pt x="41" y="132"/>
                    <a:pt x="41" y="132"/>
                  </a:cubicBezTo>
                  <a:cubicBezTo>
                    <a:pt x="41" y="132"/>
                    <a:pt x="41" y="132"/>
                    <a:pt x="41" y="132"/>
                  </a:cubicBezTo>
                  <a:close/>
                  <a:moveTo>
                    <a:pt x="39" y="68"/>
                  </a:moveTo>
                  <a:cubicBezTo>
                    <a:pt x="33" y="68"/>
                    <a:pt x="26" y="70"/>
                    <a:pt x="21" y="74"/>
                  </a:cubicBezTo>
                  <a:cubicBezTo>
                    <a:pt x="15" y="79"/>
                    <a:pt x="12" y="86"/>
                    <a:pt x="12" y="94"/>
                  </a:cubicBezTo>
                  <a:cubicBezTo>
                    <a:pt x="12" y="101"/>
                    <a:pt x="14" y="107"/>
                    <a:pt x="18" y="112"/>
                  </a:cubicBezTo>
                  <a:cubicBezTo>
                    <a:pt x="27" y="120"/>
                    <a:pt x="41" y="120"/>
                    <a:pt x="41" y="120"/>
                  </a:cubicBezTo>
                  <a:cubicBezTo>
                    <a:pt x="170" y="120"/>
                    <a:pt x="170" y="120"/>
                    <a:pt x="170" y="120"/>
                  </a:cubicBezTo>
                  <a:cubicBezTo>
                    <a:pt x="173" y="119"/>
                    <a:pt x="204" y="114"/>
                    <a:pt x="204" y="83"/>
                  </a:cubicBezTo>
                  <a:cubicBezTo>
                    <a:pt x="204" y="73"/>
                    <a:pt x="200" y="64"/>
                    <a:pt x="193" y="57"/>
                  </a:cubicBezTo>
                  <a:cubicBezTo>
                    <a:pt x="185" y="50"/>
                    <a:pt x="175" y="46"/>
                    <a:pt x="164" y="46"/>
                  </a:cubicBezTo>
                  <a:cubicBezTo>
                    <a:pt x="162" y="46"/>
                    <a:pt x="160" y="45"/>
                    <a:pt x="159" y="43"/>
                  </a:cubicBezTo>
                  <a:cubicBezTo>
                    <a:pt x="149" y="24"/>
                    <a:pt x="129" y="12"/>
                    <a:pt x="108" y="12"/>
                  </a:cubicBezTo>
                  <a:cubicBezTo>
                    <a:pt x="78" y="12"/>
                    <a:pt x="54" y="34"/>
                    <a:pt x="52" y="63"/>
                  </a:cubicBezTo>
                  <a:cubicBezTo>
                    <a:pt x="52" y="65"/>
                    <a:pt x="51" y="66"/>
                    <a:pt x="50" y="67"/>
                  </a:cubicBezTo>
                  <a:cubicBezTo>
                    <a:pt x="48" y="68"/>
                    <a:pt x="46" y="69"/>
                    <a:pt x="45" y="68"/>
                  </a:cubicBezTo>
                  <a:cubicBezTo>
                    <a:pt x="43" y="68"/>
                    <a:pt x="41" y="68"/>
                    <a:pt x="39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92" name="Freeform 74">
              <a:extLst>
                <a:ext uri="{FF2B5EF4-FFF2-40B4-BE49-F238E27FC236}">
                  <a16:creationId xmlns:a16="http://schemas.microsoft.com/office/drawing/2014/main" id="{47EC8D43-1C48-63B7-8747-1FF0B39E58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947"/>
              <a:ext cx="319" cy="107"/>
            </a:xfrm>
            <a:custGeom>
              <a:avLst/>
              <a:gdLst>
                <a:gd name="T0" fmla="*/ 210 w 216"/>
                <a:gd name="T1" fmla="*/ 72 h 72"/>
                <a:gd name="T2" fmla="*/ 6 w 216"/>
                <a:gd name="T3" fmla="*/ 72 h 72"/>
                <a:gd name="T4" fmla="*/ 0 w 216"/>
                <a:gd name="T5" fmla="*/ 66 h 72"/>
                <a:gd name="T6" fmla="*/ 0 w 216"/>
                <a:gd name="T7" fmla="*/ 6 h 72"/>
                <a:gd name="T8" fmla="*/ 6 w 216"/>
                <a:gd name="T9" fmla="*/ 0 h 72"/>
                <a:gd name="T10" fmla="*/ 210 w 216"/>
                <a:gd name="T11" fmla="*/ 0 h 72"/>
                <a:gd name="T12" fmla="*/ 216 w 216"/>
                <a:gd name="T13" fmla="*/ 6 h 72"/>
                <a:gd name="T14" fmla="*/ 216 w 216"/>
                <a:gd name="T15" fmla="*/ 66 h 72"/>
                <a:gd name="T16" fmla="*/ 210 w 216"/>
                <a:gd name="T17" fmla="*/ 72 h 72"/>
                <a:gd name="T18" fmla="*/ 12 w 216"/>
                <a:gd name="T19" fmla="*/ 60 h 72"/>
                <a:gd name="T20" fmla="*/ 204 w 216"/>
                <a:gd name="T21" fmla="*/ 60 h 72"/>
                <a:gd name="T22" fmla="*/ 204 w 216"/>
                <a:gd name="T23" fmla="*/ 12 h 72"/>
                <a:gd name="T24" fmla="*/ 12 w 216"/>
                <a:gd name="T25" fmla="*/ 12 h 72"/>
                <a:gd name="T26" fmla="*/ 12 w 216"/>
                <a:gd name="T2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6" h="72">
                  <a:moveTo>
                    <a:pt x="210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3" y="0"/>
                    <a:pt x="216" y="3"/>
                    <a:pt x="216" y="6"/>
                  </a:cubicBezTo>
                  <a:cubicBezTo>
                    <a:pt x="216" y="66"/>
                    <a:pt x="216" y="66"/>
                    <a:pt x="216" y="66"/>
                  </a:cubicBezTo>
                  <a:cubicBezTo>
                    <a:pt x="216" y="69"/>
                    <a:pt x="213" y="72"/>
                    <a:pt x="210" y="72"/>
                  </a:cubicBezTo>
                  <a:close/>
                  <a:moveTo>
                    <a:pt x="12" y="60"/>
                  </a:moveTo>
                  <a:cubicBezTo>
                    <a:pt x="204" y="60"/>
                    <a:pt x="204" y="60"/>
                    <a:pt x="204" y="60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93" name="Freeform 75">
              <a:extLst>
                <a:ext uri="{FF2B5EF4-FFF2-40B4-BE49-F238E27FC236}">
                  <a16:creationId xmlns:a16="http://schemas.microsoft.com/office/drawing/2014/main" id="{BF16AFF0-E0BB-6208-B93F-4127B87559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2036"/>
              <a:ext cx="319" cy="107"/>
            </a:xfrm>
            <a:custGeom>
              <a:avLst/>
              <a:gdLst>
                <a:gd name="T0" fmla="*/ 210 w 216"/>
                <a:gd name="T1" fmla="*/ 72 h 72"/>
                <a:gd name="T2" fmla="*/ 6 w 216"/>
                <a:gd name="T3" fmla="*/ 72 h 72"/>
                <a:gd name="T4" fmla="*/ 0 w 216"/>
                <a:gd name="T5" fmla="*/ 66 h 72"/>
                <a:gd name="T6" fmla="*/ 0 w 216"/>
                <a:gd name="T7" fmla="*/ 6 h 72"/>
                <a:gd name="T8" fmla="*/ 6 w 216"/>
                <a:gd name="T9" fmla="*/ 0 h 72"/>
                <a:gd name="T10" fmla="*/ 210 w 216"/>
                <a:gd name="T11" fmla="*/ 0 h 72"/>
                <a:gd name="T12" fmla="*/ 216 w 216"/>
                <a:gd name="T13" fmla="*/ 6 h 72"/>
                <a:gd name="T14" fmla="*/ 216 w 216"/>
                <a:gd name="T15" fmla="*/ 66 h 72"/>
                <a:gd name="T16" fmla="*/ 210 w 216"/>
                <a:gd name="T17" fmla="*/ 72 h 72"/>
                <a:gd name="T18" fmla="*/ 12 w 216"/>
                <a:gd name="T19" fmla="*/ 60 h 72"/>
                <a:gd name="T20" fmla="*/ 204 w 216"/>
                <a:gd name="T21" fmla="*/ 60 h 72"/>
                <a:gd name="T22" fmla="*/ 204 w 216"/>
                <a:gd name="T23" fmla="*/ 12 h 72"/>
                <a:gd name="T24" fmla="*/ 12 w 216"/>
                <a:gd name="T25" fmla="*/ 12 h 72"/>
                <a:gd name="T26" fmla="*/ 12 w 216"/>
                <a:gd name="T2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6" h="72">
                  <a:moveTo>
                    <a:pt x="210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3" y="0"/>
                    <a:pt x="216" y="3"/>
                    <a:pt x="216" y="6"/>
                  </a:cubicBezTo>
                  <a:cubicBezTo>
                    <a:pt x="216" y="66"/>
                    <a:pt x="216" y="66"/>
                    <a:pt x="216" y="66"/>
                  </a:cubicBezTo>
                  <a:cubicBezTo>
                    <a:pt x="216" y="69"/>
                    <a:pt x="213" y="72"/>
                    <a:pt x="210" y="72"/>
                  </a:cubicBezTo>
                  <a:close/>
                  <a:moveTo>
                    <a:pt x="12" y="60"/>
                  </a:moveTo>
                  <a:cubicBezTo>
                    <a:pt x="204" y="60"/>
                    <a:pt x="204" y="60"/>
                    <a:pt x="204" y="60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94" name="Freeform 76">
              <a:extLst>
                <a:ext uri="{FF2B5EF4-FFF2-40B4-BE49-F238E27FC236}">
                  <a16:creationId xmlns:a16="http://schemas.microsoft.com/office/drawing/2014/main" id="{498023E4-B9B6-9F1E-43D8-3BE08D3276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3" y="1974"/>
              <a:ext cx="53" cy="53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21"/>
                    <a:pt x="15" y="24"/>
                    <a:pt x="18" y="24"/>
                  </a:cubicBezTo>
                  <a:cubicBezTo>
                    <a:pt x="21" y="24"/>
                    <a:pt x="24" y="21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95" name="Oval 77">
              <a:extLst>
                <a:ext uri="{FF2B5EF4-FFF2-40B4-BE49-F238E27FC236}">
                  <a16:creationId xmlns:a16="http://schemas.microsoft.com/office/drawing/2014/main" id="{A11C06E0-CEFC-221A-6612-020A3CD7B0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0" y="1983"/>
              <a:ext cx="35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96" name="Oval 78">
              <a:extLst>
                <a:ext uri="{FF2B5EF4-FFF2-40B4-BE49-F238E27FC236}">
                  <a16:creationId xmlns:a16="http://schemas.microsoft.com/office/drawing/2014/main" id="{953E3E9E-DCB3-72E8-7C62-F35C8FB41D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6" y="1983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97" name="Freeform 79">
              <a:extLst>
                <a:ext uri="{FF2B5EF4-FFF2-40B4-BE49-F238E27FC236}">
                  <a16:creationId xmlns:a16="http://schemas.microsoft.com/office/drawing/2014/main" id="{34AC843D-E402-2E62-4EB1-0D14875CC2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3" y="2063"/>
              <a:ext cx="53" cy="53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21"/>
                    <a:pt x="15" y="24"/>
                    <a:pt x="18" y="24"/>
                  </a:cubicBezTo>
                  <a:cubicBezTo>
                    <a:pt x="21" y="24"/>
                    <a:pt x="24" y="21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98" name="Oval 80">
              <a:extLst>
                <a:ext uri="{FF2B5EF4-FFF2-40B4-BE49-F238E27FC236}">
                  <a16:creationId xmlns:a16="http://schemas.microsoft.com/office/drawing/2014/main" id="{BD09E357-00B5-E15A-6680-2CF3F2175A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0" y="2072"/>
              <a:ext cx="35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99" name="Oval 81">
              <a:extLst>
                <a:ext uri="{FF2B5EF4-FFF2-40B4-BE49-F238E27FC236}">
                  <a16:creationId xmlns:a16="http://schemas.microsoft.com/office/drawing/2014/main" id="{C507591F-6737-0ECE-8D86-66F51BDCC5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6" y="2072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</p:grpSp>
      <p:grpSp>
        <p:nvGrpSpPr>
          <p:cNvPr id="67" name="Group 119">
            <a:extLst>
              <a:ext uri="{FF2B5EF4-FFF2-40B4-BE49-F238E27FC236}">
                <a16:creationId xmlns:a16="http://schemas.microsoft.com/office/drawing/2014/main" id="{A7A51914-AF92-0B2C-C86A-FBBB0D369E7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476564" y="244895"/>
            <a:ext cx="413911" cy="478372"/>
            <a:chOff x="4501" y="1723"/>
            <a:chExt cx="366" cy="423"/>
          </a:xfrm>
          <a:solidFill>
            <a:srgbClr val="DCAFFF"/>
          </a:solidFill>
        </p:grpSpPr>
        <p:sp>
          <p:nvSpPr>
            <p:cNvPr id="68" name="Freeform 120">
              <a:extLst>
                <a:ext uri="{FF2B5EF4-FFF2-40B4-BE49-F238E27FC236}">
                  <a16:creationId xmlns:a16="http://schemas.microsoft.com/office/drawing/2014/main" id="{28DBF799-B1B6-81E6-7CD7-A67DD51B52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7" y="1859"/>
              <a:ext cx="84" cy="83"/>
            </a:xfrm>
            <a:custGeom>
              <a:avLst/>
              <a:gdLst>
                <a:gd name="T0" fmla="*/ 5 w 57"/>
                <a:gd name="T1" fmla="*/ 0 h 56"/>
                <a:gd name="T2" fmla="*/ 4 w 57"/>
                <a:gd name="T3" fmla="*/ 0 h 56"/>
                <a:gd name="T4" fmla="*/ 3 w 57"/>
                <a:gd name="T5" fmla="*/ 0 h 56"/>
                <a:gd name="T6" fmla="*/ 3 w 57"/>
                <a:gd name="T7" fmla="*/ 0 h 56"/>
                <a:gd name="T8" fmla="*/ 2 w 57"/>
                <a:gd name="T9" fmla="*/ 0 h 56"/>
                <a:gd name="T10" fmla="*/ 2 w 57"/>
                <a:gd name="T11" fmla="*/ 1 h 56"/>
                <a:gd name="T12" fmla="*/ 1 w 57"/>
                <a:gd name="T13" fmla="*/ 2 h 56"/>
                <a:gd name="T14" fmla="*/ 1 w 57"/>
                <a:gd name="T15" fmla="*/ 2 h 56"/>
                <a:gd name="T16" fmla="*/ 0 w 57"/>
                <a:gd name="T17" fmla="*/ 3 h 56"/>
                <a:gd name="T18" fmla="*/ 0 w 57"/>
                <a:gd name="T19" fmla="*/ 3 h 56"/>
                <a:gd name="T20" fmla="*/ 0 w 57"/>
                <a:gd name="T21" fmla="*/ 4 h 56"/>
                <a:gd name="T22" fmla="*/ 0 w 57"/>
                <a:gd name="T23" fmla="*/ 4 h 56"/>
                <a:gd name="T24" fmla="*/ 0 w 57"/>
                <a:gd name="T25" fmla="*/ 4 h 56"/>
                <a:gd name="T26" fmla="*/ 0 w 57"/>
                <a:gd name="T27" fmla="*/ 28 h 56"/>
                <a:gd name="T28" fmla="*/ 5 w 57"/>
                <a:gd name="T29" fmla="*/ 33 h 56"/>
                <a:gd name="T30" fmla="*/ 9 w 57"/>
                <a:gd name="T31" fmla="*/ 28 h 56"/>
                <a:gd name="T32" fmla="*/ 9 w 57"/>
                <a:gd name="T33" fmla="*/ 16 h 56"/>
                <a:gd name="T34" fmla="*/ 48 w 57"/>
                <a:gd name="T35" fmla="*/ 55 h 56"/>
                <a:gd name="T36" fmla="*/ 51 w 57"/>
                <a:gd name="T37" fmla="*/ 56 h 56"/>
                <a:gd name="T38" fmla="*/ 55 w 57"/>
                <a:gd name="T39" fmla="*/ 55 h 56"/>
                <a:gd name="T40" fmla="*/ 55 w 57"/>
                <a:gd name="T41" fmla="*/ 48 h 56"/>
                <a:gd name="T42" fmla="*/ 16 w 57"/>
                <a:gd name="T43" fmla="*/ 9 h 56"/>
                <a:gd name="T44" fmla="*/ 28 w 57"/>
                <a:gd name="T45" fmla="*/ 9 h 56"/>
                <a:gd name="T46" fmla="*/ 33 w 57"/>
                <a:gd name="T47" fmla="*/ 4 h 56"/>
                <a:gd name="T48" fmla="*/ 28 w 57"/>
                <a:gd name="T49" fmla="*/ 0 h 56"/>
                <a:gd name="T50" fmla="*/ 5 w 57"/>
                <a:gd name="T51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7" h="56">
                  <a:moveTo>
                    <a:pt x="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1"/>
                    <a:pt x="2" y="33"/>
                    <a:pt x="5" y="33"/>
                  </a:cubicBezTo>
                  <a:cubicBezTo>
                    <a:pt x="7" y="33"/>
                    <a:pt x="9" y="31"/>
                    <a:pt x="9" y="28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9" y="56"/>
                    <a:pt x="50" y="56"/>
                    <a:pt x="51" y="56"/>
                  </a:cubicBezTo>
                  <a:cubicBezTo>
                    <a:pt x="53" y="56"/>
                    <a:pt x="54" y="56"/>
                    <a:pt x="55" y="55"/>
                  </a:cubicBezTo>
                  <a:cubicBezTo>
                    <a:pt x="57" y="53"/>
                    <a:pt x="57" y="50"/>
                    <a:pt x="55" y="48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31" y="9"/>
                    <a:pt x="33" y="7"/>
                    <a:pt x="33" y="4"/>
                  </a:cubicBezTo>
                  <a:cubicBezTo>
                    <a:pt x="33" y="2"/>
                    <a:pt x="31" y="0"/>
                    <a:pt x="28" y="0"/>
                  </a:cubicBez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69" name="Freeform 121">
              <a:extLst>
                <a:ext uri="{FF2B5EF4-FFF2-40B4-BE49-F238E27FC236}">
                  <a16:creationId xmlns:a16="http://schemas.microsoft.com/office/drawing/2014/main" id="{D859DA72-3C2F-E0A4-2A47-7234B119C0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2" y="1859"/>
              <a:ext cx="85" cy="83"/>
            </a:xfrm>
            <a:custGeom>
              <a:avLst/>
              <a:gdLst>
                <a:gd name="T0" fmla="*/ 57 w 57"/>
                <a:gd name="T1" fmla="*/ 4 h 56"/>
                <a:gd name="T2" fmla="*/ 57 w 57"/>
                <a:gd name="T3" fmla="*/ 3 h 56"/>
                <a:gd name="T4" fmla="*/ 56 w 57"/>
                <a:gd name="T5" fmla="*/ 3 h 56"/>
                <a:gd name="T6" fmla="*/ 56 w 57"/>
                <a:gd name="T7" fmla="*/ 2 h 56"/>
                <a:gd name="T8" fmla="*/ 56 w 57"/>
                <a:gd name="T9" fmla="*/ 2 h 56"/>
                <a:gd name="T10" fmla="*/ 55 w 57"/>
                <a:gd name="T11" fmla="*/ 1 h 56"/>
                <a:gd name="T12" fmla="*/ 54 w 57"/>
                <a:gd name="T13" fmla="*/ 0 h 56"/>
                <a:gd name="T14" fmla="*/ 54 w 57"/>
                <a:gd name="T15" fmla="*/ 0 h 56"/>
                <a:gd name="T16" fmla="*/ 53 w 57"/>
                <a:gd name="T17" fmla="*/ 0 h 56"/>
                <a:gd name="T18" fmla="*/ 53 w 57"/>
                <a:gd name="T19" fmla="*/ 0 h 56"/>
                <a:gd name="T20" fmla="*/ 52 w 57"/>
                <a:gd name="T21" fmla="*/ 0 h 56"/>
                <a:gd name="T22" fmla="*/ 52 w 57"/>
                <a:gd name="T23" fmla="*/ 0 h 56"/>
                <a:gd name="T24" fmla="*/ 29 w 57"/>
                <a:gd name="T25" fmla="*/ 0 h 56"/>
                <a:gd name="T26" fmla="*/ 24 w 57"/>
                <a:gd name="T27" fmla="*/ 4 h 56"/>
                <a:gd name="T28" fmla="*/ 29 w 57"/>
                <a:gd name="T29" fmla="*/ 9 h 56"/>
                <a:gd name="T30" fmla="*/ 41 w 57"/>
                <a:gd name="T31" fmla="*/ 9 h 56"/>
                <a:gd name="T32" fmla="*/ 2 w 57"/>
                <a:gd name="T33" fmla="*/ 48 h 56"/>
                <a:gd name="T34" fmla="*/ 2 w 57"/>
                <a:gd name="T35" fmla="*/ 55 h 56"/>
                <a:gd name="T36" fmla="*/ 5 w 57"/>
                <a:gd name="T37" fmla="*/ 56 h 56"/>
                <a:gd name="T38" fmla="*/ 9 w 57"/>
                <a:gd name="T39" fmla="*/ 55 h 56"/>
                <a:gd name="T40" fmla="*/ 47 w 57"/>
                <a:gd name="T41" fmla="*/ 16 h 56"/>
                <a:gd name="T42" fmla="*/ 47 w 57"/>
                <a:gd name="T43" fmla="*/ 28 h 56"/>
                <a:gd name="T44" fmla="*/ 52 w 57"/>
                <a:gd name="T45" fmla="*/ 33 h 56"/>
                <a:gd name="T46" fmla="*/ 57 w 57"/>
                <a:gd name="T47" fmla="*/ 28 h 56"/>
                <a:gd name="T48" fmla="*/ 57 w 57"/>
                <a:gd name="T49" fmla="*/ 4 h 56"/>
                <a:gd name="T50" fmla="*/ 57 w 57"/>
                <a:gd name="T51" fmla="*/ 4 h 56"/>
                <a:gd name="T52" fmla="*/ 57 w 57"/>
                <a:gd name="T53" fmla="*/ 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7" h="56">
                  <a:moveTo>
                    <a:pt x="57" y="4"/>
                  </a:moveTo>
                  <a:cubicBezTo>
                    <a:pt x="57" y="3"/>
                    <a:pt x="57" y="3"/>
                    <a:pt x="57" y="3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1"/>
                    <a:pt x="55" y="1"/>
                    <a:pt x="55" y="1"/>
                  </a:cubicBezTo>
                  <a:cubicBezTo>
                    <a:pt x="55" y="1"/>
                    <a:pt x="5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4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3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6" y="0"/>
                    <a:pt x="24" y="2"/>
                    <a:pt x="24" y="4"/>
                  </a:cubicBezTo>
                  <a:cubicBezTo>
                    <a:pt x="24" y="7"/>
                    <a:pt x="26" y="9"/>
                    <a:pt x="29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0" y="50"/>
                    <a:pt x="0" y="53"/>
                    <a:pt x="2" y="55"/>
                  </a:cubicBezTo>
                  <a:cubicBezTo>
                    <a:pt x="3" y="56"/>
                    <a:pt x="4" y="56"/>
                    <a:pt x="5" y="56"/>
                  </a:cubicBezTo>
                  <a:cubicBezTo>
                    <a:pt x="7" y="56"/>
                    <a:pt x="8" y="56"/>
                    <a:pt x="9" y="55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31"/>
                    <a:pt x="49" y="33"/>
                    <a:pt x="52" y="33"/>
                  </a:cubicBezTo>
                  <a:cubicBezTo>
                    <a:pt x="55" y="33"/>
                    <a:pt x="57" y="31"/>
                    <a:pt x="57" y="28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7" y="4"/>
                    <a:pt x="57" y="4"/>
                    <a:pt x="5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70" name="Freeform 122">
              <a:extLst>
                <a:ext uri="{FF2B5EF4-FFF2-40B4-BE49-F238E27FC236}">
                  <a16:creationId xmlns:a16="http://schemas.microsoft.com/office/drawing/2014/main" id="{A0E4D0C1-DB0F-CF5B-98F7-6CD8533133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5" y="1859"/>
              <a:ext cx="71" cy="83"/>
            </a:xfrm>
            <a:custGeom>
              <a:avLst/>
              <a:gdLst>
                <a:gd name="T0" fmla="*/ 24 w 48"/>
                <a:gd name="T1" fmla="*/ 56 h 56"/>
                <a:gd name="T2" fmla="*/ 24 w 48"/>
                <a:gd name="T3" fmla="*/ 56 h 56"/>
                <a:gd name="T4" fmla="*/ 29 w 48"/>
                <a:gd name="T5" fmla="*/ 51 h 56"/>
                <a:gd name="T6" fmla="*/ 29 w 48"/>
                <a:gd name="T7" fmla="*/ 14 h 56"/>
                <a:gd name="T8" fmla="*/ 40 w 48"/>
                <a:gd name="T9" fmla="*/ 22 h 56"/>
                <a:gd name="T10" fmla="*/ 43 w 48"/>
                <a:gd name="T11" fmla="*/ 23 h 56"/>
                <a:gd name="T12" fmla="*/ 47 w 48"/>
                <a:gd name="T13" fmla="*/ 21 h 56"/>
                <a:gd name="T14" fmla="*/ 46 w 48"/>
                <a:gd name="T15" fmla="*/ 15 h 56"/>
                <a:gd name="T16" fmla="*/ 27 w 48"/>
                <a:gd name="T17" fmla="*/ 1 h 56"/>
                <a:gd name="T18" fmla="*/ 27 w 48"/>
                <a:gd name="T19" fmla="*/ 1 h 56"/>
                <a:gd name="T20" fmla="*/ 26 w 48"/>
                <a:gd name="T21" fmla="*/ 0 h 56"/>
                <a:gd name="T22" fmla="*/ 26 w 48"/>
                <a:gd name="T23" fmla="*/ 0 h 56"/>
                <a:gd name="T24" fmla="*/ 24 w 48"/>
                <a:gd name="T25" fmla="*/ 0 h 56"/>
                <a:gd name="T26" fmla="*/ 24 w 48"/>
                <a:gd name="T27" fmla="*/ 0 h 56"/>
                <a:gd name="T28" fmla="*/ 23 w 48"/>
                <a:gd name="T29" fmla="*/ 0 h 56"/>
                <a:gd name="T30" fmla="*/ 23 w 48"/>
                <a:gd name="T31" fmla="*/ 0 h 56"/>
                <a:gd name="T32" fmla="*/ 22 w 48"/>
                <a:gd name="T33" fmla="*/ 1 h 56"/>
                <a:gd name="T34" fmla="*/ 22 w 48"/>
                <a:gd name="T35" fmla="*/ 1 h 56"/>
                <a:gd name="T36" fmla="*/ 3 w 48"/>
                <a:gd name="T37" fmla="*/ 15 h 56"/>
                <a:gd name="T38" fmla="*/ 2 w 48"/>
                <a:gd name="T39" fmla="*/ 21 h 56"/>
                <a:gd name="T40" fmla="*/ 8 w 48"/>
                <a:gd name="T41" fmla="*/ 22 h 56"/>
                <a:gd name="T42" fmla="*/ 20 w 48"/>
                <a:gd name="T43" fmla="*/ 14 h 56"/>
                <a:gd name="T44" fmla="*/ 20 w 48"/>
                <a:gd name="T45" fmla="*/ 51 h 56"/>
                <a:gd name="T46" fmla="*/ 24 w 48"/>
                <a:gd name="T4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8" h="56">
                  <a:moveTo>
                    <a:pt x="24" y="56"/>
                  </a:moveTo>
                  <a:cubicBezTo>
                    <a:pt x="24" y="56"/>
                    <a:pt x="24" y="56"/>
                    <a:pt x="24" y="56"/>
                  </a:cubicBezTo>
                  <a:cubicBezTo>
                    <a:pt x="27" y="56"/>
                    <a:pt x="29" y="54"/>
                    <a:pt x="29" y="51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1" y="23"/>
                    <a:pt x="42" y="23"/>
                    <a:pt x="43" y="23"/>
                  </a:cubicBezTo>
                  <a:cubicBezTo>
                    <a:pt x="45" y="23"/>
                    <a:pt x="46" y="23"/>
                    <a:pt x="47" y="21"/>
                  </a:cubicBezTo>
                  <a:cubicBezTo>
                    <a:pt x="48" y="19"/>
                    <a:pt x="48" y="16"/>
                    <a:pt x="46" y="15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1"/>
                    <a:pt x="26" y="1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1" y="16"/>
                    <a:pt x="0" y="19"/>
                    <a:pt x="2" y="21"/>
                  </a:cubicBezTo>
                  <a:cubicBezTo>
                    <a:pt x="3" y="23"/>
                    <a:pt x="6" y="24"/>
                    <a:pt x="8" y="22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0" y="54"/>
                    <a:pt x="22" y="56"/>
                    <a:pt x="24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71" name="Freeform 123">
              <a:extLst>
                <a:ext uri="{FF2B5EF4-FFF2-40B4-BE49-F238E27FC236}">
                  <a16:creationId xmlns:a16="http://schemas.microsoft.com/office/drawing/2014/main" id="{3BF34733-7965-11E5-B2D7-58155FF787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8" y="1723"/>
              <a:ext cx="99" cy="124"/>
            </a:xfrm>
            <a:custGeom>
              <a:avLst/>
              <a:gdLst>
                <a:gd name="T0" fmla="*/ 67 w 67"/>
                <a:gd name="T1" fmla="*/ 29 h 84"/>
                <a:gd name="T2" fmla="*/ 67 w 67"/>
                <a:gd name="T3" fmla="*/ 28 h 84"/>
                <a:gd name="T4" fmla="*/ 67 w 67"/>
                <a:gd name="T5" fmla="*/ 28 h 84"/>
                <a:gd name="T6" fmla="*/ 67 w 67"/>
                <a:gd name="T7" fmla="*/ 27 h 84"/>
                <a:gd name="T8" fmla="*/ 67 w 67"/>
                <a:gd name="T9" fmla="*/ 27 h 84"/>
                <a:gd name="T10" fmla="*/ 66 w 67"/>
                <a:gd name="T11" fmla="*/ 26 h 84"/>
                <a:gd name="T12" fmla="*/ 41 w 67"/>
                <a:gd name="T13" fmla="*/ 1 h 84"/>
                <a:gd name="T14" fmla="*/ 38 w 67"/>
                <a:gd name="T15" fmla="*/ 0 h 84"/>
                <a:gd name="T16" fmla="*/ 4 w 67"/>
                <a:gd name="T17" fmla="*/ 0 h 84"/>
                <a:gd name="T18" fmla="*/ 0 w 67"/>
                <a:gd name="T19" fmla="*/ 4 h 84"/>
                <a:gd name="T20" fmla="*/ 0 w 67"/>
                <a:gd name="T21" fmla="*/ 80 h 84"/>
                <a:gd name="T22" fmla="*/ 4 w 67"/>
                <a:gd name="T23" fmla="*/ 84 h 84"/>
                <a:gd name="T24" fmla="*/ 63 w 67"/>
                <a:gd name="T25" fmla="*/ 84 h 84"/>
                <a:gd name="T26" fmla="*/ 67 w 67"/>
                <a:gd name="T27" fmla="*/ 80 h 84"/>
                <a:gd name="T28" fmla="*/ 67 w 67"/>
                <a:gd name="T29" fmla="*/ 29 h 84"/>
                <a:gd name="T30" fmla="*/ 67 w 67"/>
                <a:gd name="T31" fmla="*/ 29 h 84"/>
                <a:gd name="T32" fmla="*/ 53 w 67"/>
                <a:gd name="T33" fmla="*/ 25 h 84"/>
                <a:gd name="T34" fmla="*/ 38 w 67"/>
                <a:gd name="T35" fmla="*/ 25 h 84"/>
                <a:gd name="T36" fmla="*/ 38 w 67"/>
                <a:gd name="T37" fmla="*/ 10 h 84"/>
                <a:gd name="T38" fmla="*/ 53 w 67"/>
                <a:gd name="T39" fmla="*/ 25 h 84"/>
                <a:gd name="T40" fmla="*/ 9 w 67"/>
                <a:gd name="T41" fmla="*/ 76 h 84"/>
                <a:gd name="T42" fmla="*/ 9 w 67"/>
                <a:gd name="T43" fmla="*/ 8 h 84"/>
                <a:gd name="T44" fmla="*/ 30 w 67"/>
                <a:gd name="T45" fmla="*/ 8 h 84"/>
                <a:gd name="T46" fmla="*/ 30 w 67"/>
                <a:gd name="T47" fmla="*/ 29 h 84"/>
                <a:gd name="T48" fmla="*/ 34 w 67"/>
                <a:gd name="T49" fmla="*/ 34 h 84"/>
                <a:gd name="T50" fmla="*/ 59 w 67"/>
                <a:gd name="T51" fmla="*/ 34 h 84"/>
                <a:gd name="T52" fmla="*/ 59 w 67"/>
                <a:gd name="T53" fmla="*/ 76 h 84"/>
                <a:gd name="T54" fmla="*/ 9 w 67"/>
                <a:gd name="T55" fmla="*/ 7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84">
                  <a:moveTo>
                    <a:pt x="67" y="29"/>
                  </a:moveTo>
                  <a:cubicBezTo>
                    <a:pt x="67" y="28"/>
                    <a:pt x="67" y="28"/>
                    <a:pt x="67" y="28"/>
                  </a:cubicBezTo>
                  <a:cubicBezTo>
                    <a:pt x="67" y="28"/>
                    <a:pt x="67" y="28"/>
                    <a:pt x="67" y="28"/>
                  </a:cubicBezTo>
                  <a:cubicBezTo>
                    <a:pt x="67" y="28"/>
                    <a:pt x="67" y="27"/>
                    <a:pt x="67" y="27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7" y="27"/>
                    <a:pt x="66" y="27"/>
                    <a:pt x="66" y="26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0" y="0"/>
                    <a:pt x="39" y="0"/>
                    <a:pt x="38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2"/>
                    <a:pt x="2" y="84"/>
                    <a:pt x="4" y="84"/>
                  </a:cubicBezTo>
                  <a:cubicBezTo>
                    <a:pt x="63" y="84"/>
                    <a:pt x="63" y="84"/>
                    <a:pt x="63" y="84"/>
                  </a:cubicBezTo>
                  <a:cubicBezTo>
                    <a:pt x="66" y="84"/>
                    <a:pt x="67" y="82"/>
                    <a:pt x="67" y="80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7" y="29"/>
                    <a:pt x="67" y="29"/>
                    <a:pt x="67" y="29"/>
                  </a:cubicBezTo>
                  <a:close/>
                  <a:moveTo>
                    <a:pt x="53" y="25"/>
                  </a:moveTo>
                  <a:cubicBezTo>
                    <a:pt x="38" y="25"/>
                    <a:pt x="38" y="25"/>
                    <a:pt x="38" y="25"/>
                  </a:cubicBezTo>
                  <a:cubicBezTo>
                    <a:pt x="38" y="10"/>
                    <a:pt x="38" y="10"/>
                    <a:pt x="38" y="10"/>
                  </a:cubicBezTo>
                  <a:lnTo>
                    <a:pt x="53" y="25"/>
                  </a:lnTo>
                  <a:close/>
                  <a:moveTo>
                    <a:pt x="9" y="76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32"/>
                    <a:pt x="32" y="34"/>
                    <a:pt x="34" y="34"/>
                  </a:cubicBezTo>
                  <a:cubicBezTo>
                    <a:pt x="59" y="34"/>
                    <a:pt x="59" y="34"/>
                    <a:pt x="59" y="34"/>
                  </a:cubicBezTo>
                  <a:cubicBezTo>
                    <a:pt x="59" y="76"/>
                    <a:pt x="59" y="76"/>
                    <a:pt x="59" y="76"/>
                  </a:cubicBezTo>
                  <a:lnTo>
                    <a:pt x="9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72" name="Freeform 124">
              <a:extLst>
                <a:ext uri="{FF2B5EF4-FFF2-40B4-BE49-F238E27FC236}">
                  <a16:creationId xmlns:a16="http://schemas.microsoft.com/office/drawing/2014/main" id="{7A2C4721-F789-7082-A93B-F5D3A7A2DB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1" y="1723"/>
              <a:ext cx="113" cy="92"/>
            </a:xfrm>
            <a:custGeom>
              <a:avLst/>
              <a:gdLst>
                <a:gd name="T0" fmla="*/ 72 w 76"/>
                <a:gd name="T1" fmla="*/ 17 h 62"/>
                <a:gd name="T2" fmla="*/ 23 w 76"/>
                <a:gd name="T3" fmla="*/ 17 h 62"/>
                <a:gd name="T4" fmla="*/ 23 w 76"/>
                <a:gd name="T5" fmla="*/ 4 h 62"/>
                <a:gd name="T6" fmla="*/ 18 w 76"/>
                <a:gd name="T7" fmla="*/ 0 h 62"/>
                <a:gd name="T8" fmla="*/ 5 w 76"/>
                <a:gd name="T9" fmla="*/ 0 h 62"/>
                <a:gd name="T10" fmla="*/ 0 w 76"/>
                <a:gd name="T11" fmla="*/ 4 h 62"/>
                <a:gd name="T12" fmla="*/ 5 w 76"/>
                <a:gd name="T13" fmla="*/ 8 h 62"/>
                <a:gd name="T14" fmla="*/ 14 w 76"/>
                <a:gd name="T15" fmla="*/ 8 h 62"/>
                <a:gd name="T16" fmla="*/ 14 w 76"/>
                <a:gd name="T17" fmla="*/ 57 h 62"/>
                <a:gd name="T18" fmla="*/ 18 w 76"/>
                <a:gd name="T19" fmla="*/ 62 h 62"/>
                <a:gd name="T20" fmla="*/ 72 w 76"/>
                <a:gd name="T21" fmla="*/ 62 h 62"/>
                <a:gd name="T22" fmla="*/ 76 w 76"/>
                <a:gd name="T23" fmla="*/ 57 h 62"/>
                <a:gd name="T24" fmla="*/ 76 w 76"/>
                <a:gd name="T25" fmla="*/ 22 h 62"/>
                <a:gd name="T26" fmla="*/ 72 w 76"/>
                <a:gd name="T27" fmla="*/ 17 h 62"/>
                <a:gd name="T28" fmla="*/ 67 w 76"/>
                <a:gd name="T29" fmla="*/ 53 h 62"/>
                <a:gd name="T30" fmla="*/ 23 w 76"/>
                <a:gd name="T31" fmla="*/ 53 h 62"/>
                <a:gd name="T32" fmla="*/ 23 w 76"/>
                <a:gd name="T33" fmla="*/ 26 h 62"/>
                <a:gd name="T34" fmla="*/ 67 w 76"/>
                <a:gd name="T35" fmla="*/ 26 h 62"/>
                <a:gd name="T36" fmla="*/ 67 w 76"/>
                <a:gd name="T37" fmla="*/ 5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6" h="62">
                  <a:moveTo>
                    <a:pt x="72" y="17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2"/>
                    <a:pt x="21" y="0"/>
                    <a:pt x="18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8"/>
                    <a:pt x="5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14" y="60"/>
                    <a:pt x="16" y="62"/>
                    <a:pt x="18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4" y="62"/>
                    <a:pt x="76" y="60"/>
                    <a:pt x="76" y="57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19"/>
                    <a:pt x="74" y="17"/>
                    <a:pt x="72" y="17"/>
                  </a:cubicBezTo>
                  <a:close/>
                  <a:moveTo>
                    <a:pt x="67" y="53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67" y="26"/>
                    <a:pt x="67" y="26"/>
                    <a:pt x="67" y="26"/>
                  </a:cubicBezTo>
                  <a:lnTo>
                    <a:pt x="67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73" name="Oval 125">
              <a:extLst>
                <a:ext uri="{FF2B5EF4-FFF2-40B4-BE49-F238E27FC236}">
                  <a16:creationId xmlns:a16="http://schemas.microsoft.com/office/drawing/2014/main" id="{E52E1997-D3B8-36CB-1056-5AAFBB05A3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8" y="1820"/>
              <a:ext cx="27" cy="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74" name="Oval 126">
              <a:extLst>
                <a:ext uri="{FF2B5EF4-FFF2-40B4-BE49-F238E27FC236}">
                  <a16:creationId xmlns:a16="http://schemas.microsoft.com/office/drawing/2014/main" id="{568A4829-5D65-7BF3-B9C4-59DA5552F0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1" y="1820"/>
              <a:ext cx="27" cy="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75" name="Freeform 127">
              <a:extLst>
                <a:ext uri="{FF2B5EF4-FFF2-40B4-BE49-F238E27FC236}">
                  <a16:creationId xmlns:a16="http://schemas.microsoft.com/office/drawing/2014/main" id="{268F241F-3807-A759-EA33-743F13631C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7" y="1931"/>
              <a:ext cx="250" cy="215"/>
            </a:xfrm>
            <a:custGeom>
              <a:avLst/>
              <a:gdLst>
                <a:gd name="T0" fmla="*/ 159 w 169"/>
                <a:gd name="T1" fmla="*/ 0 h 145"/>
                <a:gd name="T2" fmla="*/ 84 w 169"/>
                <a:gd name="T3" fmla="*/ 23 h 145"/>
                <a:gd name="T4" fmla="*/ 9 w 169"/>
                <a:gd name="T5" fmla="*/ 0 h 145"/>
                <a:gd name="T6" fmla="*/ 0 w 169"/>
                <a:gd name="T7" fmla="*/ 0 h 145"/>
                <a:gd name="T8" fmla="*/ 0 w 169"/>
                <a:gd name="T9" fmla="*/ 112 h 145"/>
                <a:gd name="T10" fmla="*/ 75 w 169"/>
                <a:gd name="T11" fmla="*/ 145 h 145"/>
                <a:gd name="T12" fmla="*/ 84 w 169"/>
                <a:gd name="T13" fmla="*/ 145 h 145"/>
                <a:gd name="T14" fmla="*/ 169 w 169"/>
                <a:gd name="T15" fmla="*/ 112 h 145"/>
                <a:gd name="T16" fmla="*/ 169 w 169"/>
                <a:gd name="T17" fmla="*/ 0 h 145"/>
                <a:gd name="T18" fmla="*/ 159 w 169"/>
                <a:gd name="T19" fmla="*/ 0 h 145"/>
                <a:gd name="T20" fmla="*/ 159 w 169"/>
                <a:gd name="T21" fmla="*/ 75 h 145"/>
                <a:gd name="T22" fmla="*/ 84 w 169"/>
                <a:gd name="T23" fmla="*/ 98 h 145"/>
                <a:gd name="T24" fmla="*/ 9 w 169"/>
                <a:gd name="T25" fmla="*/ 75 h 145"/>
                <a:gd name="T26" fmla="*/ 9 w 169"/>
                <a:gd name="T27" fmla="*/ 53 h 145"/>
                <a:gd name="T28" fmla="*/ 84 w 169"/>
                <a:gd name="T29" fmla="*/ 70 h 145"/>
                <a:gd name="T30" fmla="*/ 159 w 169"/>
                <a:gd name="T31" fmla="*/ 53 h 145"/>
                <a:gd name="T32" fmla="*/ 159 w 169"/>
                <a:gd name="T33" fmla="*/ 75 h 145"/>
                <a:gd name="T34" fmla="*/ 159 w 169"/>
                <a:gd name="T35" fmla="*/ 37 h 145"/>
                <a:gd name="T36" fmla="*/ 84 w 169"/>
                <a:gd name="T37" fmla="*/ 61 h 145"/>
                <a:gd name="T38" fmla="*/ 9 w 169"/>
                <a:gd name="T39" fmla="*/ 37 h 145"/>
                <a:gd name="T40" fmla="*/ 9 w 169"/>
                <a:gd name="T41" fmla="*/ 16 h 145"/>
                <a:gd name="T42" fmla="*/ 84 w 169"/>
                <a:gd name="T43" fmla="*/ 33 h 145"/>
                <a:gd name="T44" fmla="*/ 159 w 169"/>
                <a:gd name="T45" fmla="*/ 16 h 145"/>
                <a:gd name="T46" fmla="*/ 159 w 169"/>
                <a:gd name="T47" fmla="*/ 37 h 145"/>
                <a:gd name="T48" fmla="*/ 84 w 169"/>
                <a:gd name="T49" fmla="*/ 136 h 145"/>
                <a:gd name="T50" fmla="*/ 9 w 169"/>
                <a:gd name="T51" fmla="*/ 112 h 145"/>
                <a:gd name="T52" fmla="*/ 9 w 169"/>
                <a:gd name="T53" fmla="*/ 91 h 145"/>
                <a:gd name="T54" fmla="*/ 84 w 169"/>
                <a:gd name="T55" fmla="*/ 108 h 145"/>
                <a:gd name="T56" fmla="*/ 159 w 169"/>
                <a:gd name="T57" fmla="*/ 91 h 145"/>
                <a:gd name="T58" fmla="*/ 159 w 169"/>
                <a:gd name="T59" fmla="*/ 112 h 145"/>
                <a:gd name="T60" fmla="*/ 84 w 169"/>
                <a:gd name="T61" fmla="*/ 136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9" h="145">
                  <a:moveTo>
                    <a:pt x="159" y="0"/>
                  </a:moveTo>
                  <a:cubicBezTo>
                    <a:pt x="159" y="10"/>
                    <a:pt x="131" y="23"/>
                    <a:pt x="84" y="23"/>
                  </a:cubicBezTo>
                  <a:cubicBezTo>
                    <a:pt x="38" y="23"/>
                    <a:pt x="9" y="1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32"/>
                    <a:pt x="37" y="143"/>
                    <a:pt x="75" y="145"/>
                  </a:cubicBezTo>
                  <a:cubicBezTo>
                    <a:pt x="84" y="145"/>
                    <a:pt x="84" y="145"/>
                    <a:pt x="84" y="145"/>
                  </a:cubicBezTo>
                  <a:cubicBezTo>
                    <a:pt x="125" y="145"/>
                    <a:pt x="169" y="134"/>
                    <a:pt x="169" y="112"/>
                  </a:cubicBezTo>
                  <a:cubicBezTo>
                    <a:pt x="169" y="0"/>
                    <a:pt x="169" y="0"/>
                    <a:pt x="169" y="0"/>
                  </a:cubicBezTo>
                  <a:lnTo>
                    <a:pt x="159" y="0"/>
                  </a:lnTo>
                  <a:close/>
                  <a:moveTo>
                    <a:pt x="159" y="75"/>
                  </a:moveTo>
                  <a:cubicBezTo>
                    <a:pt x="159" y="85"/>
                    <a:pt x="131" y="98"/>
                    <a:pt x="84" y="98"/>
                  </a:cubicBezTo>
                  <a:cubicBezTo>
                    <a:pt x="38" y="98"/>
                    <a:pt x="9" y="85"/>
                    <a:pt x="9" y="75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24" y="64"/>
                    <a:pt x="55" y="70"/>
                    <a:pt x="84" y="70"/>
                  </a:cubicBezTo>
                  <a:cubicBezTo>
                    <a:pt x="114" y="70"/>
                    <a:pt x="144" y="64"/>
                    <a:pt x="159" y="53"/>
                  </a:cubicBezTo>
                  <a:lnTo>
                    <a:pt x="159" y="75"/>
                  </a:lnTo>
                  <a:close/>
                  <a:moveTo>
                    <a:pt x="159" y="37"/>
                  </a:moveTo>
                  <a:cubicBezTo>
                    <a:pt x="159" y="47"/>
                    <a:pt x="131" y="61"/>
                    <a:pt x="84" y="61"/>
                  </a:cubicBezTo>
                  <a:cubicBezTo>
                    <a:pt x="38" y="61"/>
                    <a:pt x="9" y="47"/>
                    <a:pt x="9" y="37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24" y="27"/>
                    <a:pt x="55" y="33"/>
                    <a:pt x="84" y="33"/>
                  </a:cubicBezTo>
                  <a:cubicBezTo>
                    <a:pt x="114" y="33"/>
                    <a:pt x="144" y="27"/>
                    <a:pt x="159" y="16"/>
                  </a:cubicBezTo>
                  <a:lnTo>
                    <a:pt x="159" y="37"/>
                  </a:lnTo>
                  <a:close/>
                  <a:moveTo>
                    <a:pt x="84" y="136"/>
                  </a:moveTo>
                  <a:cubicBezTo>
                    <a:pt x="38" y="136"/>
                    <a:pt x="9" y="122"/>
                    <a:pt x="9" y="112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24" y="102"/>
                    <a:pt x="55" y="108"/>
                    <a:pt x="84" y="108"/>
                  </a:cubicBezTo>
                  <a:cubicBezTo>
                    <a:pt x="114" y="108"/>
                    <a:pt x="144" y="102"/>
                    <a:pt x="159" y="91"/>
                  </a:cubicBezTo>
                  <a:cubicBezTo>
                    <a:pt x="159" y="112"/>
                    <a:pt x="159" y="112"/>
                    <a:pt x="159" y="112"/>
                  </a:cubicBezTo>
                  <a:cubicBezTo>
                    <a:pt x="159" y="122"/>
                    <a:pt x="131" y="136"/>
                    <a:pt x="84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76" name="Freeform 128">
              <a:extLst>
                <a:ext uri="{FF2B5EF4-FFF2-40B4-BE49-F238E27FC236}">
                  <a16:creationId xmlns:a16="http://schemas.microsoft.com/office/drawing/2014/main" id="{C1F9E72D-7239-2953-D4CB-7A9A7CB911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29" y="1723"/>
              <a:ext cx="126" cy="124"/>
            </a:xfrm>
            <a:custGeom>
              <a:avLst/>
              <a:gdLst>
                <a:gd name="T0" fmla="*/ 58 w 85"/>
                <a:gd name="T1" fmla="*/ 40 h 84"/>
                <a:gd name="T2" fmla="*/ 66 w 85"/>
                <a:gd name="T3" fmla="*/ 23 h 84"/>
                <a:gd name="T4" fmla="*/ 42 w 85"/>
                <a:gd name="T5" fmla="*/ 0 h 84"/>
                <a:gd name="T6" fmla="*/ 19 w 85"/>
                <a:gd name="T7" fmla="*/ 23 h 84"/>
                <a:gd name="T8" fmla="*/ 27 w 85"/>
                <a:gd name="T9" fmla="*/ 40 h 84"/>
                <a:gd name="T10" fmla="*/ 0 w 85"/>
                <a:gd name="T11" fmla="*/ 79 h 84"/>
                <a:gd name="T12" fmla="*/ 5 w 85"/>
                <a:gd name="T13" fmla="*/ 84 h 84"/>
                <a:gd name="T14" fmla="*/ 80 w 85"/>
                <a:gd name="T15" fmla="*/ 84 h 84"/>
                <a:gd name="T16" fmla="*/ 85 w 85"/>
                <a:gd name="T17" fmla="*/ 79 h 84"/>
                <a:gd name="T18" fmla="*/ 58 w 85"/>
                <a:gd name="T19" fmla="*/ 40 h 84"/>
                <a:gd name="T20" fmla="*/ 29 w 85"/>
                <a:gd name="T21" fmla="*/ 23 h 84"/>
                <a:gd name="T22" fmla="*/ 42 w 85"/>
                <a:gd name="T23" fmla="*/ 9 h 84"/>
                <a:gd name="T24" fmla="*/ 56 w 85"/>
                <a:gd name="T25" fmla="*/ 23 h 84"/>
                <a:gd name="T26" fmla="*/ 42 w 85"/>
                <a:gd name="T27" fmla="*/ 37 h 84"/>
                <a:gd name="T28" fmla="*/ 29 w 85"/>
                <a:gd name="T29" fmla="*/ 23 h 84"/>
                <a:gd name="T30" fmla="*/ 10 w 85"/>
                <a:gd name="T31" fmla="*/ 75 h 84"/>
                <a:gd name="T32" fmla="*/ 42 w 85"/>
                <a:gd name="T33" fmla="*/ 46 h 84"/>
                <a:gd name="T34" fmla="*/ 75 w 85"/>
                <a:gd name="T35" fmla="*/ 75 h 84"/>
                <a:gd name="T36" fmla="*/ 10 w 85"/>
                <a:gd name="T37" fmla="*/ 7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5" h="84">
                  <a:moveTo>
                    <a:pt x="58" y="40"/>
                  </a:moveTo>
                  <a:cubicBezTo>
                    <a:pt x="63" y="36"/>
                    <a:pt x="66" y="30"/>
                    <a:pt x="66" y="23"/>
                  </a:cubicBezTo>
                  <a:cubicBezTo>
                    <a:pt x="66" y="10"/>
                    <a:pt x="55" y="0"/>
                    <a:pt x="42" y="0"/>
                  </a:cubicBezTo>
                  <a:cubicBezTo>
                    <a:pt x="30" y="0"/>
                    <a:pt x="19" y="10"/>
                    <a:pt x="19" y="23"/>
                  </a:cubicBezTo>
                  <a:cubicBezTo>
                    <a:pt x="19" y="30"/>
                    <a:pt x="22" y="36"/>
                    <a:pt x="27" y="40"/>
                  </a:cubicBezTo>
                  <a:cubicBezTo>
                    <a:pt x="11" y="46"/>
                    <a:pt x="0" y="62"/>
                    <a:pt x="0" y="79"/>
                  </a:cubicBezTo>
                  <a:cubicBezTo>
                    <a:pt x="0" y="82"/>
                    <a:pt x="2" y="84"/>
                    <a:pt x="5" y="84"/>
                  </a:cubicBezTo>
                  <a:cubicBezTo>
                    <a:pt x="80" y="84"/>
                    <a:pt x="80" y="84"/>
                    <a:pt x="80" y="84"/>
                  </a:cubicBezTo>
                  <a:cubicBezTo>
                    <a:pt x="83" y="84"/>
                    <a:pt x="85" y="82"/>
                    <a:pt x="85" y="79"/>
                  </a:cubicBezTo>
                  <a:cubicBezTo>
                    <a:pt x="85" y="62"/>
                    <a:pt x="74" y="46"/>
                    <a:pt x="58" y="40"/>
                  </a:cubicBezTo>
                  <a:close/>
                  <a:moveTo>
                    <a:pt x="29" y="23"/>
                  </a:moveTo>
                  <a:cubicBezTo>
                    <a:pt x="29" y="16"/>
                    <a:pt x="35" y="9"/>
                    <a:pt x="42" y="9"/>
                  </a:cubicBezTo>
                  <a:cubicBezTo>
                    <a:pt x="50" y="9"/>
                    <a:pt x="56" y="16"/>
                    <a:pt x="56" y="23"/>
                  </a:cubicBezTo>
                  <a:cubicBezTo>
                    <a:pt x="56" y="31"/>
                    <a:pt x="50" y="37"/>
                    <a:pt x="42" y="37"/>
                  </a:cubicBezTo>
                  <a:cubicBezTo>
                    <a:pt x="35" y="37"/>
                    <a:pt x="29" y="31"/>
                    <a:pt x="29" y="23"/>
                  </a:cubicBezTo>
                  <a:close/>
                  <a:moveTo>
                    <a:pt x="10" y="75"/>
                  </a:moveTo>
                  <a:cubicBezTo>
                    <a:pt x="12" y="59"/>
                    <a:pt x="26" y="46"/>
                    <a:pt x="42" y="46"/>
                  </a:cubicBezTo>
                  <a:cubicBezTo>
                    <a:pt x="59" y="46"/>
                    <a:pt x="73" y="59"/>
                    <a:pt x="75" y="75"/>
                  </a:cubicBezTo>
                  <a:lnTo>
                    <a:pt x="10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</p:grpSp>
      <p:sp>
        <p:nvSpPr>
          <p:cNvPr id="66" name="Freeform 8">
            <a:extLst>
              <a:ext uri="{FF2B5EF4-FFF2-40B4-BE49-F238E27FC236}">
                <a16:creationId xmlns:a16="http://schemas.microsoft.com/office/drawing/2014/main" id="{23B14325-FB3D-4BA3-9C05-B5E82CF7D8A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95236" y="4355561"/>
            <a:ext cx="484188" cy="385763"/>
          </a:xfrm>
          <a:custGeom>
            <a:avLst/>
            <a:gdLst>
              <a:gd name="T0" fmla="*/ 380 w 634"/>
              <a:gd name="T1" fmla="*/ 373 h 506"/>
              <a:gd name="T2" fmla="*/ 325 w 634"/>
              <a:gd name="T3" fmla="*/ 416 h 506"/>
              <a:gd name="T4" fmla="*/ 317 w 634"/>
              <a:gd name="T5" fmla="*/ 435 h 506"/>
              <a:gd name="T6" fmla="*/ 247 w 634"/>
              <a:gd name="T7" fmla="*/ 369 h 506"/>
              <a:gd name="T8" fmla="*/ 246 w 634"/>
              <a:gd name="T9" fmla="*/ 369 h 506"/>
              <a:gd name="T10" fmla="*/ 243 w 634"/>
              <a:gd name="T11" fmla="*/ 361 h 506"/>
              <a:gd name="T12" fmla="*/ 247 w 634"/>
              <a:gd name="T13" fmla="*/ 354 h 506"/>
              <a:gd name="T14" fmla="*/ 247 w 634"/>
              <a:gd name="T15" fmla="*/ 353 h 506"/>
              <a:gd name="T16" fmla="*/ 247 w 634"/>
              <a:gd name="T17" fmla="*/ 353 h 506"/>
              <a:gd name="T18" fmla="*/ 325 w 634"/>
              <a:gd name="T19" fmla="*/ 291 h 506"/>
              <a:gd name="T20" fmla="*/ 325 w 634"/>
              <a:gd name="T21" fmla="*/ 307 h 506"/>
              <a:gd name="T22" fmla="*/ 380 w 634"/>
              <a:gd name="T23" fmla="*/ 350 h 506"/>
              <a:gd name="T24" fmla="*/ 243 w 634"/>
              <a:gd name="T25" fmla="*/ 146 h 506"/>
              <a:gd name="T26" fmla="*/ 352 w 634"/>
              <a:gd name="T27" fmla="*/ 135 h 506"/>
              <a:gd name="T28" fmla="*/ 306 w 634"/>
              <a:gd name="T29" fmla="*/ 84 h 506"/>
              <a:gd name="T30" fmla="*/ 325 w 634"/>
              <a:gd name="T31" fmla="*/ 76 h 506"/>
              <a:gd name="T32" fmla="*/ 388 w 634"/>
              <a:gd name="T33" fmla="*/ 138 h 506"/>
              <a:gd name="T34" fmla="*/ 388 w 634"/>
              <a:gd name="T35" fmla="*/ 138 h 506"/>
              <a:gd name="T36" fmla="*/ 388 w 634"/>
              <a:gd name="T37" fmla="*/ 138 h 506"/>
              <a:gd name="T38" fmla="*/ 391 w 634"/>
              <a:gd name="T39" fmla="*/ 148 h 506"/>
              <a:gd name="T40" fmla="*/ 388 w 634"/>
              <a:gd name="T41" fmla="*/ 153 h 506"/>
              <a:gd name="T42" fmla="*/ 325 w 634"/>
              <a:gd name="T43" fmla="*/ 217 h 506"/>
              <a:gd name="T44" fmla="*/ 309 w 634"/>
              <a:gd name="T45" fmla="*/ 217 h 506"/>
              <a:gd name="T46" fmla="*/ 352 w 634"/>
              <a:gd name="T47" fmla="*/ 157 h 506"/>
              <a:gd name="T48" fmla="*/ 243 w 634"/>
              <a:gd name="T49" fmla="*/ 146 h 506"/>
              <a:gd name="T50" fmla="*/ 611 w 634"/>
              <a:gd name="T51" fmla="*/ 86 h 506"/>
              <a:gd name="T52" fmla="*/ 484 w 634"/>
              <a:gd name="T53" fmla="*/ 86 h 506"/>
              <a:gd name="T54" fmla="*/ 547 w 634"/>
              <a:gd name="T55" fmla="*/ 172 h 506"/>
              <a:gd name="T56" fmla="*/ 547 w 634"/>
              <a:gd name="T57" fmla="*/ 0 h 506"/>
              <a:gd name="T58" fmla="*/ 547 w 634"/>
              <a:gd name="T59" fmla="*/ 172 h 506"/>
              <a:gd name="T60" fmla="*/ 484 w 634"/>
              <a:gd name="T61" fmla="*/ 483 h 506"/>
              <a:gd name="T62" fmla="*/ 547 w 634"/>
              <a:gd name="T63" fmla="*/ 225 h 506"/>
              <a:gd name="T64" fmla="*/ 611 w 634"/>
              <a:gd name="T65" fmla="*/ 483 h 506"/>
              <a:gd name="T66" fmla="*/ 461 w 634"/>
              <a:gd name="T67" fmla="*/ 292 h 506"/>
              <a:gd name="T68" fmla="*/ 472 w 634"/>
              <a:gd name="T69" fmla="*/ 506 h 506"/>
              <a:gd name="T70" fmla="*/ 634 w 634"/>
              <a:gd name="T71" fmla="*/ 495 h 506"/>
              <a:gd name="T72" fmla="*/ 547 w 634"/>
              <a:gd name="T73" fmla="*/ 202 h 506"/>
              <a:gd name="T74" fmla="*/ 23 w 634"/>
              <a:gd name="T75" fmla="*/ 86 h 506"/>
              <a:gd name="T76" fmla="*/ 150 w 634"/>
              <a:gd name="T77" fmla="*/ 86 h 506"/>
              <a:gd name="T78" fmla="*/ 87 w 634"/>
              <a:gd name="T79" fmla="*/ 0 h 506"/>
              <a:gd name="T80" fmla="*/ 87 w 634"/>
              <a:gd name="T81" fmla="*/ 172 h 506"/>
              <a:gd name="T82" fmla="*/ 87 w 634"/>
              <a:gd name="T83" fmla="*/ 0 h 506"/>
              <a:gd name="T84" fmla="*/ 23 w 634"/>
              <a:gd name="T85" fmla="*/ 483 h 506"/>
              <a:gd name="T86" fmla="*/ 87 w 634"/>
              <a:gd name="T87" fmla="*/ 225 h 506"/>
              <a:gd name="T88" fmla="*/ 150 w 634"/>
              <a:gd name="T89" fmla="*/ 483 h 506"/>
              <a:gd name="T90" fmla="*/ 0 w 634"/>
              <a:gd name="T91" fmla="*/ 292 h 506"/>
              <a:gd name="T92" fmla="*/ 12 w 634"/>
              <a:gd name="T93" fmla="*/ 506 h 506"/>
              <a:gd name="T94" fmla="*/ 173 w 634"/>
              <a:gd name="T95" fmla="*/ 495 h 506"/>
              <a:gd name="T96" fmla="*/ 87 w 634"/>
              <a:gd name="T97" fmla="*/ 202 h 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34" h="506">
                <a:moveTo>
                  <a:pt x="391" y="361"/>
                </a:moveTo>
                <a:cubicBezTo>
                  <a:pt x="391" y="368"/>
                  <a:pt x="386" y="373"/>
                  <a:pt x="380" y="373"/>
                </a:cubicBezTo>
                <a:lnTo>
                  <a:pt x="282" y="373"/>
                </a:lnTo>
                <a:lnTo>
                  <a:pt x="325" y="416"/>
                </a:lnTo>
                <a:cubicBezTo>
                  <a:pt x="329" y="420"/>
                  <a:pt x="329" y="427"/>
                  <a:pt x="325" y="432"/>
                </a:cubicBezTo>
                <a:cubicBezTo>
                  <a:pt x="323" y="434"/>
                  <a:pt x="320" y="435"/>
                  <a:pt x="317" y="435"/>
                </a:cubicBezTo>
                <a:cubicBezTo>
                  <a:pt x="314" y="435"/>
                  <a:pt x="311" y="434"/>
                  <a:pt x="309" y="432"/>
                </a:cubicBezTo>
                <a:lnTo>
                  <a:pt x="247" y="369"/>
                </a:lnTo>
                <a:lnTo>
                  <a:pt x="246" y="369"/>
                </a:lnTo>
                <a:lnTo>
                  <a:pt x="246" y="369"/>
                </a:lnTo>
                <a:cubicBezTo>
                  <a:pt x="245" y="367"/>
                  <a:pt x="244" y="365"/>
                  <a:pt x="243" y="363"/>
                </a:cubicBezTo>
                <a:cubicBezTo>
                  <a:pt x="243" y="362"/>
                  <a:pt x="243" y="361"/>
                  <a:pt x="243" y="361"/>
                </a:cubicBezTo>
                <a:cubicBezTo>
                  <a:pt x="244" y="358"/>
                  <a:pt x="245" y="356"/>
                  <a:pt x="246" y="354"/>
                </a:cubicBezTo>
                <a:cubicBezTo>
                  <a:pt x="246" y="354"/>
                  <a:pt x="247" y="354"/>
                  <a:pt x="247" y="354"/>
                </a:cubicBezTo>
                <a:cubicBezTo>
                  <a:pt x="247" y="354"/>
                  <a:pt x="247" y="353"/>
                  <a:pt x="247" y="353"/>
                </a:cubicBezTo>
                <a:lnTo>
                  <a:pt x="247" y="353"/>
                </a:lnTo>
                <a:lnTo>
                  <a:pt x="247" y="353"/>
                </a:lnTo>
                <a:cubicBezTo>
                  <a:pt x="247" y="353"/>
                  <a:pt x="247" y="353"/>
                  <a:pt x="247" y="353"/>
                </a:cubicBezTo>
                <a:lnTo>
                  <a:pt x="309" y="291"/>
                </a:lnTo>
                <a:cubicBezTo>
                  <a:pt x="313" y="287"/>
                  <a:pt x="321" y="287"/>
                  <a:pt x="325" y="291"/>
                </a:cubicBezTo>
                <a:cubicBezTo>
                  <a:pt x="327" y="293"/>
                  <a:pt x="328" y="296"/>
                  <a:pt x="328" y="299"/>
                </a:cubicBezTo>
                <a:cubicBezTo>
                  <a:pt x="328" y="302"/>
                  <a:pt x="327" y="305"/>
                  <a:pt x="325" y="307"/>
                </a:cubicBezTo>
                <a:lnTo>
                  <a:pt x="282" y="350"/>
                </a:lnTo>
                <a:lnTo>
                  <a:pt x="380" y="350"/>
                </a:lnTo>
                <a:cubicBezTo>
                  <a:pt x="386" y="350"/>
                  <a:pt x="391" y="355"/>
                  <a:pt x="391" y="361"/>
                </a:cubicBezTo>
                <a:close/>
                <a:moveTo>
                  <a:pt x="243" y="146"/>
                </a:moveTo>
                <a:cubicBezTo>
                  <a:pt x="243" y="140"/>
                  <a:pt x="248" y="135"/>
                  <a:pt x="255" y="135"/>
                </a:cubicBezTo>
                <a:lnTo>
                  <a:pt x="352" y="135"/>
                </a:lnTo>
                <a:lnTo>
                  <a:pt x="309" y="92"/>
                </a:lnTo>
                <a:cubicBezTo>
                  <a:pt x="307" y="89"/>
                  <a:pt x="306" y="86"/>
                  <a:pt x="306" y="84"/>
                </a:cubicBezTo>
                <a:cubicBezTo>
                  <a:pt x="306" y="81"/>
                  <a:pt x="307" y="78"/>
                  <a:pt x="309" y="76"/>
                </a:cubicBezTo>
                <a:cubicBezTo>
                  <a:pt x="313" y="71"/>
                  <a:pt x="321" y="71"/>
                  <a:pt x="325" y="76"/>
                </a:cubicBezTo>
                <a:lnTo>
                  <a:pt x="388" y="138"/>
                </a:lnTo>
                <a:cubicBezTo>
                  <a:pt x="388" y="138"/>
                  <a:pt x="388" y="138"/>
                  <a:pt x="388" y="138"/>
                </a:cubicBezTo>
                <a:lnTo>
                  <a:pt x="388" y="138"/>
                </a:lnTo>
                <a:lnTo>
                  <a:pt x="388" y="138"/>
                </a:lnTo>
                <a:cubicBezTo>
                  <a:pt x="388" y="138"/>
                  <a:pt x="388" y="138"/>
                  <a:pt x="388" y="138"/>
                </a:cubicBezTo>
                <a:cubicBezTo>
                  <a:pt x="388" y="138"/>
                  <a:pt x="388" y="138"/>
                  <a:pt x="388" y="138"/>
                </a:cubicBezTo>
                <a:cubicBezTo>
                  <a:pt x="390" y="140"/>
                  <a:pt x="391" y="143"/>
                  <a:pt x="391" y="145"/>
                </a:cubicBezTo>
                <a:cubicBezTo>
                  <a:pt x="391" y="146"/>
                  <a:pt x="391" y="147"/>
                  <a:pt x="391" y="148"/>
                </a:cubicBezTo>
                <a:cubicBezTo>
                  <a:pt x="390" y="150"/>
                  <a:pt x="390" y="152"/>
                  <a:pt x="388" y="153"/>
                </a:cubicBezTo>
                <a:lnTo>
                  <a:pt x="388" y="153"/>
                </a:lnTo>
                <a:cubicBezTo>
                  <a:pt x="388" y="154"/>
                  <a:pt x="388" y="154"/>
                  <a:pt x="387" y="154"/>
                </a:cubicBezTo>
                <a:lnTo>
                  <a:pt x="325" y="217"/>
                </a:lnTo>
                <a:cubicBezTo>
                  <a:pt x="323" y="219"/>
                  <a:pt x="320" y="220"/>
                  <a:pt x="317" y="220"/>
                </a:cubicBezTo>
                <a:cubicBezTo>
                  <a:pt x="314" y="220"/>
                  <a:pt x="311" y="219"/>
                  <a:pt x="309" y="217"/>
                </a:cubicBezTo>
                <a:cubicBezTo>
                  <a:pt x="305" y="212"/>
                  <a:pt x="305" y="205"/>
                  <a:pt x="309" y="201"/>
                </a:cubicBezTo>
                <a:lnTo>
                  <a:pt x="352" y="157"/>
                </a:lnTo>
                <a:lnTo>
                  <a:pt x="255" y="157"/>
                </a:lnTo>
                <a:cubicBezTo>
                  <a:pt x="248" y="157"/>
                  <a:pt x="243" y="152"/>
                  <a:pt x="243" y="146"/>
                </a:cubicBezTo>
                <a:moveTo>
                  <a:pt x="547" y="22"/>
                </a:moveTo>
                <a:cubicBezTo>
                  <a:pt x="583" y="22"/>
                  <a:pt x="611" y="51"/>
                  <a:pt x="611" y="86"/>
                </a:cubicBezTo>
                <a:cubicBezTo>
                  <a:pt x="611" y="121"/>
                  <a:pt x="583" y="150"/>
                  <a:pt x="547" y="150"/>
                </a:cubicBezTo>
                <a:cubicBezTo>
                  <a:pt x="512" y="150"/>
                  <a:pt x="484" y="121"/>
                  <a:pt x="484" y="86"/>
                </a:cubicBezTo>
                <a:cubicBezTo>
                  <a:pt x="484" y="51"/>
                  <a:pt x="512" y="22"/>
                  <a:pt x="547" y="22"/>
                </a:cubicBezTo>
                <a:close/>
                <a:moveTo>
                  <a:pt x="547" y="172"/>
                </a:moveTo>
                <a:cubicBezTo>
                  <a:pt x="595" y="172"/>
                  <a:pt x="634" y="134"/>
                  <a:pt x="634" y="86"/>
                </a:cubicBezTo>
                <a:cubicBezTo>
                  <a:pt x="634" y="39"/>
                  <a:pt x="595" y="0"/>
                  <a:pt x="547" y="0"/>
                </a:cubicBezTo>
                <a:cubicBezTo>
                  <a:pt x="500" y="0"/>
                  <a:pt x="461" y="39"/>
                  <a:pt x="461" y="86"/>
                </a:cubicBezTo>
                <a:cubicBezTo>
                  <a:pt x="461" y="134"/>
                  <a:pt x="500" y="172"/>
                  <a:pt x="547" y="172"/>
                </a:cubicBezTo>
                <a:close/>
                <a:moveTo>
                  <a:pt x="611" y="483"/>
                </a:moveTo>
                <a:lnTo>
                  <a:pt x="484" y="483"/>
                </a:lnTo>
                <a:lnTo>
                  <a:pt x="484" y="292"/>
                </a:lnTo>
                <a:cubicBezTo>
                  <a:pt x="484" y="253"/>
                  <a:pt x="510" y="225"/>
                  <a:pt x="547" y="225"/>
                </a:cubicBezTo>
                <a:cubicBezTo>
                  <a:pt x="583" y="225"/>
                  <a:pt x="611" y="255"/>
                  <a:pt x="611" y="292"/>
                </a:cubicBezTo>
                <a:lnTo>
                  <a:pt x="611" y="483"/>
                </a:lnTo>
                <a:close/>
                <a:moveTo>
                  <a:pt x="547" y="202"/>
                </a:moveTo>
                <a:cubicBezTo>
                  <a:pt x="497" y="202"/>
                  <a:pt x="461" y="240"/>
                  <a:pt x="461" y="292"/>
                </a:cubicBezTo>
                <a:lnTo>
                  <a:pt x="461" y="495"/>
                </a:lnTo>
                <a:cubicBezTo>
                  <a:pt x="461" y="501"/>
                  <a:pt x="466" y="506"/>
                  <a:pt x="472" y="506"/>
                </a:cubicBezTo>
                <a:lnTo>
                  <a:pt x="622" y="506"/>
                </a:lnTo>
                <a:cubicBezTo>
                  <a:pt x="629" y="506"/>
                  <a:pt x="634" y="501"/>
                  <a:pt x="634" y="495"/>
                </a:cubicBezTo>
                <a:lnTo>
                  <a:pt x="634" y="292"/>
                </a:lnTo>
                <a:cubicBezTo>
                  <a:pt x="634" y="242"/>
                  <a:pt x="596" y="202"/>
                  <a:pt x="547" y="202"/>
                </a:cubicBezTo>
                <a:close/>
                <a:moveTo>
                  <a:pt x="87" y="150"/>
                </a:moveTo>
                <a:cubicBezTo>
                  <a:pt x="51" y="150"/>
                  <a:pt x="23" y="121"/>
                  <a:pt x="23" y="86"/>
                </a:cubicBezTo>
                <a:cubicBezTo>
                  <a:pt x="23" y="51"/>
                  <a:pt x="51" y="22"/>
                  <a:pt x="87" y="22"/>
                </a:cubicBezTo>
                <a:cubicBezTo>
                  <a:pt x="122" y="22"/>
                  <a:pt x="150" y="51"/>
                  <a:pt x="150" y="86"/>
                </a:cubicBezTo>
                <a:cubicBezTo>
                  <a:pt x="150" y="121"/>
                  <a:pt x="122" y="150"/>
                  <a:pt x="87" y="150"/>
                </a:cubicBezTo>
                <a:moveTo>
                  <a:pt x="87" y="0"/>
                </a:moveTo>
                <a:cubicBezTo>
                  <a:pt x="39" y="0"/>
                  <a:pt x="0" y="39"/>
                  <a:pt x="0" y="86"/>
                </a:cubicBezTo>
                <a:cubicBezTo>
                  <a:pt x="0" y="134"/>
                  <a:pt x="39" y="172"/>
                  <a:pt x="87" y="172"/>
                </a:cubicBezTo>
                <a:cubicBezTo>
                  <a:pt x="134" y="172"/>
                  <a:pt x="173" y="134"/>
                  <a:pt x="173" y="86"/>
                </a:cubicBezTo>
                <a:cubicBezTo>
                  <a:pt x="173" y="39"/>
                  <a:pt x="134" y="0"/>
                  <a:pt x="87" y="0"/>
                </a:cubicBezTo>
                <a:close/>
                <a:moveTo>
                  <a:pt x="150" y="483"/>
                </a:moveTo>
                <a:lnTo>
                  <a:pt x="23" y="483"/>
                </a:lnTo>
                <a:lnTo>
                  <a:pt x="23" y="292"/>
                </a:lnTo>
                <a:cubicBezTo>
                  <a:pt x="23" y="253"/>
                  <a:pt x="49" y="225"/>
                  <a:pt x="87" y="225"/>
                </a:cubicBezTo>
                <a:cubicBezTo>
                  <a:pt x="122" y="225"/>
                  <a:pt x="150" y="255"/>
                  <a:pt x="150" y="292"/>
                </a:cubicBezTo>
                <a:lnTo>
                  <a:pt x="150" y="483"/>
                </a:lnTo>
                <a:close/>
                <a:moveTo>
                  <a:pt x="87" y="202"/>
                </a:moveTo>
                <a:cubicBezTo>
                  <a:pt x="37" y="202"/>
                  <a:pt x="0" y="240"/>
                  <a:pt x="0" y="292"/>
                </a:cubicBezTo>
                <a:lnTo>
                  <a:pt x="0" y="495"/>
                </a:lnTo>
                <a:cubicBezTo>
                  <a:pt x="0" y="501"/>
                  <a:pt x="5" y="506"/>
                  <a:pt x="12" y="506"/>
                </a:cubicBezTo>
                <a:lnTo>
                  <a:pt x="162" y="506"/>
                </a:lnTo>
                <a:cubicBezTo>
                  <a:pt x="168" y="506"/>
                  <a:pt x="173" y="501"/>
                  <a:pt x="173" y="495"/>
                </a:cubicBezTo>
                <a:lnTo>
                  <a:pt x="173" y="292"/>
                </a:lnTo>
                <a:cubicBezTo>
                  <a:pt x="173" y="242"/>
                  <a:pt x="135" y="202"/>
                  <a:pt x="87" y="202"/>
                </a:cubicBezTo>
                <a:close/>
              </a:path>
            </a:pathLst>
          </a:custGeom>
          <a:solidFill>
            <a:srgbClr val="DCA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Freeform 15">
            <a:extLst>
              <a:ext uri="{FF2B5EF4-FFF2-40B4-BE49-F238E27FC236}">
                <a16:creationId xmlns:a16="http://schemas.microsoft.com/office/drawing/2014/main" id="{121172F2-D628-CDA4-5C6B-311A5C45889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302641" y="330730"/>
            <a:ext cx="393596" cy="476705"/>
          </a:xfrm>
          <a:custGeom>
            <a:avLst/>
            <a:gdLst>
              <a:gd name="T0" fmla="*/ 325 w 522"/>
              <a:gd name="T1" fmla="*/ 86 h 632"/>
              <a:gd name="T2" fmla="*/ 197 w 522"/>
              <a:gd name="T3" fmla="*/ 86 h 632"/>
              <a:gd name="T4" fmla="*/ 261 w 522"/>
              <a:gd name="T5" fmla="*/ 173 h 632"/>
              <a:gd name="T6" fmla="*/ 261 w 522"/>
              <a:gd name="T7" fmla="*/ 0 h 632"/>
              <a:gd name="T8" fmla="*/ 261 w 522"/>
              <a:gd name="T9" fmla="*/ 173 h 632"/>
              <a:gd name="T10" fmla="*/ 261 w 522"/>
              <a:gd name="T11" fmla="*/ 225 h 632"/>
              <a:gd name="T12" fmla="*/ 325 w 522"/>
              <a:gd name="T13" fmla="*/ 483 h 632"/>
              <a:gd name="T14" fmla="*/ 197 w 522"/>
              <a:gd name="T15" fmla="*/ 292 h 632"/>
              <a:gd name="T16" fmla="*/ 336 w 522"/>
              <a:gd name="T17" fmla="*/ 506 h 632"/>
              <a:gd name="T18" fmla="*/ 347 w 522"/>
              <a:gd name="T19" fmla="*/ 292 h 632"/>
              <a:gd name="T20" fmla="*/ 175 w 522"/>
              <a:gd name="T21" fmla="*/ 292 h 632"/>
              <a:gd name="T22" fmla="*/ 186 w 522"/>
              <a:gd name="T23" fmla="*/ 506 h 632"/>
              <a:gd name="T24" fmla="*/ 261 w 522"/>
              <a:gd name="T25" fmla="*/ 632 h 632"/>
              <a:gd name="T26" fmla="*/ 135 w 522"/>
              <a:gd name="T27" fmla="*/ 453 h 632"/>
              <a:gd name="T28" fmla="*/ 139 w 522"/>
              <a:gd name="T29" fmla="*/ 475 h 632"/>
              <a:gd name="T30" fmla="*/ 261 w 522"/>
              <a:gd name="T31" fmla="*/ 610 h 632"/>
              <a:gd name="T32" fmla="*/ 384 w 522"/>
              <a:gd name="T33" fmla="*/ 475 h 632"/>
              <a:gd name="T34" fmla="*/ 388 w 522"/>
              <a:gd name="T35" fmla="*/ 453 h 632"/>
              <a:gd name="T36" fmla="*/ 75 w 522"/>
              <a:gd name="T37" fmla="*/ 119 h 632"/>
              <a:gd name="T38" fmla="*/ 75 w 522"/>
              <a:gd name="T39" fmla="*/ 190 h 632"/>
              <a:gd name="T40" fmla="*/ 75 w 522"/>
              <a:gd name="T41" fmla="*/ 119 h 632"/>
              <a:gd name="T42" fmla="*/ 133 w 522"/>
              <a:gd name="T43" fmla="*/ 154 h 632"/>
              <a:gd name="T44" fmla="*/ 17 w 522"/>
              <a:gd name="T45" fmla="*/ 154 h 632"/>
              <a:gd name="T46" fmla="*/ 40 w 522"/>
              <a:gd name="T47" fmla="*/ 282 h 632"/>
              <a:gd name="T48" fmla="*/ 110 w 522"/>
              <a:gd name="T49" fmla="*/ 282 h 632"/>
              <a:gd name="T50" fmla="*/ 40 w 522"/>
              <a:gd name="T51" fmla="*/ 397 h 632"/>
              <a:gd name="T52" fmla="*/ 28 w 522"/>
              <a:gd name="T53" fmla="*/ 419 h 632"/>
              <a:gd name="T54" fmla="*/ 133 w 522"/>
              <a:gd name="T55" fmla="*/ 408 h 632"/>
              <a:gd name="T56" fmla="*/ 75 w 522"/>
              <a:gd name="T57" fmla="*/ 222 h 632"/>
              <a:gd name="T58" fmla="*/ 17 w 522"/>
              <a:gd name="T59" fmla="*/ 408 h 632"/>
              <a:gd name="T60" fmla="*/ 448 w 522"/>
              <a:gd name="T61" fmla="*/ 119 h 632"/>
              <a:gd name="T62" fmla="*/ 448 w 522"/>
              <a:gd name="T63" fmla="*/ 190 h 632"/>
              <a:gd name="T64" fmla="*/ 448 w 522"/>
              <a:gd name="T65" fmla="*/ 119 h 632"/>
              <a:gd name="T66" fmla="*/ 505 w 522"/>
              <a:gd name="T67" fmla="*/ 154 h 632"/>
              <a:gd name="T68" fmla="*/ 390 w 522"/>
              <a:gd name="T69" fmla="*/ 154 h 632"/>
              <a:gd name="T70" fmla="*/ 412 w 522"/>
              <a:gd name="T71" fmla="*/ 282 h 632"/>
              <a:gd name="T72" fmla="*/ 483 w 522"/>
              <a:gd name="T73" fmla="*/ 282 h 632"/>
              <a:gd name="T74" fmla="*/ 412 w 522"/>
              <a:gd name="T75" fmla="*/ 397 h 632"/>
              <a:gd name="T76" fmla="*/ 401 w 522"/>
              <a:gd name="T77" fmla="*/ 419 h 632"/>
              <a:gd name="T78" fmla="*/ 505 w 522"/>
              <a:gd name="T79" fmla="*/ 408 h 632"/>
              <a:gd name="T80" fmla="*/ 448 w 522"/>
              <a:gd name="T81" fmla="*/ 222 h 632"/>
              <a:gd name="T82" fmla="*/ 390 w 522"/>
              <a:gd name="T83" fmla="*/ 408 h 6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22" h="632">
                <a:moveTo>
                  <a:pt x="261" y="23"/>
                </a:moveTo>
                <a:cubicBezTo>
                  <a:pt x="296" y="23"/>
                  <a:pt x="325" y="51"/>
                  <a:pt x="325" y="86"/>
                </a:cubicBezTo>
                <a:cubicBezTo>
                  <a:pt x="325" y="121"/>
                  <a:pt x="296" y="150"/>
                  <a:pt x="261" y="150"/>
                </a:cubicBezTo>
                <a:cubicBezTo>
                  <a:pt x="226" y="150"/>
                  <a:pt x="197" y="121"/>
                  <a:pt x="197" y="86"/>
                </a:cubicBezTo>
                <a:cubicBezTo>
                  <a:pt x="197" y="51"/>
                  <a:pt x="226" y="23"/>
                  <a:pt x="261" y="23"/>
                </a:cubicBezTo>
                <a:close/>
                <a:moveTo>
                  <a:pt x="261" y="173"/>
                </a:moveTo>
                <a:cubicBezTo>
                  <a:pt x="309" y="173"/>
                  <a:pt x="347" y="134"/>
                  <a:pt x="347" y="86"/>
                </a:cubicBezTo>
                <a:cubicBezTo>
                  <a:pt x="347" y="39"/>
                  <a:pt x="309" y="0"/>
                  <a:pt x="261" y="0"/>
                </a:cubicBezTo>
                <a:cubicBezTo>
                  <a:pt x="214" y="0"/>
                  <a:pt x="175" y="39"/>
                  <a:pt x="175" y="86"/>
                </a:cubicBezTo>
                <a:cubicBezTo>
                  <a:pt x="175" y="134"/>
                  <a:pt x="214" y="173"/>
                  <a:pt x="261" y="173"/>
                </a:cubicBezTo>
                <a:close/>
                <a:moveTo>
                  <a:pt x="197" y="292"/>
                </a:moveTo>
                <a:cubicBezTo>
                  <a:pt x="197" y="253"/>
                  <a:pt x="224" y="225"/>
                  <a:pt x="261" y="225"/>
                </a:cubicBezTo>
                <a:cubicBezTo>
                  <a:pt x="297" y="225"/>
                  <a:pt x="325" y="255"/>
                  <a:pt x="325" y="292"/>
                </a:cubicBezTo>
                <a:lnTo>
                  <a:pt x="325" y="483"/>
                </a:lnTo>
                <a:lnTo>
                  <a:pt x="197" y="483"/>
                </a:lnTo>
                <a:lnTo>
                  <a:pt x="197" y="292"/>
                </a:lnTo>
                <a:close/>
                <a:moveTo>
                  <a:pt x="186" y="506"/>
                </a:moveTo>
                <a:lnTo>
                  <a:pt x="336" y="506"/>
                </a:lnTo>
                <a:cubicBezTo>
                  <a:pt x="342" y="506"/>
                  <a:pt x="347" y="501"/>
                  <a:pt x="347" y="495"/>
                </a:cubicBezTo>
                <a:lnTo>
                  <a:pt x="347" y="292"/>
                </a:lnTo>
                <a:cubicBezTo>
                  <a:pt x="347" y="242"/>
                  <a:pt x="310" y="203"/>
                  <a:pt x="261" y="203"/>
                </a:cubicBezTo>
                <a:cubicBezTo>
                  <a:pt x="211" y="203"/>
                  <a:pt x="175" y="240"/>
                  <a:pt x="175" y="292"/>
                </a:cubicBezTo>
                <a:lnTo>
                  <a:pt x="175" y="495"/>
                </a:lnTo>
                <a:cubicBezTo>
                  <a:pt x="175" y="501"/>
                  <a:pt x="180" y="506"/>
                  <a:pt x="186" y="506"/>
                </a:cubicBezTo>
                <a:close/>
                <a:moveTo>
                  <a:pt x="522" y="537"/>
                </a:moveTo>
                <a:cubicBezTo>
                  <a:pt x="522" y="599"/>
                  <a:pt x="388" y="632"/>
                  <a:pt x="261" y="632"/>
                </a:cubicBezTo>
                <a:cubicBezTo>
                  <a:pt x="135" y="632"/>
                  <a:pt x="0" y="599"/>
                  <a:pt x="0" y="537"/>
                </a:cubicBezTo>
                <a:cubicBezTo>
                  <a:pt x="0" y="500"/>
                  <a:pt x="49" y="469"/>
                  <a:pt x="135" y="453"/>
                </a:cubicBezTo>
                <a:cubicBezTo>
                  <a:pt x="141" y="452"/>
                  <a:pt x="147" y="456"/>
                  <a:pt x="148" y="462"/>
                </a:cubicBezTo>
                <a:cubicBezTo>
                  <a:pt x="149" y="468"/>
                  <a:pt x="145" y="474"/>
                  <a:pt x="139" y="475"/>
                </a:cubicBezTo>
                <a:cubicBezTo>
                  <a:pt x="58" y="490"/>
                  <a:pt x="22" y="517"/>
                  <a:pt x="22" y="537"/>
                </a:cubicBezTo>
                <a:cubicBezTo>
                  <a:pt x="22" y="571"/>
                  <a:pt x="121" y="610"/>
                  <a:pt x="261" y="610"/>
                </a:cubicBezTo>
                <a:cubicBezTo>
                  <a:pt x="402" y="610"/>
                  <a:pt x="500" y="571"/>
                  <a:pt x="500" y="537"/>
                </a:cubicBezTo>
                <a:cubicBezTo>
                  <a:pt x="500" y="517"/>
                  <a:pt x="464" y="490"/>
                  <a:pt x="384" y="475"/>
                </a:cubicBezTo>
                <a:cubicBezTo>
                  <a:pt x="377" y="474"/>
                  <a:pt x="373" y="468"/>
                  <a:pt x="375" y="462"/>
                </a:cubicBezTo>
                <a:cubicBezTo>
                  <a:pt x="376" y="456"/>
                  <a:pt x="382" y="452"/>
                  <a:pt x="388" y="453"/>
                </a:cubicBezTo>
                <a:cubicBezTo>
                  <a:pt x="473" y="469"/>
                  <a:pt x="522" y="500"/>
                  <a:pt x="522" y="537"/>
                </a:cubicBezTo>
                <a:close/>
                <a:moveTo>
                  <a:pt x="75" y="119"/>
                </a:moveTo>
                <a:cubicBezTo>
                  <a:pt x="94" y="119"/>
                  <a:pt x="110" y="135"/>
                  <a:pt x="110" y="154"/>
                </a:cubicBezTo>
                <a:cubicBezTo>
                  <a:pt x="110" y="174"/>
                  <a:pt x="94" y="190"/>
                  <a:pt x="75" y="190"/>
                </a:cubicBezTo>
                <a:cubicBezTo>
                  <a:pt x="55" y="190"/>
                  <a:pt x="40" y="174"/>
                  <a:pt x="40" y="154"/>
                </a:cubicBezTo>
                <a:cubicBezTo>
                  <a:pt x="40" y="135"/>
                  <a:pt x="55" y="119"/>
                  <a:pt x="75" y="119"/>
                </a:cubicBezTo>
                <a:close/>
                <a:moveTo>
                  <a:pt x="75" y="212"/>
                </a:moveTo>
                <a:cubicBezTo>
                  <a:pt x="107" y="212"/>
                  <a:pt x="133" y="186"/>
                  <a:pt x="133" y="154"/>
                </a:cubicBezTo>
                <a:cubicBezTo>
                  <a:pt x="133" y="122"/>
                  <a:pt x="107" y="97"/>
                  <a:pt x="75" y="97"/>
                </a:cubicBezTo>
                <a:cubicBezTo>
                  <a:pt x="43" y="97"/>
                  <a:pt x="17" y="122"/>
                  <a:pt x="17" y="154"/>
                </a:cubicBezTo>
                <a:cubicBezTo>
                  <a:pt x="17" y="186"/>
                  <a:pt x="43" y="212"/>
                  <a:pt x="75" y="212"/>
                </a:cubicBezTo>
                <a:close/>
                <a:moveTo>
                  <a:pt x="40" y="282"/>
                </a:moveTo>
                <a:cubicBezTo>
                  <a:pt x="40" y="260"/>
                  <a:pt x="54" y="245"/>
                  <a:pt x="75" y="245"/>
                </a:cubicBezTo>
                <a:cubicBezTo>
                  <a:pt x="95" y="245"/>
                  <a:pt x="110" y="261"/>
                  <a:pt x="110" y="282"/>
                </a:cubicBezTo>
                <a:lnTo>
                  <a:pt x="110" y="397"/>
                </a:lnTo>
                <a:lnTo>
                  <a:pt x="40" y="397"/>
                </a:lnTo>
                <a:lnTo>
                  <a:pt x="40" y="282"/>
                </a:lnTo>
                <a:close/>
                <a:moveTo>
                  <a:pt x="28" y="419"/>
                </a:moveTo>
                <a:lnTo>
                  <a:pt x="121" y="419"/>
                </a:lnTo>
                <a:cubicBezTo>
                  <a:pt x="128" y="419"/>
                  <a:pt x="133" y="414"/>
                  <a:pt x="133" y="408"/>
                </a:cubicBezTo>
                <a:lnTo>
                  <a:pt x="133" y="282"/>
                </a:lnTo>
                <a:cubicBezTo>
                  <a:pt x="133" y="249"/>
                  <a:pt x="107" y="222"/>
                  <a:pt x="75" y="222"/>
                </a:cubicBezTo>
                <a:cubicBezTo>
                  <a:pt x="41" y="222"/>
                  <a:pt x="17" y="247"/>
                  <a:pt x="17" y="282"/>
                </a:cubicBezTo>
                <a:lnTo>
                  <a:pt x="17" y="408"/>
                </a:lnTo>
                <a:cubicBezTo>
                  <a:pt x="17" y="414"/>
                  <a:pt x="22" y="419"/>
                  <a:pt x="28" y="419"/>
                </a:cubicBezTo>
                <a:close/>
                <a:moveTo>
                  <a:pt x="448" y="119"/>
                </a:moveTo>
                <a:cubicBezTo>
                  <a:pt x="467" y="119"/>
                  <a:pt x="483" y="135"/>
                  <a:pt x="483" y="154"/>
                </a:cubicBezTo>
                <a:cubicBezTo>
                  <a:pt x="483" y="174"/>
                  <a:pt x="467" y="190"/>
                  <a:pt x="448" y="190"/>
                </a:cubicBezTo>
                <a:cubicBezTo>
                  <a:pt x="428" y="190"/>
                  <a:pt x="412" y="174"/>
                  <a:pt x="412" y="154"/>
                </a:cubicBezTo>
                <a:cubicBezTo>
                  <a:pt x="412" y="135"/>
                  <a:pt x="428" y="119"/>
                  <a:pt x="448" y="119"/>
                </a:cubicBezTo>
                <a:close/>
                <a:moveTo>
                  <a:pt x="448" y="212"/>
                </a:moveTo>
                <a:cubicBezTo>
                  <a:pt x="479" y="212"/>
                  <a:pt x="505" y="186"/>
                  <a:pt x="505" y="154"/>
                </a:cubicBezTo>
                <a:cubicBezTo>
                  <a:pt x="505" y="122"/>
                  <a:pt x="479" y="97"/>
                  <a:pt x="448" y="97"/>
                </a:cubicBezTo>
                <a:cubicBezTo>
                  <a:pt x="416" y="97"/>
                  <a:pt x="390" y="122"/>
                  <a:pt x="390" y="154"/>
                </a:cubicBezTo>
                <a:cubicBezTo>
                  <a:pt x="390" y="186"/>
                  <a:pt x="416" y="212"/>
                  <a:pt x="448" y="212"/>
                </a:cubicBezTo>
                <a:close/>
                <a:moveTo>
                  <a:pt x="412" y="282"/>
                </a:moveTo>
                <a:cubicBezTo>
                  <a:pt x="412" y="260"/>
                  <a:pt x="427" y="245"/>
                  <a:pt x="448" y="245"/>
                </a:cubicBezTo>
                <a:cubicBezTo>
                  <a:pt x="468" y="245"/>
                  <a:pt x="483" y="261"/>
                  <a:pt x="483" y="282"/>
                </a:cubicBezTo>
                <a:lnTo>
                  <a:pt x="483" y="397"/>
                </a:lnTo>
                <a:lnTo>
                  <a:pt x="412" y="397"/>
                </a:lnTo>
                <a:lnTo>
                  <a:pt x="412" y="282"/>
                </a:lnTo>
                <a:close/>
                <a:moveTo>
                  <a:pt x="401" y="419"/>
                </a:moveTo>
                <a:lnTo>
                  <a:pt x="494" y="419"/>
                </a:lnTo>
                <a:cubicBezTo>
                  <a:pt x="500" y="419"/>
                  <a:pt x="505" y="414"/>
                  <a:pt x="505" y="408"/>
                </a:cubicBezTo>
                <a:lnTo>
                  <a:pt x="505" y="282"/>
                </a:lnTo>
                <a:cubicBezTo>
                  <a:pt x="505" y="249"/>
                  <a:pt x="480" y="222"/>
                  <a:pt x="448" y="222"/>
                </a:cubicBezTo>
                <a:cubicBezTo>
                  <a:pt x="414" y="222"/>
                  <a:pt x="390" y="247"/>
                  <a:pt x="390" y="282"/>
                </a:cubicBezTo>
                <a:lnTo>
                  <a:pt x="390" y="408"/>
                </a:lnTo>
                <a:cubicBezTo>
                  <a:pt x="390" y="414"/>
                  <a:pt x="395" y="419"/>
                  <a:pt x="401" y="419"/>
                </a:cubicBezTo>
                <a:close/>
              </a:path>
            </a:pathLst>
          </a:custGeom>
          <a:solidFill>
            <a:srgbClr val="DCA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AB0DFE-142E-478F-B95D-BD61649ED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583058"/>
            <a:ext cx="4401698" cy="1218795"/>
          </a:xfrm>
        </p:spPr>
        <p:txBody>
          <a:bodyPr/>
          <a:lstStyle/>
          <a:p>
            <a:r>
              <a:rPr lang="pl-PL"/>
              <a:t>Retail Analytics @Poland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CCE3F7-2DD6-4275-A03A-13C862117AB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98266" y="1665623"/>
            <a:ext cx="4323475" cy="1695437"/>
          </a:xfrm>
        </p:spPr>
        <p:txBody>
          <a:bodyPr/>
          <a:lstStyle/>
          <a:p>
            <a:r>
              <a:rPr lang="pl-PL">
                <a:latin typeface="+mj-lt"/>
              </a:rPr>
              <a:t>Part of Intelligent Consulting Hub consisting of over </a:t>
            </a:r>
            <a:r>
              <a:rPr lang="pl-PL" b="1">
                <a:latin typeface="+mj-lt"/>
              </a:rPr>
              <a:t>100 data science </a:t>
            </a:r>
            <a:r>
              <a:rPr lang="pl-PL">
                <a:latin typeface="+mj-lt"/>
              </a:rPr>
              <a:t>experts</a:t>
            </a:r>
            <a:endParaRPr lang="en-US">
              <a:latin typeface="+mj-lt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400800-F078-48C3-A4AF-76C618FBBD1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7863" y="3473802"/>
            <a:ext cx="4323475" cy="243941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/>
              <a:t>delivering in Poland, near-shore and off-shore locations,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/>
              <a:t>with flexible, cost effective work model,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/>
              <a:t>supporting international retail chains in building cloud analytics solutions</a:t>
            </a:r>
          </a:p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A9123C-A21E-41C4-A87A-86E959D6B411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173533" y="321119"/>
            <a:ext cx="2291347" cy="1744052"/>
          </a:xfrm>
        </p:spPr>
        <p:txBody>
          <a:bodyPr/>
          <a:lstStyle/>
          <a:p>
            <a:pPr lvl="0"/>
            <a:r>
              <a:rPr lang="pl-PL"/>
              <a:t>20+ skilled specialists</a:t>
            </a:r>
            <a:endParaRPr lang="en-US"/>
          </a:p>
          <a:p>
            <a:pPr lvl="1"/>
            <a:r>
              <a:rPr kumimoji="0" lang="pl-PL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bridging all retail aspects with their expertise and experience in mathematics, modelling and programming</a:t>
            </a:r>
            <a:endParaRPr lang="en-US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1FB1F98-F03C-461B-803B-EE0E830A76C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360389" y="321119"/>
            <a:ext cx="2291347" cy="1744052"/>
          </a:xfrm>
        </p:spPr>
        <p:txBody>
          <a:bodyPr/>
          <a:lstStyle/>
          <a:p>
            <a:pPr lvl="0"/>
            <a:r>
              <a:rPr lang="pl-PL"/>
              <a:t>Data science </a:t>
            </a:r>
            <a:br>
              <a:rPr lang="pl-PL"/>
            </a:br>
            <a:r>
              <a:rPr lang="pl-PL"/>
              <a:t>&amp; engineering</a:t>
            </a:r>
            <a:endParaRPr lang="en-US"/>
          </a:p>
          <a:p>
            <a:pPr lvl="1"/>
            <a:r>
              <a:rPr lang="pl-PL" sz="1400"/>
              <a:t>custom client-tailored solutions over a variety of platforms and languages, including Python, R, SQL, SAS</a:t>
            </a:r>
            <a:endParaRPr lang="en-US" sz="140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68E253-045A-4461-96F7-96A285245F30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173533" y="2281163"/>
            <a:ext cx="2291347" cy="1744052"/>
          </a:xfrm>
        </p:spPr>
        <p:txBody>
          <a:bodyPr/>
          <a:lstStyle/>
          <a:p>
            <a:pPr lvl="0"/>
            <a:r>
              <a:rPr lang="pl-PL"/>
              <a:t>Machine Learning </a:t>
            </a:r>
            <a:br>
              <a:rPr lang="pl-PL"/>
            </a:br>
            <a:r>
              <a:rPr lang="pl-PL"/>
              <a:t>&amp; GenAI</a:t>
            </a:r>
            <a:endParaRPr lang="en-US"/>
          </a:p>
          <a:p>
            <a:pPr lvl="1"/>
            <a:r>
              <a:rPr lang="pl-PL" sz="1400"/>
              <a:t>state-of-art AI methods (Keras, TensorFlow, PyTorch, Scikit-learn), including NLP and GenAI, as well as custom designed algorithms</a:t>
            </a:r>
            <a:endParaRPr lang="en-US" sz="140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E617C9A-A11C-4935-95BF-A09C0121B79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360389" y="2281163"/>
            <a:ext cx="2291347" cy="1744052"/>
          </a:xfrm>
        </p:spPr>
        <p:txBody>
          <a:bodyPr/>
          <a:lstStyle/>
          <a:p>
            <a:pPr lvl="0"/>
            <a:r>
              <a:rPr lang="pl-PL"/>
              <a:t>Visualization</a:t>
            </a:r>
            <a:endParaRPr lang="en-US"/>
          </a:p>
          <a:p>
            <a:pPr lvl="1"/>
            <a:r>
              <a:rPr lang="pl-PL" sz="1400"/>
              <a:t>and reporting using top tools on market: Power BI, MicroStrategy, Tableau, as well as custom built web applications</a:t>
            </a:r>
            <a:endParaRPr lang="en-US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397AB4B-C513-47BD-8475-E6A7AC19119A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pl-PL"/>
              <a:t> 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E66248F-0AB8-4AE6-BECE-343043699A60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9FDDA27D-B168-8E41-90A6-0318F2E95E86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173533" y="4353597"/>
            <a:ext cx="2291347" cy="1744052"/>
          </a:xfrm>
        </p:spPr>
        <p:txBody>
          <a:bodyPr/>
          <a:lstStyle/>
          <a:p>
            <a:pPr lvl="0"/>
            <a:r>
              <a:rPr lang="pl-PL"/>
              <a:t>Cloud solutions</a:t>
            </a:r>
            <a:endParaRPr lang="en-US"/>
          </a:p>
          <a:p>
            <a:pPr lvl="1"/>
            <a:r>
              <a:rPr lang="pl-PL" sz="1400">
                <a:solidFill>
                  <a:srgbClr val="000000"/>
                </a:solidFill>
                <a:latin typeface="Graphik" panose="020B0503030202060203" pitchFamily="34" charset="-18"/>
                <a:cs typeface="Arial" charset="0"/>
              </a:rPr>
              <a:t>c</a:t>
            </a:r>
            <a:r>
              <a:rPr kumimoji="0" lang="pl-PL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ertification proven skills and experience with cloud computing,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-18"/>
                <a:ea typeface="+mn-ea"/>
                <a:cs typeface="Arial" charset="0"/>
              </a:rPr>
              <a:t>both on premise and on the biggest cloud service providers (AWS, Azure, GCP) </a:t>
            </a:r>
            <a:endParaRPr lang="en-US" sz="140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5F8785CB-6DD3-1240-9015-26A8DCC91CC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9360389" y="4353597"/>
            <a:ext cx="2291347" cy="1744052"/>
          </a:xfrm>
        </p:spPr>
        <p:txBody>
          <a:bodyPr/>
          <a:lstStyle/>
          <a:p>
            <a:pPr lvl="0"/>
            <a:r>
              <a:rPr lang="pl-PL"/>
              <a:t>Client communication</a:t>
            </a:r>
            <a:endParaRPr lang="en-US"/>
          </a:p>
          <a:p>
            <a:pPr lvl="1"/>
            <a:r>
              <a:rPr lang="pl-PL" sz="1400"/>
              <a:t>excellence in recognizing data pain points, and delivering client focused solutions followed by data driven storytelling</a:t>
            </a:r>
            <a:endParaRPr lang="en-US" sz="1400"/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4F04050-73E8-1146-860E-D3BE17D30F59}"/>
              </a:ext>
            </a:extLst>
          </p:cNvPr>
          <p:cNvCxnSpPr/>
          <p:nvPr/>
        </p:nvCxnSpPr>
        <p:spPr>
          <a:xfrm>
            <a:off x="5943600" y="321119"/>
            <a:ext cx="0" cy="1136459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8C566C4B-6882-CA4E-8F5A-83F44798CB85}"/>
              </a:ext>
            </a:extLst>
          </p:cNvPr>
          <p:cNvCxnSpPr/>
          <p:nvPr/>
        </p:nvCxnSpPr>
        <p:spPr>
          <a:xfrm>
            <a:off x="5943600" y="2267485"/>
            <a:ext cx="0" cy="1136459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9C2D6BE8-EC3F-EB42-97CA-383C637AA851}"/>
              </a:ext>
            </a:extLst>
          </p:cNvPr>
          <p:cNvCxnSpPr/>
          <p:nvPr/>
        </p:nvCxnSpPr>
        <p:spPr>
          <a:xfrm>
            <a:off x="5943600" y="4379108"/>
            <a:ext cx="0" cy="1136459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76A33E6C-A518-1344-B467-A79BBCC44DC1}"/>
              </a:ext>
            </a:extLst>
          </p:cNvPr>
          <p:cNvCxnSpPr/>
          <p:nvPr/>
        </p:nvCxnSpPr>
        <p:spPr>
          <a:xfrm>
            <a:off x="9117874" y="321119"/>
            <a:ext cx="0" cy="1136459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20434476-3E92-A040-B880-C73140B7F9C7}"/>
              </a:ext>
            </a:extLst>
          </p:cNvPr>
          <p:cNvCxnSpPr/>
          <p:nvPr/>
        </p:nvCxnSpPr>
        <p:spPr>
          <a:xfrm>
            <a:off x="9117874" y="2267485"/>
            <a:ext cx="0" cy="1136459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14ACED4C-2254-0943-BABF-A93AC1E7CAEE}"/>
              </a:ext>
            </a:extLst>
          </p:cNvPr>
          <p:cNvCxnSpPr/>
          <p:nvPr/>
        </p:nvCxnSpPr>
        <p:spPr>
          <a:xfrm>
            <a:off x="9117874" y="4379108"/>
            <a:ext cx="0" cy="1136459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icon reference" descr="icon reference placeholder">
            <a:extLst>
              <a:ext uri="{FF2B5EF4-FFF2-40B4-BE49-F238E27FC236}">
                <a16:creationId xmlns:a16="http://schemas.microsoft.com/office/drawing/2014/main" id="{C9782EDE-8889-9F6A-4D01-53D5A56367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530211" y="2178312"/>
            <a:ext cx="473977" cy="462859"/>
            <a:chOff x="6726" y="600"/>
            <a:chExt cx="426" cy="416"/>
          </a:xfrm>
          <a:solidFill>
            <a:srgbClr val="DCAFFF"/>
          </a:solidFill>
        </p:grpSpPr>
        <p:sp>
          <p:nvSpPr>
            <p:cNvPr id="78" name="Freeform 61">
              <a:extLst>
                <a:ext uri="{FF2B5EF4-FFF2-40B4-BE49-F238E27FC236}">
                  <a16:creationId xmlns:a16="http://schemas.microsoft.com/office/drawing/2014/main" id="{66FC8FED-0159-DC11-E014-30EB0DB75E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6" y="999"/>
              <a:ext cx="426" cy="17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10"/>
                    <a:pt x="285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503030202060203" pitchFamily="34" charset="77"/>
                <a:cs typeface="Arial" charset="0"/>
              </a:endParaRPr>
            </a:p>
          </p:txBody>
        </p:sp>
        <p:sp>
          <p:nvSpPr>
            <p:cNvPr id="79" name="Freeform 62">
              <a:extLst>
                <a:ext uri="{FF2B5EF4-FFF2-40B4-BE49-F238E27FC236}">
                  <a16:creationId xmlns:a16="http://schemas.microsoft.com/office/drawing/2014/main" id="{D84EFC17-BB02-0E8E-68F8-2AC989B4EB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44" y="912"/>
              <a:ext cx="71" cy="104"/>
            </a:xfrm>
            <a:custGeom>
              <a:avLst/>
              <a:gdLst>
                <a:gd name="T0" fmla="*/ 42 w 48"/>
                <a:gd name="T1" fmla="*/ 72 h 72"/>
                <a:gd name="T2" fmla="*/ 6 w 48"/>
                <a:gd name="T3" fmla="*/ 72 h 72"/>
                <a:gd name="T4" fmla="*/ 0 w 48"/>
                <a:gd name="T5" fmla="*/ 66 h 72"/>
                <a:gd name="T6" fmla="*/ 0 w 48"/>
                <a:gd name="T7" fmla="*/ 6 h 72"/>
                <a:gd name="T8" fmla="*/ 6 w 48"/>
                <a:gd name="T9" fmla="*/ 0 h 72"/>
                <a:gd name="T10" fmla="*/ 42 w 48"/>
                <a:gd name="T11" fmla="*/ 0 h 72"/>
                <a:gd name="T12" fmla="*/ 48 w 48"/>
                <a:gd name="T13" fmla="*/ 6 h 72"/>
                <a:gd name="T14" fmla="*/ 48 w 48"/>
                <a:gd name="T15" fmla="*/ 66 h 72"/>
                <a:gd name="T16" fmla="*/ 42 w 48"/>
                <a:gd name="T17" fmla="*/ 72 h 72"/>
                <a:gd name="T18" fmla="*/ 12 w 48"/>
                <a:gd name="T19" fmla="*/ 60 h 72"/>
                <a:gd name="T20" fmla="*/ 36 w 48"/>
                <a:gd name="T21" fmla="*/ 60 h 72"/>
                <a:gd name="T22" fmla="*/ 36 w 48"/>
                <a:gd name="T23" fmla="*/ 12 h 72"/>
                <a:gd name="T24" fmla="*/ 12 w 48"/>
                <a:gd name="T25" fmla="*/ 12 h 72"/>
                <a:gd name="T26" fmla="*/ 12 w 48"/>
                <a:gd name="T2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72">
                  <a:moveTo>
                    <a:pt x="42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2" y="72"/>
                    <a:pt x="0" y="70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70"/>
                    <a:pt x="45" y="72"/>
                    <a:pt x="42" y="72"/>
                  </a:cubicBezTo>
                  <a:close/>
                  <a:moveTo>
                    <a:pt x="12" y="60"/>
                  </a:moveTo>
                  <a:cubicBezTo>
                    <a:pt x="36" y="60"/>
                    <a:pt x="36" y="60"/>
                    <a:pt x="36" y="6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503030202060203" pitchFamily="34" charset="77"/>
                <a:cs typeface="Arial" charset="0"/>
              </a:endParaRPr>
            </a:p>
          </p:txBody>
        </p:sp>
        <p:sp>
          <p:nvSpPr>
            <p:cNvPr id="80" name="Freeform 63">
              <a:extLst>
                <a:ext uri="{FF2B5EF4-FFF2-40B4-BE49-F238E27FC236}">
                  <a16:creationId xmlns:a16="http://schemas.microsoft.com/office/drawing/2014/main" id="{EA75DC97-EF6E-C9EB-CB2A-6599798FDB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50" y="826"/>
              <a:ext cx="71" cy="190"/>
            </a:xfrm>
            <a:custGeom>
              <a:avLst/>
              <a:gdLst>
                <a:gd name="T0" fmla="*/ 42 w 48"/>
                <a:gd name="T1" fmla="*/ 132 h 132"/>
                <a:gd name="T2" fmla="*/ 6 w 48"/>
                <a:gd name="T3" fmla="*/ 132 h 132"/>
                <a:gd name="T4" fmla="*/ 0 w 48"/>
                <a:gd name="T5" fmla="*/ 126 h 132"/>
                <a:gd name="T6" fmla="*/ 0 w 48"/>
                <a:gd name="T7" fmla="*/ 6 h 132"/>
                <a:gd name="T8" fmla="*/ 6 w 48"/>
                <a:gd name="T9" fmla="*/ 0 h 132"/>
                <a:gd name="T10" fmla="*/ 42 w 48"/>
                <a:gd name="T11" fmla="*/ 0 h 132"/>
                <a:gd name="T12" fmla="*/ 48 w 48"/>
                <a:gd name="T13" fmla="*/ 6 h 132"/>
                <a:gd name="T14" fmla="*/ 48 w 48"/>
                <a:gd name="T15" fmla="*/ 126 h 132"/>
                <a:gd name="T16" fmla="*/ 42 w 48"/>
                <a:gd name="T17" fmla="*/ 132 h 132"/>
                <a:gd name="T18" fmla="*/ 12 w 48"/>
                <a:gd name="T19" fmla="*/ 120 h 132"/>
                <a:gd name="T20" fmla="*/ 36 w 48"/>
                <a:gd name="T21" fmla="*/ 120 h 132"/>
                <a:gd name="T22" fmla="*/ 36 w 48"/>
                <a:gd name="T23" fmla="*/ 12 h 132"/>
                <a:gd name="T24" fmla="*/ 12 w 48"/>
                <a:gd name="T25" fmla="*/ 12 h 132"/>
                <a:gd name="T26" fmla="*/ 12 w 48"/>
                <a:gd name="T27" fmla="*/ 12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32">
                  <a:moveTo>
                    <a:pt x="42" y="132"/>
                  </a:moveTo>
                  <a:cubicBezTo>
                    <a:pt x="6" y="132"/>
                    <a:pt x="6" y="132"/>
                    <a:pt x="6" y="132"/>
                  </a:cubicBezTo>
                  <a:cubicBezTo>
                    <a:pt x="2" y="132"/>
                    <a:pt x="0" y="130"/>
                    <a:pt x="0" y="1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126"/>
                    <a:pt x="48" y="126"/>
                    <a:pt x="48" y="126"/>
                  </a:cubicBezTo>
                  <a:cubicBezTo>
                    <a:pt x="48" y="130"/>
                    <a:pt x="45" y="132"/>
                    <a:pt x="42" y="132"/>
                  </a:cubicBezTo>
                  <a:close/>
                  <a:moveTo>
                    <a:pt x="12" y="120"/>
                  </a:moveTo>
                  <a:cubicBezTo>
                    <a:pt x="36" y="120"/>
                    <a:pt x="36" y="120"/>
                    <a:pt x="36" y="12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503030202060203" pitchFamily="34" charset="77"/>
                <a:cs typeface="Arial" charset="0"/>
              </a:endParaRPr>
            </a:p>
          </p:txBody>
        </p:sp>
        <p:sp>
          <p:nvSpPr>
            <p:cNvPr id="81" name="Freeform 64">
              <a:extLst>
                <a:ext uri="{FF2B5EF4-FFF2-40B4-BE49-F238E27FC236}">
                  <a16:creationId xmlns:a16="http://schemas.microsoft.com/office/drawing/2014/main" id="{B88A9208-18C6-935A-9422-8A1B1B8440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7" y="860"/>
              <a:ext cx="71" cy="156"/>
            </a:xfrm>
            <a:custGeom>
              <a:avLst/>
              <a:gdLst>
                <a:gd name="T0" fmla="*/ 42 w 48"/>
                <a:gd name="T1" fmla="*/ 108 h 108"/>
                <a:gd name="T2" fmla="*/ 6 w 48"/>
                <a:gd name="T3" fmla="*/ 108 h 108"/>
                <a:gd name="T4" fmla="*/ 0 w 48"/>
                <a:gd name="T5" fmla="*/ 102 h 108"/>
                <a:gd name="T6" fmla="*/ 0 w 48"/>
                <a:gd name="T7" fmla="*/ 6 h 108"/>
                <a:gd name="T8" fmla="*/ 6 w 48"/>
                <a:gd name="T9" fmla="*/ 0 h 108"/>
                <a:gd name="T10" fmla="*/ 42 w 48"/>
                <a:gd name="T11" fmla="*/ 0 h 108"/>
                <a:gd name="T12" fmla="*/ 48 w 48"/>
                <a:gd name="T13" fmla="*/ 6 h 108"/>
                <a:gd name="T14" fmla="*/ 48 w 48"/>
                <a:gd name="T15" fmla="*/ 102 h 108"/>
                <a:gd name="T16" fmla="*/ 42 w 48"/>
                <a:gd name="T17" fmla="*/ 108 h 108"/>
                <a:gd name="T18" fmla="*/ 12 w 48"/>
                <a:gd name="T19" fmla="*/ 96 h 108"/>
                <a:gd name="T20" fmla="*/ 36 w 48"/>
                <a:gd name="T21" fmla="*/ 96 h 108"/>
                <a:gd name="T22" fmla="*/ 36 w 48"/>
                <a:gd name="T23" fmla="*/ 12 h 108"/>
                <a:gd name="T24" fmla="*/ 12 w 48"/>
                <a:gd name="T25" fmla="*/ 12 h 108"/>
                <a:gd name="T26" fmla="*/ 12 w 48"/>
                <a:gd name="T27" fmla="*/ 9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08">
                  <a:moveTo>
                    <a:pt x="42" y="108"/>
                  </a:moveTo>
                  <a:cubicBezTo>
                    <a:pt x="6" y="108"/>
                    <a:pt x="6" y="108"/>
                    <a:pt x="6" y="108"/>
                  </a:cubicBezTo>
                  <a:cubicBezTo>
                    <a:pt x="2" y="108"/>
                    <a:pt x="0" y="106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102"/>
                    <a:pt x="48" y="102"/>
                    <a:pt x="48" y="102"/>
                  </a:cubicBezTo>
                  <a:cubicBezTo>
                    <a:pt x="48" y="106"/>
                    <a:pt x="45" y="108"/>
                    <a:pt x="42" y="108"/>
                  </a:cubicBezTo>
                  <a:close/>
                  <a:moveTo>
                    <a:pt x="12" y="96"/>
                  </a:moveTo>
                  <a:cubicBezTo>
                    <a:pt x="36" y="96"/>
                    <a:pt x="36" y="96"/>
                    <a:pt x="36" y="9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503030202060203" pitchFamily="34" charset="77"/>
                <a:cs typeface="Arial" charset="0"/>
              </a:endParaRPr>
            </a:p>
          </p:txBody>
        </p:sp>
        <p:sp>
          <p:nvSpPr>
            <p:cNvPr id="82" name="Freeform 65">
              <a:extLst>
                <a:ext uri="{FF2B5EF4-FFF2-40B4-BE49-F238E27FC236}">
                  <a16:creationId xmlns:a16="http://schemas.microsoft.com/office/drawing/2014/main" id="{15C416C4-29F8-C012-174D-13F53CC333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63" y="739"/>
              <a:ext cx="71" cy="277"/>
            </a:xfrm>
            <a:custGeom>
              <a:avLst/>
              <a:gdLst>
                <a:gd name="T0" fmla="*/ 42 w 48"/>
                <a:gd name="T1" fmla="*/ 192 h 192"/>
                <a:gd name="T2" fmla="*/ 6 w 48"/>
                <a:gd name="T3" fmla="*/ 192 h 192"/>
                <a:gd name="T4" fmla="*/ 0 w 48"/>
                <a:gd name="T5" fmla="*/ 186 h 192"/>
                <a:gd name="T6" fmla="*/ 0 w 48"/>
                <a:gd name="T7" fmla="*/ 6 h 192"/>
                <a:gd name="T8" fmla="*/ 6 w 48"/>
                <a:gd name="T9" fmla="*/ 0 h 192"/>
                <a:gd name="T10" fmla="*/ 42 w 48"/>
                <a:gd name="T11" fmla="*/ 0 h 192"/>
                <a:gd name="T12" fmla="*/ 48 w 48"/>
                <a:gd name="T13" fmla="*/ 6 h 192"/>
                <a:gd name="T14" fmla="*/ 48 w 48"/>
                <a:gd name="T15" fmla="*/ 186 h 192"/>
                <a:gd name="T16" fmla="*/ 42 w 48"/>
                <a:gd name="T17" fmla="*/ 192 h 192"/>
                <a:gd name="T18" fmla="*/ 12 w 48"/>
                <a:gd name="T19" fmla="*/ 180 h 192"/>
                <a:gd name="T20" fmla="*/ 36 w 48"/>
                <a:gd name="T21" fmla="*/ 180 h 192"/>
                <a:gd name="T22" fmla="*/ 36 w 48"/>
                <a:gd name="T23" fmla="*/ 12 h 192"/>
                <a:gd name="T24" fmla="*/ 12 w 48"/>
                <a:gd name="T25" fmla="*/ 12 h 192"/>
                <a:gd name="T26" fmla="*/ 12 w 48"/>
                <a:gd name="T27" fmla="*/ 18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92">
                  <a:moveTo>
                    <a:pt x="42" y="192"/>
                  </a:moveTo>
                  <a:cubicBezTo>
                    <a:pt x="6" y="192"/>
                    <a:pt x="6" y="192"/>
                    <a:pt x="6" y="192"/>
                  </a:cubicBezTo>
                  <a:cubicBezTo>
                    <a:pt x="2" y="192"/>
                    <a:pt x="0" y="190"/>
                    <a:pt x="0" y="18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186"/>
                    <a:pt x="48" y="186"/>
                    <a:pt x="48" y="186"/>
                  </a:cubicBezTo>
                  <a:cubicBezTo>
                    <a:pt x="48" y="190"/>
                    <a:pt x="45" y="192"/>
                    <a:pt x="42" y="192"/>
                  </a:cubicBezTo>
                  <a:close/>
                  <a:moveTo>
                    <a:pt x="12" y="180"/>
                  </a:moveTo>
                  <a:cubicBezTo>
                    <a:pt x="36" y="180"/>
                    <a:pt x="36" y="180"/>
                    <a:pt x="36" y="18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503030202060203" pitchFamily="34" charset="77"/>
                <a:cs typeface="Arial" charset="0"/>
              </a:endParaRPr>
            </a:p>
          </p:txBody>
        </p:sp>
        <p:sp>
          <p:nvSpPr>
            <p:cNvPr id="83" name="Freeform 66">
              <a:extLst>
                <a:ext uri="{FF2B5EF4-FFF2-40B4-BE49-F238E27FC236}">
                  <a16:creationId xmlns:a16="http://schemas.microsoft.com/office/drawing/2014/main" id="{7CDF9722-E977-5FDC-9D35-06279F0935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53" y="774"/>
              <a:ext cx="53" cy="52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2"/>
                    <a:pt x="14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503030202060203" pitchFamily="34" charset="77"/>
                <a:cs typeface="Arial" charset="0"/>
              </a:endParaRPr>
            </a:p>
          </p:txBody>
        </p:sp>
        <p:sp>
          <p:nvSpPr>
            <p:cNvPr id="84" name="Freeform 67">
              <a:extLst>
                <a:ext uri="{FF2B5EF4-FFF2-40B4-BE49-F238E27FC236}">
                  <a16:creationId xmlns:a16="http://schemas.microsoft.com/office/drawing/2014/main" id="{254C55B8-0485-78D0-34FF-88A2ED2B98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59" y="687"/>
              <a:ext cx="53" cy="52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2"/>
                    <a:pt x="14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503030202060203" pitchFamily="34" charset="77"/>
                <a:cs typeface="Arial" charset="0"/>
              </a:endParaRPr>
            </a:p>
          </p:txBody>
        </p:sp>
        <p:sp>
          <p:nvSpPr>
            <p:cNvPr id="85" name="Freeform 68">
              <a:extLst>
                <a:ext uri="{FF2B5EF4-FFF2-40B4-BE49-F238E27FC236}">
                  <a16:creationId xmlns:a16="http://schemas.microsoft.com/office/drawing/2014/main" id="{236502E9-A006-31F0-FB67-835CD05FFB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66" y="722"/>
              <a:ext cx="53" cy="52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2"/>
                    <a:pt x="14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503030202060203" pitchFamily="34" charset="77"/>
                <a:cs typeface="Arial" charset="0"/>
              </a:endParaRPr>
            </a:p>
          </p:txBody>
        </p:sp>
        <p:sp>
          <p:nvSpPr>
            <p:cNvPr id="86" name="Freeform 69">
              <a:extLst>
                <a:ext uri="{FF2B5EF4-FFF2-40B4-BE49-F238E27FC236}">
                  <a16:creationId xmlns:a16="http://schemas.microsoft.com/office/drawing/2014/main" id="{7C6E7C73-310C-6487-7DC4-AF76167D99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72" y="600"/>
              <a:ext cx="54" cy="52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2"/>
                    <a:pt x="14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503030202060203" pitchFamily="34" charset="77"/>
                <a:cs typeface="Arial" charset="0"/>
              </a:endParaRPr>
            </a:p>
          </p:txBody>
        </p:sp>
        <p:sp>
          <p:nvSpPr>
            <p:cNvPr id="87" name="Freeform 70">
              <a:extLst>
                <a:ext uri="{FF2B5EF4-FFF2-40B4-BE49-F238E27FC236}">
                  <a16:creationId xmlns:a16="http://schemas.microsoft.com/office/drawing/2014/main" id="{5B7560EC-F239-F4B0-1B6E-A823624DA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2" y="714"/>
              <a:ext cx="99" cy="84"/>
            </a:xfrm>
            <a:custGeom>
              <a:avLst/>
              <a:gdLst>
                <a:gd name="T0" fmla="*/ 7 w 67"/>
                <a:gd name="T1" fmla="*/ 58 h 58"/>
                <a:gd name="T2" fmla="*/ 2 w 67"/>
                <a:gd name="T3" fmla="*/ 56 h 58"/>
                <a:gd name="T4" fmla="*/ 3 w 67"/>
                <a:gd name="T5" fmla="*/ 47 h 58"/>
                <a:gd name="T6" fmla="*/ 57 w 67"/>
                <a:gd name="T7" fmla="*/ 3 h 58"/>
                <a:gd name="T8" fmla="*/ 65 w 67"/>
                <a:gd name="T9" fmla="*/ 3 h 58"/>
                <a:gd name="T10" fmla="*/ 64 w 67"/>
                <a:gd name="T11" fmla="*/ 12 h 58"/>
                <a:gd name="T12" fmla="*/ 11 w 67"/>
                <a:gd name="T13" fmla="*/ 56 h 58"/>
                <a:gd name="T14" fmla="*/ 7 w 67"/>
                <a:gd name="T1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58">
                  <a:moveTo>
                    <a:pt x="7" y="58"/>
                  </a:moveTo>
                  <a:cubicBezTo>
                    <a:pt x="5" y="58"/>
                    <a:pt x="3" y="57"/>
                    <a:pt x="2" y="56"/>
                  </a:cubicBezTo>
                  <a:cubicBezTo>
                    <a:pt x="0" y="53"/>
                    <a:pt x="0" y="49"/>
                    <a:pt x="3" y="47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9" y="0"/>
                    <a:pt x="63" y="1"/>
                    <a:pt x="65" y="3"/>
                  </a:cubicBezTo>
                  <a:cubicBezTo>
                    <a:pt x="67" y="6"/>
                    <a:pt x="67" y="10"/>
                    <a:pt x="64" y="12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0" y="57"/>
                    <a:pt x="8" y="58"/>
                    <a:pt x="7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503030202060203" pitchFamily="34" charset="77"/>
                <a:cs typeface="Arial" charset="0"/>
              </a:endParaRPr>
            </a:p>
          </p:txBody>
        </p:sp>
        <p:sp>
          <p:nvSpPr>
            <p:cNvPr id="88" name="Freeform 71">
              <a:extLst>
                <a:ext uri="{FF2B5EF4-FFF2-40B4-BE49-F238E27FC236}">
                  <a16:creationId xmlns:a16="http://schemas.microsoft.com/office/drawing/2014/main" id="{902B954B-6FBC-13E1-6693-E490034BEB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2" y="708"/>
              <a:ext cx="93" cy="44"/>
            </a:xfrm>
            <a:custGeom>
              <a:avLst/>
              <a:gdLst>
                <a:gd name="T0" fmla="*/ 57 w 63"/>
                <a:gd name="T1" fmla="*/ 30 h 30"/>
                <a:gd name="T2" fmla="*/ 55 w 63"/>
                <a:gd name="T3" fmla="*/ 29 h 30"/>
                <a:gd name="T4" fmla="*/ 5 w 63"/>
                <a:gd name="T5" fmla="*/ 13 h 30"/>
                <a:gd name="T6" fmla="*/ 1 w 63"/>
                <a:gd name="T7" fmla="*/ 5 h 30"/>
                <a:gd name="T8" fmla="*/ 9 w 63"/>
                <a:gd name="T9" fmla="*/ 2 h 30"/>
                <a:gd name="T10" fmla="*/ 58 w 63"/>
                <a:gd name="T11" fmla="*/ 18 h 30"/>
                <a:gd name="T12" fmla="*/ 62 w 63"/>
                <a:gd name="T13" fmla="*/ 26 h 30"/>
                <a:gd name="T14" fmla="*/ 57 w 63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30">
                  <a:moveTo>
                    <a:pt x="57" y="30"/>
                  </a:moveTo>
                  <a:cubicBezTo>
                    <a:pt x="56" y="30"/>
                    <a:pt x="55" y="30"/>
                    <a:pt x="55" y="29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6" y="0"/>
                    <a:pt x="9" y="2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62" y="19"/>
                    <a:pt x="63" y="23"/>
                    <a:pt x="62" y="26"/>
                  </a:cubicBezTo>
                  <a:cubicBezTo>
                    <a:pt x="61" y="28"/>
                    <a:pt x="59" y="30"/>
                    <a:pt x="57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503030202060203" pitchFamily="34" charset="77"/>
                <a:cs typeface="Arial" charset="0"/>
              </a:endParaRPr>
            </a:p>
          </p:txBody>
        </p:sp>
        <p:sp>
          <p:nvSpPr>
            <p:cNvPr id="89" name="Freeform 72">
              <a:extLst>
                <a:ext uri="{FF2B5EF4-FFF2-40B4-BE49-F238E27FC236}">
                  <a16:creationId xmlns:a16="http://schemas.microsoft.com/office/drawing/2014/main" id="{FE5D91BF-8822-FDBF-613F-0BD1B8F62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4" y="630"/>
              <a:ext cx="103" cy="113"/>
            </a:xfrm>
            <a:custGeom>
              <a:avLst/>
              <a:gdLst>
                <a:gd name="T0" fmla="*/ 6 w 70"/>
                <a:gd name="T1" fmla="*/ 78 h 78"/>
                <a:gd name="T2" fmla="*/ 3 w 70"/>
                <a:gd name="T3" fmla="*/ 77 h 78"/>
                <a:gd name="T4" fmla="*/ 2 w 70"/>
                <a:gd name="T5" fmla="*/ 68 h 78"/>
                <a:gd name="T6" fmla="*/ 58 w 70"/>
                <a:gd name="T7" fmla="*/ 3 h 78"/>
                <a:gd name="T8" fmla="*/ 67 w 70"/>
                <a:gd name="T9" fmla="*/ 2 h 78"/>
                <a:gd name="T10" fmla="*/ 67 w 70"/>
                <a:gd name="T11" fmla="*/ 10 h 78"/>
                <a:gd name="T12" fmla="*/ 11 w 70"/>
                <a:gd name="T13" fmla="*/ 76 h 78"/>
                <a:gd name="T14" fmla="*/ 6 w 70"/>
                <a:gd name="T1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78">
                  <a:moveTo>
                    <a:pt x="6" y="78"/>
                  </a:moveTo>
                  <a:cubicBezTo>
                    <a:pt x="5" y="78"/>
                    <a:pt x="4" y="78"/>
                    <a:pt x="3" y="77"/>
                  </a:cubicBezTo>
                  <a:cubicBezTo>
                    <a:pt x="0" y="75"/>
                    <a:pt x="0" y="71"/>
                    <a:pt x="2" y="68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60" y="0"/>
                    <a:pt x="64" y="0"/>
                    <a:pt x="67" y="2"/>
                  </a:cubicBezTo>
                  <a:cubicBezTo>
                    <a:pt x="69" y="4"/>
                    <a:pt x="70" y="8"/>
                    <a:pt x="67" y="10"/>
                  </a:cubicBezTo>
                  <a:cubicBezTo>
                    <a:pt x="11" y="76"/>
                    <a:pt x="11" y="76"/>
                    <a:pt x="11" y="76"/>
                  </a:cubicBezTo>
                  <a:cubicBezTo>
                    <a:pt x="10" y="78"/>
                    <a:pt x="8" y="78"/>
                    <a:pt x="6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503030202060203" pitchFamily="34" charset="77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40175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StratConsult_PPT_Tmplt_Graphik_210323.potx" id="{7063A270-6628-40AC-B1C6-7F51DE74A2E0}" vid="{C5BBD24A-903A-47B7-88CA-4CD85347C499}"/>
    </a:ext>
  </a:extLst>
</a:theme>
</file>

<file path=ppt/theme/theme2.xml><?xml version="1.0" encoding="utf-8"?>
<a:theme xmlns:a="http://schemas.openxmlformats.org/drawingml/2006/main" name="1_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StratConsult_PPT_Tmplt_Graphik_210323.potx" id="{7063A270-6628-40AC-B1C6-7F51DE74A2E0}" vid="{C5BBD24A-903A-47B7-88CA-4CD85347C499}"/>
    </a:ext>
  </a:extLst>
</a:theme>
</file>

<file path=ppt/theme/theme3.xml><?xml version="1.0" encoding="utf-8"?>
<a:theme xmlns:a="http://schemas.openxmlformats.org/drawingml/2006/main" name="1_One Europe Rising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Benutzerdefiniert 1">
      <a:majorFont>
        <a:latin typeface="Graphik Semibold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tIns="91440" bIns="91440"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CoreTemplate_Graphik_100820" id="{49DBA5FE-D7D0-7E4B-91FA-5CF7CE14D163}" vid="{DBC2176E-0E90-094E-B41E-2DF55F50486E}"/>
    </a:ext>
  </a:extLst>
</a:theme>
</file>

<file path=ppt/theme/theme4.xml><?xml version="1.0" encoding="utf-8"?>
<a:theme xmlns:a="http://schemas.openxmlformats.org/drawingml/2006/main" name="2_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StratConsult_PPT_Tmplt_Graphik_210323.potx" id="{7063A270-6628-40AC-B1C6-7F51DE74A2E0}" vid="{C5BBD24A-903A-47B7-88CA-4CD85347C499}"/>
    </a:ext>
  </a:extLst>
</a:theme>
</file>

<file path=ppt/theme/theme5.xml><?xml version="1.0" encoding="utf-8"?>
<a:theme xmlns:a="http://schemas.openxmlformats.org/drawingml/2006/main" name="Accenture 2022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Custom 2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Acc_PPT_IMP_Starter-Pack_Graphik_Fixed-Accessibility_20220512.potx" id="{C14F5733-9612-42E6-BE71-9C8734CBFB83}" vid="{E485E983-2E79-40F3-833F-E74C94DAFD82}"/>
    </a:ext>
  </a:extLst>
</a:theme>
</file>

<file path=ppt/theme/theme6.xml><?xml version="1.0" encoding="utf-8"?>
<a:theme xmlns:a="http://schemas.openxmlformats.org/drawingml/2006/main" name="1_Titles">
  <a:themeElements>
    <a:clrScheme name="Core Brand New">
      <a:dk1>
        <a:srgbClr val="000000"/>
      </a:dk1>
      <a:lt1>
        <a:srgbClr val="FFFFFF"/>
      </a:lt1>
      <a:dk2>
        <a:srgbClr val="595959"/>
      </a:dk2>
      <a:lt2>
        <a:srgbClr val="D8D8D8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EF"/>
      </a:accent6>
      <a:hlink>
        <a:srgbClr val="A100FF"/>
      </a:hlink>
      <a:folHlink>
        <a:srgbClr val="A100FF"/>
      </a:folHlink>
    </a:clrScheme>
    <a:fontScheme name="Accenture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4572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202FC775-2CE1-4E44-BB70-A24C595DDEA3}" vid="{367C350C-F964-5548-9DEB-FC3545EDF658}"/>
    </a:ext>
  </a:extLst>
</a:theme>
</file>

<file path=ppt/theme/theme7.xml><?xml version="1.0" encoding="utf-8"?>
<a:theme xmlns:a="http://schemas.openxmlformats.org/drawingml/2006/main" name="Office Them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E6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Graphik Semibold">
      <a:majorFont>
        <a:latin typeface="Graphik Semibold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>
        <a:spAutoFit/>
      </a:bodyPr>
      <a:lstStyle>
        <a:defPPr marL="0" algn="l">
          <a:defRPr dirty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</a:custClrLst>
  <a:extLst>
    <a:ext uri="{05A4C25C-085E-4340-85A3-A5531E510DB2}">
      <thm15:themeFamily xmlns:thm15="http://schemas.microsoft.com/office/thememl/2012/main" name="200959_CIO_Accenture_PPT_Toolkit_v3.potx" id="{402EEFE3-7C14-47DD-A034-A340BF182AE3}" vid="{2C3E4DFE-54F6-4EC4-99D4-F6995C545A89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ccenture 2020">
    <a:dk1>
      <a:srgbClr val="000000"/>
    </a:dk1>
    <a:lt1>
      <a:srgbClr val="FFFFFF"/>
    </a:lt1>
    <a:dk2>
      <a:srgbClr val="96968C"/>
    </a:dk2>
    <a:lt2>
      <a:srgbClr val="E6E6DC"/>
    </a:lt2>
    <a:accent1>
      <a:srgbClr val="A100FF"/>
    </a:accent1>
    <a:accent2>
      <a:srgbClr val="7500C0"/>
    </a:accent2>
    <a:accent3>
      <a:srgbClr val="460073"/>
    </a:accent3>
    <a:accent4>
      <a:srgbClr val="B455AA"/>
    </a:accent4>
    <a:accent5>
      <a:srgbClr val="BE82FF"/>
    </a:accent5>
    <a:accent6>
      <a:srgbClr val="DCAFFF"/>
    </a:accent6>
    <a:hlink>
      <a:srgbClr val="A100FF"/>
    </a:hlink>
    <a:folHlink>
      <a:srgbClr val="7500C0"/>
    </a:folHlink>
  </a:clrScheme>
  <a:fontScheme name="Accenture - Graphik">
    <a:majorFont>
      <a:latin typeface="Graphik"/>
      <a:ea typeface=""/>
      <a:cs typeface=""/>
    </a:majorFont>
    <a:minorFont>
      <a:latin typeface="Graphik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DAE359122B194DB5734EA04773B175" ma:contentTypeVersion="7" ma:contentTypeDescription="Create a new document." ma:contentTypeScope="" ma:versionID="e6da5ca827e9755d869ce7e8a45bc7cd">
  <xsd:schema xmlns:xsd="http://www.w3.org/2001/XMLSchema" xmlns:xs="http://www.w3.org/2001/XMLSchema" xmlns:p="http://schemas.microsoft.com/office/2006/metadata/properties" xmlns:ns2="ba2843ef-f6e5-4517-8df3-7473f237542b" xmlns:ns3="a183c5e3-7f7d-4a70-814a-caec1485f7b9" targetNamespace="http://schemas.microsoft.com/office/2006/metadata/properties" ma:root="true" ma:fieldsID="7dbae52578c08cec642e94cd8f427e41" ns2:_="" ns3:_="">
    <xsd:import namespace="ba2843ef-f6e5-4517-8df3-7473f237542b"/>
    <xsd:import namespace="a183c5e3-7f7d-4a70-814a-caec1485f7b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2843ef-f6e5-4517-8df3-7473f237542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83c5e3-7f7d-4a70-814a-caec1485f7b9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183c5e3-7f7d-4a70-814a-caec1485f7b9">
      <UserInfo>
        <DisplayName>AI Executives Warsaw Owners</DisplayName>
        <AccountId>9</AccountId>
        <AccountType/>
      </UserInfo>
      <UserInfo>
        <DisplayName>AI Executives Warsaw Members</DisplayName>
        <AccountId>8</AccountId>
        <AccountType/>
      </UserInfo>
      <UserInfo>
        <DisplayName>Bialek, Martyna</DisplayName>
        <AccountId>14</AccountId>
        <AccountType/>
      </UserInfo>
      <UserInfo>
        <DisplayName>Perykasza, Dominik</DisplayName>
        <AccountId>12</AccountId>
        <AccountType/>
      </UserInfo>
      <UserInfo>
        <DisplayName>Dziadkowiec, Sebastian</DisplayName>
        <AccountId>22</AccountId>
        <AccountType/>
      </UserInfo>
      <UserInfo>
        <DisplayName>Everyone</DisplayName>
        <AccountId>17</AccountId>
        <AccountType/>
      </UserInfo>
      <UserInfo>
        <DisplayName>Mostowski, Tomasz</DisplayName>
        <AccountId>7</AccountId>
        <AccountType/>
      </UserInfo>
      <UserInfo>
        <DisplayName>Makuch, Monika</DisplayName>
        <AccountId>11</AccountId>
        <AccountType/>
      </UserInfo>
      <UserInfo>
        <DisplayName>Walo, Waldemar</DisplayName>
        <AccountId>50</AccountId>
        <AccountType/>
      </UserInfo>
      <UserInfo>
        <DisplayName>Czetwertynski, Piotr</DisplayName>
        <AccountId>21</AccountId>
        <AccountType/>
      </UserInfo>
      <UserInfo>
        <DisplayName>Pruchnicki, Marcin</DisplayName>
        <AccountId>29</AccountId>
        <AccountType/>
      </UserInfo>
      <UserInfo>
        <DisplayName>Parol, Dariusz</DisplayName>
        <AccountId>28</AccountId>
        <AccountType/>
      </UserInfo>
      <UserInfo>
        <DisplayName>Jach, Agnieszka</DisplayName>
        <AccountId>36</AccountId>
        <AccountType/>
      </UserInfo>
      <UserInfo>
        <DisplayName>Surdacki, Lukasz</DisplayName>
        <AccountId>57</AccountId>
        <AccountType/>
      </UserInfo>
      <UserInfo>
        <DisplayName>Kubica, Katarzyna</DisplayName>
        <AccountId>64</AccountId>
        <AccountType/>
      </UserInfo>
      <UserInfo>
        <DisplayName>Zajko, Jan</DisplayName>
        <AccountId>65</AccountId>
        <AccountType/>
      </UserInfo>
      <UserInfo>
        <DisplayName>Norel, Mateusz</DisplayName>
        <AccountId>66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2E4E8DA5-C182-4E08-AF42-47255C2D609D}"/>
</file>

<file path=customXml/itemProps2.xml><?xml version="1.0" encoding="utf-8"?>
<ds:datastoreItem xmlns:ds="http://schemas.openxmlformats.org/officeDocument/2006/customXml" ds:itemID="{824680F8-F510-404D-A8CD-D9D0EDBD2F7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5581CA5-6168-4F3D-92B3-C7EC80E72207}">
  <ds:schemaRefs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ba2843ef-f6e5-4517-8df3-7473f237542b"/>
    <ds:schemaRef ds:uri="http://schemas.microsoft.com/office/2006/metadata/properties"/>
    <ds:schemaRef ds:uri="http://purl.org/dc/terms/"/>
    <ds:schemaRef ds:uri="http://www.w3.org/XML/1998/namespace"/>
    <ds:schemaRef ds:uri="http://schemas.microsoft.com/office/infopath/2007/PartnerControls"/>
    <ds:schemaRef ds:uri="a183c5e3-7f7d-4a70-814a-caec1485f7b9"/>
  </ds:schemaRefs>
</ds:datastoreItem>
</file>

<file path=docMetadata/LabelInfo.xml><?xml version="1.0" encoding="utf-8"?>
<clbl:labelList xmlns:clbl="http://schemas.microsoft.com/office/2020/mipLabelMetadata">
  <clbl:label id="{569bf4a9-87bd-4dbf-a36c-1db5158e5def}" enabled="1" method="Privileged" siteId="{ea80952e-a476-42d4-aaf4-5457852b0f7e}" removed="0"/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412</Words>
  <Application>Microsoft Office PowerPoint</Application>
  <PresentationFormat>Widescreen</PresentationFormat>
  <Paragraphs>722</Paragraphs>
  <Slides>24</Slides>
  <Notes>19</Notes>
  <HiddenSlides>3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4</vt:i4>
      </vt:variant>
    </vt:vector>
  </HeadingPairs>
  <TitlesOfParts>
    <vt:vector size="46" baseType="lpstr">
      <vt:lpstr>Arial</vt:lpstr>
      <vt:lpstr>Arial Black</vt:lpstr>
      <vt:lpstr>Calibri</vt:lpstr>
      <vt:lpstr>Graphik</vt:lpstr>
      <vt:lpstr>Graphik Black</vt:lpstr>
      <vt:lpstr>Graphik Light</vt:lpstr>
      <vt:lpstr>Graphik Medium</vt:lpstr>
      <vt:lpstr>Graphik Semibold</vt:lpstr>
      <vt:lpstr>GT Sectra Fine Rg</vt:lpstr>
      <vt:lpstr>Segoe UI</vt:lpstr>
      <vt:lpstr>Symbol</vt:lpstr>
      <vt:lpstr>System Font</vt:lpstr>
      <vt:lpstr>Wingdings</vt:lpstr>
      <vt:lpstr>Accenture 2020</vt:lpstr>
      <vt:lpstr>1_Accenture 2020</vt:lpstr>
      <vt:lpstr>1_One Europe Rising</vt:lpstr>
      <vt:lpstr>2_Accenture 2020</vt:lpstr>
      <vt:lpstr>Accenture 2022</vt:lpstr>
      <vt:lpstr>1_Titles</vt:lpstr>
      <vt:lpstr>Office Theme</vt:lpstr>
      <vt:lpstr>think-cell Folie</vt:lpstr>
      <vt:lpstr>think-cell Slide</vt:lpstr>
      <vt:lpstr>AI Industry Hub Scale up easy</vt:lpstr>
      <vt:lpstr>PowerPoint Presentation</vt:lpstr>
      <vt:lpstr>PowerPoint Presentation</vt:lpstr>
      <vt:lpstr>PowerPoint Presentation</vt:lpstr>
      <vt:lpstr>PowerPoint Presentation</vt:lpstr>
      <vt:lpstr>One sliders by Industry</vt:lpstr>
      <vt:lpstr>PowerPoint Presentation</vt:lpstr>
      <vt:lpstr>PowerPoint Presentation</vt:lpstr>
      <vt:lpstr>Retail Analytics @Poland</vt:lpstr>
      <vt:lpstr>PowerPoint Presentation</vt:lpstr>
      <vt:lpstr>PowerPoint Presentation</vt:lpstr>
      <vt:lpstr>Use Cases we grew with our clients this and last year</vt:lpstr>
      <vt:lpstr>PowerPoint Presentation</vt:lpstr>
      <vt:lpstr>PowerPoint Presentation</vt:lpstr>
      <vt:lpstr>PowerPoint Presentation</vt:lpstr>
      <vt:lpstr>One sliders by Technolog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olf, Christine</dc:creator>
  <cp:lastModifiedBy>Rytter, Tomasz</cp:lastModifiedBy>
  <cp:revision>1</cp:revision>
  <dcterms:created xsi:type="dcterms:W3CDTF">2021-11-17T14:07:29Z</dcterms:created>
  <dcterms:modified xsi:type="dcterms:W3CDTF">2024-03-27T10:37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DAE359122B194DB5734EA04773B175</vt:lpwstr>
  </property>
  <property fmtid="{D5CDD505-2E9C-101B-9397-08002B2CF9AE}" pid="3" name="Order">
    <vt:r8>419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</Properties>
</file>